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3.xml" ContentType="application/vnd.openxmlformats-officedocument.theme+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72" r:id="rId4"/>
    <p:sldMasterId id="2147484043" r:id="rId5"/>
    <p:sldMasterId id="2147484077" r:id="rId6"/>
    <p:sldMasterId id="2147484179" r:id="rId7"/>
  </p:sldMasterIdLst>
  <p:notesMasterIdLst>
    <p:notesMasterId r:id="rId36"/>
  </p:notesMasterIdLst>
  <p:handoutMasterIdLst>
    <p:handoutMasterId r:id="rId37"/>
  </p:handoutMasterIdLst>
  <p:sldIdLst>
    <p:sldId id="273" r:id="rId8"/>
    <p:sldId id="1372" r:id="rId9"/>
    <p:sldId id="409" r:id="rId10"/>
    <p:sldId id="719" r:id="rId11"/>
    <p:sldId id="1396" r:id="rId12"/>
    <p:sldId id="964" r:id="rId13"/>
    <p:sldId id="1374" r:id="rId14"/>
    <p:sldId id="1383" r:id="rId15"/>
    <p:sldId id="1397" r:id="rId16"/>
    <p:sldId id="748" r:id="rId17"/>
    <p:sldId id="749" r:id="rId18"/>
    <p:sldId id="1393" r:id="rId19"/>
    <p:sldId id="730" r:id="rId20"/>
    <p:sldId id="751" r:id="rId21"/>
    <p:sldId id="962" r:id="rId22"/>
    <p:sldId id="1375" r:id="rId23"/>
    <p:sldId id="259" r:id="rId24"/>
    <p:sldId id="257" r:id="rId25"/>
    <p:sldId id="261" r:id="rId26"/>
    <p:sldId id="260" r:id="rId27"/>
    <p:sldId id="1394" r:id="rId28"/>
    <p:sldId id="1376" r:id="rId29"/>
    <p:sldId id="1390" r:id="rId30"/>
    <p:sldId id="1389" r:id="rId31"/>
    <p:sldId id="1392" r:id="rId32"/>
    <p:sldId id="1381" r:id="rId33"/>
    <p:sldId id="1373" r:id="rId34"/>
    <p:sldId id="356" r:id="rId35"/>
  </p:sldIdLst>
  <p:sldSz cx="12192000" cy="6858000"/>
  <p:notesSz cx="6797675" cy="9926638"/>
  <p:embeddedFontLst>
    <p:embeddedFont>
      <p:font typeface="Lato" panose="020F0502020204030203" pitchFamily="34" charset="0"/>
      <p:regular r:id="rId38"/>
      <p:bold r:id="rId39"/>
      <p:italic r:id="rId40"/>
      <p:boldItalic r:id="rId41"/>
    </p:embeddedFont>
    <p:embeddedFont>
      <p:font typeface="Montserrat" panose="00000500000000000000" pitchFamily="50" charset="0"/>
      <p:regular r:id="rId42"/>
      <p:bold r:id="rId43"/>
      <p:italic r:id="rId44"/>
      <p:boldItalic r:id="rId45"/>
    </p:embeddedFont>
    <p:embeddedFont>
      <p:font typeface="Montserrat Black" panose="00000A00000000000000" pitchFamily="2" charset="0"/>
      <p:bold r:id="rId46"/>
      <p:boldItalic r:id="rId47"/>
    </p:embeddedFont>
    <p:embeddedFont>
      <p:font typeface="Montserrat Bold" panose="020B0604020202020204" charset="0"/>
      <p:bold r:id="rId48"/>
    </p:embeddedFont>
    <p:embeddedFont>
      <p:font typeface="Montserrat Light" panose="00000400000000000000" pitchFamily="50" charset="0"/>
      <p:regular r:id="rId49"/>
      <p:italic r:id="rId50"/>
    </p:embeddedFont>
    <p:embeddedFont>
      <p:font typeface="Montserrat Medium" panose="00000600000000000000" pitchFamily="50" charset="0"/>
      <p:regular r:id="rId51"/>
      <p:italic r:id="rId52"/>
    </p:embeddedFont>
  </p:embeddedFont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771" userDrawn="1">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1988728-6C53-52D8-DA15-C6B5AB183E81}" name="laura.west@hfw.com" initials="la" userId="S::urn:spo:guest#laura.west@hfw.com::" providerId="AD"/>
  <p188:author id="{27660F4A-2514-C927-58D4-80E96D2EEF97}" name="Carley James" initials="CJ" userId="S::Carley@presentationexperts.co.uk::881f191d-fdc2-4b6b-bb9b-b581cf166356" providerId="AD"/>
  <p188:author id="{840F8D73-7390-5493-3CAA-FA1818CFF301}" name="patrick.mayhew@hfw.com" initials="pa" userId="S::urn:spo:guest#patrick.mayhew@hfw.com::"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4464A"/>
    <a:srgbClr val="FFFFFF"/>
    <a:srgbClr val="8DC8E8"/>
    <a:srgbClr val="414A75"/>
    <a:srgbClr val="F9F5F4"/>
    <a:srgbClr val="7D7F83"/>
    <a:srgbClr val="A0D1CA"/>
    <a:srgbClr val="EAF3F9"/>
    <a:srgbClr val="D1E8F6"/>
    <a:srgbClr val="D9ECE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9F5FCD-43BD-43B8-97F8-39A04F51C074}" v="1" dt="2025-06-09T07:54:58.61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232" autoAdjust="0"/>
    <p:restoredTop sz="95033" autoAdjust="0"/>
  </p:normalViewPr>
  <p:slideViewPr>
    <p:cSldViewPr snapToGrid="0" showGuides="1">
      <p:cViewPr>
        <p:scale>
          <a:sx n="82" d="100"/>
          <a:sy n="82" d="100"/>
        </p:scale>
        <p:origin x="715" y="72"/>
      </p:cViewPr>
      <p:guideLst>
        <p:guide orient="horz" pos="771"/>
        <p:guide pos="3840"/>
      </p:guideLst>
    </p:cSldViewPr>
  </p:slideViewPr>
  <p:outlineViewPr>
    <p:cViewPr>
      <p:scale>
        <a:sx n="33" d="100"/>
        <a:sy n="33" d="100"/>
      </p:scale>
      <p:origin x="0" y="-7660"/>
    </p:cViewPr>
  </p:outlineViewPr>
  <p:notesTextViewPr>
    <p:cViewPr>
      <p:scale>
        <a:sx n="1" d="1"/>
        <a:sy n="1" d="1"/>
      </p:scale>
      <p:origin x="0" y="0"/>
    </p:cViewPr>
  </p:notesTextViewPr>
  <p:sorterViewPr>
    <p:cViewPr varScale="1">
      <p:scale>
        <a:sx n="100" d="100"/>
        <a:sy n="100" d="100"/>
      </p:scale>
      <p:origin x="0" y="-1396"/>
    </p:cViewPr>
  </p:sorterViewPr>
  <p:notesViewPr>
    <p:cSldViewPr snapToGrid="0" showGuides="1">
      <p:cViewPr varScale="1">
        <p:scale>
          <a:sx n="77" d="100"/>
          <a:sy n="77" d="100"/>
        </p:scale>
        <p:origin x="2492" y="8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font" Target="fonts/font2.fntdata"/><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font" Target="fonts/font5.fntdata"/><Relationship Id="rId47" Type="http://schemas.openxmlformats.org/officeDocument/2006/relationships/font" Target="fonts/font10.fntdata"/><Relationship Id="rId50" Type="http://schemas.openxmlformats.org/officeDocument/2006/relationships/font" Target="fonts/font13.fntdata"/><Relationship Id="rId55"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handoutMaster" Target="handoutMasters/handoutMaster1.xml"/><Relationship Id="rId40" Type="http://schemas.openxmlformats.org/officeDocument/2006/relationships/font" Target="fonts/font3.fntdata"/><Relationship Id="rId45" Type="http://schemas.openxmlformats.org/officeDocument/2006/relationships/font" Target="fonts/font8.fntdata"/><Relationship Id="rId53" Type="http://schemas.openxmlformats.org/officeDocument/2006/relationships/presProps" Target="presProps.xml"/><Relationship Id="rId58" Type="http://schemas.microsoft.com/office/2015/10/relationships/revisionInfo" Target="revisionInfo.xml"/><Relationship Id="rId5" Type="http://schemas.openxmlformats.org/officeDocument/2006/relationships/slideMaster" Target="slideMasters/slideMaster2.xml"/><Relationship Id="rId19" Type="http://schemas.openxmlformats.org/officeDocument/2006/relationships/slide" Target="slides/slide12.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font" Target="fonts/font6.fntdata"/><Relationship Id="rId48" Type="http://schemas.openxmlformats.org/officeDocument/2006/relationships/font" Target="fonts/font11.fntdata"/><Relationship Id="rId56" Type="http://schemas.openxmlformats.org/officeDocument/2006/relationships/tableStyles" Target="tableStyles.xml"/><Relationship Id="rId8" Type="http://schemas.openxmlformats.org/officeDocument/2006/relationships/slide" Target="slides/slide1.xml"/><Relationship Id="rId51" Type="http://schemas.openxmlformats.org/officeDocument/2006/relationships/font" Target="fonts/font14.fntdata"/><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font" Target="fonts/font1.fntdata"/><Relationship Id="rId46" Type="http://schemas.openxmlformats.org/officeDocument/2006/relationships/font" Target="fonts/font9.fntdata"/><Relationship Id="rId59" Type="http://schemas.microsoft.com/office/2018/10/relationships/authors" Target="authors.xml"/><Relationship Id="rId20" Type="http://schemas.openxmlformats.org/officeDocument/2006/relationships/slide" Target="slides/slide13.xml"/><Relationship Id="rId41" Type="http://schemas.openxmlformats.org/officeDocument/2006/relationships/font" Target="fonts/font4.fntdata"/><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notesMaster" Target="notesMasters/notesMaster1.xml"/><Relationship Id="rId49" Type="http://schemas.openxmlformats.org/officeDocument/2006/relationships/font" Target="fonts/font12.fntdata"/><Relationship Id="rId57" Type="http://schemas.microsoft.com/office/2016/11/relationships/changesInfo" Target="changesInfos/changesInfo1.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font" Target="fonts/font7.fntdata"/><Relationship Id="rId52" Type="http://schemas.openxmlformats.org/officeDocument/2006/relationships/font" Target="fonts/font15.fntdata"/></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eter Coles" userId="a344c0a8-b59e-4587-b829-c50a64eb4e31" providerId="ADAL" clId="{AC9F5FCD-43BD-43B8-97F8-39A04F51C074}"/>
    <pc:docChg chg="custSel delSld modSld delMainMaster">
      <pc:chgData name="Peter Coles" userId="a344c0a8-b59e-4587-b829-c50a64eb4e31" providerId="ADAL" clId="{AC9F5FCD-43BD-43B8-97F8-39A04F51C074}" dt="2025-06-09T09:04:50.207" v="436" actId="113"/>
      <pc:docMkLst>
        <pc:docMk/>
      </pc:docMkLst>
      <pc:sldChg chg="modSp mod">
        <pc:chgData name="Peter Coles" userId="a344c0a8-b59e-4587-b829-c50a64eb4e31" providerId="ADAL" clId="{AC9F5FCD-43BD-43B8-97F8-39A04F51C074}" dt="2025-06-09T07:50:00.480" v="113" actId="20577"/>
        <pc:sldMkLst>
          <pc:docMk/>
          <pc:sldMk cId="1135892122" sldId="257"/>
        </pc:sldMkLst>
        <pc:spChg chg="mod">
          <ac:chgData name="Peter Coles" userId="a344c0a8-b59e-4587-b829-c50a64eb4e31" providerId="ADAL" clId="{AC9F5FCD-43BD-43B8-97F8-39A04F51C074}" dt="2025-06-09T07:50:00.480" v="113" actId="20577"/>
          <ac:spMkLst>
            <pc:docMk/>
            <pc:sldMk cId="1135892122" sldId="257"/>
            <ac:spMk id="2" creationId="{AD696DCE-DC74-B571-A9DC-BC2D92EFAA96}"/>
          </ac:spMkLst>
        </pc:spChg>
      </pc:sldChg>
      <pc:sldChg chg="modSp mod">
        <pc:chgData name="Peter Coles" userId="a344c0a8-b59e-4587-b829-c50a64eb4e31" providerId="ADAL" clId="{AC9F5FCD-43BD-43B8-97F8-39A04F51C074}" dt="2025-06-09T08:07:28.396" v="231" actId="20577"/>
        <pc:sldMkLst>
          <pc:docMk/>
          <pc:sldMk cId="1947555867" sldId="259"/>
        </pc:sldMkLst>
        <pc:spChg chg="mod">
          <ac:chgData name="Peter Coles" userId="a344c0a8-b59e-4587-b829-c50a64eb4e31" providerId="ADAL" clId="{AC9F5FCD-43BD-43B8-97F8-39A04F51C074}" dt="2025-06-09T08:07:28.396" v="231" actId="20577"/>
          <ac:spMkLst>
            <pc:docMk/>
            <pc:sldMk cId="1947555867" sldId="259"/>
            <ac:spMk id="3" creationId="{98FB2FB4-38B2-B186-BB26-9795FC4A39B0}"/>
          </ac:spMkLst>
        </pc:spChg>
      </pc:sldChg>
      <pc:sldChg chg="modSp mod">
        <pc:chgData name="Peter Coles" userId="a344c0a8-b59e-4587-b829-c50a64eb4e31" providerId="ADAL" clId="{AC9F5FCD-43BD-43B8-97F8-39A04F51C074}" dt="2025-06-09T07:49:39.894" v="86" actId="12"/>
        <pc:sldMkLst>
          <pc:docMk/>
          <pc:sldMk cId="776735857" sldId="260"/>
        </pc:sldMkLst>
        <pc:spChg chg="mod">
          <ac:chgData name="Peter Coles" userId="a344c0a8-b59e-4587-b829-c50a64eb4e31" providerId="ADAL" clId="{AC9F5FCD-43BD-43B8-97F8-39A04F51C074}" dt="2025-06-09T07:49:31.706" v="82" actId="20577"/>
          <ac:spMkLst>
            <pc:docMk/>
            <pc:sldMk cId="776735857" sldId="260"/>
            <ac:spMk id="2" creationId="{AD696DCE-DC74-B571-A9DC-BC2D92EFAA96}"/>
          </ac:spMkLst>
        </pc:spChg>
        <pc:spChg chg="mod">
          <ac:chgData name="Peter Coles" userId="a344c0a8-b59e-4587-b829-c50a64eb4e31" providerId="ADAL" clId="{AC9F5FCD-43BD-43B8-97F8-39A04F51C074}" dt="2025-06-09T07:49:39.894" v="86" actId="12"/>
          <ac:spMkLst>
            <pc:docMk/>
            <pc:sldMk cId="776735857" sldId="260"/>
            <ac:spMk id="3" creationId="{ED4BDBEC-0F22-7512-51F3-5A6CB634D9A1}"/>
          </ac:spMkLst>
        </pc:spChg>
      </pc:sldChg>
      <pc:sldChg chg="modSp mod">
        <pc:chgData name="Peter Coles" userId="a344c0a8-b59e-4587-b829-c50a64eb4e31" providerId="ADAL" clId="{AC9F5FCD-43BD-43B8-97F8-39A04F51C074}" dt="2025-06-09T08:54:30.289" v="232" actId="948"/>
        <pc:sldMkLst>
          <pc:docMk/>
          <pc:sldMk cId="3056328928" sldId="719"/>
        </pc:sldMkLst>
        <pc:spChg chg="mod">
          <ac:chgData name="Peter Coles" userId="a344c0a8-b59e-4587-b829-c50a64eb4e31" providerId="ADAL" clId="{AC9F5FCD-43BD-43B8-97F8-39A04F51C074}" dt="2025-06-09T08:54:30.289" v="232" actId="948"/>
          <ac:spMkLst>
            <pc:docMk/>
            <pc:sldMk cId="3056328928" sldId="719"/>
            <ac:spMk id="4" creationId="{9444DA88-522A-7F67-09D5-6D16B29C03FB}"/>
          </ac:spMkLst>
        </pc:spChg>
      </pc:sldChg>
      <pc:sldChg chg="modSp mod">
        <pc:chgData name="Peter Coles" userId="a344c0a8-b59e-4587-b829-c50a64eb4e31" providerId="ADAL" clId="{AC9F5FCD-43BD-43B8-97F8-39A04F51C074}" dt="2025-06-09T08:55:53.431" v="253" actId="20577"/>
        <pc:sldMkLst>
          <pc:docMk/>
          <pc:sldMk cId="2937730240" sldId="730"/>
        </pc:sldMkLst>
        <pc:spChg chg="mod">
          <ac:chgData name="Peter Coles" userId="a344c0a8-b59e-4587-b829-c50a64eb4e31" providerId="ADAL" clId="{AC9F5FCD-43BD-43B8-97F8-39A04F51C074}" dt="2025-06-09T08:55:53.431" v="253" actId="20577"/>
          <ac:spMkLst>
            <pc:docMk/>
            <pc:sldMk cId="2937730240" sldId="730"/>
            <ac:spMk id="4" creationId="{C3DDD847-7964-717C-FC11-241981CC4F9D}"/>
          </ac:spMkLst>
        </pc:spChg>
      </pc:sldChg>
      <pc:sldChg chg="modSp mod">
        <pc:chgData name="Peter Coles" userId="a344c0a8-b59e-4587-b829-c50a64eb4e31" providerId="ADAL" clId="{AC9F5FCD-43BD-43B8-97F8-39A04F51C074}" dt="2025-06-09T07:46:14.422" v="5" actId="20577"/>
        <pc:sldMkLst>
          <pc:docMk/>
          <pc:sldMk cId="1307065857" sldId="751"/>
        </pc:sldMkLst>
        <pc:spChg chg="mod">
          <ac:chgData name="Peter Coles" userId="a344c0a8-b59e-4587-b829-c50a64eb4e31" providerId="ADAL" clId="{AC9F5FCD-43BD-43B8-97F8-39A04F51C074}" dt="2025-06-09T07:46:14.422" v="5" actId="20577"/>
          <ac:spMkLst>
            <pc:docMk/>
            <pc:sldMk cId="1307065857" sldId="751"/>
            <ac:spMk id="10" creationId="{AB8B3604-7EB0-17EB-3559-BB6D261F56A4}"/>
          </ac:spMkLst>
        </pc:spChg>
      </pc:sldChg>
      <pc:sldChg chg="modSp mod">
        <pc:chgData name="Peter Coles" userId="a344c0a8-b59e-4587-b829-c50a64eb4e31" providerId="ADAL" clId="{AC9F5FCD-43BD-43B8-97F8-39A04F51C074}" dt="2025-06-09T08:58:57.984" v="275" actId="20577"/>
        <pc:sldMkLst>
          <pc:docMk/>
          <pc:sldMk cId="3818021149" sldId="962"/>
        </pc:sldMkLst>
        <pc:spChg chg="mod">
          <ac:chgData name="Peter Coles" userId="a344c0a8-b59e-4587-b829-c50a64eb4e31" providerId="ADAL" clId="{AC9F5FCD-43BD-43B8-97F8-39A04F51C074}" dt="2025-06-09T08:58:57.984" v="275" actId="20577"/>
          <ac:spMkLst>
            <pc:docMk/>
            <pc:sldMk cId="3818021149" sldId="962"/>
            <ac:spMk id="4" creationId="{C3DDD847-7964-717C-FC11-241981CC4F9D}"/>
          </ac:spMkLst>
        </pc:spChg>
      </pc:sldChg>
      <pc:sldChg chg="modSp del mod">
        <pc:chgData name="Peter Coles" userId="a344c0a8-b59e-4587-b829-c50a64eb4e31" providerId="ADAL" clId="{AC9F5FCD-43BD-43B8-97F8-39A04F51C074}" dt="2025-06-09T07:54:29.304" v="162" actId="47"/>
        <pc:sldMkLst>
          <pc:docMk/>
          <pc:sldMk cId="1382069171" sldId="1368"/>
        </pc:sldMkLst>
        <pc:spChg chg="mod">
          <ac:chgData name="Peter Coles" userId="a344c0a8-b59e-4587-b829-c50a64eb4e31" providerId="ADAL" clId="{AC9F5FCD-43BD-43B8-97F8-39A04F51C074}" dt="2025-06-09T07:54:01.197" v="160" actId="20577"/>
          <ac:spMkLst>
            <pc:docMk/>
            <pc:sldMk cId="1382069171" sldId="1368"/>
            <ac:spMk id="2" creationId="{67CFEE57-F91A-A3D4-ECC5-7603AC8CCE8B}"/>
          </ac:spMkLst>
        </pc:spChg>
      </pc:sldChg>
      <pc:sldChg chg="modSp del mod">
        <pc:chgData name="Peter Coles" userId="a344c0a8-b59e-4587-b829-c50a64eb4e31" providerId="ADAL" clId="{AC9F5FCD-43BD-43B8-97F8-39A04F51C074}" dt="2025-06-09T07:54:30.895" v="163" actId="47"/>
        <pc:sldMkLst>
          <pc:docMk/>
          <pc:sldMk cId="2927643997" sldId="1370"/>
        </pc:sldMkLst>
        <pc:spChg chg="mod">
          <ac:chgData name="Peter Coles" userId="a344c0a8-b59e-4587-b829-c50a64eb4e31" providerId="ADAL" clId="{AC9F5FCD-43BD-43B8-97F8-39A04F51C074}" dt="2025-06-09T07:54:10.234" v="161"/>
          <ac:spMkLst>
            <pc:docMk/>
            <pc:sldMk cId="2927643997" sldId="1370"/>
            <ac:spMk id="2" creationId="{67CFEE57-F91A-A3D4-ECC5-7603AC8CCE8B}"/>
          </ac:spMkLst>
        </pc:spChg>
      </pc:sldChg>
      <pc:sldChg chg="modSp mod">
        <pc:chgData name="Peter Coles" userId="a344c0a8-b59e-4587-b829-c50a64eb4e31" providerId="ADAL" clId="{AC9F5FCD-43BD-43B8-97F8-39A04F51C074}" dt="2025-06-09T08:54:52.444" v="233" actId="20577"/>
        <pc:sldMkLst>
          <pc:docMk/>
          <pc:sldMk cId="1836713708" sldId="1374"/>
        </pc:sldMkLst>
        <pc:spChg chg="mod">
          <ac:chgData name="Peter Coles" userId="a344c0a8-b59e-4587-b829-c50a64eb4e31" providerId="ADAL" clId="{AC9F5FCD-43BD-43B8-97F8-39A04F51C074}" dt="2025-06-09T08:54:52.444" v="233" actId="20577"/>
          <ac:spMkLst>
            <pc:docMk/>
            <pc:sldMk cId="1836713708" sldId="1374"/>
            <ac:spMk id="4" creationId="{4F33ACDB-0C93-A8BD-DDFF-8C483E8D0AB8}"/>
          </ac:spMkLst>
        </pc:spChg>
      </pc:sldChg>
      <pc:sldChg chg="modSp mod">
        <pc:chgData name="Peter Coles" userId="a344c0a8-b59e-4587-b829-c50a64eb4e31" providerId="ADAL" clId="{AC9F5FCD-43BD-43B8-97F8-39A04F51C074}" dt="2025-06-09T09:01:52.057" v="434" actId="20577"/>
        <pc:sldMkLst>
          <pc:docMk/>
          <pc:sldMk cId="2819314877" sldId="1383"/>
        </pc:sldMkLst>
        <pc:spChg chg="mod">
          <ac:chgData name="Peter Coles" userId="a344c0a8-b59e-4587-b829-c50a64eb4e31" providerId="ADAL" clId="{AC9F5FCD-43BD-43B8-97F8-39A04F51C074}" dt="2025-06-09T09:01:52.057" v="434" actId="20577"/>
          <ac:spMkLst>
            <pc:docMk/>
            <pc:sldMk cId="2819314877" sldId="1383"/>
            <ac:spMk id="3" creationId="{3501D1E1-354F-EE91-E387-BD994D34015D}"/>
          </ac:spMkLst>
        </pc:spChg>
        <pc:spChg chg="mod">
          <ac:chgData name="Peter Coles" userId="a344c0a8-b59e-4587-b829-c50a64eb4e31" providerId="ADAL" clId="{AC9F5FCD-43BD-43B8-97F8-39A04F51C074}" dt="2025-06-09T09:01:16.370" v="420" actId="20577"/>
          <ac:spMkLst>
            <pc:docMk/>
            <pc:sldMk cId="2819314877" sldId="1383"/>
            <ac:spMk id="4" creationId="{8D416753-6CB8-28D1-1364-D3EA48CEAB8D}"/>
          </ac:spMkLst>
        </pc:spChg>
      </pc:sldChg>
      <pc:sldChg chg="modSp mod">
        <pc:chgData name="Peter Coles" userId="a344c0a8-b59e-4587-b829-c50a64eb4e31" providerId="ADAL" clId="{AC9F5FCD-43BD-43B8-97F8-39A04F51C074}" dt="2025-06-09T07:51:55.935" v="126" actId="20577"/>
        <pc:sldMkLst>
          <pc:docMk/>
          <pc:sldMk cId="2466144953" sldId="1389"/>
        </pc:sldMkLst>
        <pc:spChg chg="mod">
          <ac:chgData name="Peter Coles" userId="a344c0a8-b59e-4587-b829-c50a64eb4e31" providerId="ADAL" clId="{AC9F5FCD-43BD-43B8-97F8-39A04F51C074}" dt="2025-06-09T07:51:55.935" v="126" actId="20577"/>
          <ac:spMkLst>
            <pc:docMk/>
            <pc:sldMk cId="2466144953" sldId="1389"/>
            <ac:spMk id="5" creationId="{6E87A1DB-1B72-99F2-5473-19257C3C9BC4}"/>
          </ac:spMkLst>
        </pc:spChg>
      </pc:sldChg>
      <pc:sldChg chg="modSp mod">
        <pc:chgData name="Peter Coles" userId="a344c0a8-b59e-4587-b829-c50a64eb4e31" providerId="ADAL" clId="{AC9F5FCD-43BD-43B8-97F8-39A04F51C074}" dt="2025-06-09T09:04:50.207" v="436" actId="113"/>
        <pc:sldMkLst>
          <pc:docMk/>
          <pc:sldMk cId="265708089" sldId="1390"/>
        </pc:sldMkLst>
        <pc:spChg chg="mod">
          <ac:chgData name="Peter Coles" userId="a344c0a8-b59e-4587-b829-c50a64eb4e31" providerId="ADAL" clId="{AC9F5FCD-43BD-43B8-97F8-39A04F51C074}" dt="2025-06-09T09:04:50.207" v="436" actId="113"/>
          <ac:spMkLst>
            <pc:docMk/>
            <pc:sldMk cId="265708089" sldId="1390"/>
            <ac:spMk id="5" creationId="{39451FD0-5FA4-F5E5-CC6F-23B10684A358}"/>
          </ac:spMkLst>
        </pc:spChg>
      </pc:sldChg>
      <pc:sldChg chg="modSp mod">
        <pc:chgData name="Peter Coles" userId="a344c0a8-b59e-4587-b829-c50a64eb4e31" providerId="ADAL" clId="{AC9F5FCD-43BD-43B8-97F8-39A04F51C074}" dt="2025-06-09T07:52:56.922" v="131" actId="20577"/>
        <pc:sldMkLst>
          <pc:docMk/>
          <pc:sldMk cId="152941491" sldId="1392"/>
        </pc:sldMkLst>
        <pc:spChg chg="mod">
          <ac:chgData name="Peter Coles" userId="a344c0a8-b59e-4587-b829-c50a64eb4e31" providerId="ADAL" clId="{AC9F5FCD-43BD-43B8-97F8-39A04F51C074}" dt="2025-06-09T07:52:56.922" v="131" actId="20577"/>
          <ac:spMkLst>
            <pc:docMk/>
            <pc:sldMk cId="152941491" sldId="1392"/>
            <ac:spMk id="5" creationId="{8DB86B49-80E2-C52A-DF31-A859F83407C0}"/>
          </ac:spMkLst>
        </pc:spChg>
      </pc:sldChg>
      <pc:sldChg chg="modSp mod">
        <pc:chgData name="Peter Coles" userId="a344c0a8-b59e-4587-b829-c50a64eb4e31" providerId="ADAL" clId="{AC9F5FCD-43BD-43B8-97F8-39A04F51C074}" dt="2025-06-09T07:47:58.483" v="34" actId="20577"/>
        <pc:sldMkLst>
          <pc:docMk/>
          <pc:sldMk cId="1690076661" sldId="1393"/>
        </pc:sldMkLst>
        <pc:spChg chg="mod">
          <ac:chgData name="Peter Coles" userId="a344c0a8-b59e-4587-b829-c50a64eb4e31" providerId="ADAL" clId="{AC9F5FCD-43BD-43B8-97F8-39A04F51C074}" dt="2025-06-09T07:47:58.483" v="34" actId="20577"/>
          <ac:spMkLst>
            <pc:docMk/>
            <pc:sldMk cId="1690076661" sldId="1393"/>
            <ac:spMk id="10" creationId="{AAC94C8C-E21D-4A10-E38C-D409A8EAE996}"/>
          </ac:spMkLst>
        </pc:spChg>
      </pc:sldChg>
      <pc:sldMasterChg chg="del delSldLayout">
        <pc:chgData name="Peter Coles" userId="a344c0a8-b59e-4587-b829-c50a64eb4e31" providerId="ADAL" clId="{AC9F5FCD-43BD-43B8-97F8-39A04F51C074}" dt="2025-06-09T07:54:30.895" v="163" actId="47"/>
        <pc:sldMasterMkLst>
          <pc:docMk/>
          <pc:sldMasterMk cId="1256096066" sldId="2147484101"/>
        </pc:sldMasterMkLst>
        <pc:sldLayoutChg chg="del">
          <pc:chgData name="Peter Coles" userId="a344c0a8-b59e-4587-b829-c50a64eb4e31" providerId="ADAL" clId="{AC9F5FCD-43BD-43B8-97F8-39A04F51C074}" dt="2025-06-09T07:54:30.895" v="163" actId="47"/>
          <pc:sldLayoutMkLst>
            <pc:docMk/>
            <pc:sldMasterMk cId="1256096066" sldId="2147484101"/>
            <pc:sldLayoutMk cId="644977532" sldId="2147484102"/>
          </pc:sldLayoutMkLst>
        </pc:sldLayoutChg>
        <pc:sldLayoutChg chg="del">
          <pc:chgData name="Peter Coles" userId="a344c0a8-b59e-4587-b829-c50a64eb4e31" providerId="ADAL" clId="{AC9F5FCD-43BD-43B8-97F8-39A04F51C074}" dt="2025-06-09T07:54:30.895" v="163" actId="47"/>
          <pc:sldLayoutMkLst>
            <pc:docMk/>
            <pc:sldMasterMk cId="1256096066" sldId="2147484101"/>
            <pc:sldLayoutMk cId="3879404595" sldId="2147484103"/>
          </pc:sldLayoutMkLst>
        </pc:sldLayoutChg>
        <pc:sldLayoutChg chg="del">
          <pc:chgData name="Peter Coles" userId="a344c0a8-b59e-4587-b829-c50a64eb4e31" providerId="ADAL" clId="{AC9F5FCD-43BD-43B8-97F8-39A04F51C074}" dt="2025-06-09T07:54:30.895" v="163" actId="47"/>
          <pc:sldLayoutMkLst>
            <pc:docMk/>
            <pc:sldMasterMk cId="1256096066" sldId="2147484101"/>
            <pc:sldLayoutMk cId="4067618178" sldId="2147484104"/>
          </pc:sldLayoutMkLst>
        </pc:sldLayoutChg>
        <pc:sldLayoutChg chg="del">
          <pc:chgData name="Peter Coles" userId="a344c0a8-b59e-4587-b829-c50a64eb4e31" providerId="ADAL" clId="{AC9F5FCD-43BD-43B8-97F8-39A04F51C074}" dt="2025-06-09T07:54:30.895" v="163" actId="47"/>
          <pc:sldLayoutMkLst>
            <pc:docMk/>
            <pc:sldMasterMk cId="1256096066" sldId="2147484101"/>
            <pc:sldLayoutMk cId="3588472372" sldId="2147484105"/>
          </pc:sldLayoutMkLst>
        </pc:sldLayoutChg>
        <pc:sldLayoutChg chg="del">
          <pc:chgData name="Peter Coles" userId="a344c0a8-b59e-4587-b829-c50a64eb4e31" providerId="ADAL" clId="{AC9F5FCD-43BD-43B8-97F8-39A04F51C074}" dt="2025-06-09T07:54:30.895" v="163" actId="47"/>
          <pc:sldLayoutMkLst>
            <pc:docMk/>
            <pc:sldMasterMk cId="1256096066" sldId="2147484101"/>
            <pc:sldLayoutMk cId="3205471121" sldId="2147484106"/>
          </pc:sldLayoutMkLst>
        </pc:sldLayoutChg>
        <pc:sldLayoutChg chg="del">
          <pc:chgData name="Peter Coles" userId="a344c0a8-b59e-4587-b829-c50a64eb4e31" providerId="ADAL" clId="{AC9F5FCD-43BD-43B8-97F8-39A04F51C074}" dt="2025-06-09T07:54:30.895" v="163" actId="47"/>
          <pc:sldLayoutMkLst>
            <pc:docMk/>
            <pc:sldMasterMk cId="1256096066" sldId="2147484101"/>
            <pc:sldLayoutMk cId="4075866273" sldId="2147484107"/>
          </pc:sldLayoutMkLst>
        </pc:sldLayoutChg>
        <pc:sldLayoutChg chg="del">
          <pc:chgData name="Peter Coles" userId="a344c0a8-b59e-4587-b829-c50a64eb4e31" providerId="ADAL" clId="{AC9F5FCD-43BD-43B8-97F8-39A04F51C074}" dt="2025-06-09T07:54:30.895" v="163" actId="47"/>
          <pc:sldLayoutMkLst>
            <pc:docMk/>
            <pc:sldMasterMk cId="1256096066" sldId="2147484101"/>
            <pc:sldLayoutMk cId="3446865470" sldId="2147484108"/>
          </pc:sldLayoutMkLst>
        </pc:sldLayoutChg>
        <pc:sldLayoutChg chg="del">
          <pc:chgData name="Peter Coles" userId="a344c0a8-b59e-4587-b829-c50a64eb4e31" providerId="ADAL" clId="{AC9F5FCD-43BD-43B8-97F8-39A04F51C074}" dt="2025-06-09T07:54:30.895" v="163" actId="47"/>
          <pc:sldLayoutMkLst>
            <pc:docMk/>
            <pc:sldMasterMk cId="1256096066" sldId="2147484101"/>
            <pc:sldLayoutMk cId="43232778" sldId="2147484109"/>
          </pc:sldLayoutMkLst>
        </pc:sldLayoutChg>
        <pc:sldLayoutChg chg="del">
          <pc:chgData name="Peter Coles" userId="a344c0a8-b59e-4587-b829-c50a64eb4e31" providerId="ADAL" clId="{AC9F5FCD-43BD-43B8-97F8-39A04F51C074}" dt="2025-06-09T07:54:30.895" v="163" actId="47"/>
          <pc:sldLayoutMkLst>
            <pc:docMk/>
            <pc:sldMasterMk cId="1256096066" sldId="2147484101"/>
            <pc:sldLayoutMk cId="2241970425" sldId="2147484110"/>
          </pc:sldLayoutMkLst>
        </pc:sldLayoutChg>
        <pc:sldLayoutChg chg="del">
          <pc:chgData name="Peter Coles" userId="a344c0a8-b59e-4587-b829-c50a64eb4e31" providerId="ADAL" clId="{AC9F5FCD-43BD-43B8-97F8-39A04F51C074}" dt="2025-06-09T07:54:30.895" v="163" actId="47"/>
          <pc:sldLayoutMkLst>
            <pc:docMk/>
            <pc:sldMasterMk cId="1256096066" sldId="2147484101"/>
            <pc:sldLayoutMk cId="4107148960" sldId="2147484111"/>
          </pc:sldLayoutMkLst>
        </pc:sldLayoutChg>
        <pc:sldLayoutChg chg="del">
          <pc:chgData name="Peter Coles" userId="a344c0a8-b59e-4587-b829-c50a64eb4e31" providerId="ADAL" clId="{AC9F5FCD-43BD-43B8-97F8-39A04F51C074}" dt="2025-06-09T07:54:30.895" v="163" actId="47"/>
          <pc:sldLayoutMkLst>
            <pc:docMk/>
            <pc:sldMasterMk cId="1256096066" sldId="2147484101"/>
            <pc:sldLayoutMk cId="1886901003" sldId="2147484112"/>
          </pc:sldLayoutMkLst>
        </pc:sldLayoutChg>
        <pc:sldLayoutChg chg="del">
          <pc:chgData name="Peter Coles" userId="a344c0a8-b59e-4587-b829-c50a64eb4e31" providerId="ADAL" clId="{AC9F5FCD-43BD-43B8-97F8-39A04F51C074}" dt="2025-06-09T07:54:30.895" v="163" actId="47"/>
          <pc:sldLayoutMkLst>
            <pc:docMk/>
            <pc:sldMasterMk cId="1256096066" sldId="2147484101"/>
            <pc:sldLayoutMk cId="3803498844" sldId="2147484113"/>
          </pc:sldLayoutMkLst>
        </pc:sldLayoutChg>
        <pc:sldLayoutChg chg="del">
          <pc:chgData name="Peter Coles" userId="a344c0a8-b59e-4587-b829-c50a64eb4e31" providerId="ADAL" clId="{AC9F5FCD-43BD-43B8-97F8-39A04F51C074}" dt="2025-06-09T07:54:30.895" v="163" actId="47"/>
          <pc:sldLayoutMkLst>
            <pc:docMk/>
            <pc:sldMasterMk cId="1256096066" sldId="2147484101"/>
            <pc:sldLayoutMk cId="2014884640" sldId="2147484114"/>
          </pc:sldLayoutMkLst>
        </pc:sldLayoutChg>
        <pc:sldLayoutChg chg="del">
          <pc:chgData name="Peter Coles" userId="a344c0a8-b59e-4587-b829-c50a64eb4e31" providerId="ADAL" clId="{AC9F5FCD-43BD-43B8-97F8-39A04F51C074}" dt="2025-06-09T07:54:30.895" v="163" actId="47"/>
          <pc:sldLayoutMkLst>
            <pc:docMk/>
            <pc:sldMasterMk cId="1256096066" sldId="2147484101"/>
            <pc:sldLayoutMk cId="2484312684" sldId="2147484115"/>
          </pc:sldLayoutMkLst>
        </pc:sldLayoutChg>
        <pc:sldLayoutChg chg="del">
          <pc:chgData name="Peter Coles" userId="a344c0a8-b59e-4587-b829-c50a64eb4e31" providerId="ADAL" clId="{AC9F5FCD-43BD-43B8-97F8-39A04F51C074}" dt="2025-06-09T07:54:30.895" v="163" actId="47"/>
          <pc:sldLayoutMkLst>
            <pc:docMk/>
            <pc:sldMasterMk cId="1256096066" sldId="2147484101"/>
            <pc:sldLayoutMk cId="3916745407" sldId="2147484116"/>
          </pc:sldLayoutMkLst>
        </pc:sldLayoutChg>
        <pc:sldLayoutChg chg="del">
          <pc:chgData name="Peter Coles" userId="a344c0a8-b59e-4587-b829-c50a64eb4e31" providerId="ADAL" clId="{AC9F5FCD-43BD-43B8-97F8-39A04F51C074}" dt="2025-06-09T07:54:30.895" v="163" actId="47"/>
          <pc:sldLayoutMkLst>
            <pc:docMk/>
            <pc:sldMasterMk cId="1256096066" sldId="2147484101"/>
            <pc:sldLayoutMk cId="1655781093" sldId="2147484117"/>
          </pc:sldLayoutMkLst>
        </pc:sldLayoutChg>
        <pc:sldLayoutChg chg="del">
          <pc:chgData name="Peter Coles" userId="a344c0a8-b59e-4587-b829-c50a64eb4e31" providerId="ADAL" clId="{AC9F5FCD-43BD-43B8-97F8-39A04F51C074}" dt="2025-06-09T07:54:30.895" v="163" actId="47"/>
          <pc:sldLayoutMkLst>
            <pc:docMk/>
            <pc:sldMasterMk cId="1256096066" sldId="2147484101"/>
            <pc:sldLayoutMk cId="4218903128" sldId="2147484118"/>
          </pc:sldLayoutMkLst>
        </pc:sldLayoutChg>
        <pc:sldLayoutChg chg="del">
          <pc:chgData name="Peter Coles" userId="a344c0a8-b59e-4587-b829-c50a64eb4e31" providerId="ADAL" clId="{AC9F5FCD-43BD-43B8-97F8-39A04F51C074}" dt="2025-06-09T07:54:30.895" v="163" actId="47"/>
          <pc:sldLayoutMkLst>
            <pc:docMk/>
            <pc:sldMasterMk cId="1256096066" sldId="2147484101"/>
            <pc:sldLayoutMk cId="1190353990" sldId="2147484119"/>
          </pc:sldLayoutMkLst>
        </pc:sldLayoutChg>
        <pc:sldLayoutChg chg="del">
          <pc:chgData name="Peter Coles" userId="a344c0a8-b59e-4587-b829-c50a64eb4e31" providerId="ADAL" clId="{AC9F5FCD-43BD-43B8-97F8-39A04F51C074}" dt="2025-06-09T07:54:30.895" v="163" actId="47"/>
          <pc:sldLayoutMkLst>
            <pc:docMk/>
            <pc:sldMasterMk cId="1256096066" sldId="2147484101"/>
            <pc:sldLayoutMk cId="3444530084" sldId="2147484120"/>
          </pc:sldLayoutMkLst>
        </pc:sldLayoutChg>
        <pc:sldLayoutChg chg="del">
          <pc:chgData name="Peter Coles" userId="a344c0a8-b59e-4587-b829-c50a64eb4e31" providerId="ADAL" clId="{AC9F5FCD-43BD-43B8-97F8-39A04F51C074}" dt="2025-06-09T07:54:30.895" v="163" actId="47"/>
          <pc:sldLayoutMkLst>
            <pc:docMk/>
            <pc:sldMasterMk cId="1256096066" sldId="2147484101"/>
            <pc:sldLayoutMk cId="4191267006" sldId="2147484121"/>
          </pc:sldLayoutMkLst>
        </pc:sldLayoutChg>
        <pc:sldLayoutChg chg="del">
          <pc:chgData name="Peter Coles" userId="a344c0a8-b59e-4587-b829-c50a64eb4e31" providerId="ADAL" clId="{AC9F5FCD-43BD-43B8-97F8-39A04F51C074}" dt="2025-06-09T07:54:30.895" v="163" actId="47"/>
          <pc:sldLayoutMkLst>
            <pc:docMk/>
            <pc:sldMasterMk cId="1256096066" sldId="2147484101"/>
            <pc:sldLayoutMk cId="2654071994" sldId="2147484122"/>
          </pc:sldLayoutMkLst>
        </pc:sldLayoutChg>
        <pc:sldLayoutChg chg="del">
          <pc:chgData name="Peter Coles" userId="a344c0a8-b59e-4587-b829-c50a64eb4e31" providerId="ADAL" clId="{AC9F5FCD-43BD-43B8-97F8-39A04F51C074}" dt="2025-06-09T07:54:30.895" v="163" actId="47"/>
          <pc:sldLayoutMkLst>
            <pc:docMk/>
            <pc:sldMasterMk cId="1256096066" sldId="2147484101"/>
            <pc:sldLayoutMk cId="3761199894" sldId="2147484123"/>
          </pc:sldLayoutMkLst>
        </pc:sldLayoutChg>
        <pc:sldLayoutChg chg="del">
          <pc:chgData name="Peter Coles" userId="a344c0a8-b59e-4587-b829-c50a64eb4e31" providerId="ADAL" clId="{AC9F5FCD-43BD-43B8-97F8-39A04F51C074}" dt="2025-06-09T07:54:30.895" v="163" actId="47"/>
          <pc:sldLayoutMkLst>
            <pc:docMk/>
            <pc:sldMasterMk cId="1256096066" sldId="2147484101"/>
            <pc:sldLayoutMk cId="2666601240" sldId="2147484124"/>
          </pc:sldLayoutMkLst>
        </pc:sldLayoutChg>
        <pc:sldLayoutChg chg="del">
          <pc:chgData name="Peter Coles" userId="a344c0a8-b59e-4587-b829-c50a64eb4e31" providerId="ADAL" clId="{AC9F5FCD-43BD-43B8-97F8-39A04F51C074}" dt="2025-06-09T07:54:30.895" v="163" actId="47"/>
          <pc:sldLayoutMkLst>
            <pc:docMk/>
            <pc:sldMasterMk cId="1256096066" sldId="2147484101"/>
            <pc:sldLayoutMk cId="1543476823" sldId="2147484125"/>
          </pc:sldLayoutMkLst>
        </pc:sldLayoutChg>
        <pc:sldLayoutChg chg="del">
          <pc:chgData name="Peter Coles" userId="a344c0a8-b59e-4587-b829-c50a64eb4e31" providerId="ADAL" clId="{AC9F5FCD-43BD-43B8-97F8-39A04F51C074}" dt="2025-06-09T07:54:30.895" v="163" actId="47"/>
          <pc:sldLayoutMkLst>
            <pc:docMk/>
            <pc:sldMasterMk cId="1256096066" sldId="2147484101"/>
            <pc:sldLayoutMk cId="3453535245" sldId="2147484126"/>
          </pc:sldLayoutMkLst>
        </pc:sldLayoutChg>
        <pc:sldLayoutChg chg="del">
          <pc:chgData name="Peter Coles" userId="a344c0a8-b59e-4587-b829-c50a64eb4e31" providerId="ADAL" clId="{AC9F5FCD-43BD-43B8-97F8-39A04F51C074}" dt="2025-06-09T07:54:30.895" v="163" actId="47"/>
          <pc:sldLayoutMkLst>
            <pc:docMk/>
            <pc:sldMasterMk cId="1256096066" sldId="2147484101"/>
            <pc:sldLayoutMk cId="2453060567" sldId="2147484127"/>
          </pc:sldLayoutMkLst>
        </pc:sldLayoutChg>
        <pc:sldLayoutChg chg="del">
          <pc:chgData name="Peter Coles" userId="a344c0a8-b59e-4587-b829-c50a64eb4e31" providerId="ADAL" clId="{AC9F5FCD-43BD-43B8-97F8-39A04F51C074}" dt="2025-06-09T07:54:30.895" v="163" actId="47"/>
          <pc:sldLayoutMkLst>
            <pc:docMk/>
            <pc:sldMasterMk cId="1256096066" sldId="2147484101"/>
            <pc:sldLayoutMk cId="1575995225" sldId="2147484128"/>
          </pc:sldLayoutMkLst>
        </pc:sldLayoutChg>
        <pc:sldLayoutChg chg="del">
          <pc:chgData name="Peter Coles" userId="a344c0a8-b59e-4587-b829-c50a64eb4e31" providerId="ADAL" clId="{AC9F5FCD-43BD-43B8-97F8-39A04F51C074}" dt="2025-06-09T07:54:30.895" v="163" actId="47"/>
          <pc:sldLayoutMkLst>
            <pc:docMk/>
            <pc:sldMasterMk cId="1256096066" sldId="2147484101"/>
            <pc:sldLayoutMk cId="1609837872" sldId="2147484129"/>
          </pc:sldLayoutMkLst>
        </pc:sldLayoutChg>
        <pc:sldLayoutChg chg="del">
          <pc:chgData name="Peter Coles" userId="a344c0a8-b59e-4587-b829-c50a64eb4e31" providerId="ADAL" clId="{AC9F5FCD-43BD-43B8-97F8-39A04F51C074}" dt="2025-06-09T07:54:30.895" v="163" actId="47"/>
          <pc:sldLayoutMkLst>
            <pc:docMk/>
            <pc:sldMasterMk cId="1256096066" sldId="2147484101"/>
            <pc:sldLayoutMk cId="2277509" sldId="2147484130"/>
          </pc:sldLayoutMkLst>
        </pc:sldLayoutChg>
        <pc:sldLayoutChg chg="del">
          <pc:chgData name="Peter Coles" userId="a344c0a8-b59e-4587-b829-c50a64eb4e31" providerId="ADAL" clId="{AC9F5FCD-43BD-43B8-97F8-39A04F51C074}" dt="2025-06-09T07:54:30.895" v="163" actId="47"/>
          <pc:sldLayoutMkLst>
            <pc:docMk/>
            <pc:sldMasterMk cId="1256096066" sldId="2147484101"/>
            <pc:sldLayoutMk cId="322347718" sldId="2147484131"/>
          </pc:sldLayoutMkLst>
        </pc:sldLayoutChg>
        <pc:sldLayoutChg chg="del">
          <pc:chgData name="Peter Coles" userId="a344c0a8-b59e-4587-b829-c50a64eb4e31" providerId="ADAL" clId="{AC9F5FCD-43BD-43B8-97F8-39A04F51C074}" dt="2025-06-09T07:54:30.895" v="163" actId="47"/>
          <pc:sldLayoutMkLst>
            <pc:docMk/>
            <pc:sldMasterMk cId="1256096066" sldId="2147484101"/>
            <pc:sldLayoutMk cId="1286180130" sldId="2147484132"/>
          </pc:sldLayoutMkLst>
        </pc:sldLayoutChg>
        <pc:sldLayoutChg chg="del">
          <pc:chgData name="Peter Coles" userId="a344c0a8-b59e-4587-b829-c50a64eb4e31" providerId="ADAL" clId="{AC9F5FCD-43BD-43B8-97F8-39A04F51C074}" dt="2025-06-09T07:54:30.895" v="163" actId="47"/>
          <pc:sldLayoutMkLst>
            <pc:docMk/>
            <pc:sldMasterMk cId="1256096066" sldId="2147484101"/>
            <pc:sldLayoutMk cId="411685574" sldId="2147484133"/>
          </pc:sldLayoutMkLst>
        </pc:sldLayoutChg>
        <pc:sldLayoutChg chg="del">
          <pc:chgData name="Peter Coles" userId="a344c0a8-b59e-4587-b829-c50a64eb4e31" providerId="ADAL" clId="{AC9F5FCD-43BD-43B8-97F8-39A04F51C074}" dt="2025-06-09T07:54:30.895" v="163" actId="47"/>
          <pc:sldLayoutMkLst>
            <pc:docMk/>
            <pc:sldMasterMk cId="1256096066" sldId="2147484101"/>
            <pc:sldLayoutMk cId="1875279961" sldId="2147484134"/>
          </pc:sldLayoutMkLst>
        </pc:sldLayoutChg>
        <pc:sldLayoutChg chg="del">
          <pc:chgData name="Peter Coles" userId="a344c0a8-b59e-4587-b829-c50a64eb4e31" providerId="ADAL" clId="{AC9F5FCD-43BD-43B8-97F8-39A04F51C074}" dt="2025-06-09T07:54:30.895" v="163" actId="47"/>
          <pc:sldLayoutMkLst>
            <pc:docMk/>
            <pc:sldMasterMk cId="1256096066" sldId="2147484101"/>
            <pc:sldLayoutMk cId="1066712838" sldId="2147484135"/>
          </pc:sldLayoutMkLst>
        </pc:sldLayoutChg>
        <pc:sldLayoutChg chg="del">
          <pc:chgData name="Peter Coles" userId="a344c0a8-b59e-4587-b829-c50a64eb4e31" providerId="ADAL" clId="{AC9F5FCD-43BD-43B8-97F8-39A04F51C074}" dt="2025-06-09T07:54:30.895" v="163" actId="47"/>
          <pc:sldLayoutMkLst>
            <pc:docMk/>
            <pc:sldMasterMk cId="1256096066" sldId="2147484101"/>
            <pc:sldLayoutMk cId="3274666942" sldId="2147484136"/>
          </pc:sldLayoutMkLst>
        </pc:sldLayoutChg>
        <pc:sldLayoutChg chg="del">
          <pc:chgData name="Peter Coles" userId="a344c0a8-b59e-4587-b829-c50a64eb4e31" providerId="ADAL" clId="{AC9F5FCD-43BD-43B8-97F8-39A04F51C074}" dt="2025-06-09T07:54:30.895" v="163" actId="47"/>
          <pc:sldLayoutMkLst>
            <pc:docMk/>
            <pc:sldMasterMk cId="1256096066" sldId="2147484101"/>
            <pc:sldLayoutMk cId="567579173" sldId="2147484137"/>
          </pc:sldLayoutMkLst>
        </pc:sldLayoutChg>
        <pc:sldLayoutChg chg="del">
          <pc:chgData name="Peter Coles" userId="a344c0a8-b59e-4587-b829-c50a64eb4e31" providerId="ADAL" clId="{AC9F5FCD-43BD-43B8-97F8-39A04F51C074}" dt="2025-06-09T07:54:30.895" v="163" actId="47"/>
          <pc:sldLayoutMkLst>
            <pc:docMk/>
            <pc:sldMasterMk cId="1256096066" sldId="2147484101"/>
            <pc:sldLayoutMk cId="2413290669" sldId="2147484138"/>
          </pc:sldLayoutMkLst>
        </pc:sldLayoutChg>
        <pc:sldLayoutChg chg="del">
          <pc:chgData name="Peter Coles" userId="a344c0a8-b59e-4587-b829-c50a64eb4e31" providerId="ADAL" clId="{AC9F5FCD-43BD-43B8-97F8-39A04F51C074}" dt="2025-06-09T07:54:30.895" v="163" actId="47"/>
          <pc:sldLayoutMkLst>
            <pc:docMk/>
            <pc:sldMasterMk cId="1256096066" sldId="2147484101"/>
            <pc:sldLayoutMk cId="4108284287" sldId="2147484139"/>
          </pc:sldLayoutMkLst>
        </pc:sldLayoutChg>
        <pc:sldLayoutChg chg="del">
          <pc:chgData name="Peter Coles" userId="a344c0a8-b59e-4587-b829-c50a64eb4e31" providerId="ADAL" clId="{AC9F5FCD-43BD-43B8-97F8-39A04F51C074}" dt="2025-06-09T07:54:30.895" v="163" actId="47"/>
          <pc:sldLayoutMkLst>
            <pc:docMk/>
            <pc:sldMasterMk cId="1256096066" sldId="2147484101"/>
            <pc:sldLayoutMk cId="4221014466" sldId="2147484140"/>
          </pc:sldLayoutMkLst>
        </pc:sldLayoutChg>
        <pc:sldLayoutChg chg="del">
          <pc:chgData name="Peter Coles" userId="a344c0a8-b59e-4587-b829-c50a64eb4e31" providerId="ADAL" clId="{AC9F5FCD-43BD-43B8-97F8-39A04F51C074}" dt="2025-06-09T07:54:30.895" v="163" actId="47"/>
          <pc:sldLayoutMkLst>
            <pc:docMk/>
            <pc:sldMasterMk cId="1256096066" sldId="2147484101"/>
            <pc:sldLayoutMk cId="2607141760" sldId="2147484141"/>
          </pc:sldLayoutMkLst>
        </pc:sldLayoutChg>
        <pc:sldLayoutChg chg="del">
          <pc:chgData name="Peter Coles" userId="a344c0a8-b59e-4587-b829-c50a64eb4e31" providerId="ADAL" clId="{AC9F5FCD-43BD-43B8-97F8-39A04F51C074}" dt="2025-06-09T07:54:30.895" v="163" actId="47"/>
          <pc:sldLayoutMkLst>
            <pc:docMk/>
            <pc:sldMasterMk cId="1256096066" sldId="2147484101"/>
            <pc:sldLayoutMk cId="1971773360" sldId="2147484142"/>
          </pc:sldLayoutMkLst>
        </pc:sldLayoutChg>
        <pc:sldLayoutChg chg="del">
          <pc:chgData name="Peter Coles" userId="a344c0a8-b59e-4587-b829-c50a64eb4e31" providerId="ADAL" clId="{AC9F5FCD-43BD-43B8-97F8-39A04F51C074}" dt="2025-06-09T07:54:30.895" v="163" actId="47"/>
          <pc:sldLayoutMkLst>
            <pc:docMk/>
            <pc:sldMasterMk cId="1256096066" sldId="2147484101"/>
            <pc:sldLayoutMk cId="928917340" sldId="2147484143"/>
          </pc:sldLayoutMkLst>
        </pc:sldLayoutChg>
        <pc:sldLayoutChg chg="del">
          <pc:chgData name="Peter Coles" userId="a344c0a8-b59e-4587-b829-c50a64eb4e31" providerId="ADAL" clId="{AC9F5FCD-43BD-43B8-97F8-39A04F51C074}" dt="2025-06-09T07:54:30.895" v="163" actId="47"/>
          <pc:sldLayoutMkLst>
            <pc:docMk/>
            <pc:sldMasterMk cId="1256096066" sldId="2147484101"/>
            <pc:sldLayoutMk cId="1998930224" sldId="2147484144"/>
          </pc:sldLayoutMkLst>
        </pc:sldLayoutChg>
        <pc:sldLayoutChg chg="del">
          <pc:chgData name="Peter Coles" userId="a344c0a8-b59e-4587-b829-c50a64eb4e31" providerId="ADAL" clId="{AC9F5FCD-43BD-43B8-97F8-39A04F51C074}" dt="2025-06-09T07:54:30.895" v="163" actId="47"/>
          <pc:sldLayoutMkLst>
            <pc:docMk/>
            <pc:sldMasterMk cId="1256096066" sldId="2147484101"/>
            <pc:sldLayoutMk cId="1820368885" sldId="2147484145"/>
          </pc:sldLayoutMkLst>
        </pc:sldLayoutChg>
        <pc:sldLayoutChg chg="del">
          <pc:chgData name="Peter Coles" userId="a344c0a8-b59e-4587-b829-c50a64eb4e31" providerId="ADAL" clId="{AC9F5FCD-43BD-43B8-97F8-39A04F51C074}" dt="2025-06-09T07:54:30.895" v="163" actId="47"/>
          <pc:sldLayoutMkLst>
            <pc:docMk/>
            <pc:sldMasterMk cId="1256096066" sldId="2147484101"/>
            <pc:sldLayoutMk cId="1854202655" sldId="2147484146"/>
          </pc:sldLayoutMkLst>
        </pc:sldLayoutChg>
        <pc:sldLayoutChg chg="del">
          <pc:chgData name="Peter Coles" userId="a344c0a8-b59e-4587-b829-c50a64eb4e31" providerId="ADAL" clId="{AC9F5FCD-43BD-43B8-97F8-39A04F51C074}" dt="2025-06-09T07:54:30.895" v="163" actId="47"/>
          <pc:sldLayoutMkLst>
            <pc:docMk/>
            <pc:sldMasterMk cId="1256096066" sldId="2147484101"/>
            <pc:sldLayoutMk cId="2667942485" sldId="2147484147"/>
          </pc:sldLayoutMkLst>
        </pc:sldLayoutChg>
        <pc:sldLayoutChg chg="del">
          <pc:chgData name="Peter Coles" userId="a344c0a8-b59e-4587-b829-c50a64eb4e31" providerId="ADAL" clId="{AC9F5FCD-43BD-43B8-97F8-39A04F51C074}" dt="2025-06-09T07:54:30.895" v="163" actId="47"/>
          <pc:sldLayoutMkLst>
            <pc:docMk/>
            <pc:sldMasterMk cId="1256096066" sldId="2147484101"/>
            <pc:sldLayoutMk cId="1627318207" sldId="2147484148"/>
          </pc:sldLayoutMkLst>
        </pc:sldLayoutChg>
        <pc:sldLayoutChg chg="del">
          <pc:chgData name="Peter Coles" userId="a344c0a8-b59e-4587-b829-c50a64eb4e31" providerId="ADAL" clId="{AC9F5FCD-43BD-43B8-97F8-39A04F51C074}" dt="2025-06-09T07:54:30.895" v="163" actId="47"/>
          <pc:sldLayoutMkLst>
            <pc:docMk/>
            <pc:sldMasterMk cId="1256096066" sldId="2147484101"/>
            <pc:sldLayoutMk cId="889063769" sldId="2147484149"/>
          </pc:sldLayoutMkLst>
        </pc:sldLayoutChg>
        <pc:sldLayoutChg chg="del">
          <pc:chgData name="Peter Coles" userId="a344c0a8-b59e-4587-b829-c50a64eb4e31" providerId="ADAL" clId="{AC9F5FCD-43BD-43B8-97F8-39A04F51C074}" dt="2025-06-09T07:54:30.895" v="163" actId="47"/>
          <pc:sldLayoutMkLst>
            <pc:docMk/>
            <pc:sldMasterMk cId="1256096066" sldId="2147484101"/>
            <pc:sldLayoutMk cId="931254213" sldId="2147484150"/>
          </pc:sldLayoutMkLst>
        </pc:sldLayoutChg>
        <pc:sldLayoutChg chg="del">
          <pc:chgData name="Peter Coles" userId="a344c0a8-b59e-4587-b829-c50a64eb4e31" providerId="ADAL" clId="{AC9F5FCD-43BD-43B8-97F8-39A04F51C074}" dt="2025-06-09T07:54:30.895" v="163" actId="47"/>
          <pc:sldLayoutMkLst>
            <pc:docMk/>
            <pc:sldMasterMk cId="1256096066" sldId="2147484101"/>
            <pc:sldLayoutMk cId="797792732" sldId="2147484151"/>
          </pc:sldLayoutMkLst>
        </pc:sldLayoutChg>
        <pc:sldLayoutChg chg="del">
          <pc:chgData name="Peter Coles" userId="a344c0a8-b59e-4587-b829-c50a64eb4e31" providerId="ADAL" clId="{AC9F5FCD-43BD-43B8-97F8-39A04F51C074}" dt="2025-06-09T07:54:30.895" v="163" actId="47"/>
          <pc:sldLayoutMkLst>
            <pc:docMk/>
            <pc:sldMasterMk cId="1256096066" sldId="2147484101"/>
            <pc:sldLayoutMk cId="3723527" sldId="2147484152"/>
          </pc:sldLayoutMkLst>
        </pc:sldLayoutChg>
        <pc:sldLayoutChg chg="del">
          <pc:chgData name="Peter Coles" userId="a344c0a8-b59e-4587-b829-c50a64eb4e31" providerId="ADAL" clId="{AC9F5FCD-43BD-43B8-97F8-39A04F51C074}" dt="2025-06-09T07:54:30.895" v="163" actId="47"/>
          <pc:sldLayoutMkLst>
            <pc:docMk/>
            <pc:sldMasterMk cId="1256096066" sldId="2147484101"/>
            <pc:sldLayoutMk cId="4241026884" sldId="2147484153"/>
          </pc:sldLayoutMkLst>
        </pc:sldLayoutChg>
        <pc:sldLayoutChg chg="del">
          <pc:chgData name="Peter Coles" userId="a344c0a8-b59e-4587-b829-c50a64eb4e31" providerId="ADAL" clId="{AC9F5FCD-43BD-43B8-97F8-39A04F51C074}" dt="2025-06-09T07:54:30.895" v="163" actId="47"/>
          <pc:sldLayoutMkLst>
            <pc:docMk/>
            <pc:sldMasterMk cId="1256096066" sldId="2147484101"/>
            <pc:sldLayoutMk cId="1661948809" sldId="2147484154"/>
          </pc:sldLayoutMkLst>
        </pc:sldLayoutChg>
        <pc:sldLayoutChg chg="del">
          <pc:chgData name="Peter Coles" userId="a344c0a8-b59e-4587-b829-c50a64eb4e31" providerId="ADAL" clId="{AC9F5FCD-43BD-43B8-97F8-39A04F51C074}" dt="2025-06-09T07:54:30.895" v="163" actId="47"/>
          <pc:sldLayoutMkLst>
            <pc:docMk/>
            <pc:sldMasterMk cId="1256096066" sldId="2147484101"/>
            <pc:sldLayoutMk cId="2998875630" sldId="2147484155"/>
          </pc:sldLayoutMkLst>
        </pc:sldLayoutChg>
        <pc:sldLayoutChg chg="del">
          <pc:chgData name="Peter Coles" userId="a344c0a8-b59e-4587-b829-c50a64eb4e31" providerId="ADAL" clId="{AC9F5FCD-43BD-43B8-97F8-39A04F51C074}" dt="2025-06-09T07:54:30.895" v="163" actId="47"/>
          <pc:sldLayoutMkLst>
            <pc:docMk/>
            <pc:sldMasterMk cId="1256096066" sldId="2147484101"/>
            <pc:sldLayoutMk cId="636875199" sldId="2147484156"/>
          </pc:sldLayoutMkLst>
        </pc:sldLayoutChg>
        <pc:sldLayoutChg chg="del">
          <pc:chgData name="Peter Coles" userId="a344c0a8-b59e-4587-b829-c50a64eb4e31" providerId="ADAL" clId="{AC9F5FCD-43BD-43B8-97F8-39A04F51C074}" dt="2025-06-09T07:54:30.895" v="163" actId="47"/>
          <pc:sldLayoutMkLst>
            <pc:docMk/>
            <pc:sldMasterMk cId="1256096066" sldId="2147484101"/>
            <pc:sldLayoutMk cId="655121774" sldId="2147484157"/>
          </pc:sldLayoutMkLst>
        </pc:sldLayoutChg>
        <pc:sldLayoutChg chg="del">
          <pc:chgData name="Peter Coles" userId="a344c0a8-b59e-4587-b829-c50a64eb4e31" providerId="ADAL" clId="{AC9F5FCD-43BD-43B8-97F8-39A04F51C074}" dt="2025-06-09T07:54:30.895" v="163" actId="47"/>
          <pc:sldLayoutMkLst>
            <pc:docMk/>
            <pc:sldMasterMk cId="1256096066" sldId="2147484101"/>
            <pc:sldLayoutMk cId="3170293631" sldId="2147484158"/>
          </pc:sldLayoutMkLst>
        </pc:sldLayoutChg>
        <pc:sldLayoutChg chg="del">
          <pc:chgData name="Peter Coles" userId="a344c0a8-b59e-4587-b829-c50a64eb4e31" providerId="ADAL" clId="{AC9F5FCD-43BD-43B8-97F8-39A04F51C074}" dt="2025-06-09T07:54:30.895" v="163" actId="47"/>
          <pc:sldLayoutMkLst>
            <pc:docMk/>
            <pc:sldMasterMk cId="1256096066" sldId="2147484101"/>
            <pc:sldLayoutMk cId="2536077862" sldId="2147484159"/>
          </pc:sldLayoutMkLst>
        </pc:sldLayoutChg>
        <pc:sldLayoutChg chg="del">
          <pc:chgData name="Peter Coles" userId="a344c0a8-b59e-4587-b829-c50a64eb4e31" providerId="ADAL" clId="{AC9F5FCD-43BD-43B8-97F8-39A04F51C074}" dt="2025-06-09T07:54:30.895" v="163" actId="47"/>
          <pc:sldLayoutMkLst>
            <pc:docMk/>
            <pc:sldMasterMk cId="1256096066" sldId="2147484101"/>
            <pc:sldLayoutMk cId="402531522" sldId="2147484160"/>
          </pc:sldLayoutMkLst>
        </pc:sldLayoutChg>
        <pc:sldLayoutChg chg="del">
          <pc:chgData name="Peter Coles" userId="a344c0a8-b59e-4587-b829-c50a64eb4e31" providerId="ADAL" clId="{AC9F5FCD-43BD-43B8-97F8-39A04F51C074}" dt="2025-06-09T07:54:30.895" v="163" actId="47"/>
          <pc:sldLayoutMkLst>
            <pc:docMk/>
            <pc:sldMasterMk cId="1256096066" sldId="2147484101"/>
            <pc:sldLayoutMk cId="47022655" sldId="2147484161"/>
          </pc:sldLayoutMkLst>
        </pc:sldLayoutChg>
        <pc:sldLayoutChg chg="del">
          <pc:chgData name="Peter Coles" userId="a344c0a8-b59e-4587-b829-c50a64eb4e31" providerId="ADAL" clId="{AC9F5FCD-43BD-43B8-97F8-39A04F51C074}" dt="2025-06-09T07:54:30.895" v="163" actId="47"/>
          <pc:sldLayoutMkLst>
            <pc:docMk/>
            <pc:sldMasterMk cId="1256096066" sldId="2147484101"/>
            <pc:sldLayoutMk cId="3361061399" sldId="2147484162"/>
          </pc:sldLayoutMkLst>
        </pc:sldLayoutChg>
        <pc:sldLayoutChg chg="del">
          <pc:chgData name="Peter Coles" userId="a344c0a8-b59e-4587-b829-c50a64eb4e31" providerId="ADAL" clId="{AC9F5FCD-43BD-43B8-97F8-39A04F51C074}" dt="2025-06-09T07:54:30.895" v="163" actId="47"/>
          <pc:sldLayoutMkLst>
            <pc:docMk/>
            <pc:sldMasterMk cId="1256096066" sldId="2147484101"/>
            <pc:sldLayoutMk cId="2979712883" sldId="2147484163"/>
          </pc:sldLayoutMkLst>
        </pc:sldLayoutChg>
        <pc:sldLayoutChg chg="del">
          <pc:chgData name="Peter Coles" userId="a344c0a8-b59e-4587-b829-c50a64eb4e31" providerId="ADAL" clId="{AC9F5FCD-43BD-43B8-97F8-39A04F51C074}" dt="2025-06-09T07:54:30.895" v="163" actId="47"/>
          <pc:sldLayoutMkLst>
            <pc:docMk/>
            <pc:sldMasterMk cId="1256096066" sldId="2147484101"/>
            <pc:sldLayoutMk cId="2797511173" sldId="2147484164"/>
          </pc:sldLayoutMkLst>
        </pc:sldLayoutChg>
        <pc:sldLayoutChg chg="del">
          <pc:chgData name="Peter Coles" userId="a344c0a8-b59e-4587-b829-c50a64eb4e31" providerId="ADAL" clId="{AC9F5FCD-43BD-43B8-97F8-39A04F51C074}" dt="2025-06-09T07:54:30.895" v="163" actId="47"/>
          <pc:sldLayoutMkLst>
            <pc:docMk/>
            <pc:sldMasterMk cId="1256096066" sldId="2147484101"/>
            <pc:sldLayoutMk cId="397948075" sldId="2147484165"/>
          </pc:sldLayoutMkLst>
        </pc:sldLayoutChg>
        <pc:sldLayoutChg chg="del">
          <pc:chgData name="Peter Coles" userId="a344c0a8-b59e-4587-b829-c50a64eb4e31" providerId="ADAL" clId="{AC9F5FCD-43BD-43B8-97F8-39A04F51C074}" dt="2025-06-09T07:54:30.895" v="163" actId="47"/>
          <pc:sldLayoutMkLst>
            <pc:docMk/>
            <pc:sldMasterMk cId="1256096066" sldId="2147484101"/>
            <pc:sldLayoutMk cId="2276504341" sldId="2147484166"/>
          </pc:sldLayoutMkLst>
        </pc:sldLayoutChg>
        <pc:sldLayoutChg chg="del">
          <pc:chgData name="Peter Coles" userId="a344c0a8-b59e-4587-b829-c50a64eb4e31" providerId="ADAL" clId="{AC9F5FCD-43BD-43B8-97F8-39A04F51C074}" dt="2025-06-09T07:54:30.895" v="163" actId="47"/>
          <pc:sldLayoutMkLst>
            <pc:docMk/>
            <pc:sldMasterMk cId="1256096066" sldId="2147484101"/>
            <pc:sldLayoutMk cId="289309019" sldId="2147484167"/>
          </pc:sldLayoutMkLst>
        </pc:sldLayoutChg>
        <pc:sldLayoutChg chg="del">
          <pc:chgData name="Peter Coles" userId="a344c0a8-b59e-4587-b829-c50a64eb4e31" providerId="ADAL" clId="{AC9F5FCD-43BD-43B8-97F8-39A04F51C074}" dt="2025-06-09T07:54:30.895" v="163" actId="47"/>
          <pc:sldLayoutMkLst>
            <pc:docMk/>
            <pc:sldMasterMk cId="1256096066" sldId="2147484101"/>
            <pc:sldLayoutMk cId="1981330700" sldId="2147484168"/>
          </pc:sldLayoutMkLst>
        </pc:sldLayoutChg>
        <pc:sldLayoutChg chg="del">
          <pc:chgData name="Peter Coles" userId="a344c0a8-b59e-4587-b829-c50a64eb4e31" providerId="ADAL" clId="{AC9F5FCD-43BD-43B8-97F8-39A04F51C074}" dt="2025-06-09T07:54:30.895" v="163" actId="47"/>
          <pc:sldLayoutMkLst>
            <pc:docMk/>
            <pc:sldMasterMk cId="1256096066" sldId="2147484101"/>
            <pc:sldLayoutMk cId="2542922602" sldId="2147484169"/>
          </pc:sldLayoutMkLst>
        </pc:sldLayoutChg>
        <pc:sldLayoutChg chg="del">
          <pc:chgData name="Peter Coles" userId="a344c0a8-b59e-4587-b829-c50a64eb4e31" providerId="ADAL" clId="{AC9F5FCD-43BD-43B8-97F8-39A04F51C074}" dt="2025-06-09T07:54:30.895" v="163" actId="47"/>
          <pc:sldLayoutMkLst>
            <pc:docMk/>
            <pc:sldMasterMk cId="1256096066" sldId="2147484101"/>
            <pc:sldLayoutMk cId="408805627" sldId="2147484170"/>
          </pc:sldLayoutMkLst>
        </pc:sldLayoutChg>
        <pc:sldLayoutChg chg="del">
          <pc:chgData name="Peter Coles" userId="a344c0a8-b59e-4587-b829-c50a64eb4e31" providerId="ADAL" clId="{AC9F5FCD-43BD-43B8-97F8-39A04F51C074}" dt="2025-06-09T07:54:30.895" v="163" actId="47"/>
          <pc:sldLayoutMkLst>
            <pc:docMk/>
            <pc:sldMasterMk cId="1256096066" sldId="2147484101"/>
            <pc:sldLayoutMk cId="4120924974" sldId="2147484171"/>
          </pc:sldLayoutMkLst>
        </pc:sldLayoutChg>
        <pc:sldLayoutChg chg="del">
          <pc:chgData name="Peter Coles" userId="a344c0a8-b59e-4587-b829-c50a64eb4e31" providerId="ADAL" clId="{AC9F5FCD-43BD-43B8-97F8-39A04F51C074}" dt="2025-06-09T07:54:30.895" v="163" actId="47"/>
          <pc:sldLayoutMkLst>
            <pc:docMk/>
            <pc:sldMasterMk cId="1256096066" sldId="2147484101"/>
            <pc:sldLayoutMk cId="1741911282" sldId="2147484172"/>
          </pc:sldLayoutMkLst>
        </pc:sldLayoutChg>
        <pc:sldLayoutChg chg="del">
          <pc:chgData name="Peter Coles" userId="a344c0a8-b59e-4587-b829-c50a64eb4e31" providerId="ADAL" clId="{AC9F5FCD-43BD-43B8-97F8-39A04F51C074}" dt="2025-06-09T07:54:30.895" v="163" actId="47"/>
          <pc:sldLayoutMkLst>
            <pc:docMk/>
            <pc:sldMasterMk cId="1256096066" sldId="2147484101"/>
            <pc:sldLayoutMk cId="3028509194" sldId="2147484173"/>
          </pc:sldLayoutMkLst>
        </pc:sldLayoutChg>
        <pc:sldLayoutChg chg="del">
          <pc:chgData name="Peter Coles" userId="a344c0a8-b59e-4587-b829-c50a64eb4e31" providerId="ADAL" clId="{AC9F5FCD-43BD-43B8-97F8-39A04F51C074}" dt="2025-06-09T07:54:30.895" v="163" actId="47"/>
          <pc:sldLayoutMkLst>
            <pc:docMk/>
            <pc:sldMasterMk cId="1256096066" sldId="2147484101"/>
            <pc:sldLayoutMk cId="1177678504" sldId="2147484174"/>
          </pc:sldLayoutMkLst>
        </pc:sldLayoutChg>
        <pc:sldLayoutChg chg="del">
          <pc:chgData name="Peter Coles" userId="a344c0a8-b59e-4587-b829-c50a64eb4e31" providerId="ADAL" clId="{AC9F5FCD-43BD-43B8-97F8-39A04F51C074}" dt="2025-06-09T07:54:30.895" v="163" actId="47"/>
          <pc:sldLayoutMkLst>
            <pc:docMk/>
            <pc:sldMasterMk cId="1256096066" sldId="2147484101"/>
            <pc:sldLayoutMk cId="206208550" sldId="2147484175"/>
          </pc:sldLayoutMkLst>
        </pc:sldLayoutChg>
        <pc:sldLayoutChg chg="del">
          <pc:chgData name="Peter Coles" userId="a344c0a8-b59e-4587-b829-c50a64eb4e31" providerId="ADAL" clId="{AC9F5FCD-43BD-43B8-97F8-39A04F51C074}" dt="2025-06-09T07:54:30.895" v="163" actId="47"/>
          <pc:sldLayoutMkLst>
            <pc:docMk/>
            <pc:sldMasterMk cId="1256096066" sldId="2147484101"/>
            <pc:sldLayoutMk cId="49026796" sldId="2147484176"/>
          </pc:sldLayoutMkLst>
        </pc:sldLayoutChg>
        <pc:sldLayoutChg chg="del">
          <pc:chgData name="Peter Coles" userId="a344c0a8-b59e-4587-b829-c50a64eb4e31" providerId="ADAL" clId="{AC9F5FCD-43BD-43B8-97F8-39A04F51C074}" dt="2025-06-09T07:54:30.895" v="163" actId="47"/>
          <pc:sldLayoutMkLst>
            <pc:docMk/>
            <pc:sldMasterMk cId="1256096066" sldId="2147484101"/>
            <pc:sldLayoutMk cId="692323902" sldId="2147484177"/>
          </pc:sldLayoutMkLst>
        </pc:sldLayoutChg>
        <pc:sldLayoutChg chg="del">
          <pc:chgData name="Peter Coles" userId="a344c0a8-b59e-4587-b829-c50a64eb4e31" providerId="ADAL" clId="{AC9F5FCD-43BD-43B8-97F8-39A04F51C074}" dt="2025-06-09T07:54:30.895" v="163" actId="47"/>
          <pc:sldLayoutMkLst>
            <pc:docMk/>
            <pc:sldMasterMk cId="1256096066" sldId="2147484101"/>
            <pc:sldLayoutMk cId="1257891517" sldId="2147484178"/>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37A459F-959F-DBD6-CC19-FBBCE99F7F6E}"/>
              </a:ext>
            </a:extLst>
          </p:cNvPr>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GB" dirty="0">
              <a:latin typeface="Montserrat" pitchFamily="2" charset="0"/>
            </a:endParaRPr>
          </a:p>
        </p:txBody>
      </p:sp>
      <p:sp>
        <p:nvSpPr>
          <p:cNvPr id="3" name="Date Placeholder 2">
            <a:extLst>
              <a:ext uri="{FF2B5EF4-FFF2-40B4-BE49-F238E27FC236}">
                <a16:creationId xmlns:a16="http://schemas.microsoft.com/office/drawing/2014/main" id="{E1E6DC4F-69EB-85F3-3F00-EA13B145CBD3}"/>
              </a:ext>
            </a:extLst>
          </p:cNvPr>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8727036E-5A30-494E-96D4-BBF42FE9C217}" type="datetimeFigureOut">
              <a:rPr lang="en-GB" smtClean="0">
                <a:latin typeface="Montserrat" pitchFamily="2" charset="0"/>
              </a:rPr>
              <a:t>09/06/2025</a:t>
            </a:fld>
            <a:endParaRPr lang="en-GB" dirty="0">
              <a:latin typeface="Montserrat" pitchFamily="2" charset="0"/>
            </a:endParaRPr>
          </a:p>
        </p:txBody>
      </p:sp>
      <p:sp>
        <p:nvSpPr>
          <p:cNvPr id="4" name="Footer Placeholder 3">
            <a:extLst>
              <a:ext uri="{FF2B5EF4-FFF2-40B4-BE49-F238E27FC236}">
                <a16:creationId xmlns:a16="http://schemas.microsoft.com/office/drawing/2014/main" id="{F5DD83C3-EBA3-674A-83EB-18737B274EA0}"/>
              </a:ext>
            </a:extLst>
          </p:cNvPr>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en-GB" dirty="0">
              <a:latin typeface="Montserrat" pitchFamily="2" charset="0"/>
            </a:endParaRPr>
          </a:p>
        </p:txBody>
      </p:sp>
      <p:sp>
        <p:nvSpPr>
          <p:cNvPr id="5" name="Slide Number Placeholder 4">
            <a:extLst>
              <a:ext uri="{FF2B5EF4-FFF2-40B4-BE49-F238E27FC236}">
                <a16:creationId xmlns:a16="http://schemas.microsoft.com/office/drawing/2014/main" id="{90FEBF5D-7415-E7B7-321E-4D15EEED948F}"/>
              </a:ext>
            </a:extLst>
          </p:cNvPr>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0A2CC435-8FB1-4A00-ABB9-4FEDAD530A41}" type="slidenum">
              <a:rPr lang="en-GB" smtClean="0">
                <a:latin typeface="Montserrat" pitchFamily="2" charset="0"/>
              </a:rPr>
              <a:t>‹#›</a:t>
            </a:fld>
            <a:endParaRPr lang="en-GB" dirty="0">
              <a:latin typeface="Montserrat" pitchFamily="2" charset="0"/>
            </a:endParaRPr>
          </a:p>
        </p:txBody>
      </p:sp>
    </p:spTree>
    <p:extLst>
      <p:ext uri="{BB962C8B-B14F-4D97-AF65-F5344CB8AC3E}">
        <p14:creationId xmlns:p14="http://schemas.microsoft.com/office/powerpoint/2010/main" val="224875769"/>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3127" userDrawn="1">
          <p15:clr>
            <a:srgbClr val="F26B43"/>
          </p15:clr>
        </p15:guide>
        <p15:guide id="2" pos="214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atin typeface="Montserrat" pitchFamily="2" charset="0"/>
              </a:defRPr>
            </a:lvl1pPr>
          </a:lstStyle>
          <a:p>
            <a:endParaRPr lang="en-GB" dirty="0"/>
          </a:p>
        </p:txBody>
      </p:sp>
      <p:sp>
        <p:nvSpPr>
          <p:cNvPr id="3" name="Date Placehold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atin typeface="Montserrat" pitchFamily="2" charset="0"/>
              </a:defRPr>
            </a:lvl1pPr>
          </a:lstStyle>
          <a:p>
            <a:fld id="{E3036BF6-1C10-4CAD-B450-B4AC77F1FE31}" type="datetimeFigureOut">
              <a:rPr lang="en-GB" smtClean="0"/>
              <a:pPr/>
              <a:t>09/06/2025</a:t>
            </a:fld>
            <a:endParaRPr lang="en-GB" dirty="0"/>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atin typeface="Montserrat" pitchFamily="2" charset="0"/>
              </a:defRPr>
            </a:lvl1pPr>
          </a:lstStyle>
          <a:p>
            <a:endParaRPr lang="en-GB" dirty="0"/>
          </a:p>
        </p:txBody>
      </p:sp>
      <p:sp>
        <p:nvSpPr>
          <p:cNvPr id="7" name="Slide Number Placehold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atin typeface="Montserrat" pitchFamily="2" charset="0"/>
              </a:defRPr>
            </a:lvl1pPr>
          </a:lstStyle>
          <a:p>
            <a:fld id="{1F06940F-878C-41E5-9C2B-9B16F1121037}" type="slidenum">
              <a:rPr lang="en-GB" smtClean="0"/>
              <a:pPr/>
              <a:t>‹#›</a:t>
            </a:fld>
            <a:endParaRPr lang="en-GB" dirty="0"/>
          </a:p>
        </p:txBody>
      </p:sp>
    </p:spTree>
    <p:extLst>
      <p:ext uri="{BB962C8B-B14F-4D97-AF65-F5344CB8AC3E}">
        <p14:creationId xmlns:p14="http://schemas.microsoft.com/office/powerpoint/2010/main" val="33443817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ontserrat" pitchFamily="2" charset="0"/>
        <a:ea typeface="+mn-ea"/>
        <a:cs typeface="+mn-cs"/>
      </a:defRPr>
    </a:lvl1pPr>
    <a:lvl2pPr marL="457200" algn="l" defTabSz="914400" rtl="0" eaLnBrk="1" latinLnBrk="0" hangingPunct="1">
      <a:defRPr sz="1200" kern="1200">
        <a:solidFill>
          <a:schemeClr val="tx1"/>
        </a:solidFill>
        <a:latin typeface="Montserrat" pitchFamily="2" charset="0"/>
        <a:ea typeface="+mn-ea"/>
        <a:cs typeface="+mn-cs"/>
      </a:defRPr>
    </a:lvl2pPr>
    <a:lvl3pPr marL="914400" algn="l" defTabSz="914400" rtl="0" eaLnBrk="1" latinLnBrk="0" hangingPunct="1">
      <a:defRPr sz="1200" kern="1200">
        <a:solidFill>
          <a:schemeClr val="tx1"/>
        </a:solidFill>
        <a:latin typeface="Montserrat" pitchFamily="2" charset="0"/>
        <a:ea typeface="+mn-ea"/>
        <a:cs typeface="+mn-cs"/>
      </a:defRPr>
    </a:lvl3pPr>
    <a:lvl4pPr marL="1371600" algn="l" defTabSz="914400" rtl="0" eaLnBrk="1" latinLnBrk="0" hangingPunct="1">
      <a:defRPr sz="1200" kern="1200">
        <a:solidFill>
          <a:schemeClr val="tx1"/>
        </a:solidFill>
        <a:latin typeface="Montserrat" pitchFamily="2" charset="0"/>
        <a:ea typeface="+mn-ea"/>
        <a:cs typeface="+mn-cs"/>
      </a:defRPr>
    </a:lvl4pPr>
    <a:lvl5pPr marL="1828800" algn="l" defTabSz="914400" rtl="0" eaLnBrk="1" latinLnBrk="0" hangingPunct="1">
      <a:defRPr sz="1200" kern="1200">
        <a:solidFill>
          <a:schemeClr val="tx1"/>
        </a:solidFill>
        <a:latin typeface="Montserrat" pitchFamily="2"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F06940F-878C-41E5-9C2B-9B16F1121037}" type="slidenum">
              <a:rPr kumimoji="0" lang="en-GB" sz="1300" b="0" i="0" u="none" strike="noStrike" kern="1200" cap="none" spc="0" normalizeH="0" baseline="0" noProof="0" smtClean="0">
                <a:ln>
                  <a:noFill/>
                </a:ln>
                <a:solidFill>
                  <a:prstClr val="black"/>
                </a:solidFill>
                <a:effectLst/>
                <a:uLnTx/>
                <a:uFillTx/>
                <a:latin typeface="Montserrat" pitchFamily="2"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GB" sz="1300" b="0" i="0" u="none" strike="noStrike" kern="1200" cap="none" spc="0" normalizeH="0" baseline="0" noProof="0" dirty="0">
              <a:ln>
                <a:noFill/>
              </a:ln>
              <a:solidFill>
                <a:prstClr val="black"/>
              </a:solidFill>
              <a:effectLst/>
              <a:uLnTx/>
              <a:uFillTx/>
              <a:latin typeface="Montserrat" pitchFamily="2" charset="0"/>
              <a:ea typeface="+mn-ea"/>
              <a:cs typeface="+mn-cs"/>
            </a:endParaRPr>
          </a:p>
        </p:txBody>
      </p:sp>
    </p:spTree>
    <p:extLst>
      <p:ext uri="{BB962C8B-B14F-4D97-AF65-F5344CB8AC3E}">
        <p14:creationId xmlns:p14="http://schemas.microsoft.com/office/powerpoint/2010/main" val="38451601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1F06940F-878C-41E5-9C2B-9B16F1121037}" type="slidenum">
              <a:rPr lang="en-GB" smtClean="0"/>
              <a:pPr/>
              <a:t>4</a:t>
            </a:fld>
            <a:endParaRPr lang="en-GB" dirty="0"/>
          </a:p>
        </p:txBody>
      </p:sp>
    </p:spTree>
    <p:extLst>
      <p:ext uri="{BB962C8B-B14F-4D97-AF65-F5344CB8AC3E}">
        <p14:creationId xmlns:p14="http://schemas.microsoft.com/office/powerpoint/2010/main" val="9050788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115EA1-286B-4ADE-B3BB-6B7E28C42D5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E028E15-D6CC-2B20-B1F8-EFBE44D50C8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10928FC-E2C0-2D27-A312-E1146FDE9541}"/>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7F37ABCD-7941-9545-929A-DCB5CBAA5F4C}"/>
              </a:ext>
            </a:extLst>
          </p:cNvPr>
          <p:cNvSpPr>
            <a:spLocks noGrp="1"/>
          </p:cNvSpPr>
          <p:nvPr>
            <p:ph type="sldNum" sz="quarter" idx="5"/>
          </p:nvPr>
        </p:nvSpPr>
        <p:spPr/>
        <p:txBody>
          <a:bodyPr/>
          <a:lstStyle/>
          <a:p>
            <a:fld id="{1F06940F-878C-41E5-9C2B-9B16F1121037}" type="slidenum">
              <a:rPr lang="en-GB" smtClean="0"/>
              <a:pPr/>
              <a:t>5</a:t>
            </a:fld>
            <a:endParaRPr lang="en-GB" dirty="0"/>
          </a:p>
        </p:txBody>
      </p:sp>
    </p:spTree>
    <p:extLst>
      <p:ext uri="{BB962C8B-B14F-4D97-AF65-F5344CB8AC3E}">
        <p14:creationId xmlns:p14="http://schemas.microsoft.com/office/powerpoint/2010/main" val="24028323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1F06940F-878C-41E5-9C2B-9B16F1121037}" type="slidenum">
              <a:rPr lang="en-GB" smtClean="0"/>
              <a:pPr/>
              <a:t>16</a:t>
            </a:fld>
            <a:endParaRPr lang="en-GB" dirty="0"/>
          </a:p>
        </p:txBody>
      </p:sp>
    </p:spTree>
    <p:extLst>
      <p:ext uri="{BB962C8B-B14F-4D97-AF65-F5344CB8AC3E}">
        <p14:creationId xmlns:p14="http://schemas.microsoft.com/office/powerpoint/2010/main" val="55688239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5.xml"/><Relationship Id="rId5" Type="http://schemas.openxmlformats.org/officeDocument/2006/relationships/image" Target="NULL"/><Relationship Id="rId4" Type="http://schemas.openxmlformats.org/officeDocument/2006/relationships/image" Target="../media/image15.emf"/></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6.xml"/><Relationship Id="rId5" Type="http://schemas.openxmlformats.org/officeDocument/2006/relationships/image" Target="NULL"/><Relationship Id="rId4" Type="http://schemas.openxmlformats.org/officeDocument/2006/relationships/image" Target="../media/image15.emf"/></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7.xml"/><Relationship Id="rId5" Type="http://schemas.openxmlformats.org/officeDocument/2006/relationships/image" Target="NULL"/><Relationship Id="rId4" Type="http://schemas.openxmlformats.org/officeDocument/2006/relationships/image" Target="../media/image15.emf"/></Relationships>
</file>

<file path=ppt/slideLayouts/_rels/slideLayout103.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8.xml"/></Relationships>
</file>

<file path=ppt/slideLayouts/_rels/slideLayout10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9.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tags" Target="../tags/tag10.xml"/><Relationship Id="rId4" Type="http://schemas.openxmlformats.org/officeDocument/2006/relationships/image" Target="NUL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4277588-5F15-3C4C-B4EF-DC3C5A9DFC4E}"/>
              </a:ext>
            </a:extLst>
          </p:cNvPr>
          <p:cNvSpPr>
            <a:spLocks noGrp="1"/>
          </p:cNvSpPr>
          <p:nvPr>
            <p:ph type="pic" sz="quarter" idx="13" hasCustomPrompt="1"/>
          </p:nvPr>
        </p:nvSpPr>
        <p:spPr>
          <a:xfrm>
            <a:off x="4067176" y="0"/>
            <a:ext cx="8124824" cy="6858000"/>
          </a:xfrm>
          <a:solidFill>
            <a:schemeClr val="tx1"/>
          </a:solidFill>
        </p:spPr>
        <p:txBody>
          <a:bodyPr anchor="ctr">
            <a:normAutofit/>
          </a:bodyPr>
          <a:lstStyle>
            <a:lvl1pPr algn="ctr">
              <a:defRPr sz="2800" b="0">
                <a:solidFill>
                  <a:schemeClr val="bg1"/>
                </a:solidFill>
                <a:latin typeface="+mj-lt"/>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US" dirty="0"/>
              <a:t>ADD RELATED IMAGE </a:t>
            </a:r>
            <a:br>
              <a:rPr lang="en-US" dirty="0"/>
            </a:br>
            <a:r>
              <a:rPr lang="en-US" dirty="0"/>
              <a:t>FROM HFW IMAGE LIBRARY</a:t>
            </a:r>
            <a:endParaRPr lang="en-GB" dirty="0"/>
          </a:p>
        </p:txBody>
      </p:sp>
      <p:sp>
        <p:nvSpPr>
          <p:cNvPr id="9" name="Rectangle 8">
            <a:extLst>
              <a:ext uri="{FF2B5EF4-FFF2-40B4-BE49-F238E27FC236}">
                <a16:creationId xmlns:a16="http://schemas.microsoft.com/office/drawing/2014/main" id="{708FD88D-9C74-4D94-62A5-47E768F9DCD7}"/>
              </a:ext>
            </a:extLst>
          </p:cNvPr>
          <p:cNvSpPr/>
          <p:nvPr userDrawn="1"/>
        </p:nvSpPr>
        <p:spPr>
          <a:xfrm>
            <a:off x="0" y="0"/>
            <a:ext cx="406717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hasCustomPrompt="1"/>
          </p:nvPr>
        </p:nvSpPr>
        <p:spPr>
          <a:xfrm>
            <a:off x="508939" y="2430692"/>
            <a:ext cx="2792526" cy="2387600"/>
          </a:xfrm>
        </p:spPr>
        <p:txBody>
          <a:bodyPr vert="horz" lIns="0" tIns="0" rIns="0" bIns="0" rtlCol="0" anchor="t" anchorCtr="0">
            <a:noAutofit/>
          </a:bodyPr>
          <a:lstStyle>
            <a:lvl1pPr>
              <a:lnSpc>
                <a:spcPct val="100000"/>
              </a:lnSpc>
              <a:defRPr lang="en-US" sz="3300" dirty="0">
                <a:solidFill>
                  <a:schemeClr val="bg1"/>
                </a:solidFill>
              </a:defRPr>
            </a:lvl1pPr>
          </a:lstStyle>
          <a:p>
            <a:pPr lvl="0"/>
            <a:r>
              <a:rPr lang="en-US" dirty="0"/>
              <a:t>PROPOSAL TO [CLIENT] FOR LEGAL SERVICES</a:t>
            </a:r>
          </a:p>
        </p:txBody>
      </p:sp>
      <p:sp>
        <p:nvSpPr>
          <p:cNvPr id="13" name="Text Placeholder 12">
            <a:extLst>
              <a:ext uri="{FF2B5EF4-FFF2-40B4-BE49-F238E27FC236}">
                <a16:creationId xmlns:a16="http://schemas.microsoft.com/office/drawing/2014/main" id="{BBA3AA40-3440-5851-3972-390D3DEB2219}"/>
              </a:ext>
            </a:extLst>
          </p:cNvPr>
          <p:cNvSpPr>
            <a:spLocks noGrp="1"/>
          </p:cNvSpPr>
          <p:nvPr>
            <p:ph type="body" sz="quarter" idx="14" hasCustomPrompt="1"/>
          </p:nvPr>
        </p:nvSpPr>
        <p:spPr>
          <a:xfrm>
            <a:off x="508939" y="5989638"/>
            <a:ext cx="3387140" cy="230187"/>
          </a:xfrm>
        </p:spPr>
        <p:txBody>
          <a:bodyPr tIns="0" bIns="0">
            <a:noAutofit/>
          </a:bodyPr>
          <a:lstStyle>
            <a:lvl1pPr>
              <a:defRPr sz="1400" cap="all" baseline="0">
                <a:solidFill>
                  <a:schemeClr val="accent2"/>
                </a:solidFill>
                <a:latin typeface="+mj-lt"/>
              </a:defRPr>
            </a:lvl1pPr>
            <a:lvl2pPr>
              <a:defRPr>
                <a:solidFill>
                  <a:schemeClr val="bg1"/>
                </a:solidFill>
                <a:latin typeface="+mn-lt"/>
              </a:defRPr>
            </a:lvl2pPr>
            <a:lvl3pPr>
              <a:defRPr>
                <a:solidFill>
                  <a:schemeClr val="bg1"/>
                </a:solidFill>
                <a:latin typeface="+mn-lt"/>
              </a:defRPr>
            </a:lvl3pPr>
            <a:lvl4pPr>
              <a:defRPr>
                <a:solidFill>
                  <a:schemeClr val="bg1"/>
                </a:solidFill>
                <a:latin typeface="+mn-lt"/>
              </a:defRPr>
            </a:lvl4pPr>
            <a:lvl5pPr>
              <a:defRPr>
                <a:solidFill>
                  <a:schemeClr val="bg1"/>
                </a:solidFill>
                <a:latin typeface="+mn-lt"/>
              </a:defRPr>
            </a:lvl5pPr>
          </a:lstStyle>
          <a:p>
            <a:pPr lvl="0"/>
            <a:r>
              <a:rPr lang="en-US" dirty="0"/>
              <a:t>DAY MONTH YEAR</a:t>
            </a:r>
            <a:endParaRPr lang="en-GB" dirty="0"/>
          </a:p>
        </p:txBody>
      </p:sp>
      <p:sp>
        <p:nvSpPr>
          <p:cNvPr id="4" name="TextBox 4">
            <a:extLst>
              <a:ext uri="{FF2B5EF4-FFF2-40B4-BE49-F238E27FC236}">
                <a16:creationId xmlns:a16="http://schemas.microsoft.com/office/drawing/2014/main" id="{265B2CA7-EDCD-E4A1-AC81-AB1BF0FA5D17}"/>
              </a:ext>
            </a:extLst>
          </p:cNvPr>
          <p:cNvSpPr txBox="1"/>
          <p:nvPr userDrawn="1"/>
        </p:nvSpPr>
        <p:spPr>
          <a:xfrm>
            <a:off x="12346713" y="109538"/>
            <a:ext cx="1934437" cy="31700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INSERTING IMAGES:</a:t>
            </a:r>
          </a:p>
          <a:p>
            <a:pPr marL="179388" indent="-179388">
              <a:spcBef>
                <a:spcPts val="200"/>
              </a:spcBef>
              <a:spcAft>
                <a:spcPts val="200"/>
              </a:spcAft>
              <a:buFont typeface="+mj-lt"/>
              <a:buAutoNum type="arabicPeriod"/>
            </a:pPr>
            <a:r>
              <a:rPr lang="en-US" sz="900" dirty="0">
                <a:solidFill>
                  <a:schemeClr val="tx1"/>
                </a:solidFill>
                <a:latin typeface="+mn-lt"/>
              </a:rPr>
              <a:t>Simply click the image placeholder and select your image.</a:t>
            </a:r>
          </a:p>
          <a:p>
            <a:pPr marL="179388" indent="-179388">
              <a:spcBef>
                <a:spcPts val="200"/>
              </a:spcBef>
              <a:spcAft>
                <a:spcPts val="200"/>
              </a:spcAft>
              <a:buFont typeface="+mj-lt"/>
              <a:buAutoNum type="arabicPeriod"/>
            </a:pPr>
            <a:r>
              <a:rPr lang="en-US" sz="900" dirty="0">
                <a:solidFill>
                  <a:schemeClr val="tx1"/>
                </a:solidFill>
                <a:latin typeface="+mn-lt"/>
              </a:rPr>
              <a:t>Once your image is inserted into the shape it may be distorted. (Stretched or Squashed)</a:t>
            </a:r>
          </a:p>
          <a:p>
            <a:pPr marL="179388" indent="-179388">
              <a:spcBef>
                <a:spcPts val="200"/>
              </a:spcBef>
              <a:spcAft>
                <a:spcPts val="200"/>
              </a:spcAft>
              <a:buFont typeface="+mj-lt"/>
              <a:buAutoNum type="arabicPeriod"/>
            </a:pPr>
            <a:endParaRPr lang="en-US" sz="900" dirty="0">
              <a:solidFill>
                <a:schemeClr val="tx1"/>
              </a:solidFill>
              <a:latin typeface="+mn-lt"/>
            </a:endParaRPr>
          </a:p>
          <a:p>
            <a:pPr>
              <a:spcBef>
                <a:spcPts val="200"/>
              </a:spcBef>
              <a:spcAft>
                <a:spcPts val="200"/>
              </a:spcAft>
            </a:pPr>
            <a:r>
              <a:rPr lang="en-US" sz="900" b="1" dirty="0">
                <a:solidFill>
                  <a:schemeClr val="tx1"/>
                </a:solidFill>
                <a:latin typeface="+mn-lt"/>
              </a:rPr>
              <a:t>To fix this:</a:t>
            </a:r>
          </a:p>
          <a:p>
            <a:pPr marL="179388" indent="-179388">
              <a:spcBef>
                <a:spcPts val="200"/>
              </a:spcBef>
              <a:spcAft>
                <a:spcPts val="200"/>
              </a:spcAft>
              <a:buFont typeface="+mj-lt"/>
              <a:buAutoNum type="arabicPeriod"/>
            </a:pPr>
            <a:r>
              <a:rPr lang="en-US" sz="900" dirty="0">
                <a:solidFill>
                  <a:schemeClr val="tx1"/>
                </a:solidFill>
                <a:latin typeface="+mn-lt"/>
              </a:rPr>
              <a:t>Click on the image and from the top menu under </a:t>
            </a:r>
            <a:r>
              <a:rPr lang="en-US" sz="900" b="1" dirty="0">
                <a:solidFill>
                  <a:schemeClr val="tx1"/>
                </a:solidFill>
                <a:latin typeface="+mn-lt"/>
              </a:rPr>
              <a:t>PICTURE FORMAT </a:t>
            </a:r>
            <a:r>
              <a:rPr lang="en-US" sz="900" dirty="0">
                <a:solidFill>
                  <a:schemeClr val="tx1"/>
                </a:solidFill>
                <a:latin typeface="+mn-lt"/>
              </a:rPr>
              <a:t>select the </a:t>
            </a:r>
            <a:r>
              <a:rPr lang="en-US" sz="900" b="1" dirty="0">
                <a:solidFill>
                  <a:schemeClr val="tx1"/>
                </a:solidFill>
                <a:latin typeface="+mn-lt"/>
              </a:rPr>
              <a:t>CROP</a:t>
            </a:r>
            <a:r>
              <a:rPr lang="en-US" sz="900" dirty="0">
                <a:solidFill>
                  <a:schemeClr val="tx1"/>
                </a:solidFill>
                <a:latin typeface="+mn-lt"/>
              </a:rPr>
              <a:t> on the right and from the drop down menu select </a:t>
            </a:r>
            <a:r>
              <a:rPr lang="en-US" sz="900" b="1" kern="1200" dirty="0">
                <a:solidFill>
                  <a:schemeClr val="tx1"/>
                </a:solidFill>
                <a:latin typeface="+mn-lt"/>
                <a:ea typeface="+mn-ea"/>
                <a:cs typeface="+mn-cs"/>
              </a:rPr>
              <a:t>FILL</a:t>
            </a:r>
          </a:p>
          <a:p>
            <a:pPr marL="179388" indent="-179388">
              <a:spcBef>
                <a:spcPts val="200"/>
              </a:spcBef>
              <a:spcAft>
                <a:spcPts val="200"/>
              </a:spcAft>
              <a:buFont typeface="+mj-lt"/>
              <a:buAutoNum type="arabicPeriod"/>
            </a:pPr>
            <a:r>
              <a:rPr lang="en-US" sz="900" b="0" kern="1200" dirty="0">
                <a:solidFill>
                  <a:schemeClr val="tx1"/>
                </a:solidFill>
                <a:latin typeface="+mn-lt"/>
                <a:ea typeface="+mn-ea"/>
                <a:cs typeface="+mn-cs"/>
              </a:rPr>
              <a:t>From here you can move the image within the shape for best visual appearance</a:t>
            </a:r>
          </a:p>
        </p:txBody>
      </p:sp>
      <p:sp>
        <p:nvSpPr>
          <p:cNvPr id="15" name="Graphic 13">
            <a:extLst>
              <a:ext uri="{FF2B5EF4-FFF2-40B4-BE49-F238E27FC236}">
                <a16:creationId xmlns:a16="http://schemas.microsoft.com/office/drawing/2014/main" id="{F55B8285-32D5-4BE7-BD14-B9806C407E31}"/>
              </a:ext>
            </a:extLst>
          </p:cNvPr>
          <p:cNvSpPr>
            <a:spLocks noGrp="1" noRot="1" noMove="1" noResize="1" noEditPoints="1" noAdjustHandles="1" noChangeArrowheads="1" noChangeShapeType="1"/>
          </p:cNvSpPr>
          <p:nvPr/>
        </p:nvSpPr>
        <p:spPr>
          <a:xfrm>
            <a:off x="585463" y="588011"/>
            <a:ext cx="1522695" cy="922576"/>
          </a:xfrm>
          <a:custGeom>
            <a:avLst/>
            <a:gdLst>
              <a:gd name="connsiteX0" fmla="*/ 618149 w 1522695"/>
              <a:gd name="connsiteY0" fmla="*/ 39943 h 922576"/>
              <a:gd name="connsiteX1" fmla="*/ 421345 w 1522695"/>
              <a:gd name="connsiteY1" fmla="*/ 876531 h 922576"/>
              <a:gd name="connsiteX2" fmla="*/ 388753 w 1522695"/>
              <a:gd name="connsiteY2" fmla="*/ 915365 h 922576"/>
              <a:gd name="connsiteX3" fmla="*/ 349364 w 1522695"/>
              <a:gd name="connsiteY3" fmla="*/ 922577 h 922576"/>
              <a:gd name="connsiteX4" fmla="*/ 328006 w 1522695"/>
              <a:gd name="connsiteY4" fmla="*/ 897196 h 922576"/>
              <a:gd name="connsiteX5" fmla="*/ 431608 w 1522695"/>
              <a:gd name="connsiteY5" fmla="*/ 465033 h 922576"/>
              <a:gd name="connsiteX6" fmla="*/ 224958 w 1522695"/>
              <a:gd name="connsiteY6" fmla="*/ 504838 h 922576"/>
              <a:gd name="connsiteX7" fmla="*/ 185292 w 1522695"/>
              <a:gd name="connsiteY7" fmla="*/ 702473 h 922576"/>
              <a:gd name="connsiteX8" fmla="*/ 159634 w 1522695"/>
              <a:gd name="connsiteY8" fmla="*/ 738117 h 922576"/>
              <a:gd name="connsiteX9" fmla="*/ 102771 w 1522695"/>
              <a:gd name="connsiteY9" fmla="*/ 719671 h 922576"/>
              <a:gd name="connsiteX10" fmla="*/ 150203 w 1522695"/>
              <a:gd name="connsiteY10" fmla="*/ 519816 h 922576"/>
              <a:gd name="connsiteX11" fmla="*/ 62411 w 1522695"/>
              <a:gd name="connsiteY11" fmla="*/ 533547 h 922576"/>
              <a:gd name="connsiteX12" fmla="*/ 0 w 1522695"/>
              <a:gd name="connsiteY12" fmla="*/ 507750 h 922576"/>
              <a:gd name="connsiteX13" fmla="*/ 163795 w 1522695"/>
              <a:gd name="connsiteY13" fmla="*/ 465588 h 922576"/>
              <a:gd name="connsiteX14" fmla="*/ 234805 w 1522695"/>
              <a:gd name="connsiteY14" fmla="*/ 162547 h 922576"/>
              <a:gd name="connsiteX15" fmla="*/ 258244 w 1522695"/>
              <a:gd name="connsiteY15" fmla="*/ 135502 h 922576"/>
              <a:gd name="connsiteX16" fmla="*/ 300961 w 1522695"/>
              <a:gd name="connsiteY16" fmla="*/ 126625 h 922576"/>
              <a:gd name="connsiteX17" fmla="*/ 316772 w 1522695"/>
              <a:gd name="connsiteY17" fmla="*/ 149232 h 922576"/>
              <a:gd name="connsiteX18" fmla="*/ 239104 w 1522695"/>
              <a:gd name="connsiteY18" fmla="*/ 449084 h 922576"/>
              <a:gd name="connsiteX19" fmla="*/ 447697 w 1522695"/>
              <a:gd name="connsiteY19" fmla="*/ 404564 h 922576"/>
              <a:gd name="connsiteX20" fmla="*/ 542839 w 1522695"/>
              <a:gd name="connsiteY20" fmla="*/ 34950 h 922576"/>
              <a:gd name="connsiteX21" fmla="*/ 557402 w 1522695"/>
              <a:gd name="connsiteY21" fmla="*/ 6935 h 922576"/>
              <a:gd name="connsiteX22" fmla="*/ 592907 w 1522695"/>
              <a:gd name="connsiteY22" fmla="*/ 0 h 922576"/>
              <a:gd name="connsiteX23" fmla="*/ 620506 w 1522695"/>
              <a:gd name="connsiteY23" fmla="*/ 25381 h 922576"/>
              <a:gd name="connsiteX24" fmla="*/ 618426 w 1522695"/>
              <a:gd name="connsiteY24" fmla="*/ 40359 h 922576"/>
              <a:gd name="connsiteX25" fmla="*/ 845048 w 1522695"/>
              <a:gd name="connsiteY25" fmla="*/ 445755 h 922576"/>
              <a:gd name="connsiteX26" fmla="*/ 684582 w 1522695"/>
              <a:gd name="connsiteY26" fmla="*/ 476544 h 922576"/>
              <a:gd name="connsiteX27" fmla="*/ 729241 w 1522695"/>
              <a:gd name="connsiteY27" fmla="*/ 311918 h 922576"/>
              <a:gd name="connsiteX28" fmla="*/ 1087204 w 1522695"/>
              <a:gd name="connsiteY28" fmla="*/ 231060 h 922576"/>
              <a:gd name="connsiteX29" fmla="*/ 1110643 w 1522695"/>
              <a:gd name="connsiteY29" fmla="*/ 218994 h 922576"/>
              <a:gd name="connsiteX30" fmla="*/ 1053363 w 1522695"/>
              <a:gd name="connsiteY30" fmla="*/ 185708 h 922576"/>
              <a:gd name="connsiteX31" fmla="*/ 1029785 w 1522695"/>
              <a:gd name="connsiteY31" fmla="*/ 187927 h 922576"/>
              <a:gd name="connsiteX32" fmla="*/ 636872 w 1522695"/>
              <a:gd name="connsiteY32" fmla="*/ 267536 h 922576"/>
              <a:gd name="connsiteX33" fmla="*/ 610798 w 1522695"/>
              <a:gd name="connsiteY33" fmla="*/ 284595 h 922576"/>
              <a:gd name="connsiteX34" fmla="*/ 652683 w 1522695"/>
              <a:gd name="connsiteY34" fmla="*/ 321210 h 922576"/>
              <a:gd name="connsiteX35" fmla="*/ 524948 w 1522695"/>
              <a:gd name="connsiteY35" fmla="*/ 802192 h 922576"/>
              <a:gd name="connsiteX36" fmla="*/ 537569 w 1522695"/>
              <a:gd name="connsiteY36" fmla="*/ 815646 h 922576"/>
              <a:gd name="connsiteX37" fmla="*/ 595542 w 1522695"/>
              <a:gd name="connsiteY37" fmla="*/ 802886 h 922576"/>
              <a:gd name="connsiteX38" fmla="*/ 616762 w 1522695"/>
              <a:gd name="connsiteY38" fmla="*/ 763914 h 922576"/>
              <a:gd name="connsiteX39" fmla="*/ 669603 w 1522695"/>
              <a:gd name="connsiteY39" fmla="*/ 537430 h 922576"/>
              <a:gd name="connsiteX40" fmla="*/ 808988 w 1522695"/>
              <a:gd name="connsiteY40" fmla="*/ 509276 h 922576"/>
              <a:gd name="connsiteX41" fmla="*/ 859611 w 1522695"/>
              <a:gd name="connsiteY41" fmla="*/ 477238 h 922576"/>
              <a:gd name="connsiteX42" fmla="*/ 872232 w 1522695"/>
              <a:gd name="connsiteY42" fmla="*/ 451996 h 922576"/>
              <a:gd name="connsiteX43" fmla="*/ 845187 w 1522695"/>
              <a:gd name="connsiteY43" fmla="*/ 445755 h 922576"/>
              <a:gd name="connsiteX44" fmla="*/ 1479701 w 1522695"/>
              <a:gd name="connsiteY44" fmla="*/ 159218 h 922576"/>
              <a:gd name="connsiteX45" fmla="*/ 1409801 w 1522695"/>
              <a:gd name="connsiteY45" fmla="*/ 217052 h 922576"/>
              <a:gd name="connsiteX46" fmla="*/ 1212442 w 1522695"/>
              <a:gd name="connsiteY46" fmla="*/ 666691 h 922576"/>
              <a:gd name="connsiteX47" fmla="*/ 1231721 w 1522695"/>
              <a:gd name="connsiteY47" fmla="*/ 323845 h 922576"/>
              <a:gd name="connsiteX48" fmla="*/ 1206895 w 1522695"/>
              <a:gd name="connsiteY48" fmla="*/ 300683 h 922576"/>
              <a:gd name="connsiteX49" fmla="*/ 1151002 w 1522695"/>
              <a:gd name="connsiteY49" fmla="*/ 324677 h 922576"/>
              <a:gd name="connsiteX50" fmla="*/ 1137549 w 1522695"/>
              <a:gd name="connsiteY50" fmla="*/ 353525 h 922576"/>
              <a:gd name="connsiteX51" fmla="*/ 980689 w 1522695"/>
              <a:gd name="connsiteY51" fmla="*/ 605528 h 922576"/>
              <a:gd name="connsiteX52" fmla="*/ 1041574 w 1522695"/>
              <a:gd name="connsiteY52" fmla="*/ 331196 h 922576"/>
              <a:gd name="connsiteX53" fmla="*/ 1029369 w 1522695"/>
              <a:gd name="connsiteY53" fmla="*/ 319962 h 922576"/>
              <a:gd name="connsiteX54" fmla="*/ 988871 w 1522695"/>
              <a:gd name="connsiteY54" fmla="*/ 327728 h 922576"/>
              <a:gd name="connsiteX55" fmla="*/ 954892 w 1522695"/>
              <a:gd name="connsiteY55" fmla="*/ 369752 h 922576"/>
              <a:gd name="connsiteX56" fmla="*/ 880553 w 1522695"/>
              <a:gd name="connsiteY56" fmla="*/ 711766 h 922576"/>
              <a:gd name="connsiteX57" fmla="*/ 902328 w 1522695"/>
              <a:gd name="connsiteY57" fmla="*/ 741862 h 922576"/>
              <a:gd name="connsiteX58" fmla="*/ 960024 w 1522695"/>
              <a:gd name="connsiteY58" fmla="*/ 718423 h 922576"/>
              <a:gd name="connsiteX59" fmla="*/ 1144483 w 1522695"/>
              <a:gd name="connsiteY59" fmla="*/ 419542 h 922576"/>
              <a:gd name="connsiteX60" fmla="*/ 1128950 w 1522695"/>
              <a:gd name="connsiteY60" fmla="*/ 709546 h 922576"/>
              <a:gd name="connsiteX61" fmla="*/ 1162375 w 1522695"/>
              <a:gd name="connsiteY61" fmla="*/ 786798 h 922576"/>
              <a:gd name="connsiteX62" fmla="*/ 1235049 w 1522695"/>
              <a:gd name="connsiteY62" fmla="*/ 740891 h 922576"/>
              <a:gd name="connsiteX63" fmla="*/ 1512016 w 1522695"/>
              <a:gd name="connsiteY63" fmla="*/ 203322 h 922576"/>
              <a:gd name="connsiteX64" fmla="*/ 1522696 w 1522695"/>
              <a:gd name="connsiteY64" fmla="*/ 183766 h 922576"/>
              <a:gd name="connsiteX65" fmla="*/ 1479840 w 1522695"/>
              <a:gd name="connsiteY65" fmla="*/ 159357 h 922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522695" h="922576">
                <a:moveTo>
                  <a:pt x="618149" y="39943"/>
                </a:moveTo>
                <a:cubicBezTo>
                  <a:pt x="568774" y="240214"/>
                  <a:pt x="450887" y="614404"/>
                  <a:pt x="421345" y="876531"/>
                </a:cubicBezTo>
                <a:cubicBezTo>
                  <a:pt x="418849" y="898167"/>
                  <a:pt x="420374" y="906627"/>
                  <a:pt x="388753" y="915365"/>
                </a:cubicBezTo>
                <a:cubicBezTo>
                  <a:pt x="373497" y="919526"/>
                  <a:pt x="359350" y="922577"/>
                  <a:pt x="349364" y="922577"/>
                </a:cubicBezTo>
                <a:cubicBezTo>
                  <a:pt x="333831" y="922577"/>
                  <a:pt x="328006" y="913978"/>
                  <a:pt x="328006" y="897196"/>
                </a:cubicBezTo>
                <a:cubicBezTo>
                  <a:pt x="328006" y="851567"/>
                  <a:pt x="390972" y="623280"/>
                  <a:pt x="431608" y="465033"/>
                </a:cubicBezTo>
                <a:cubicBezTo>
                  <a:pt x="377380" y="475296"/>
                  <a:pt x="300961" y="489998"/>
                  <a:pt x="224958" y="504838"/>
                </a:cubicBezTo>
                <a:cubicBezTo>
                  <a:pt x="206512" y="579870"/>
                  <a:pt x="193336" y="642697"/>
                  <a:pt x="185292" y="702473"/>
                </a:cubicBezTo>
                <a:cubicBezTo>
                  <a:pt x="183350" y="716897"/>
                  <a:pt x="185292" y="730489"/>
                  <a:pt x="159634" y="738117"/>
                </a:cubicBezTo>
                <a:cubicBezTo>
                  <a:pt x="116362" y="751015"/>
                  <a:pt x="100968" y="743803"/>
                  <a:pt x="102771" y="719671"/>
                </a:cubicBezTo>
                <a:cubicBezTo>
                  <a:pt x="105683" y="679589"/>
                  <a:pt x="118443" y="648661"/>
                  <a:pt x="150203" y="519816"/>
                </a:cubicBezTo>
                <a:cubicBezTo>
                  <a:pt x="110676" y="527722"/>
                  <a:pt x="79748" y="533547"/>
                  <a:pt x="62411" y="533547"/>
                </a:cubicBezTo>
                <a:cubicBezTo>
                  <a:pt x="38972" y="533547"/>
                  <a:pt x="0" y="517459"/>
                  <a:pt x="0" y="507750"/>
                </a:cubicBezTo>
                <a:cubicBezTo>
                  <a:pt x="0" y="496239"/>
                  <a:pt x="27184" y="496377"/>
                  <a:pt x="163795" y="465588"/>
                </a:cubicBezTo>
                <a:cubicBezTo>
                  <a:pt x="190146" y="360876"/>
                  <a:pt x="227038" y="219133"/>
                  <a:pt x="234805" y="162547"/>
                </a:cubicBezTo>
                <a:cubicBezTo>
                  <a:pt x="236192" y="152145"/>
                  <a:pt x="239798" y="140633"/>
                  <a:pt x="258244" y="135502"/>
                </a:cubicBezTo>
                <a:cubicBezTo>
                  <a:pt x="269339" y="132451"/>
                  <a:pt x="290004" y="126625"/>
                  <a:pt x="300961" y="126625"/>
                </a:cubicBezTo>
                <a:cubicBezTo>
                  <a:pt x="313304" y="126625"/>
                  <a:pt x="316772" y="137721"/>
                  <a:pt x="316772" y="149232"/>
                </a:cubicBezTo>
                <a:cubicBezTo>
                  <a:pt x="316772" y="170036"/>
                  <a:pt x="273916" y="298048"/>
                  <a:pt x="239104" y="449084"/>
                </a:cubicBezTo>
                <a:cubicBezTo>
                  <a:pt x="309837" y="433689"/>
                  <a:pt x="385424" y="417739"/>
                  <a:pt x="447697" y="404564"/>
                </a:cubicBezTo>
                <a:cubicBezTo>
                  <a:pt x="485421" y="261434"/>
                  <a:pt x="522313" y="121910"/>
                  <a:pt x="542839" y="34950"/>
                </a:cubicBezTo>
                <a:cubicBezTo>
                  <a:pt x="547277" y="16227"/>
                  <a:pt x="546445" y="10679"/>
                  <a:pt x="557402" y="6935"/>
                </a:cubicBezTo>
                <a:cubicBezTo>
                  <a:pt x="562533" y="5132"/>
                  <a:pt x="578205" y="0"/>
                  <a:pt x="592907" y="0"/>
                </a:cubicBezTo>
                <a:cubicBezTo>
                  <a:pt x="607608" y="0"/>
                  <a:pt x="620506" y="5548"/>
                  <a:pt x="620506" y="25381"/>
                </a:cubicBezTo>
                <a:cubicBezTo>
                  <a:pt x="620506" y="29680"/>
                  <a:pt x="619813" y="34673"/>
                  <a:pt x="618426" y="40359"/>
                </a:cubicBezTo>
                <a:close/>
                <a:moveTo>
                  <a:pt x="845048" y="445755"/>
                </a:moveTo>
                <a:cubicBezTo>
                  <a:pt x="796922" y="454076"/>
                  <a:pt x="739920" y="465865"/>
                  <a:pt x="684582" y="476544"/>
                </a:cubicBezTo>
                <a:cubicBezTo>
                  <a:pt x="700670" y="412608"/>
                  <a:pt x="716620" y="352970"/>
                  <a:pt x="729241" y="311918"/>
                </a:cubicBezTo>
                <a:cubicBezTo>
                  <a:pt x="838946" y="287092"/>
                  <a:pt x="1056276" y="236053"/>
                  <a:pt x="1087204" y="231060"/>
                </a:cubicBezTo>
                <a:cubicBezTo>
                  <a:pt x="1104679" y="228148"/>
                  <a:pt x="1110643" y="223155"/>
                  <a:pt x="1110643" y="218994"/>
                </a:cubicBezTo>
                <a:cubicBezTo>
                  <a:pt x="1110643" y="211089"/>
                  <a:pt x="1084985" y="185708"/>
                  <a:pt x="1053363" y="185708"/>
                </a:cubicBezTo>
                <a:cubicBezTo>
                  <a:pt x="1046428" y="185708"/>
                  <a:pt x="1038662" y="186402"/>
                  <a:pt x="1029785" y="187927"/>
                </a:cubicBezTo>
                <a:cubicBezTo>
                  <a:pt x="966542" y="199023"/>
                  <a:pt x="709269" y="252974"/>
                  <a:pt x="636872" y="267536"/>
                </a:cubicBezTo>
                <a:cubicBezTo>
                  <a:pt x="618842" y="271142"/>
                  <a:pt x="610798" y="277661"/>
                  <a:pt x="610798" y="284595"/>
                </a:cubicBezTo>
                <a:cubicBezTo>
                  <a:pt x="610798" y="295136"/>
                  <a:pt x="636317" y="316217"/>
                  <a:pt x="652683" y="321210"/>
                </a:cubicBezTo>
                <a:cubicBezTo>
                  <a:pt x="616623" y="461427"/>
                  <a:pt x="524948" y="770571"/>
                  <a:pt x="524948" y="802192"/>
                </a:cubicBezTo>
                <a:cubicBezTo>
                  <a:pt x="524948" y="809959"/>
                  <a:pt x="527583" y="815646"/>
                  <a:pt x="537569" y="815646"/>
                </a:cubicBezTo>
                <a:cubicBezTo>
                  <a:pt x="551299" y="815646"/>
                  <a:pt x="579176" y="809682"/>
                  <a:pt x="595542" y="802886"/>
                </a:cubicBezTo>
                <a:cubicBezTo>
                  <a:pt x="611908" y="795951"/>
                  <a:pt x="611630" y="787907"/>
                  <a:pt x="616762" y="763914"/>
                </a:cubicBezTo>
                <a:cubicBezTo>
                  <a:pt x="627996" y="712043"/>
                  <a:pt x="648106" y="624945"/>
                  <a:pt x="669603" y="537430"/>
                </a:cubicBezTo>
                <a:cubicBezTo>
                  <a:pt x="735620" y="523422"/>
                  <a:pt x="777505" y="516488"/>
                  <a:pt x="808988" y="509276"/>
                </a:cubicBezTo>
                <a:cubicBezTo>
                  <a:pt x="843661" y="501370"/>
                  <a:pt x="850180" y="491107"/>
                  <a:pt x="859611" y="477238"/>
                </a:cubicBezTo>
                <a:cubicBezTo>
                  <a:pt x="865852" y="468223"/>
                  <a:pt x="872232" y="456850"/>
                  <a:pt x="872232" y="451996"/>
                </a:cubicBezTo>
                <a:cubicBezTo>
                  <a:pt x="872232" y="444368"/>
                  <a:pt x="864742" y="442288"/>
                  <a:pt x="845187" y="445755"/>
                </a:cubicBezTo>
                <a:close/>
                <a:moveTo>
                  <a:pt x="1479701" y="159218"/>
                </a:moveTo>
                <a:cubicBezTo>
                  <a:pt x="1459452" y="159218"/>
                  <a:pt x="1437955" y="171978"/>
                  <a:pt x="1409801" y="217052"/>
                </a:cubicBezTo>
                <a:cubicBezTo>
                  <a:pt x="1369857" y="281128"/>
                  <a:pt x="1274854" y="509553"/>
                  <a:pt x="1212442" y="666691"/>
                </a:cubicBezTo>
                <a:cubicBezTo>
                  <a:pt x="1210639" y="502202"/>
                  <a:pt x="1231721" y="360598"/>
                  <a:pt x="1231721" y="323845"/>
                </a:cubicBezTo>
                <a:cubicBezTo>
                  <a:pt x="1231721" y="305399"/>
                  <a:pt x="1220348" y="300683"/>
                  <a:pt x="1206895" y="300683"/>
                </a:cubicBezTo>
                <a:cubicBezTo>
                  <a:pt x="1188310" y="300683"/>
                  <a:pt x="1160988" y="301516"/>
                  <a:pt x="1151002" y="324677"/>
                </a:cubicBezTo>
                <a:cubicBezTo>
                  <a:pt x="1144483" y="339795"/>
                  <a:pt x="1143374" y="343262"/>
                  <a:pt x="1137549" y="353525"/>
                </a:cubicBezTo>
                <a:cubicBezTo>
                  <a:pt x="1125205" y="375577"/>
                  <a:pt x="1053502" y="501786"/>
                  <a:pt x="980689" y="605528"/>
                </a:cubicBezTo>
                <a:cubicBezTo>
                  <a:pt x="1012588" y="432995"/>
                  <a:pt x="1041574" y="349087"/>
                  <a:pt x="1041574" y="331196"/>
                </a:cubicBezTo>
                <a:cubicBezTo>
                  <a:pt x="1041574" y="322874"/>
                  <a:pt x="1036165" y="319962"/>
                  <a:pt x="1029369" y="319962"/>
                </a:cubicBezTo>
                <a:cubicBezTo>
                  <a:pt x="1021325" y="319962"/>
                  <a:pt x="1000799" y="324816"/>
                  <a:pt x="988871" y="327728"/>
                </a:cubicBezTo>
                <a:cubicBezTo>
                  <a:pt x="974864" y="331196"/>
                  <a:pt x="963768" y="335772"/>
                  <a:pt x="954892" y="369752"/>
                </a:cubicBezTo>
                <a:cubicBezTo>
                  <a:pt x="925905" y="479734"/>
                  <a:pt x="880553" y="665720"/>
                  <a:pt x="880553" y="711766"/>
                </a:cubicBezTo>
                <a:cubicBezTo>
                  <a:pt x="880553" y="731876"/>
                  <a:pt x="884575" y="741862"/>
                  <a:pt x="902328" y="741862"/>
                </a:cubicBezTo>
                <a:cubicBezTo>
                  <a:pt x="921051" y="741862"/>
                  <a:pt x="947541" y="736591"/>
                  <a:pt x="960024" y="718423"/>
                </a:cubicBezTo>
                <a:cubicBezTo>
                  <a:pt x="1022851" y="626609"/>
                  <a:pt x="1086372" y="516349"/>
                  <a:pt x="1144483" y="419542"/>
                </a:cubicBezTo>
                <a:cubicBezTo>
                  <a:pt x="1135191" y="510801"/>
                  <a:pt x="1128950" y="628967"/>
                  <a:pt x="1128950" y="709546"/>
                </a:cubicBezTo>
                <a:cubicBezTo>
                  <a:pt x="1128950" y="765023"/>
                  <a:pt x="1130614" y="786798"/>
                  <a:pt x="1162375" y="786798"/>
                </a:cubicBezTo>
                <a:cubicBezTo>
                  <a:pt x="1191223" y="786798"/>
                  <a:pt x="1217019" y="781666"/>
                  <a:pt x="1235049" y="740891"/>
                </a:cubicBezTo>
                <a:cubicBezTo>
                  <a:pt x="1297599" y="599148"/>
                  <a:pt x="1429911" y="303735"/>
                  <a:pt x="1512016" y="203322"/>
                </a:cubicBezTo>
                <a:cubicBezTo>
                  <a:pt x="1517425" y="196803"/>
                  <a:pt x="1522696" y="191256"/>
                  <a:pt x="1522696" y="183766"/>
                </a:cubicBezTo>
                <a:cubicBezTo>
                  <a:pt x="1522696" y="173365"/>
                  <a:pt x="1498563" y="159357"/>
                  <a:pt x="1479840" y="159357"/>
                </a:cubicBezTo>
                <a:close/>
              </a:path>
            </a:pathLst>
          </a:custGeom>
          <a:solidFill>
            <a:schemeClr val="bg1"/>
          </a:solidFill>
          <a:ln w="13855" cap="flat">
            <a:noFill/>
            <a:prstDash val="solid"/>
            <a:miter/>
          </a:ln>
        </p:spPr>
        <p:txBody>
          <a:bodyPr rtlCol="0" anchor="ctr"/>
          <a:lstStyle/>
          <a:p>
            <a:endParaRPr lang="en-GB"/>
          </a:p>
        </p:txBody>
      </p:sp>
    </p:spTree>
    <p:extLst>
      <p:ext uri="{BB962C8B-B14F-4D97-AF65-F5344CB8AC3E}">
        <p14:creationId xmlns:p14="http://schemas.microsoft.com/office/powerpoint/2010/main" val="927379805"/>
      </p:ext>
    </p:extLst>
  </p:cSld>
  <p:clrMapOvr>
    <a:masterClrMapping/>
  </p:clrMapOvr>
  <p:transition spd="med">
    <p:fade/>
  </p:transition>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9" name="Picture Placeholder 10">
            <a:extLst>
              <a:ext uri="{FF2B5EF4-FFF2-40B4-BE49-F238E27FC236}">
                <a16:creationId xmlns:a16="http://schemas.microsoft.com/office/drawing/2014/main" id="{EC32E620-80D4-6F97-53FF-3F48E9094F06}"/>
              </a:ext>
            </a:extLst>
          </p:cNvPr>
          <p:cNvSpPr>
            <a:spLocks noGrp="1"/>
          </p:cNvSpPr>
          <p:nvPr>
            <p:ph type="pic" sz="quarter" idx="13" hasCustomPrompt="1"/>
          </p:nvPr>
        </p:nvSpPr>
        <p:spPr>
          <a:xfrm>
            <a:off x="8126412" y="0"/>
            <a:ext cx="4065587" cy="6858000"/>
          </a:xfrm>
          <a:solidFill>
            <a:schemeClr val="tx1"/>
          </a:solidFill>
        </p:spPr>
        <p:txBody>
          <a:bodyPr vert="horz" lIns="0" tIns="45720" rIns="0" bIns="45720" rtlCol="0" anchor="ctr">
            <a:normAutofit/>
          </a:bodyPr>
          <a:lstStyle>
            <a:lvl1pPr algn="ctr">
              <a:defRPr lang="en-GB" sz="2800" b="0" dirty="0">
                <a:solidFill>
                  <a:schemeClr val="bg1"/>
                </a:solidFill>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US" dirty="0"/>
              <a:t>ADD RELATED </a:t>
            </a:r>
            <a:br>
              <a:rPr lang="en-US" dirty="0"/>
            </a:br>
            <a:r>
              <a:rPr lang="en-US" dirty="0"/>
              <a:t>IMAGE </a:t>
            </a:r>
            <a:br>
              <a:rPr lang="en-US" dirty="0"/>
            </a:br>
            <a:r>
              <a:rPr lang="en-US" dirty="0"/>
              <a:t>FROM HFW </a:t>
            </a:r>
            <a:br>
              <a:rPr lang="en-US" dirty="0"/>
            </a:br>
            <a:r>
              <a:rPr lang="en-US" dirty="0"/>
              <a:t>IMAGE LIBRARY</a:t>
            </a:r>
          </a:p>
        </p:txBody>
      </p:sp>
      <p:sp>
        <p:nvSpPr>
          <p:cNvPr id="7" name="Slide Number Placeholder 6">
            <a:extLst>
              <a:ext uri="{FF2B5EF4-FFF2-40B4-BE49-F238E27FC236}">
                <a16:creationId xmlns:a16="http://schemas.microsoft.com/office/drawing/2014/main" id="{9108A75C-2089-08EE-F309-3A04D1871ADD}"/>
              </a:ext>
            </a:extLst>
          </p:cNvPr>
          <p:cNvSpPr>
            <a:spLocks noGrp="1"/>
          </p:cNvSpPr>
          <p:nvPr>
            <p:ph type="sldNum" sz="quarter" idx="15"/>
          </p:nvPr>
        </p:nvSpPr>
        <p:spPr/>
        <p:txBody>
          <a:bodyPr/>
          <a:lstStyle>
            <a:lvl1pPr>
              <a:defRPr>
                <a:solidFill>
                  <a:schemeClr val="bg1"/>
                </a:solidFill>
              </a:defRPr>
            </a:lvl1pPr>
          </a:lstStyle>
          <a:p>
            <a:fld id="{8CFE0557-AA98-4E6C-B0C3-581794696B68}" type="slidenum">
              <a:rPr lang="en-GB" smtClean="0"/>
              <a:pPr/>
              <a:t>‹#›</a:t>
            </a:fld>
            <a:endParaRPr lang="en-GB" dirty="0"/>
          </a:p>
        </p:txBody>
      </p:sp>
      <p:sp>
        <p:nvSpPr>
          <p:cNvPr id="11" name="Footer Placeholder 10">
            <a:extLst>
              <a:ext uri="{FF2B5EF4-FFF2-40B4-BE49-F238E27FC236}">
                <a16:creationId xmlns:a16="http://schemas.microsoft.com/office/drawing/2014/main" id="{8E4189E3-D5C8-527A-790A-0481A0B70121}"/>
              </a:ext>
            </a:extLst>
          </p:cNvPr>
          <p:cNvSpPr>
            <a:spLocks noGrp="1"/>
          </p:cNvSpPr>
          <p:nvPr>
            <p:ph type="ftr" sz="quarter" idx="16"/>
          </p:nvPr>
        </p:nvSpPr>
        <p:spPr/>
        <p:txBody>
          <a:bodyPr/>
          <a:lstStyle/>
          <a:p>
            <a:r>
              <a:rPr lang="en-GB"/>
              <a:t>INSERT FOOTER HERE</a:t>
            </a:r>
            <a:endParaRPr lang="en-GB" dirty="0"/>
          </a:p>
        </p:txBody>
      </p:sp>
      <p:sp>
        <p:nvSpPr>
          <p:cNvPr id="2" name="Title 1">
            <a:extLst>
              <a:ext uri="{FF2B5EF4-FFF2-40B4-BE49-F238E27FC236}">
                <a16:creationId xmlns:a16="http://schemas.microsoft.com/office/drawing/2014/main" id="{452AC8CD-1368-1F05-BA16-F98E669BF469}"/>
              </a:ext>
            </a:extLst>
          </p:cNvPr>
          <p:cNvSpPr>
            <a:spLocks noGrp="1"/>
          </p:cNvSpPr>
          <p:nvPr>
            <p:ph type="title" hasCustomPrompt="1"/>
          </p:nvPr>
        </p:nvSpPr>
        <p:spPr>
          <a:xfrm>
            <a:off x="508001" y="454014"/>
            <a:ext cx="7264400" cy="799318"/>
          </a:xfrm>
        </p:spPr>
        <p:txBody>
          <a:bodyPr/>
          <a:lstStyle>
            <a:lvl1pPr>
              <a:defRPr/>
            </a:lvl1pPr>
          </a:lstStyle>
          <a:p>
            <a:r>
              <a:rPr lang="en-US" dirty="0"/>
              <a:t>CONTENTS</a:t>
            </a:r>
            <a:endParaRPr lang="en-GB" dirty="0"/>
          </a:p>
        </p:txBody>
      </p:sp>
      <p:sp>
        <p:nvSpPr>
          <p:cNvPr id="4" name="Text Placeholder 12">
            <a:extLst>
              <a:ext uri="{FF2B5EF4-FFF2-40B4-BE49-F238E27FC236}">
                <a16:creationId xmlns:a16="http://schemas.microsoft.com/office/drawing/2014/main" id="{F3564CBD-8F9A-9E6C-7293-5C4787C1B155}"/>
              </a:ext>
            </a:extLst>
          </p:cNvPr>
          <p:cNvSpPr>
            <a:spLocks noGrp="1"/>
          </p:cNvSpPr>
          <p:nvPr>
            <p:ph type="body" sz="quarter" idx="18" hasCustomPrompt="1"/>
          </p:nvPr>
        </p:nvSpPr>
        <p:spPr>
          <a:xfrm>
            <a:off x="508000" y="5054600"/>
            <a:ext cx="7264400" cy="962025"/>
          </a:xfrm>
        </p:spPr>
        <p:txBody>
          <a:bodyPr vert="horz" lIns="0" tIns="45720" rIns="0" bIns="0" rtlCol="0" anchor="b" anchorCtr="0">
            <a:noAutofit/>
          </a:bodyPr>
          <a:lstStyle>
            <a:lvl1pPr marL="108000" indent="-108000">
              <a:spcBef>
                <a:spcPts val="0"/>
              </a:spcBef>
              <a:spcAft>
                <a:spcPts val="0"/>
              </a:spcAft>
              <a:defRPr lang="en-US" sz="2000" dirty="0">
                <a:solidFill>
                  <a:schemeClr val="accent2"/>
                </a:solidFill>
              </a:defRPr>
            </a:lvl1pPr>
            <a:lvl2pPr>
              <a:defRPr lang="en-US" sz="1400" dirty="0">
                <a:solidFill>
                  <a:schemeClr val="tx2"/>
                </a:solidFill>
                <a:latin typeface="+mj-lt"/>
              </a:defRPr>
            </a:lvl2pPr>
          </a:lstStyle>
          <a:p>
            <a:pPr marL="108000" lvl="0" indent="-108000">
              <a:lnSpc>
                <a:spcPct val="100000"/>
              </a:lnSpc>
              <a:spcBef>
                <a:spcPts val="200"/>
              </a:spcBef>
              <a:spcAft>
                <a:spcPts val="200"/>
              </a:spcAft>
            </a:pPr>
            <a:r>
              <a:rPr lang="en-US" dirty="0"/>
              <a:t>“Quote goes here.”</a:t>
            </a:r>
          </a:p>
        </p:txBody>
      </p:sp>
      <p:sp>
        <p:nvSpPr>
          <p:cNvPr id="8" name="Text Placeholder 7">
            <a:extLst>
              <a:ext uri="{FF2B5EF4-FFF2-40B4-BE49-F238E27FC236}">
                <a16:creationId xmlns:a16="http://schemas.microsoft.com/office/drawing/2014/main" id="{AB8C7CDC-9E65-C241-937E-2011A6305F7D}"/>
              </a:ext>
            </a:extLst>
          </p:cNvPr>
          <p:cNvSpPr>
            <a:spLocks noGrp="1"/>
          </p:cNvSpPr>
          <p:nvPr>
            <p:ph type="body" sz="quarter" idx="19" hasCustomPrompt="1"/>
          </p:nvPr>
        </p:nvSpPr>
        <p:spPr>
          <a:xfrm>
            <a:off x="508000" y="6047121"/>
            <a:ext cx="7264400" cy="215444"/>
          </a:xfrm>
        </p:spPr>
        <p:txBody>
          <a:bodyPr tIns="0" bIns="0" anchor="b" anchorCtr="0">
            <a:spAutoFit/>
          </a:bodyPr>
          <a:lstStyle>
            <a:lvl1pPr marL="108000">
              <a:lnSpc>
                <a:spcPct val="100000"/>
              </a:lnSpc>
              <a:defRPr sz="1400" cap="all" baseline="0">
                <a:solidFill>
                  <a:schemeClr val="tx2"/>
                </a:solidFill>
                <a:latin typeface="+mj-lt"/>
              </a:defRPr>
            </a:lvl1pPr>
            <a:lvl2pPr marL="108000">
              <a:lnSpc>
                <a:spcPct val="100000"/>
              </a:lnSpc>
              <a:defRPr sz="1400" cap="all" baseline="0">
                <a:solidFill>
                  <a:schemeClr val="tx2"/>
                </a:solidFill>
                <a:latin typeface="+mj-lt"/>
              </a:defRPr>
            </a:lvl2pPr>
            <a:lvl3pPr marL="108000">
              <a:lnSpc>
                <a:spcPct val="100000"/>
              </a:lnSpc>
              <a:defRPr sz="1400" cap="all" baseline="0">
                <a:solidFill>
                  <a:schemeClr val="tx2"/>
                </a:solidFill>
                <a:latin typeface="+mj-lt"/>
              </a:defRPr>
            </a:lvl3pPr>
            <a:lvl4pPr marL="108000">
              <a:lnSpc>
                <a:spcPct val="100000"/>
              </a:lnSpc>
              <a:defRPr sz="1400" cap="all" baseline="0">
                <a:solidFill>
                  <a:schemeClr val="tx2"/>
                </a:solidFill>
                <a:latin typeface="+mj-lt"/>
              </a:defRPr>
            </a:lvl4pPr>
            <a:lvl5pPr marL="108000">
              <a:lnSpc>
                <a:spcPct val="100000"/>
              </a:lnSpc>
              <a:defRPr sz="1400" cap="all" baseline="0">
                <a:solidFill>
                  <a:schemeClr val="tx2"/>
                </a:solidFill>
                <a:latin typeface="+mj-lt"/>
              </a:defRPr>
            </a:lvl5pPr>
          </a:lstStyle>
          <a:p>
            <a:pPr lvl="0"/>
            <a:r>
              <a:rPr lang="en-US" dirty="0"/>
              <a:t>quote author</a:t>
            </a:r>
            <a:endParaRPr lang="en-GB" dirty="0"/>
          </a:p>
        </p:txBody>
      </p:sp>
      <p:sp>
        <p:nvSpPr>
          <p:cNvPr id="10" name="Content Placeholder 2">
            <a:extLst>
              <a:ext uri="{FF2B5EF4-FFF2-40B4-BE49-F238E27FC236}">
                <a16:creationId xmlns:a16="http://schemas.microsoft.com/office/drawing/2014/main" id="{C9F4C6A5-A710-29CD-7C5F-D505C43CBBA6}"/>
              </a:ext>
            </a:extLst>
          </p:cNvPr>
          <p:cNvSpPr>
            <a:spLocks noGrp="1"/>
          </p:cNvSpPr>
          <p:nvPr>
            <p:ph idx="21" hasCustomPrompt="1"/>
          </p:nvPr>
        </p:nvSpPr>
        <p:spPr>
          <a:xfrm>
            <a:off x="504826" y="1357977"/>
            <a:ext cx="7264400" cy="3602085"/>
          </a:xfrm>
        </p:spPr>
        <p:txBody>
          <a:bodyPr>
            <a:normAutofit/>
          </a:bodyPr>
          <a:lstStyle>
            <a:lvl1pPr marL="228600" indent="-228600">
              <a:spcBef>
                <a:spcPts val="400"/>
              </a:spcBef>
              <a:spcAft>
                <a:spcPts val="400"/>
              </a:spcAft>
              <a:buFont typeface="+mj-lt"/>
              <a:buAutoNum type="arabicPeriod"/>
              <a:defRPr sz="1200">
                <a:solidFill>
                  <a:schemeClr val="tx1"/>
                </a:solidFill>
                <a:latin typeface="+mn-lt"/>
              </a:defRPr>
            </a:lvl1pPr>
            <a:lvl2pPr marL="171450" indent="-171450">
              <a:buFont typeface="Arial" panose="020B0604020202020204" pitchFamily="34" charset="0"/>
              <a:buChar char="•"/>
              <a:defRPr lang="en-US" sz="1100" kern="1200" dirty="0">
                <a:solidFill>
                  <a:schemeClr val="tx1"/>
                </a:solidFill>
                <a:latin typeface="+mn-lt"/>
                <a:ea typeface="+mn-ea"/>
                <a:cs typeface="+mn-cs"/>
              </a:defRPr>
            </a:lvl2pPr>
            <a:lvl3pPr marL="360363" indent="-182563">
              <a:defRPr/>
            </a:lvl3pPr>
            <a:lvl5pPr marL="808038" indent="-182563">
              <a:defRPr/>
            </a:lvl5pPr>
          </a:lstStyle>
          <a:p>
            <a:pPr marL="228600" lvl="0" indent="-228600" algn="l" defTabSz="914400" rtl="0" eaLnBrk="1" latinLnBrk="0" hangingPunct="1">
              <a:lnSpc>
                <a:spcPct val="130000"/>
              </a:lnSpc>
              <a:spcBef>
                <a:spcPts val="300"/>
              </a:spcBef>
              <a:spcAft>
                <a:spcPts val="300"/>
              </a:spcAft>
            </a:pPr>
            <a:r>
              <a:rPr lang="en-US" dirty="0"/>
              <a:t>Content section title</a:t>
            </a:r>
          </a:p>
        </p:txBody>
      </p:sp>
      <p:sp>
        <p:nvSpPr>
          <p:cNvPr id="3" name="TextBox 4">
            <a:extLst>
              <a:ext uri="{FF2B5EF4-FFF2-40B4-BE49-F238E27FC236}">
                <a16:creationId xmlns:a16="http://schemas.microsoft.com/office/drawing/2014/main" id="{66B13D4D-C32B-D040-D808-D2B323004A17}"/>
              </a:ext>
            </a:extLst>
          </p:cNvPr>
          <p:cNvSpPr txBox="1"/>
          <p:nvPr userDrawn="1"/>
        </p:nvSpPr>
        <p:spPr>
          <a:xfrm>
            <a:off x="12346713" y="109538"/>
            <a:ext cx="1934437" cy="31700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INSERTING IMAGES:</a:t>
            </a:r>
          </a:p>
          <a:p>
            <a:pPr marL="179388" indent="-179388">
              <a:spcBef>
                <a:spcPts val="200"/>
              </a:spcBef>
              <a:spcAft>
                <a:spcPts val="200"/>
              </a:spcAft>
              <a:buFont typeface="+mj-lt"/>
              <a:buAutoNum type="arabicPeriod"/>
            </a:pPr>
            <a:r>
              <a:rPr lang="en-US" sz="900" dirty="0">
                <a:solidFill>
                  <a:schemeClr val="tx1"/>
                </a:solidFill>
                <a:latin typeface="+mn-lt"/>
              </a:rPr>
              <a:t>Simply click the image placeholder and select your image.</a:t>
            </a:r>
          </a:p>
          <a:p>
            <a:pPr marL="179388" indent="-179388">
              <a:spcBef>
                <a:spcPts val="200"/>
              </a:spcBef>
              <a:spcAft>
                <a:spcPts val="200"/>
              </a:spcAft>
              <a:buFont typeface="+mj-lt"/>
              <a:buAutoNum type="arabicPeriod"/>
            </a:pPr>
            <a:r>
              <a:rPr lang="en-US" sz="900" dirty="0">
                <a:solidFill>
                  <a:schemeClr val="tx1"/>
                </a:solidFill>
                <a:latin typeface="+mn-lt"/>
              </a:rPr>
              <a:t>Once your image is inserted into the shape it may be distorted. (Stretched or Squashed)</a:t>
            </a:r>
          </a:p>
          <a:p>
            <a:pPr marL="179388" indent="-179388">
              <a:spcBef>
                <a:spcPts val="200"/>
              </a:spcBef>
              <a:spcAft>
                <a:spcPts val="200"/>
              </a:spcAft>
              <a:buFont typeface="+mj-lt"/>
              <a:buAutoNum type="arabicPeriod"/>
            </a:pPr>
            <a:endParaRPr lang="en-US" sz="900" dirty="0">
              <a:solidFill>
                <a:schemeClr val="tx1"/>
              </a:solidFill>
              <a:latin typeface="+mn-lt"/>
            </a:endParaRPr>
          </a:p>
          <a:p>
            <a:pPr>
              <a:spcBef>
                <a:spcPts val="200"/>
              </a:spcBef>
              <a:spcAft>
                <a:spcPts val="200"/>
              </a:spcAft>
            </a:pPr>
            <a:r>
              <a:rPr lang="en-US" sz="900" b="1" dirty="0">
                <a:solidFill>
                  <a:schemeClr val="tx1"/>
                </a:solidFill>
                <a:latin typeface="+mn-lt"/>
              </a:rPr>
              <a:t>To fix this:</a:t>
            </a:r>
          </a:p>
          <a:p>
            <a:pPr marL="179388" indent="-179388">
              <a:spcBef>
                <a:spcPts val="200"/>
              </a:spcBef>
              <a:spcAft>
                <a:spcPts val="200"/>
              </a:spcAft>
              <a:buFont typeface="+mj-lt"/>
              <a:buAutoNum type="arabicPeriod"/>
            </a:pPr>
            <a:r>
              <a:rPr lang="en-US" sz="900" dirty="0">
                <a:solidFill>
                  <a:schemeClr val="tx1"/>
                </a:solidFill>
                <a:latin typeface="+mn-lt"/>
              </a:rPr>
              <a:t>Click on the image and from the top menu under </a:t>
            </a:r>
            <a:r>
              <a:rPr lang="en-US" sz="900" b="1" dirty="0">
                <a:solidFill>
                  <a:schemeClr val="tx1"/>
                </a:solidFill>
                <a:latin typeface="+mn-lt"/>
              </a:rPr>
              <a:t>PICTURE FORMAT </a:t>
            </a:r>
            <a:r>
              <a:rPr lang="en-US" sz="900" dirty="0">
                <a:solidFill>
                  <a:schemeClr val="tx1"/>
                </a:solidFill>
                <a:latin typeface="+mn-lt"/>
              </a:rPr>
              <a:t>select the </a:t>
            </a:r>
            <a:r>
              <a:rPr lang="en-US" sz="900" b="1" dirty="0">
                <a:solidFill>
                  <a:schemeClr val="tx1"/>
                </a:solidFill>
                <a:latin typeface="+mn-lt"/>
              </a:rPr>
              <a:t>CROP</a:t>
            </a:r>
            <a:r>
              <a:rPr lang="en-US" sz="900" dirty="0">
                <a:solidFill>
                  <a:schemeClr val="tx1"/>
                </a:solidFill>
                <a:latin typeface="+mn-lt"/>
              </a:rPr>
              <a:t> on the right and from the drop down menu select </a:t>
            </a:r>
            <a:r>
              <a:rPr lang="en-US" sz="900" b="1" kern="1200" dirty="0">
                <a:solidFill>
                  <a:schemeClr val="tx1"/>
                </a:solidFill>
                <a:latin typeface="+mn-lt"/>
                <a:ea typeface="+mn-ea"/>
                <a:cs typeface="+mn-cs"/>
              </a:rPr>
              <a:t>FILL</a:t>
            </a:r>
          </a:p>
          <a:p>
            <a:pPr marL="179388" indent="-179388">
              <a:spcBef>
                <a:spcPts val="200"/>
              </a:spcBef>
              <a:spcAft>
                <a:spcPts val="200"/>
              </a:spcAft>
              <a:buFont typeface="+mj-lt"/>
              <a:buAutoNum type="arabicPeriod"/>
            </a:pPr>
            <a:r>
              <a:rPr lang="en-US" sz="900" b="0" kern="1200" dirty="0">
                <a:solidFill>
                  <a:schemeClr val="tx1"/>
                </a:solidFill>
                <a:latin typeface="+mn-lt"/>
                <a:ea typeface="+mn-ea"/>
                <a:cs typeface="+mn-cs"/>
              </a:rPr>
              <a:t>From here you can move the image within the shape for best visual appearance</a:t>
            </a:r>
          </a:p>
        </p:txBody>
      </p:sp>
    </p:spTree>
    <p:extLst>
      <p:ext uri="{BB962C8B-B14F-4D97-AF65-F5344CB8AC3E}">
        <p14:creationId xmlns:p14="http://schemas.microsoft.com/office/powerpoint/2010/main" val="3082730772"/>
      </p:ext>
    </p:extLst>
  </p:cSld>
  <p:clrMapOvr>
    <a:masterClrMapping/>
  </p:clrMapOvr>
  <p:transition spd="med">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V x 1">
    <p:spTree>
      <p:nvGrpSpPr>
        <p:cNvPr id="1" name=""/>
        <p:cNvGrpSpPr/>
        <p:nvPr/>
      </p:nvGrpSpPr>
      <p:grpSpPr>
        <a:xfrm>
          <a:off x="0" y="0"/>
          <a:ext cx="0" cy="0"/>
          <a:chOff x="0" y="0"/>
          <a:chExt cx="0" cy="0"/>
        </a:xfrm>
      </p:grpSpPr>
      <p:graphicFrame>
        <p:nvGraphicFramePr>
          <p:cNvPr id="2" name="Object 1"/>
          <p:cNvGraphicFramePr>
            <a:graphicFrameLocks noChangeAspect="1"/>
          </p:cNvGraphicFramePr>
          <p:nvPr userDrawn="1">
            <p:custDataLst>
              <p:tags r:id="rId1"/>
            </p:custDataLst>
          </p:nvPr>
        </p:nvGraphicFramePr>
        <p:xfrm>
          <a:off x="1" y="0"/>
          <a:ext cx="180998" cy="143985"/>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 y="0"/>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13" name="Straight Connector 12"/>
          <p:cNvCxnSpPr/>
          <p:nvPr userDrawn="1"/>
        </p:nvCxnSpPr>
        <p:spPr>
          <a:xfrm>
            <a:off x="731139" y="2957129"/>
            <a:ext cx="10753824" cy="0"/>
          </a:xfrm>
          <a:prstGeom prst="line">
            <a:avLst/>
          </a:prstGeom>
          <a:ln w="28575">
            <a:solidFill>
              <a:schemeClr val="accent1">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0" name="CV Bio"/>
          <p:cNvSpPr>
            <a:spLocks noGrp="1"/>
          </p:cNvSpPr>
          <p:nvPr>
            <p:ph type="body" sz="quarter" idx="42" hasCustomPrompt="1"/>
          </p:nvPr>
        </p:nvSpPr>
        <p:spPr>
          <a:xfrm>
            <a:off x="720500" y="3081726"/>
            <a:ext cx="10771040" cy="1098690"/>
          </a:xfrm>
        </p:spPr>
        <p:txBody>
          <a:bodyPr wrap="square" numCol="2" spcCol="180000">
            <a:sp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CV Photo"/>
          <p:cNvSpPr>
            <a:spLocks noGrp="1" noChangeAspect="1"/>
          </p:cNvSpPr>
          <p:nvPr>
            <p:ph type="pic" sz="quarter" idx="22" hasCustomPrompt="1"/>
          </p:nvPr>
        </p:nvSpPr>
        <p:spPr>
          <a:xfrm>
            <a:off x="731139" y="1534879"/>
            <a:ext cx="1641805" cy="1306068"/>
          </a:xfrm>
          <a:solidFill>
            <a:schemeClr val="bg1">
              <a:lumMod val="95000"/>
            </a:schemeClr>
          </a:solidFill>
        </p:spPr>
        <p:txBody>
          <a:bodyPr anchor="ctr" anchorCtr="1">
            <a:noAutofit/>
          </a:bodyPr>
          <a:lstStyle>
            <a:lvl1pPr>
              <a:defRPr sz="726" b="0">
                <a:solidFill>
                  <a:schemeClr val="tx1"/>
                </a:solidFill>
              </a:defRPr>
            </a:lvl1pPr>
          </a:lstStyle>
          <a:p>
            <a:r>
              <a:rPr lang="en-NZ" dirty="0"/>
              <a:t>CV image</a:t>
            </a:r>
          </a:p>
        </p:txBody>
      </p:sp>
      <p:sp>
        <p:nvSpPr>
          <p:cNvPr id="27" name="CV Mobile number">
            <a:extLst>
              <a:ext uri="{FF2B5EF4-FFF2-40B4-BE49-F238E27FC236}">
                <a16:creationId xmlns:a16="http://schemas.microsoft.com/office/drawing/2014/main" id="{6A7ACADD-5E22-4953-BA68-0820784E7B08}"/>
              </a:ext>
            </a:extLst>
          </p:cNvPr>
          <p:cNvSpPr>
            <a:spLocks noGrp="1"/>
          </p:cNvSpPr>
          <p:nvPr>
            <p:ph type="body" sz="quarter" idx="48" hasCustomPrompt="1"/>
          </p:nvPr>
        </p:nvSpPr>
        <p:spPr>
          <a:xfrm>
            <a:off x="2531420" y="2701371"/>
            <a:ext cx="3412451" cy="139575"/>
          </a:xfrm>
        </p:spPr>
        <p:txBody>
          <a:bodyPr lIns="54000" tIns="0">
            <a:noAutofit/>
          </a:bodyPr>
          <a:lstStyle>
            <a:lvl1pPr>
              <a:lnSpc>
                <a:spcPct val="100000"/>
              </a:lnSpc>
              <a:spcAft>
                <a:spcPts val="0"/>
              </a:spcAft>
              <a:defRPr sz="907" b="0">
                <a:solidFill>
                  <a:schemeClr val="tx1"/>
                </a:solidFill>
                <a:latin typeface="+mn-lt"/>
              </a:defRPr>
            </a:lvl1pPr>
            <a:lvl2pPr>
              <a:lnSpc>
                <a:spcPct val="100000"/>
              </a:lnSpc>
              <a:spcAft>
                <a:spcPts val="1088"/>
              </a:spcAft>
              <a:defRPr sz="1088" b="0">
                <a:solidFill>
                  <a:schemeClr val="tx1"/>
                </a:solidFill>
                <a:latin typeface="+mj-lt"/>
              </a:defRPr>
            </a:lvl2pPr>
            <a:lvl3pPr marL="0" indent="0">
              <a:lnSpc>
                <a:spcPct val="100000"/>
              </a:lnSpc>
              <a:spcAft>
                <a:spcPts val="0"/>
              </a:spcAft>
              <a:buNone/>
              <a:tabLst>
                <a:tab pos="164130" algn="l"/>
              </a:tabLst>
              <a:defRPr sz="907" b="0" baseline="0">
                <a:solidFill>
                  <a:schemeClr val="tx1"/>
                </a:solidFill>
              </a:defRPr>
            </a:lvl3pPr>
            <a:lvl8pPr>
              <a:defRPr/>
            </a:lvl8pPr>
          </a:lstStyle>
          <a:p>
            <a:pPr lvl="0"/>
            <a:r>
              <a:rPr lang="en-US" dirty="0"/>
              <a:t>Mobile</a:t>
            </a:r>
          </a:p>
        </p:txBody>
      </p:sp>
      <p:sp>
        <p:nvSpPr>
          <p:cNvPr id="26" name="CV Email address">
            <a:extLst>
              <a:ext uri="{FF2B5EF4-FFF2-40B4-BE49-F238E27FC236}">
                <a16:creationId xmlns:a16="http://schemas.microsoft.com/office/drawing/2014/main" id="{1410EA5F-899B-4D8E-B940-F962E16D62E2}"/>
              </a:ext>
            </a:extLst>
          </p:cNvPr>
          <p:cNvSpPr>
            <a:spLocks noGrp="1"/>
          </p:cNvSpPr>
          <p:nvPr>
            <p:ph type="body" sz="quarter" idx="47" hasCustomPrompt="1"/>
          </p:nvPr>
        </p:nvSpPr>
        <p:spPr>
          <a:xfrm>
            <a:off x="2531420" y="2506956"/>
            <a:ext cx="3412451" cy="139575"/>
          </a:xfrm>
        </p:spPr>
        <p:txBody>
          <a:bodyPr lIns="54000" tIns="0">
            <a:noAutofit/>
          </a:bodyPr>
          <a:lstStyle>
            <a:lvl1pPr>
              <a:lnSpc>
                <a:spcPct val="100000"/>
              </a:lnSpc>
              <a:spcAft>
                <a:spcPts val="0"/>
              </a:spcAft>
              <a:defRPr sz="907" b="0">
                <a:solidFill>
                  <a:schemeClr val="tx1"/>
                </a:solidFill>
                <a:latin typeface="+mn-lt"/>
              </a:defRPr>
            </a:lvl1pPr>
            <a:lvl2pPr>
              <a:lnSpc>
                <a:spcPct val="100000"/>
              </a:lnSpc>
              <a:spcAft>
                <a:spcPts val="1088"/>
              </a:spcAft>
              <a:defRPr sz="1088" b="0">
                <a:solidFill>
                  <a:schemeClr val="tx1"/>
                </a:solidFill>
                <a:latin typeface="+mj-lt"/>
              </a:defRPr>
            </a:lvl2pPr>
            <a:lvl3pPr marL="0" indent="0">
              <a:lnSpc>
                <a:spcPct val="100000"/>
              </a:lnSpc>
              <a:spcAft>
                <a:spcPts val="0"/>
              </a:spcAft>
              <a:buNone/>
              <a:tabLst>
                <a:tab pos="164130" algn="l"/>
              </a:tabLst>
              <a:defRPr sz="907" b="0" baseline="0">
                <a:solidFill>
                  <a:schemeClr val="tx1"/>
                </a:solidFill>
              </a:defRPr>
            </a:lvl3pPr>
            <a:lvl8pPr>
              <a:defRPr/>
            </a:lvl8pPr>
          </a:lstStyle>
          <a:p>
            <a:pPr lvl="0"/>
            <a:r>
              <a:rPr lang="en-US" dirty="0"/>
              <a:t>Email</a:t>
            </a:r>
          </a:p>
        </p:txBody>
      </p:sp>
      <p:sp>
        <p:nvSpPr>
          <p:cNvPr id="25" name="CV Phone number">
            <a:extLst>
              <a:ext uri="{FF2B5EF4-FFF2-40B4-BE49-F238E27FC236}">
                <a16:creationId xmlns:a16="http://schemas.microsoft.com/office/drawing/2014/main" id="{B327A7E1-CD5E-41F2-AE41-CA7B370E04E1}"/>
              </a:ext>
            </a:extLst>
          </p:cNvPr>
          <p:cNvSpPr>
            <a:spLocks noGrp="1"/>
          </p:cNvSpPr>
          <p:nvPr>
            <p:ph type="body" sz="quarter" idx="46" hasCustomPrompt="1"/>
          </p:nvPr>
        </p:nvSpPr>
        <p:spPr>
          <a:xfrm>
            <a:off x="2531420" y="2312540"/>
            <a:ext cx="3412451" cy="139575"/>
          </a:xfrm>
        </p:spPr>
        <p:txBody>
          <a:bodyPr lIns="54000" tIns="0">
            <a:noAutofit/>
          </a:bodyPr>
          <a:lstStyle>
            <a:lvl1pPr>
              <a:lnSpc>
                <a:spcPct val="100000"/>
              </a:lnSpc>
              <a:spcAft>
                <a:spcPts val="0"/>
              </a:spcAft>
              <a:defRPr sz="907" b="0">
                <a:solidFill>
                  <a:schemeClr val="tx1"/>
                </a:solidFill>
                <a:latin typeface="+mn-lt"/>
              </a:defRPr>
            </a:lvl1pPr>
            <a:lvl2pPr>
              <a:lnSpc>
                <a:spcPct val="100000"/>
              </a:lnSpc>
              <a:spcAft>
                <a:spcPts val="1088"/>
              </a:spcAft>
              <a:defRPr sz="1088" b="0">
                <a:solidFill>
                  <a:schemeClr val="tx1"/>
                </a:solidFill>
                <a:latin typeface="+mj-lt"/>
              </a:defRPr>
            </a:lvl2pPr>
            <a:lvl3pPr marL="0" indent="0">
              <a:lnSpc>
                <a:spcPct val="100000"/>
              </a:lnSpc>
              <a:spcAft>
                <a:spcPts val="0"/>
              </a:spcAft>
              <a:buNone/>
              <a:tabLst>
                <a:tab pos="164130" algn="l"/>
              </a:tabLst>
              <a:defRPr sz="907" b="0" baseline="0">
                <a:solidFill>
                  <a:schemeClr val="tx1"/>
                </a:solidFill>
              </a:defRPr>
            </a:lvl3pPr>
            <a:lvl8pPr>
              <a:defRPr/>
            </a:lvl8pPr>
          </a:lstStyle>
          <a:p>
            <a:pPr lvl="0"/>
            <a:r>
              <a:rPr lang="en-US" dirty="0"/>
              <a:t>Telephone</a:t>
            </a:r>
          </a:p>
        </p:txBody>
      </p:sp>
      <p:sp>
        <p:nvSpPr>
          <p:cNvPr id="22" name="CV Location">
            <a:extLst>
              <a:ext uri="{FF2B5EF4-FFF2-40B4-BE49-F238E27FC236}">
                <a16:creationId xmlns:a16="http://schemas.microsoft.com/office/drawing/2014/main" id="{960DDE0C-C2C8-4148-85AB-54A18B2BDBB9}"/>
              </a:ext>
            </a:extLst>
          </p:cNvPr>
          <p:cNvSpPr>
            <a:spLocks noGrp="1"/>
          </p:cNvSpPr>
          <p:nvPr>
            <p:ph type="body" sz="quarter" idx="45" hasCustomPrompt="1"/>
          </p:nvPr>
        </p:nvSpPr>
        <p:spPr>
          <a:xfrm>
            <a:off x="2531420" y="2118125"/>
            <a:ext cx="3412451" cy="139575"/>
          </a:xfrm>
        </p:spPr>
        <p:txBody>
          <a:bodyPr lIns="54000" tIns="0">
            <a:noAutofit/>
          </a:bodyPr>
          <a:lstStyle>
            <a:lvl1pPr>
              <a:lnSpc>
                <a:spcPct val="100000"/>
              </a:lnSpc>
              <a:spcAft>
                <a:spcPts val="0"/>
              </a:spcAft>
              <a:defRPr sz="907" b="0">
                <a:solidFill>
                  <a:schemeClr val="tx1"/>
                </a:solidFill>
                <a:latin typeface="+mn-lt"/>
              </a:defRPr>
            </a:lvl1pPr>
            <a:lvl2pPr>
              <a:lnSpc>
                <a:spcPct val="100000"/>
              </a:lnSpc>
              <a:spcAft>
                <a:spcPts val="1088"/>
              </a:spcAft>
              <a:defRPr sz="1088" b="0">
                <a:solidFill>
                  <a:schemeClr val="tx1"/>
                </a:solidFill>
                <a:latin typeface="+mj-lt"/>
              </a:defRPr>
            </a:lvl2pPr>
            <a:lvl3pPr marL="0" indent="0">
              <a:lnSpc>
                <a:spcPct val="100000"/>
              </a:lnSpc>
              <a:spcAft>
                <a:spcPts val="0"/>
              </a:spcAft>
              <a:buNone/>
              <a:tabLst>
                <a:tab pos="164130" algn="l"/>
              </a:tabLst>
              <a:defRPr sz="907" b="0" baseline="0">
                <a:solidFill>
                  <a:schemeClr val="tx1"/>
                </a:solidFill>
              </a:defRPr>
            </a:lvl3pPr>
            <a:lvl8pPr>
              <a:defRPr/>
            </a:lvl8pPr>
          </a:lstStyle>
          <a:p>
            <a:pPr lvl="0"/>
            <a:r>
              <a:rPr lang="en-US" dirty="0"/>
              <a:t>Location</a:t>
            </a:r>
          </a:p>
        </p:txBody>
      </p:sp>
      <p:sp>
        <p:nvSpPr>
          <p:cNvPr id="21" name="CV Job title">
            <a:extLst>
              <a:ext uri="{FF2B5EF4-FFF2-40B4-BE49-F238E27FC236}">
                <a16:creationId xmlns:a16="http://schemas.microsoft.com/office/drawing/2014/main" id="{823C5C4E-5CEC-4256-B62A-FE2C581625FF}"/>
              </a:ext>
            </a:extLst>
          </p:cNvPr>
          <p:cNvSpPr>
            <a:spLocks noGrp="1"/>
          </p:cNvSpPr>
          <p:nvPr>
            <p:ph type="body" sz="quarter" idx="44" hasCustomPrompt="1"/>
          </p:nvPr>
        </p:nvSpPr>
        <p:spPr>
          <a:xfrm>
            <a:off x="2531420" y="1767589"/>
            <a:ext cx="3412451" cy="167490"/>
          </a:xfrm>
        </p:spPr>
        <p:txBody>
          <a:bodyPr lIns="54000" tIns="0">
            <a:noAutofit/>
          </a:bodyPr>
          <a:lstStyle>
            <a:lvl1pPr>
              <a:lnSpc>
                <a:spcPct val="100000"/>
              </a:lnSpc>
              <a:spcAft>
                <a:spcPts val="0"/>
              </a:spcAft>
              <a:defRPr sz="1088" b="0">
                <a:solidFill>
                  <a:schemeClr val="tx1"/>
                </a:solidFill>
                <a:latin typeface="+mn-lt"/>
              </a:defRPr>
            </a:lvl1pPr>
            <a:lvl2pPr>
              <a:lnSpc>
                <a:spcPct val="100000"/>
              </a:lnSpc>
              <a:spcAft>
                <a:spcPts val="1088"/>
              </a:spcAft>
              <a:defRPr sz="1088" b="0">
                <a:solidFill>
                  <a:schemeClr val="tx1"/>
                </a:solidFill>
                <a:latin typeface="+mj-lt"/>
              </a:defRPr>
            </a:lvl2pPr>
            <a:lvl3pPr marL="0" indent="0">
              <a:lnSpc>
                <a:spcPct val="100000"/>
              </a:lnSpc>
              <a:spcAft>
                <a:spcPts val="0"/>
              </a:spcAft>
              <a:buNone/>
              <a:tabLst>
                <a:tab pos="164130" algn="l"/>
              </a:tabLst>
              <a:defRPr sz="907" b="0" baseline="0">
                <a:solidFill>
                  <a:schemeClr val="tx1"/>
                </a:solidFill>
              </a:defRPr>
            </a:lvl3pPr>
            <a:lvl8pPr>
              <a:defRPr/>
            </a:lvl8pPr>
          </a:lstStyle>
          <a:p>
            <a:pPr lvl="0"/>
            <a:r>
              <a:rPr lang="en-US" dirty="0"/>
              <a:t>Job title</a:t>
            </a:r>
          </a:p>
        </p:txBody>
      </p:sp>
      <p:sp>
        <p:nvSpPr>
          <p:cNvPr id="17" name="CV Name"/>
          <p:cNvSpPr>
            <a:spLocks noGrp="1"/>
          </p:cNvSpPr>
          <p:nvPr>
            <p:ph type="body" sz="quarter" idx="13" hasCustomPrompt="1"/>
          </p:nvPr>
        </p:nvSpPr>
        <p:spPr>
          <a:xfrm>
            <a:off x="2531420" y="1534879"/>
            <a:ext cx="3412451" cy="167490"/>
          </a:xfrm>
        </p:spPr>
        <p:txBody>
          <a:bodyPr lIns="54000" tIns="0">
            <a:noAutofit/>
          </a:bodyPr>
          <a:lstStyle>
            <a:lvl1pPr>
              <a:lnSpc>
                <a:spcPct val="100000"/>
              </a:lnSpc>
              <a:spcAft>
                <a:spcPts val="0"/>
              </a:spcAft>
              <a:defRPr sz="1088" b="0">
                <a:solidFill>
                  <a:schemeClr val="accent1"/>
                </a:solidFill>
                <a:latin typeface="+mj-lt"/>
              </a:defRPr>
            </a:lvl1pPr>
            <a:lvl2pPr>
              <a:lnSpc>
                <a:spcPct val="100000"/>
              </a:lnSpc>
              <a:spcAft>
                <a:spcPts val="1088"/>
              </a:spcAft>
              <a:defRPr sz="1088" b="0">
                <a:solidFill>
                  <a:schemeClr val="tx1"/>
                </a:solidFill>
                <a:latin typeface="+mj-lt"/>
              </a:defRPr>
            </a:lvl2pPr>
            <a:lvl3pPr marL="0" indent="0">
              <a:lnSpc>
                <a:spcPct val="100000"/>
              </a:lnSpc>
              <a:spcAft>
                <a:spcPts val="0"/>
              </a:spcAft>
              <a:buNone/>
              <a:tabLst>
                <a:tab pos="164130" algn="l"/>
              </a:tabLst>
              <a:defRPr sz="907" b="0" baseline="0">
                <a:solidFill>
                  <a:schemeClr val="tx1"/>
                </a:solidFill>
              </a:defRPr>
            </a:lvl3pPr>
            <a:lvl8pPr>
              <a:defRPr/>
            </a:lvl8pPr>
          </a:lstStyle>
          <a:p>
            <a:pPr lvl="0"/>
            <a:r>
              <a:rPr lang="en-US" dirty="0"/>
              <a:t>Name</a:t>
            </a:r>
          </a:p>
        </p:txBody>
      </p:sp>
      <p:sp>
        <p:nvSpPr>
          <p:cNvPr id="4" name="Title 3"/>
          <p:cNvSpPr>
            <a:spLocks noGrp="1"/>
          </p:cNvSpPr>
          <p:nvPr>
            <p:ph type="title" hasCustomPrompt="1"/>
          </p:nvPr>
        </p:nvSpPr>
        <p:spPr/>
        <p:txBody>
          <a:bodyPr/>
          <a:lstStyle>
            <a:lvl1pPr>
              <a:defRPr/>
            </a:lvl1pPr>
          </a:lstStyle>
          <a:p>
            <a:r>
              <a:rPr lang="en-US" dirty="0"/>
              <a:t>Click to edit page title</a:t>
            </a:r>
            <a:endParaRPr lang="en-GB" dirty="0"/>
          </a:p>
        </p:txBody>
      </p:sp>
      <p:grpSp>
        <p:nvGrpSpPr>
          <p:cNvPr id="3" name="Group 17">
            <a:extLst>
              <a:ext uri="{FF2B5EF4-FFF2-40B4-BE49-F238E27FC236}">
                <a16:creationId xmlns:a16="http://schemas.microsoft.com/office/drawing/2014/main" id="{E3F4CB98-4B07-41B1-B04E-7430FD7F1BE2}"/>
              </a:ext>
            </a:extLst>
          </p:cNvPr>
          <p:cNvGrpSpPr/>
          <p:nvPr userDrawn="1"/>
        </p:nvGrpSpPr>
        <p:grpSpPr>
          <a:xfrm>
            <a:off x="12335553" y="2"/>
            <a:ext cx="2873478" cy="1720847"/>
            <a:chOff x="10891316" y="0"/>
            <a:chExt cx="2520280" cy="1897314"/>
          </a:xfrm>
        </p:grpSpPr>
        <p:sp>
          <p:nvSpPr>
            <p:cNvPr id="19" name="TextBox 18">
              <a:extLst>
                <a:ext uri="{FF2B5EF4-FFF2-40B4-BE49-F238E27FC236}">
                  <a16:creationId xmlns:a16="http://schemas.microsoft.com/office/drawing/2014/main" id="{A283F919-18DC-4D85-8221-A157D0842C80}"/>
                </a:ext>
              </a:extLst>
            </p:cNvPr>
            <p:cNvSpPr txBox="1"/>
            <p:nvPr/>
          </p:nvSpPr>
          <p:spPr>
            <a:xfrm>
              <a:off x="10891316" y="0"/>
              <a:ext cx="2520280" cy="1897314"/>
            </a:xfrm>
            <a:prstGeom prst="rect">
              <a:avLst/>
            </a:prstGeom>
            <a:solidFill>
              <a:schemeClr val="bg1">
                <a:lumMod val="85000"/>
              </a:schemeClr>
            </a:solidFill>
            <a:ln w="9525">
              <a:noFill/>
              <a:miter lim="800000"/>
              <a:headEnd/>
              <a:tailEnd/>
            </a:ln>
            <a:effectLst/>
          </p:spPr>
          <p:txBody>
            <a:bodyPr lIns="36000" tIns="36000" rIns="36000" bIns="36000">
              <a:spAutoFit/>
            </a:bodyPr>
            <a:lstStyle/>
            <a:p>
              <a:pPr>
                <a:spcAft>
                  <a:spcPts val="272"/>
                </a:spcAft>
              </a:pPr>
              <a:r>
                <a:rPr lang="en-GB" sz="726" b="1" dirty="0"/>
                <a:t>UPDATING CV’S</a:t>
              </a:r>
            </a:p>
            <a:p>
              <a:pPr>
                <a:spcAft>
                  <a:spcPts val="272"/>
                </a:spcAft>
              </a:pPr>
              <a:r>
                <a:rPr lang="en-GB" sz="726" dirty="0"/>
                <a:t>To add a CV image:</a:t>
              </a:r>
            </a:p>
            <a:p>
              <a:pPr marL="137886" indent="-137886">
                <a:spcAft>
                  <a:spcPts val="272"/>
                </a:spcAft>
                <a:buFont typeface="Arial" pitchFamily="34" charset="0"/>
                <a:buChar char="•"/>
              </a:pPr>
              <a:r>
                <a:rPr lang="en-GB" sz="726" dirty="0"/>
                <a:t>click on the picture placeholder icon</a:t>
              </a:r>
            </a:p>
            <a:p>
              <a:pPr marL="137886" indent="-137886">
                <a:spcAft>
                  <a:spcPts val="272"/>
                </a:spcAft>
                <a:buFont typeface="Arial" pitchFamily="34" charset="0"/>
                <a:buChar char="•"/>
              </a:pPr>
              <a:r>
                <a:rPr lang="en-GB" sz="726" dirty="0"/>
                <a:t>Windows Explorer will open, find your required image and click ‘Insert’</a:t>
              </a:r>
            </a:p>
            <a:p>
              <a:pPr marL="137886" indent="-137886">
                <a:spcAft>
                  <a:spcPts val="272"/>
                </a:spcAft>
                <a:buFont typeface="Arial" pitchFamily="34" charset="0"/>
                <a:buChar char="•"/>
              </a:pPr>
              <a:r>
                <a:rPr lang="en-GB" sz="726" dirty="0"/>
                <a:t>select the image, right-click and select ‘Send to </a:t>
              </a:r>
              <a:r>
                <a:rPr lang="en-GB" sz="726" b="0" dirty="0"/>
                <a:t>B</a:t>
              </a:r>
              <a:r>
                <a:rPr lang="en-GB" sz="726" dirty="0"/>
                <a:t>ack’</a:t>
              </a:r>
              <a:endParaRPr lang="en-US" sz="726" dirty="0"/>
            </a:p>
            <a:p>
              <a:pPr marL="0" indent="0">
                <a:spcAft>
                  <a:spcPts val="272"/>
                </a:spcAft>
                <a:buFont typeface="Arial" pitchFamily="34" charset="0"/>
                <a:buNone/>
              </a:pPr>
              <a:r>
                <a:rPr lang="en-US" sz="726" dirty="0"/>
                <a:t>If there</a:t>
              </a:r>
              <a:r>
                <a:rPr lang="en-US" sz="726" baseline="0" dirty="0"/>
                <a:t> is a generic silhouette image, you will need to change the picture:</a:t>
              </a:r>
              <a:endParaRPr lang="en-GB" sz="726" dirty="0"/>
            </a:p>
            <a:p>
              <a:pPr marL="137886" indent="-137886">
                <a:spcAft>
                  <a:spcPts val="272"/>
                </a:spcAft>
                <a:buFont typeface="Arial" pitchFamily="34" charset="0"/>
                <a:buChar char="•"/>
              </a:pPr>
              <a:r>
                <a:rPr lang="en-GB" sz="726" dirty="0"/>
                <a:t>select the silhouette image</a:t>
              </a:r>
            </a:p>
            <a:p>
              <a:pPr marL="137886" indent="-137886">
                <a:spcAft>
                  <a:spcPts val="272"/>
                </a:spcAft>
                <a:buFont typeface="Arial" pitchFamily="34" charset="0"/>
                <a:buChar char="•"/>
              </a:pPr>
              <a:r>
                <a:rPr lang="en-GB" sz="726" dirty="0"/>
                <a:t>right-click and select ‘Change Picture’</a:t>
              </a:r>
            </a:p>
            <a:p>
              <a:pPr marL="137886" indent="-137886">
                <a:spcAft>
                  <a:spcPts val="272"/>
                </a:spcAft>
                <a:buFont typeface="Arial" pitchFamily="34" charset="0"/>
                <a:buChar char="•"/>
              </a:pPr>
              <a:r>
                <a:rPr lang="en-GB" sz="726" dirty="0"/>
                <a:t>navigate to the required image file, select and click ‘Insert’.</a:t>
              </a:r>
            </a:p>
          </p:txBody>
        </p:sp>
        <p:pic>
          <p:nvPicPr>
            <p:cNvPr id="20" name="Picture 19">
              <a:extLst>
                <a:ext uri="{FF2B5EF4-FFF2-40B4-BE49-F238E27FC236}">
                  <a16:creationId xmlns:a16="http://schemas.microsoft.com/office/drawing/2014/main" id="{79CD73FF-8958-45AC-A035-8DCB935D6A1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3020535" y="124489"/>
              <a:ext cx="323810" cy="323810"/>
            </a:xfrm>
            <a:prstGeom prst="rect">
              <a:avLst/>
            </a:prstGeom>
          </p:spPr>
        </p:pic>
      </p:grpSp>
    </p:spTree>
    <p:extLst>
      <p:ext uri="{BB962C8B-B14F-4D97-AF65-F5344CB8AC3E}">
        <p14:creationId xmlns:p14="http://schemas.microsoft.com/office/powerpoint/2010/main" val="201003568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V x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 y="0"/>
          <a:ext cx="180998" cy="143985"/>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 y="0"/>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p:cNvSpPr>
            <a:spLocks noGrp="1"/>
          </p:cNvSpPr>
          <p:nvPr>
            <p:ph type="title" hasCustomPrompt="1"/>
          </p:nvPr>
        </p:nvSpPr>
        <p:spPr/>
        <p:txBody>
          <a:bodyPr/>
          <a:lstStyle>
            <a:lvl1pPr>
              <a:defRPr/>
            </a:lvl1pPr>
          </a:lstStyle>
          <a:p>
            <a:r>
              <a:rPr lang="en-US" dirty="0"/>
              <a:t>Click to edit page title</a:t>
            </a:r>
            <a:endParaRPr lang="en-GB" dirty="0"/>
          </a:p>
        </p:txBody>
      </p:sp>
      <p:sp>
        <p:nvSpPr>
          <p:cNvPr id="29" name="CV Bio">
            <a:extLst>
              <a:ext uri="{FF2B5EF4-FFF2-40B4-BE49-F238E27FC236}">
                <a16:creationId xmlns:a16="http://schemas.microsoft.com/office/drawing/2014/main" id="{F37CBDA5-25F9-4D5B-8B40-312582F6D53D}"/>
              </a:ext>
            </a:extLst>
          </p:cNvPr>
          <p:cNvSpPr>
            <a:spLocks noGrp="1"/>
          </p:cNvSpPr>
          <p:nvPr>
            <p:ph type="body" sz="quarter" idx="42" hasCustomPrompt="1"/>
          </p:nvPr>
        </p:nvSpPr>
        <p:spPr>
          <a:xfrm>
            <a:off x="720499" y="3081724"/>
            <a:ext cx="5212732" cy="1067868"/>
          </a:xfrm>
        </p:spPr>
        <p:txBody>
          <a:bodyPr wrap="square">
            <a:sp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0" name="CV Photo">
            <a:extLst>
              <a:ext uri="{FF2B5EF4-FFF2-40B4-BE49-F238E27FC236}">
                <a16:creationId xmlns:a16="http://schemas.microsoft.com/office/drawing/2014/main" id="{4AFCE168-DEF4-4CC6-A425-24E3AECE3067}"/>
              </a:ext>
            </a:extLst>
          </p:cNvPr>
          <p:cNvSpPr>
            <a:spLocks noGrp="1" noChangeAspect="1"/>
          </p:cNvSpPr>
          <p:nvPr>
            <p:ph type="pic" sz="quarter" idx="22" hasCustomPrompt="1"/>
          </p:nvPr>
        </p:nvSpPr>
        <p:spPr>
          <a:xfrm>
            <a:off x="731139" y="1534879"/>
            <a:ext cx="1641805" cy="1306068"/>
          </a:xfrm>
          <a:solidFill>
            <a:schemeClr val="bg1">
              <a:lumMod val="95000"/>
            </a:schemeClr>
          </a:solidFill>
        </p:spPr>
        <p:txBody>
          <a:bodyPr anchor="ctr" anchorCtr="1">
            <a:noAutofit/>
          </a:bodyPr>
          <a:lstStyle>
            <a:lvl1pPr>
              <a:defRPr sz="726" b="0">
                <a:solidFill>
                  <a:schemeClr val="tx1"/>
                </a:solidFill>
              </a:defRPr>
            </a:lvl1pPr>
          </a:lstStyle>
          <a:p>
            <a:r>
              <a:rPr lang="en-NZ" dirty="0"/>
              <a:t>CV image</a:t>
            </a:r>
          </a:p>
        </p:txBody>
      </p:sp>
      <p:sp>
        <p:nvSpPr>
          <p:cNvPr id="31" name="CV Mobile number">
            <a:extLst>
              <a:ext uri="{FF2B5EF4-FFF2-40B4-BE49-F238E27FC236}">
                <a16:creationId xmlns:a16="http://schemas.microsoft.com/office/drawing/2014/main" id="{22B24BD9-9118-439C-90B0-2BF9745A17E0}"/>
              </a:ext>
            </a:extLst>
          </p:cNvPr>
          <p:cNvSpPr>
            <a:spLocks noGrp="1"/>
          </p:cNvSpPr>
          <p:nvPr>
            <p:ph type="body" sz="quarter" idx="48" hasCustomPrompt="1"/>
          </p:nvPr>
        </p:nvSpPr>
        <p:spPr>
          <a:xfrm>
            <a:off x="2531420" y="2701371"/>
            <a:ext cx="3412451" cy="139575"/>
          </a:xfrm>
        </p:spPr>
        <p:txBody>
          <a:bodyPr lIns="54000" tIns="0">
            <a:noAutofit/>
          </a:bodyPr>
          <a:lstStyle>
            <a:lvl1pPr>
              <a:lnSpc>
                <a:spcPct val="100000"/>
              </a:lnSpc>
              <a:spcAft>
                <a:spcPts val="0"/>
              </a:spcAft>
              <a:defRPr sz="907" b="0">
                <a:solidFill>
                  <a:schemeClr val="tx1"/>
                </a:solidFill>
                <a:latin typeface="+mn-lt"/>
              </a:defRPr>
            </a:lvl1pPr>
            <a:lvl2pPr>
              <a:lnSpc>
                <a:spcPct val="100000"/>
              </a:lnSpc>
              <a:spcAft>
                <a:spcPts val="1088"/>
              </a:spcAft>
              <a:defRPr sz="1088" b="0">
                <a:solidFill>
                  <a:schemeClr val="tx1"/>
                </a:solidFill>
                <a:latin typeface="+mj-lt"/>
              </a:defRPr>
            </a:lvl2pPr>
            <a:lvl3pPr marL="0" indent="0">
              <a:lnSpc>
                <a:spcPct val="100000"/>
              </a:lnSpc>
              <a:spcAft>
                <a:spcPts val="0"/>
              </a:spcAft>
              <a:buNone/>
              <a:tabLst>
                <a:tab pos="164130" algn="l"/>
              </a:tabLst>
              <a:defRPr sz="907" b="0" baseline="0">
                <a:solidFill>
                  <a:schemeClr val="tx1"/>
                </a:solidFill>
              </a:defRPr>
            </a:lvl3pPr>
            <a:lvl8pPr>
              <a:defRPr/>
            </a:lvl8pPr>
          </a:lstStyle>
          <a:p>
            <a:pPr lvl="0"/>
            <a:r>
              <a:rPr lang="en-US" dirty="0"/>
              <a:t>M</a:t>
            </a:r>
          </a:p>
        </p:txBody>
      </p:sp>
      <p:sp>
        <p:nvSpPr>
          <p:cNvPr id="33" name="CV Email address">
            <a:extLst>
              <a:ext uri="{FF2B5EF4-FFF2-40B4-BE49-F238E27FC236}">
                <a16:creationId xmlns:a16="http://schemas.microsoft.com/office/drawing/2014/main" id="{EE4E8668-106C-4F96-9B1E-9519ACE7DFDB}"/>
              </a:ext>
            </a:extLst>
          </p:cNvPr>
          <p:cNvSpPr>
            <a:spLocks noGrp="1"/>
          </p:cNvSpPr>
          <p:nvPr>
            <p:ph type="body" sz="quarter" idx="47"/>
          </p:nvPr>
        </p:nvSpPr>
        <p:spPr>
          <a:xfrm>
            <a:off x="2531420" y="2506956"/>
            <a:ext cx="3412451" cy="139575"/>
          </a:xfrm>
        </p:spPr>
        <p:txBody>
          <a:bodyPr lIns="54000" tIns="0">
            <a:noAutofit/>
          </a:bodyPr>
          <a:lstStyle>
            <a:lvl1pPr>
              <a:lnSpc>
                <a:spcPct val="100000"/>
              </a:lnSpc>
              <a:spcAft>
                <a:spcPts val="0"/>
              </a:spcAft>
              <a:defRPr sz="907" b="0">
                <a:solidFill>
                  <a:schemeClr val="tx1"/>
                </a:solidFill>
                <a:latin typeface="+mn-lt"/>
              </a:defRPr>
            </a:lvl1pPr>
            <a:lvl2pPr>
              <a:lnSpc>
                <a:spcPct val="100000"/>
              </a:lnSpc>
              <a:spcAft>
                <a:spcPts val="1088"/>
              </a:spcAft>
              <a:defRPr sz="1088" b="0">
                <a:solidFill>
                  <a:schemeClr val="tx1"/>
                </a:solidFill>
                <a:latin typeface="+mj-lt"/>
              </a:defRPr>
            </a:lvl2pPr>
            <a:lvl3pPr marL="0" indent="0">
              <a:lnSpc>
                <a:spcPct val="100000"/>
              </a:lnSpc>
              <a:spcAft>
                <a:spcPts val="0"/>
              </a:spcAft>
              <a:buNone/>
              <a:tabLst>
                <a:tab pos="164130" algn="l"/>
              </a:tabLst>
              <a:defRPr sz="907" b="0" baseline="0">
                <a:solidFill>
                  <a:schemeClr val="tx1"/>
                </a:solidFill>
              </a:defRPr>
            </a:lvl3pPr>
            <a:lvl8pPr>
              <a:defRPr/>
            </a:lvl8pPr>
          </a:lstStyle>
          <a:p>
            <a:pPr lvl="0"/>
            <a:r>
              <a:rPr lang="en-US" dirty="0"/>
              <a:t>E</a:t>
            </a:r>
          </a:p>
        </p:txBody>
      </p:sp>
      <p:sp>
        <p:nvSpPr>
          <p:cNvPr id="34" name="CV Phone number">
            <a:extLst>
              <a:ext uri="{FF2B5EF4-FFF2-40B4-BE49-F238E27FC236}">
                <a16:creationId xmlns:a16="http://schemas.microsoft.com/office/drawing/2014/main" id="{3DA7519A-9224-41CD-8D93-F211B6496722}"/>
              </a:ext>
            </a:extLst>
          </p:cNvPr>
          <p:cNvSpPr>
            <a:spLocks noGrp="1"/>
          </p:cNvSpPr>
          <p:nvPr>
            <p:ph type="body" sz="quarter" idx="46" hasCustomPrompt="1"/>
          </p:nvPr>
        </p:nvSpPr>
        <p:spPr>
          <a:xfrm>
            <a:off x="2531420" y="2312540"/>
            <a:ext cx="3412451" cy="139575"/>
          </a:xfrm>
        </p:spPr>
        <p:txBody>
          <a:bodyPr lIns="54000" tIns="0">
            <a:noAutofit/>
          </a:bodyPr>
          <a:lstStyle>
            <a:lvl1pPr>
              <a:lnSpc>
                <a:spcPct val="100000"/>
              </a:lnSpc>
              <a:spcAft>
                <a:spcPts val="0"/>
              </a:spcAft>
              <a:defRPr sz="907" b="0">
                <a:solidFill>
                  <a:schemeClr val="tx1"/>
                </a:solidFill>
                <a:latin typeface="+mn-lt"/>
              </a:defRPr>
            </a:lvl1pPr>
            <a:lvl2pPr>
              <a:lnSpc>
                <a:spcPct val="100000"/>
              </a:lnSpc>
              <a:spcAft>
                <a:spcPts val="1088"/>
              </a:spcAft>
              <a:defRPr sz="1088" b="0">
                <a:solidFill>
                  <a:schemeClr val="tx1"/>
                </a:solidFill>
                <a:latin typeface="+mj-lt"/>
              </a:defRPr>
            </a:lvl2pPr>
            <a:lvl3pPr marL="0" indent="0">
              <a:lnSpc>
                <a:spcPct val="100000"/>
              </a:lnSpc>
              <a:spcAft>
                <a:spcPts val="0"/>
              </a:spcAft>
              <a:buNone/>
              <a:tabLst>
                <a:tab pos="164130" algn="l"/>
              </a:tabLst>
              <a:defRPr sz="907" b="0" baseline="0">
                <a:solidFill>
                  <a:schemeClr val="tx1"/>
                </a:solidFill>
              </a:defRPr>
            </a:lvl3pPr>
            <a:lvl8pPr>
              <a:defRPr/>
            </a:lvl8pPr>
          </a:lstStyle>
          <a:p>
            <a:pPr lvl="0"/>
            <a:r>
              <a:rPr lang="en-US" dirty="0"/>
              <a:t>T</a:t>
            </a:r>
          </a:p>
        </p:txBody>
      </p:sp>
      <p:sp>
        <p:nvSpPr>
          <p:cNvPr id="35" name="CV Location">
            <a:extLst>
              <a:ext uri="{FF2B5EF4-FFF2-40B4-BE49-F238E27FC236}">
                <a16:creationId xmlns:a16="http://schemas.microsoft.com/office/drawing/2014/main" id="{24473A1F-1925-4954-9BB3-D6DA12F27466}"/>
              </a:ext>
            </a:extLst>
          </p:cNvPr>
          <p:cNvSpPr>
            <a:spLocks noGrp="1"/>
          </p:cNvSpPr>
          <p:nvPr>
            <p:ph type="body" sz="quarter" idx="45" hasCustomPrompt="1"/>
          </p:nvPr>
        </p:nvSpPr>
        <p:spPr>
          <a:xfrm>
            <a:off x="2531420" y="2118125"/>
            <a:ext cx="3412451" cy="139575"/>
          </a:xfrm>
        </p:spPr>
        <p:txBody>
          <a:bodyPr lIns="54000" tIns="0">
            <a:noAutofit/>
          </a:bodyPr>
          <a:lstStyle>
            <a:lvl1pPr>
              <a:lnSpc>
                <a:spcPct val="100000"/>
              </a:lnSpc>
              <a:spcAft>
                <a:spcPts val="0"/>
              </a:spcAft>
              <a:defRPr sz="907" b="0">
                <a:solidFill>
                  <a:schemeClr val="tx1"/>
                </a:solidFill>
                <a:latin typeface="+mn-lt"/>
              </a:defRPr>
            </a:lvl1pPr>
            <a:lvl2pPr>
              <a:lnSpc>
                <a:spcPct val="100000"/>
              </a:lnSpc>
              <a:spcAft>
                <a:spcPts val="1088"/>
              </a:spcAft>
              <a:defRPr sz="1088" b="0">
                <a:solidFill>
                  <a:schemeClr val="tx1"/>
                </a:solidFill>
                <a:latin typeface="+mj-lt"/>
              </a:defRPr>
            </a:lvl2pPr>
            <a:lvl3pPr marL="0" indent="0">
              <a:lnSpc>
                <a:spcPct val="100000"/>
              </a:lnSpc>
              <a:spcAft>
                <a:spcPts val="0"/>
              </a:spcAft>
              <a:buNone/>
              <a:tabLst>
                <a:tab pos="164130" algn="l"/>
              </a:tabLst>
              <a:defRPr sz="907" b="0" baseline="0">
                <a:solidFill>
                  <a:schemeClr val="tx1"/>
                </a:solidFill>
              </a:defRPr>
            </a:lvl3pPr>
            <a:lvl8pPr>
              <a:defRPr/>
            </a:lvl8pPr>
          </a:lstStyle>
          <a:p>
            <a:pPr lvl="0"/>
            <a:r>
              <a:rPr lang="en-US" dirty="0"/>
              <a:t>Location</a:t>
            </a:r>
          </a:p>
        </p:txBody>
      </p:sp>
      <p:sp>
        <p:nvSpPr>
          <p:cNvPr id="36" name="CV Job title">
            <a:extLst>
              <a:ext uri="{FF2B5EF4-FFF2-40B4-BE49-F238E27FC236}">
                <a16:creationId xmlns:a16="http://schemas.microsoft.com/office/drawing/2014/main" id="{9FF7A17E-7295-4E0F-85BE-29E2FA6BC71A}"/>
              </a:ext>
            </a:extLst>
          </p:cNvPr>
          <p:cNvSpPr>
            <a:spLocks noGrp="1"/>
          </p:cNvSpPr>
          <p:nvPr>
            <p:ph type="body" sz="quarter" idx="44" hasCustomPrompt="1"/>
          </p:nvPr>
        </p:nvSpPr>
        <p:spPr>
          <a:xfrm>
            <a:off x="2531420" y="1767589"/>
            <a:ext cx="3412451" cy="167490"/>
          </a:xfrm>
        </p:spPr>
        <p:txBody>
          <a:bodyPr lIns="54000" tIns="0">
            <a:noAutofit/>
          </a:bodyPr>
          <a:lstStyle>
            <a:lvl1pPr>
              <a:lnSpc>
                <a:spcPct val="100000"/>
              </a:lnSpc>
              <a:spcAft>
                <a:spcPts val="0"/>
              </a:spcAft>
              <a:defRPr sz="1088" b="0">
                <a:solidFill>
                  <a:schemeClr val="tx1"/>
                </a:solidFill>
                <a:latin typeface="+mn-lt"/>
              </a:defRPr>
            </a:lvl1pPr>
            <a:lvl2pPr>
              <a:lnSpc>
                <a:spcPct val="100000"/>
              </a:lnSpc>
              <a:spcAft>
                <a:spcPts val="1088"/>
              </a:spcAft>
              <a:defRPr sz="1088" b="0">
                <a:solidFill>
                  <a:schemeClr val="tx1"/>
                </a:solidFill>
                <a:latin typeface="+mj-lt"/>
              </a:defRPr>
            </a:lvl2pPr>
            <a:lvl3pPr marL="0" indent="0">
              <a:lnSpc>
                <a:spcPct val="100000"/>
              </a:lnSpc>
              <a:spcAft>
                <a:spcPts val="0"/>
              </a:spcAft>
              <a:buNone/>
              <a:tabLst>
                <a:tab pos="164130" algn="l"/>
              </a:tabLst>
              <a:defRPr sz="907" b="0" baseline="0">
                <a:solidFill>
                  <a:schemeClr val="tx1"/>
                </a:solidFill>
              </a:defRPr>
            </a:lvl3pPr>
            <a:lvl8pPr>
              <a:defRPr/>
            </a:lvl8pPr>
          </a:lstStyle>
          <a:p>
            <a:pPr lvl="0"/>
            <a:r>
              <a:rPr lang="en-US" dirty="0"/>
              <a:t>Job title</a:t>
            </a:r>
          </a:p>
        </p:txBody>
      </p:sp>
      <p:sp>
        <p:nvSpPr>
          <p:cNvPr id="37" name="CV Name">
            <a:extLst>
              <a:ext uri="{FF2B5EF4-FFF2-40B4-BE49-F238E27FC236}">
                <a16:creationId xmlns:a16="http://schemas.microsoft.com/office/drawing/2014/main" id="{1AD1E1F5-626E-4BE7-809E-6473132CA65D}"/>
              </a:ext>
            </a:extLst>
          </p:cNvPr>
          <p:cNvSpPr>
            <a:spLocks noGrp="1"/>
          </p:cNvSpPr>
          <p:nvPr>
            <p:ph type="body" sz="quarter" idx="13" hasCustomPrompt="1"/>
          </p:nvPr>
        </p:nvSpPr>
        <p:spPr>
          <a:xfrm>
            <a:off x="2531420" y="1534879"/>
            <a:ext cx="3412451" cy="167490"/>
          </a:xfrm>
        </p:spPr>
        <p:txBody>
          <a:bodyPr lIns="54000" tIns="0">
            <a:noAutofit/>
          </a:bodyPr>
          <a:lstStyle>
            <a:lvl1pPr>
              <a:lnSpc>
                <a:spcPct val="100000"/>
              </a:lnSpc>
              <a:spcAft>
                <a:spcPts val="0"/>
              </a:spcAft>
              <a:defRPr sz="1088" b="0">
                <a:solidFill>
                  <a:schemeClr val="accent1"/>
                </a:solidFill>
                <a:latin typeface="+mj-lt"/>
              </a:defRPr>
            </a:lvl1pPr>
            <a:lvl2pPr>
              <a:lnSpc>
                <a:spcPct val="100000"/>
              </a:lnSpc>
              <a:spcAft>
                <a:spcPts val="1088"/>
              </a:spcAft>
              <a:defRPr sz="1088" b="0">
                <a:solidFill>
                  <a:schemeClr val="tx1"/>
                </a:solidFill>
                <a:latin typeface="+mj-lt"/>
              </a:defRPr>
            </a:lvl2pPr>
            <a:lvl3pPr marL="0" indent="0">
              <a:lnSpc>
                <a:spcPct val="100000"/>
              </a:lnSpc>
              <a:spcAft>
                <a:spcPts val="0"/>
              </a:spcAft>
              <a:buNone/>
              <a:tabLst>
                <a:tab pos="164130" algn="l"/>
              </a:tabLst>
              <a:defRPr sz="907" b="0" baseline="0">
                <a:solidFill>
                  <a:schemeClr val="tx1"/>
                </a:solidFill>
              </a:defRPr>
            </a:lvl3pPr>
            <a:lvl8pPr>
              <a:defRPr/>
            </a:lvl8pPr>
          </a:lstStyle>
          <a:p>
            <a:pPr lvl="0"/>
            <a:r>
              <a:rPr lang="en-US" dirty="0"/>
              <a:t>Name</a:t>
            </a:r>
          </a:p>
        </p:txBody>
      </p:sp>
      <p:sp>
        <p:nvSpPr>
          <p:cNvPr id="27" name="CV Bio 2">
            <a:extLst>
              <a:ext uri="{FF2B5EF4-FFF2-40B4-BE49-F238E27FC236}">
                <a16:creationId xmlns:a16="http://schemas.microsoft.com/office/drawing/2014/main" id="{F4CA866E-99A4-4E10-AADF-CA36843E3A28}"/>
              </a:ext>
            </a:extLst>
          </p:cNvPr>
          <p:cNvSpPr>
            <a:spLocks noGrp="1"/>
          </p:cNvSpPr>
          <p:nvPr>
            <p:ph type="body" sz="quarter" idx="43" hasCustomPrompt="1"/>
          </p:nvPr>
        </p:nvSpPr>
        <p:spPr>
          <a:xfrm>
            <a:off x="6264326" y="3081724"/>
            <a:ext cx="5212732" cy="1067868"/>
          </a:xfrm>
        </p:spPr>
        <p:txBody>
          <a:bodyPr wrap="square">
            <a:sp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9" name="CV Photo 2">
            <a:extLst>
              <a:ext uri="{FF2B5EF4-FFF2-40B4-BE49-F238E27FC236}">
                <a16:creationId xmlns:a16="http://schemas.microsoft.com/office/drawing/2014/main" id="{68FCC884-7973-4810-9BFE-B5CD19D2A309}"/>
              </a:ext>
            </a:extLst>
          </p:cNvPr>
          <p:cNvSpPr>
            <a:spLocks noGrp="1" noChangeAspect="1"/>
          </p:cNvSpPr>
          <p:nvPr>
            <p:ph type="pic" sz="quarter" idx="49" hasCustomPrompt="1"/>
          </p:nvPr>
        </p:nvSpPr>
        <p:spPr>
          <a:xfrm>
            <a:off x="6269163" y="1534879"/>
            <a:ext cx="1641805" cy="1306068"/>
          </a:xfrm>
          <a:solidFill>
            <a:schemeClr val="bg1">
              <a:lumMod val="95000"/>
            </a:schemeClr>
          </a:solidFill>
        </p:spPr>
        <p:txBody>
          <a:bodyPr anchor="ctr" anchorCtr="1">
            <a:noAutofit/>
          </a:bodyPr>
          <a:lstStyle>
            <a:lvl1pPr>
              <a:defRPr sz="726" b="0">
                <a:solidFill>
                  <a:schemeClr val="tx1"/>
                </a:solidFill>
              </a:defRPr>
            </a:lvl1pPr>
          </a:lstStyle>
          <a:p>
            <a:r>
              <a:rPr lang="en-NZ" dirty="0"/>
              <a:t>CV image</a:t>
            </a:r>
          </a:p>
        </p:txBody>
      </p:sp>
      <p:sp>
        <p:nvSpPr>
          <p:cNvPr id="40" name="CV Mobile number 2">
            <a:extLst>
              <a:ext uri="{FF2B5EF4-FFF2-40B4-BE49-F238E27FC236}">
                <a16:creationId xmlns:a16="http://schemas.microsoft.com/office/drawing/2014/main" id="{E9BD464C-2253-4727-ABCD-D7736CB305B9}"/>
              </a:ext>
            </a:extLst>
          </p:cNvPr>
          <p:cNvSpPr>
            <a:spLocks noGrp="1"/>
          </p:cNvSpPr>
          <p:nvPr>
            <p:ph type="body" sz="quarter" idx="50" hasCustomPrompt="1"/>
          </p:nvPr>
        </p:nvSpPr>
        <p:spPr>
          <a:xfrm>
            <a:off x="8069443" y="2701371"/>
            <a:ext cx="3412451" cy="139575"/>
          </a:xfrm>
        </p:spPr>
        <p:txBody>
          <a:bodyPr lIns="54000" tIns="0">
            <a:noAutofit/>
          </a:bodyPr>
          <a:lstStyle>
            <a:lvl1pPr>
              <a:lnSpc>
                <a:spcPct val="100000"/>
              </a:lnSpc>
              <a:spcAft>
                <a:spcPts val="0"/>
              </a:spcAft>
              <a:defRPr sz="907" b="0">
                <a:solidFill>
                  <a:schemeClr val="tx1"/>
                </a:solidFill>
                <a:latin typeface="+mn-lt"/>
              </a:defRPr>
            </a:lvl1pPr>
            <a:lvl2pPr>
              <a:lnSpc>
                <a:spcPct val="100000"/>
              </a:lnSpc>
              <a:spcAft>
                <a:spcPts val="1088"/>
              </a:spcAft>
              <a:defRPr sz="1088" b="0">
                <a:solidFill>
                  <a:schemeClr val="tx1"/>
                </a:solidFill>
                <a:latin typeface="+mj-lt"/>
              </a:defRPr>
            </a:lvl2pPr>
            <a:lvl3pPr marL="0" indent="0">
              <a:lnSpc>
                <a:spcPct val="100000"/>
              </a:lnSpc>
              <a:spcAft>
                <a:spcPts val="0"/>
              </a:spcAft>
              <a:buNone/>
              <a:tabLst>
                <a:tab pos="164130" algn="l"/>
              </a:tabLst>
              <a:defRPr sz="907" b="0" baseline="0">
                <a:solidFill>
                  <a:schemeClr val="tx1"/>
                </a:solidFill>
              </a:defRPr>
            </a:lvl3pPr>
            <a:lvl8pPr>
              <a:defRPr/>
            </a:lvl8pPr>
          </a:lstStyle>
          <a:p>
            <a:pPr lvl="0"/>
            <a:r>
              <a:rPr lang="en-US" dirty="0"/>
              <a:t>M</a:t>
            </a:r>
          </a:p>
        </p:txBody>
      </p:sp>
      <p:sp>
        <p:nvSpPr>
          <p:cNvPr id="41" name="CV Email address 2">
            <a:extLst>
              <a:ext uri="{FF2B5EF4-FFF2-40B4-BE49-F238E27FC236}">
                <a16:creationId xmlns:a16="http://schemas.microsoft.com/office/drawing/2014/main" id="{E7DE53F3-933A-473C-93CD-9F1D9AE72EDE}"/>
              </a:ext>
            </a:extLst>
          </p:cNvPr>
          <p:cNvSpPr>
            <a:spLocks noGrp="1"/>
          </p:cNvSpPr>
          <p:nvPr>
            <p:ph type="body" sz="quarter" idx="51"/>
          </p:nvPr>
        </p:nvSpPr>
        <p:spPr>
          <a:xfrm>
            <a:off x="8069443" y="2506956"/>
            <a:ext cx="3412451" cy="139575"/>
          </a:xfrm>
        </p:spPr>
        <p:txBody>
          <a:bodyPr lIns="54000" tIns="0">
            <a:noAutofit/>
          </a:bodyPr>
          <a:lstStyle>
            <a:lvl1pPr>
              <a:lnSpc>
                <a:spcPct val="100000"/>
              </a:lnSpc>
              <a:spcAft>
                <a:spcPts val="0"/>
              </a:spcAft>
              <a:defRPr sz="907" b="0">
                <a:solidFill>
                  <a:schemeClr val="tx1"/>
                </a:solidFill>
                <a:latin typeface="+mn-lt"/>
              </a:defRPr>
            </a:lvl1pPr>
            <a:lvl2pPr>
              <a:lnSpc>
                <a:spcPct val="100000"/>
              </a:lnSpc>
              <a:spcAft>
                <a:spcPts val="1088"/>
              </a:spcAft>
              <a:defRPr sz="1088" b="0">
                <a:solidFill>
                  <a:schemeClr val="tx1"/>
                </a:solidFill>
                <a:latin typeface="+mj-lt"/>
              </a:defRPr>
            </a:lvl2pPr>
            <a:lvl3pPr marL="0" indent="0">
              <a:lnSpc>
                <a:spcPct val="100000"/>
              </a:lnSpc>
              <a:spcAft>
                <a:spcPts val="0"/>
              </a:spcAft>
              <a:buNone/>
              <a:tabLst>
                <a:tab pos="164130" algn="l"/>
              </a:tabLst>
              <a:defRPr sz="907" b="0" baseline="0">
                <a:solidFill>
                  <a:schemeClr val="tx1"/>
                </a:solidFill>
              </a:defRPr>
            </a:lvl3pPr>
            <a:lvl8pPr>
              <a:defRPr/>
            </a:lvl8pPr>
          </a:lstStyle>
          <a:p>
            <a:pPr lvl="0"/>
            <a:r>
              <a:rPr lang="en-US" dirty="0"/>
              <a:t>E</a:t>
            </a:r>
          </a:p>
        </p:txBody>
      </p:sp>
      <p:sp>
        <p:nvSpPr>
          <p:cNvPr id="42" name="CV Phone number 2">
            <a:extLst>
              <a:ext uri="{FF2B5EF4-FFF2-40B4-BE49-F238E27FC236}">
                <a16:creationId xmlns:a16="http://schemas.microsoft.com/office/drawing/2014/main" id="{B21A3064-A0CC-4BEC-8CAE-7E8902C48423}"/>
              </a:ext>
            </a:extLst>
          </p:cNvPr>
          <p:cNvSpPr>
            <a:spLocks noGrp="1"/>
          </p:cNvSpPr>
          <p:nvPr>
            <p:ph type="body" sz="quarter" idx="52" hasCustomPrompt="1"/>
          </p:nvPr>
        </p:nvSpPr>
        <p:spPr>
          <a:xfrm>
            <a:off x="8069443" y="2312540"/>
            <a:ext cx="3412451" cy="139575"/>
          </a:xfrm>
        </p:spPr>
        <p:txBody>
          <a:bodyPr lIns="54000" tIns="0">
            <a:noAutofit/>
          </a:bodyPr>
          <a:lstStyle>
            <a:lvl1pPr>
              <a:lnSpc>
                <a:spcPct val="100000"/>
              </a:lnSpc>
              <a:spcAft>
                <a:spcPts val="0"/>
              </a:spcAft>
              <a:defRPr sz="907" b="0">
                <a:solidFill>
                  <a:schemeClr val="tx1"/>
                </a:solidFill>
                <a:latin typeface="+mn-lt"/>
              </a:defRPr>
            </a:lvl1pPr>
            <a:lvl2pPr>
              <a:lnSpc>
                <a:spcPct val="100000"/>
              </a:lnSpc>
              <a:spcAft>
                <a:spcPts val="1088"/>
              </a:spcAft>
              <a:defRPr sz="1088" b="0">
                <a:solidFill>
                  <a:schemeClr val="tx1"/>
                </a:solidFill>
                <a:latin typeface="+mj-lt"/>
              </a:defRPr>
            </a:lvl2pPr>
            <a:lvl3pPr marL="0" indent="0">
              <a:lnSpc>
                <a:spcPct val="100000"/>
              </a:lnSpc>
              <a:spcAft>
                <a:spcPts val="0"/>
              </a:spcAft>
              <a:buNone/>
              <a:tabLst>
                <a:tab pos="164130" algn="l"/>
              </a:tabLst>
              <a:defRPr sz="907" b="0" baseline="0">
                <a:solidFill>
                  <a:schemeClr val="tx1"/>
                </a:solidFill>
              </a:defRPr>
            </a:lvl3pPr>
            <a:lvl8pPr>
              <a:defRPr/>
            </a:lvl8pPr>
          </a:lstStyle>
          <a:p>
            <a:pPr lvl="0"/>
            <a:r>
              <a:rPr lang="en-US" dirty="0"/>
              <a:t>T</a:t>
            </a:r>
          </a:p>
        </p:txBody>
      </p:sp>
      <p:sp>
        <p:nvSpPr>
          <p:cNvPr id="43" name="CV Location 2">
            <a:extLst>
              <a:ext uri="{FF2B5EF4-FFF2-40B4-BE49-F238E27FC236}">
                <a16:creationId xmlns:a16="http://schemas.microsoft.com/office/drawing/2014/main" id="{52A31AD4-11AF-4B7D-8247-95243F5356F7}"/>
              </a:ext>
            </a:extLst>
          </p:cNvPr>
          <p:cNvSpPr>
            <a:spLocks noGrp="1"/>
          </p:cNvSpPr>
          <p:nvPr>
            <p:ph type="body" sz="quarter" idx="53" hasCustomPrompt="1"/>
          </p:nvPr>
        </p:nvSpPr>
        <p:spPr>
          <a:xfrm>
            <a:off x="8069443" y="2118125"/>
            <a:ext cx="3412451" cy="139575"/>
          </a:xfrm>
        </p:spPr>
        <p:txBody>
          <a:bodyPr lIns="54000" tIns="0">
            <a:noAutofit/>
          </a:bodyPr>
          <a:lstStyle>
            <a:lvl1pPr>
              <a:lnSpc>
                <a:spcPct val="100000"/>
              </a:lnSpc>
              <a:spcAft>
                <a:spcPts val="0"/>
              </a:spcAft>
              <a:defRPr sz="907" b="0">
                <a:solidFill>
                  <a:schemeClr val="tx1"/>
                </a:solidFill>
                <a:latin typeface="+mn-lt"/>
              </a:defRPr>
            </a:lvl1pPr>
            <a:lvl2pPr>
              <a:lnSpc>
                <a:spcPct val="100000"/>
              </a:lnSpc>
              <a:spcAft>
                <a:spcPts val="1088"/>
              </a:spcAft>
              <a:defRPr sz="1088" b="0">
                <a:solidFill>
                  <a:schemeClr val="tx1"/>
                </a:solidFill>
                <a:latin typeface="+mj-lt"/>
              </a:defRPr>
            </a:lvl2pPr>
            <a:lvl3pPr marL="0" indent="0">
              <a:lnSpc>
                <a:spcPct val="100000"/>
              </a:lnSpc>
              <a:spcAft>
                <a:spcPts val="0"/>
              </a:spcAft>
              <a:buNone/>
              <a:tabLst>
                <a:tab pos="164130" algn="l"/>
              </a:tabLst>
              <a:defRPr sz="907" b="0" baseline="0">
                <a:solidFill>
                  <a:schemeClr val="tx1"/>
                </a:solidFill>
              </a:defRPr>
            </a:lvl3pPr>
            <a:lvl8pPr>
              <a:defRPr/>
            </a:lvl8pPr>
          </a:lstStyle>
          <a:p>
            <a:pPr lvl="0"/>
            <a:r>
              <a:rPr lang="en-US" dirty="0"/>
              <a:t>Location</a:t>
            </a:r>
          </a:p>
        </p:txBody>
      </p:sp>
      <p:sp>
        <p:nvSpPr>
          <p:cNvPr id="44" name="CV Job title 2">
            <a:extLst>
              <a:ext uri="{FF2B5EF4-FFF2-40B4-BE49-F238E27FC236}">
                <a16:creationId xmlns:a16="http://schemas.microsoft.com/office/drawing/2014/main" id="{C00FF998-18AE-42D1-A66D-C75008C54FE2}"/>
              </a:ext>
            </a:extLst>
          </p:cNvPr>
          <p:cNvSpPr>
            <a:spLocks noGrp="1"/>
          </p:cNvSpPr>
          <p:nvPr>
            <p:ph type="body" sz="quarter" idx="54" hasCustomPrompt="1"/>
          </p:nvPr>
        </p:nvSpPr>
        <p:spPr>
          <a:xfrm>
            <a:off x="8069443" y="1767589"/>
            <a:ext cx="3412451" cy="167490"/>
          </a:xfrm>
        </p:spPr>
        <p:txBody>
          <a:bodyPr lIns="54000" tIns="0">
            <a:noAutofit/>
          </a:bodyPr>
          <a:lstStyle>
            <a:lvl1pPr>
              <a:lnSpc>
                <a:spcPct val="100000"/>
              </a:lnSpc>
              <a:spcAft>
                <a:spcPts val="0"/>
              </a:spcAft>
              <a:defRPr sz="1088" b="0">
                <a:solidFill>
                  <a:schemeClr val="tx1"/>
                </a:solidFill>
                <a:latin typeface="+mn-lt"/>
              </a:defRPr>
            </a:lvl1pPr>
            <a:lvl2pPr>
              <a:lnSpc>
                <a:spcPct val="100000"/>
              </a:lnSpc>
              <a:spcAft>
                <a:spcPts val="1088"/>
              </a:spcAft>
              <a:defRPr sz="1088" b="0">
                <a:solidFill>
                  <a:schemeClr val="tx1"/>
                </a:solidFill>
                <a:latin typeface="+mj-lt"/>
              </a:defRPr>
            </a:lvl2pPr>
            <a:lvl3pPr marL="0" indent="0">
              <a:lnSpc>
                <a:spcPct val="100000"/>
              </a:lnSpc>
              <a:spcAft>
                <a:spcPts val="0"/>
              </a:spcAft>
              <a:buNone/>
              <a:tabLst>
                <a:tab pos="164130" algn="l"/>
              </a:tabLst>
              <a:defRPr sz="907" b="0" baseline="0">
                <a:solidFill>
                  <a:schemeClr val="tx1"/>
                </a:solidFill>
              </a:defRPr>
            </a:lvl3pPr>
            <a:lvl8pPr>
              <a:defRPr/>
            </a:lvl8pPr>
          </a:lstStyle>
          <a:p>
            <a:pPr lvl="0"/>
            <a:r>
              <a:rPr lang="en-US" dirty="0"/>
              <a:t>Job title</a:t>
            </a:r>
          </a:p>
        </p:txBody>
      </p:sp>
      <p:sp>
        <p:nvSpPr>
          <p:cNvPr id="45" name="CV Name 2">
            <a:extLst>
              <a:ext uri="{FF2B5EF4-FFF2-40B4-BE49-F238E27FC236}">
                <a16:creationId xmlns:a16="http://schemas.microsoft.com/office/drawing/2014/main" id="{950E7B29-DD92-4A5E-8503-DE5B89C53063}"/>
              </a:ext>
            </a:extLst>
          </p:cNvPr>
          <p:cNvSpPr>
            <a:spLocks noGrp="1"/>
          </p:cNvSpPr>
          <p:nvPr>
            <p:ph type="body" sz="quarter" idx="55" hasCustomPrompt="1"/>
          </p:nvPr>
        </p:nvSpPr>
        <p:spPr>
          <a:xfrm>
            <a:off x="8069443" y="1534879"/>
            <a:ext cx="3412451" cy="167490"/>
          </a:xfrm>
        </p:spPr>
        <p:txBody>
          <a:bodyPr lIns="54000" tIns="0">
            <a:noAutofit/>
          </a:bodyPr>
          <a:lstStyle>
            <a:lvl1pPr>
              <a:lnSpc>
                <a:spcPct val="100000"/>
              </a:lnSpc>
              <a:spcAft>
                <a:spcPts val="0"/>
              </a:spcAft>
              <a:defRPr sz="1088" b="0">
                <a:solidFill>
                  <a:schemeClr val="accent1"/>
                </a:solidFill>
                <a:latin typeface="+mj-lt"/>
              </a:defRPr>
            </a:lvl1pPr>
            <a:lvl2pPr>
              <a:lnSpc>
                <a:spcPct val="100000"/>
              </a:lnSpc>
              <a:spcAft>
                <a:spcPts val="1088"/>
              </a:spcAft>
              <a:defRPr sz="1088" b="0">
                <a:solidFill>
                  <a:schemeClr val="tx1"/>
                </a:solidFill>
                <a:latin typeface="+mj-lt"/>
              </a:defRPr>
            </a:lvl2pPr>
            <a:lvl3pPr marL="0" indent="0">
              <a:lnSpc>
                <a:spcPct val="100000"/>
              </a:lnSpc>
              <a:spcAft>
                <a:spcPts val="0"/>
              </a:spcAft>
              <a:buNone/>
              <a:tabLst>
                <a:tab pos="164130" algn="l"/>
              </a:tabLst>
              <a:defRPr sz="907" b="0" baseline="0">
                <a:solidFill>
                  <a:schemeClr val="tx1"/>
                </a:solidFill>
              </a:defRPr>
            </a:lvl3pPr>
            <a:lvl8pPr>
              <a:defRPr/>
            </a:lvl8pPr>
          </a:lstStyle>
          <a:p>
            <a:pPr lvl="0"/>
            <a:r>
              <a:rPr lang="en-US" dirty="0"/>
              <a:t>Name</a:t>
            </a:r>
          </a:p>
        </p:txBody>
      </p:sp>
      <p:grpSp>
        <p:nvGrpSpPr>
          <p:cNvPr id="4" name="Group 22">
            <a:extLst>
              <a:ext uri="{FF2B5EF4-FFF2-40B4-BE49-F238E27FC236}">
                <a16:creationId xmlns:a16="http://schemas.microsoft.com/office/drawing/2014/main" id="{38C88CCF-A137-4221-8387-410B19243EDE}"/>
              </a:ext>
            </a:extLst>
          </p:cNvPr>
          <p:cNvGrpSpPr/>
          <p:nvPr userDrawn="1"/>
        </p:nvGrpSpPr>
        <p:grpSpPr>
          <a:xfrm>
            <a:off x="12335553" y="2"/>
            <a:ext cx="2873478" cy="1720847"/>
            <a:chOff x="10891316" y="0"/>
            <a:chExt cx="2520280" cy="1897314"/>
          </a:xfrm>
        </p:grpSpPr>
        <p:sp>
          <p:nvSpPr>
            <p:cNvPr id="24" name="TextBox 23">
              <a:extLst>
                <a:ext uri="{FF2B5EF4-FFF2-40B4-BE49-F238E27FC236}">
                  <a16:creationId xmlns:a16="http://schemas.microsoft.com/office/drawing/2014/main" id="{1AD1184C-D9BB-4AE7-974C-7A31A7E89291}"/>
                </a:ext>
              </a:extLst>
            </p:cNvPr>
            <p:cNvSpPr txBox="1"/>
            <p:nvPr/>
          </p:nvSpPr>
          <p:spPr>
            <a:xfrm>
              <a:off x="10891316" y="0"/>
              <a:ext cx="2520280" cy="1897314"/>
            </a:xfrm>
            <a:prstGeom prst="rect">
              <a:avLst/>
            </a:prstGeom>
            <a:solidFill>
              <a:schemeClr val="bg1">
                <a:lumMod val="85000"/>
              </a:schemeClr>
            </a:solidFill>
            <a:ln w="9525">
              <a:noFill/>
              <a:miter lim="800000"/>
              <a:headEnd/>
              <a:tailEnd/>
            </a:ln>
            <a:effectLst/>
          </p:spPr>
          <p:txBody>
            <a:bodyPr lIns="36000" tIns="36000" rIns="36000" bIns="36000">
              <a:spAutoFit/>
            </a:bodyPr>
            <a:lstStyle/>
            <a:p>
              <a:pPr>
                <a:spcAft>
                  <a:spcPts val="272"/>
                </a:spcAft>
              </a:pPr>
              <a:r>
                <a:rPr lang="en-GB" sz="726" b="1" dirty="0"/>
                <a:t>UPDATING CV’S</a:t>
              </a:r>
            </a:p>
            <a:p>
              <a:pPr>
                <a:spcAft>
                  <a:spcPts val="272"/>
                </a:spcAft>
              </a:pPr>
              <a:r>
                <a:rPr lang="en-GB" sz="726" dirty="0"/>
                <a:t>To add a CV image:</a:t>
              </a:r>
            </a:p>
            <a:p>
              <a:pPr marL="137886" indent="-137886">
                <a:spcAft>
                  <a:spcPts val="272"/>
                </a:spcAft>
                <a:buFont typeface="Arial" pitchFamily="34" charset="0"/>
                <a:buChar char="•"/>
              </a:pPr>
              <a:r>
                <a:rPr lang="en-GB" sz="726" dirty="0"/>
                <a:t>click on the picture placeholder icon</a:t>
              </a:r>
            </a:p>
            <a:p>
              <a:pPr marL="137886" indent="-137886">
                <a:spcAft>
                  <a:spcPts val="272"/>
                </a:spcAft>
                <a:buFont typeface="Arial" pitchFamily="34" charset="0"/>
                <a:buChar char="•"/>
              </a:pPr>
              <a:r>
                <a:rPr lang="en-GB" sz="726" dirty="0"/>
                <a:t>Windows Explorer will open, find your required image and click ‘Insert’</a:t>
              </a:r>
            </a:p>
            <a:p>
              <a:pPr marL="137886" indent="-137886">
                <a:spcAft>
                  <a:spcPts val="272"/>
                </a:spcAft>
                <a:buFont typeface="Arial" pitchFamily="34" charset="0"/>
                <a:buChar char="•"/>
              </a:pPr>
              <a:r>
                <a:rPr lang="en-GB" sz="726" dirty="0"/>
                <a:t>select the image, right-click and select ‘Send to </a:t>
              </a:r>
              <a:r>
                <a:rPr lang="en-GB" sz="726" b="0" dirty="0"/>
                <a:t>B</a:t>
              </a:r>
              <a:r>
                <a:rPr lang="en-GB" sz="726" dirty="0"/>
                <a:t>ack’</a:t>
              </a:r>
              <a:endParaRPr lang="en-US" sz="726" dirty="0"/>
            </a:p>
            <a:p>
              <a:pPr marL="0" indent="0">
                <a:spcAft>
                  <a:spcPts val="272"/>
                </a:spcAft>
                <a:buFont typeface="Arial" pitchFamily="34" charset="0"/>
                <a:buNone/>
              </a:pPr>
              <a:r>
                <a:rPr lang="en-US" sz="726" dirty="0"/>
                <a:t>If there</a:t>
              </a:r>
              <a:r>
                <a:rPr lang="en-US" sz="726" baseline="0" dirty="0"/>
                <a:t> is a generic silhouette image, you will need to change the picture:</a:t>
              </a:r>
              <a:endParaRPr lang="en-GB" sz="726" dirty="0"/>
            </a:p>
            <a:p>
              <a:pPr marL="137886" indent="-137886">
                <a:spcAft>
                  <a:spcPts val="272"/>
                </a:spcAft>
                <a:buFont typeface="Arial" pitchFamily="34" charset="0"/>
                <a:buChar char="•"/>
              </a:pPr>
              <a:r>
                <a:rPr lang="en-GB" sz="726" dirty="0"/>
                <a:t>select the silhouette image</a:t>
              </a:r>
            </a:p>
            <a:p>
              <a:pPr marL="137886" indent="-137886">
                <a:spcAft>
                  <a:spcPts val="272"/>
                </a:spcAft>
                <a:buFont typeface="Arial" pitchFamily="34" charset="0"/>
                <a:buChar char="•"/>
              </a:pPr>
              <a:r>
                <a:rPr lang="en-GB" sz="726" dirty="0"/>
                <a:t>right-click and select ‘Change Picture’</a:t>
              </a:r>
            </a:p>
            <a:p>
              <a:pPr marL="137886" indent="-137886">
                <a:spcAft>
                  <a:spcPts val="272"/>
                </a:spcAft>
                <a:buFont typeface="Arial" pitchFamily="34" charset="0"/>
                <a:buChar char="•"/>
              </a:pPr>
              <a:r>
                <a:rPr lang="en-GB" sz="726" dirty="0"/>
                <a:t>navigate to the required image file, select and click ‘Insert’.</a:t>
              </a:r>
            </a:p>
          </p:txBody>
        </p:sp>
        <p:pic>
          <p:nvPicPr>
            <p:cNvPr id="25" name="Picture 24">
              <a:extLst>
                <a:ext uri="{FF2B5EF4-FFF2-40B4-BE49-F238E27FC236}">
                  <a16:creationId xmlns:a16="http://schemas.microsoft.com/office/drawing/2014/main" id="{67AAC563-8993-4C7A-B02A-F0E13A973E9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3020535" y="124489"/>
              <a:ext cx="323810" cy="323810"/>
            </a:xfrm>
            <a:prstGeom prst="rect">
              <a:avLst/>
            </a:prstGeom>
          </p:spPr>
        </p:pic>
      </p:grpSp>
    </p:spTree>
    <p:extLst>
      <p:ext uri="{BB962C8B-B14F-4D97-AF65-F5344CB8AC3E}">
        <p14:creationId xmlns:p14="http://schemas.microsoft.com/office/powerpoint/2010/main" val="167940785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V x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 y="0"/>
          <a:ext cx="180998" cy="143985"/>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 y="0"/>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p:cNvSpPr>
            <a:spLocks noGrp="1"/>
          </p:cNvSpPr>
          <p:nvPr>
            <p:ph type="title" hasCustomPrompt="1"/>
          </p:nvPr>
        </p:nvSpPr>
        <p:spPr/>
        <p:txBody>
          <a:bodyPr/>
          <a:lstStyle>
            <a:lvl1pPr>
              <a:defRPr/>
            </a:lvl1pPr>
          </a:lstStyle>
          <a:p>
            <a:r>
              <a:rPr lang="en-US" dirty="0"/>
              <a:t>Click to edit page title</a:t>
            </a:r>
            <a:endParaRPr lang="en-GB" dirty="0"/>
          </a:p>
        </p:txBody>
      </p:sp>
      <p:sp>
        <p:nvSpPr>
          <p:cNvPr id="29" name="CV Bio">
            <a:extLst>
              <a:ext uri="{FF2B5EF4-FFF2-40B4-BE49-F238E27FC236}">
                <a16:creationId xmlns:a16="http://schemas.microsoft.com/office/drawing/2014/main" id="{F37CBDA5-25F9-4D5B-8B40-312582F6D53D}"/>
              </a:ext>
            </a:extLst>
          </p:cNvPr>
          <p:cNvSpPr>
            <a:spLocks noGrp="1"/>
          </p:cNvSpPr>
          <p:nvPr>
            <p:ph type="body" sz="quarter" idx="42" hasCustomPrompt="1"/>
          </p:nvPr>
        </p:nvSpPr>
        <p:spPr>
          <a:xfrm>
            <a:off x="720499" y="3081724"/>
            <a:ext cx="3365701" cy="976737"/>
          </a:xfrm>
        </p:spPr>
        <p:txBody>
          <a:bodyPr wrap="square">
            <a:spAutoFit/>
          </a:bodyPr>
          <a:lstStyle>
            <a:lvl1pPr>
              <a:defRPr sz="907"/>
            </a:lvl1pPr>
            <a:lvl2pPr>
              <a:defRPr sz="816"/>
            </a:lvl2pPr>
            <a:lvl3pPr>
              <a:defRPr sz="816"/>
            </a:lvl3pPr>
            <a:lvl4pPr>
              <a:defRPr sz="816"/>
            </a:lvl4pPr>
            <a:lvl5pPr>
              <a:defRPr sz="816"/>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1" name="CV Mobile number">
            <a:extLst>
              <a:ext uri="{FF2B5EF4-FFF2-40B4-BE49-F238E27FC236}">
                <a16:creationId xmlns:a16="http://schemas.microsoft.com/office/drawing/2014/main" id="{22B24BD9-9118-439C-90B0-2BF9745A17E0}"/>
              </a:ext>
            </a:extLst>
          </p:cNvPr>
          <p:cNvSpPr>
            <a:spLocks noGrp="1"/>
          </p:cNvSpPr>
          <p:nvPr>
            <p:ph type="body" sz="quarter" idx="48" hasCustomPrompt="1"/>
          </p:nvPr>
        </p:nvSpPr>
        <p:spPr>
          <a:xfrm>
            <a:off x="1867884" y="2701371"/>
            <a:ext cx="2223252" cy="139575"/>
          </a:xfrm>
        </p:spPr>
        <p:txBody>
          <a:bodyPr lIns="54000" tIns="0">
            <a:noAutofit/>
          </a:bodyPr>
          <a:lstStyle>
            <a:lvl1pPr>
              <a:lnSpc>
                <a:spcPct val="100000"/>
              </a:lnSpc>
              <a:spcAft>
                <a:spcPts val="0"/>
              </a:spcAft>
              <a:defRPr sz="816" b="0">
                <a:solidFill>
                  <a:schemeClr val="tx1"/>
                </a:solidFill>
                <a:latin typeface="+mn-lt"/>
              </a:defRPr>
            </a:lvl1pPr>
            <a:lvl2pPr>
              <a:lnSpc>
                <a:spcPct val="100000"/>
              </a:lnSpc>
              <a:spcAft>
                <a:spcPts val="1088"/>
              </a:spcAft>
              <a:defRPr sz="1088" b="0">
                <a:solidFill>
                  <a:schemeClr val="tx1"/>
                </a:solidFill>
                <a:latin typeface="+mj-lt"/>
              </a:defRPr>
            </a:lvl2pPr>
            <a:lvl3pPr marL="0" indent="0">
              <a:lnSpc>
                <a:spcPct val="100000"/>
              </a:lnSpc>
              <a:spcAft>
                <a:spcPts val="0"/>
              </a:spcAft>
              <a:buNone/>
              <a:tabLst>
                <a:tab pos="164130" algn="l"/>
              </a:tabLst>
              <a:defRPr sz="907" b="0" baseline="0">
                <a:solidFill>
                  <a:schemeClr val="tx1"/>
                </a:solidFill>
              </a:defRPr>
            </a:lvl3pPr>
            <a:lvl8pPr>
              <a:defRPr/>
            </a:lvl8pPr>
          </a:lstStyle>
          <a:p>
            <a:pPr lvl="0"/>
            <a:r>
              <a:rPr lang="en-US" dirty="0"/>
              <a:t>M</a:t>
            </a:r>
          </a:p>
        </p:txBody>
      </p:sp>
      <p:sp>
        <p:nvSpPr>
          <p:cNvPr id="33" name="CV Email address">
            <a:extLst>
              <a:ext uri="{FF2B5EF4-FFF2-40B4-BE49-F238E27FC236}">
                <a16:creationId xmlns:a16="http://schemas.microsoft.com/office/drawing/2014/main" id="{EE4E8668-106C-4F96-9B1E-9519ACE7DFDB}"/>
              </a:ext>
            </a:extLst>
          </p:cNvPr>
          <p:cNvSpPr>
            <a:spLocks noGrp="1"/>
          </p:cNvSpPr>
          <p:nvPr>
            <p:ph type="body" sz="quarter" idx="47"/>
          </p:nvPr>
        </p:nvSpPr>
        <p:spPr>
          <a:xfrm>
            <a:off x="1867884" y="2506956"/>
            <a:ext cx="2223252" cy="139575"/>
          </a:xfrm>
        </p:spPr>
        <p:txBody>
          <a:bodyPr lIns="54000" tIns="0">
            <a:noAutofit/>
          </a:bodyPr>
          <a:lstStyle>
            <a:lvl1pPr>
              <a:lnSpc>
                <a:spcPct val="100000"/>
              </a:lnSpc>
              <a:spcAft>
                <a:spcPts val="0"/>
              </a:spcAft>
              <a:defRPr sz="816" b="0">
                <a:solidFill>
                  <a:schemeClr val="tx1"/>
                </a:solidFill>
                <a:latin typeface="+mn-lt"/>
              </a:defRPr>
            </a:lvl1pPr>
            <a:lvl2pPr>
              <a:lnSpc>
                <a:spcPct val="100000"/>
              </a:lnSpc>
              <a:spcAft>
                <a:spcPts val="1088"/>
              </a:spcAft>
              <a:defRPr sz="1088" b="0">
                <a:solidFill>
                  <a:schemeClr val="tx1"/>
                </a:solidFill>
                <a:latin typeface="+mj-lt"/>
              </a:defRPr>
            </a:lvl2pPr>
            <a:lvl3pPr marL="0" indent="0">
              <a:lnSpc>
                <a:spcPct val="100000"/>
              </a:lnSpc>
              <a:spcAft>
                <a:spcPts val="0"/>
              </a:spcAft>
              <a:buNone/>
              <a:tabLst>
                <a:tab pos="164130" algn="l"/>
              </a:tabLst>
              <a:defRPr sz="907" b="0" baseline="0">
                <a:solidFill>
                  <a:schemeClr val="tx1"/>
                </a:solidFill>
              </a:defRPr>
            </a:lvl3pPr>
            <a:lvl8pPr>
              <a:defRPr/>
            </a:lvl8pPr>
          </a:lstStyle>
          <a:p>
            <a:pPr lvl="0"/>
            <a:r>
              <a:rPr lang="en-US" dirty="0"/>
              <a:t>E</a:t>
            </a:r>
          </a:p>
        </p:txBody>
      </p:sp>
      <p:sp>
        <p:nvSpPr>
          <p:cNvPr id="34" name="CV Phone number">
            <a:extLst>
              <a:ext uri="{FF2B5EF4-FFF2-40B4-BE49-F238E27FC236}">
                <a16:creationId xmlns:a16="http://schemas.microsoft.com/office/drawing/2014/main" id="{3DA7519A-9224-41CD-8D93-F211B6496722}"/>
              </a:ext>
            </a:extLst>
          </p:cNvPr>
          <p:cNvSpPr>
            <a:spLocks noGrp="1"/>
          </p:cNvSpPr>
          <p:nvPr>
            <p:ph type="body" sz="quarter" idx="46" hasCustomPrompt="1"/>
          </p:nvPr>
        </p:nvSpPr>
        <p:spPr>
          <a:xfrm>
            <a:off x="1867884" y="2312540"/>
            <a:ext cx="2223252" cy="139575"/>
          </a:xfrm>
        </p:spPr>
        <p:txBody>
          <a:bodyPr lIns="54000" tIns="0">
            <a:noAutofit/>
          </a:bodyPr>
          <a:lstStyle>
            <a:lvl1pPr>
              <a:lnSpc>
                <a:spcPct val="100000"/>
              </a:lnSpc>
              <a:spcAft>
                <a:spcPts val="0"/>
              </a:spcAft>
              <a:defRPr sz="816" b="0">
                <a:solidFill>
                  <a:schemeClr val="tx1"/>
                </a:solidFill>
                <a:latin typeface="+mn-lt"/>
              </a:defRPr>
            </a:lvl1pPr>
            <a:lvl2pPr>
              <a:lnSpc>
                <a:spcPct val="100000"/>
              </a:lnSpc>
              <a:spcAft>
                <a:spcPts val="1088"/>
              </a:spcAft>
              <a:defRPr sz="1088" b="0">
                <a:solidFill>
                  <a:schemeClr val="tx1"/>
                </a:solidFill>
                <a:latin typeface="+mj-lt"/>
              </a:defRPr>
            </a:lvl2pPr>
            <a:lvl3pPr marL="0" indent="0">
              <a:lnSpc>
                <a:spcPct val="100000"/>
              </a:lnSpc>
              <a:spcAft>
                <a:spcPts val="0"/>
              </a:spcAft>
              <a:buNone/>
              <a:tabLst>
                <a:tab pos="164130" algn="l"/>
              </a:tabLst>
              <a:defRPr sz="907" b="0" baseline="0">
                <a:solidFill>
                  <a:schemeClr val="tx1"/>
                </a:solidFill>
              </a:defRPr>
            </a:lvl3pPr>
            <a:lvl8pPr>
              <a:defRPr/>
            </a:lvl8pPr>
          </a:lstStyle>
          <a:p>
            <a:pPr lvl="0"/>
            <a:r>
              <a:rPr lang="en-US" dirty="0"/>
              <a:t>T</a:t>
            </a:r>
          </a:p>
        </p:txBody>
      </p:sp>
      <p:sp>
        <p:nvSpPr>
          <p:cNvPr id="35" name="CV Location">
            <a:extLst>
              <a:ext uri="{FF2B5EF4-FFF2-40B4-BE49-F238E27FC236}">
                <a16:creationId xmlns:a16="http://schemas.microsoft.com/office/drawing/2014/main" id="{24473A1F-1925-4954-9BB3-D6DA12F27466}"/>
              </a:ext>
            </a:extLst>
          </p:cNvPr>
          <p:cNvSpPr>
            <a:spLocks noGrp="1"/>
          </p:cNvSpPr>
          <p:nvPr>
            <p:ph type="body" sz="quarter" idx="45" hasCustomPrompt="1"/>
          </p:nvPr>
        </p:nvSpPr>
        <p:spPr>
          <a:xfrm>
            <a:off x="1867884" y="2118125"/>
            <a:ext cx="2223252" cy="139575"/>
          </a:xfrm>
        </p:spPr>
        <p:txBody>
          <a:bodyPr lIns="54000" tIns="0">
            <a:noAutofit/>
          </a:bodyPr>
          <a:lstStyle>
            <a:lvl1pPr>
              <a:lnSpc>
                <a:spcPct val="100000"/>
              </a:lnSpc>
              <a:spcAft>
                <a:spcPts val="0"/>
              </a:spcAft>
              <a:defRPr sz="816" b="0">
                <a:solidFill>
                  <a:schemeClr val="tx1"/>
                </a:solidFill>
                <a:latin typeface="+mn-lt"/>
              </a:defRPr>
            </a:lvl1pPr>
            <a:lvl2pPr>
              <a:lnSpc>
                <a:spcPct val="100000"/>
              </a:lnSpc>
              <a:spcAft>
                <a:spcPts val="1088"/>
              </a:spcAft>
              <a:defRPr sz="1088" b="0">
                <a:solidFill>
                  <a:schemeClr val="tx1"/>
                </a:solidFill>
                <a:latin typeface="+mj-lt"/>
              </a:defRPr>
            </a:lvl2pPr>
            <a:lvl3pPr marL="0" indent="0">
              <a:lnSpc>
                <a:spcPct val="100000"/>
              </a:lnSpc>
              <a:spcAft>
                <a:spcPts val="0"/>
              </a:spcAft>
              <a:buNone/>
              <a:tabLst>
                <a:tab pos="164130" algn="l"/>
              </a:tabLst>
              <a:defRPr sz="907" b="0" baseline="0">
                <a:solidFill>
                  <a:schemeClr val="tx1"/>
                </a:solidFill>
              </a:defRPr>
            </a:lvl3pPr>
            <a:lvl8pPr>
              <a:defRPr/>
            </a:lvl8pPr>
          </a:lstStyle>
          <a:p>
            <a:pPr lvl="0"/>
            <a:r>
              <a:rPr lang="en-US" dirty="0"/>
              <a:t>Location</a:t>
            </a:r>
          </a:p>
        </p:txBody>
      </p:sp>
      <p:sp>
        <p:nvSpPr>
          <p:cNvPr id="36" name="CV Job title">
            <a:extLst>
              <a:ext uri="{FF2B5EF4-FFF2-40B4-BE49-F238E27FC236}">
                <a16:creationId xmlns:a16="http://schemas.microsoft.com/office/drawing/2014/main" id="{9FF7A17E-7295-4E0F-85BE-29E2FA6BC71A}"/>
              </a:ext>
            </a:extLst>
          </p:cNvPr>
          <p:cNvSpPr>
            <a:spLocks noGrp="1"/>
          </p:cNvSpPr>
          <p:nvPr>
            <p:ph type="body" sz="quarter" idx="44" hasCustomPrompt="1"/>
          </p:nvPr>
        </p:nvSpPr>
        <p:spPr>
          <a:xfrm>
            <a:off x="1867884" y="1767589"/>
            <a:ext cx="2223252" cy="167490"/>
          </a:xfrm>
        </p:spPr>
        <p:txBody>
          <a:bodyPr lIns="54000" tIns="0">
            <a:noAutofit/>
          </a:bodyPr>
          <a:lstStyle>
            <a:lvl1pPr>
              <a:lnSpc>
                <a:spcPct val="100000"/>
              </a:lnSpc>
              <a:spcAft>
                <a:spcPts val="0"/>
              </a:spcAft>
              <a:defRPr sz="907" b="0">
                <a:solidFill>
                  <a:schemeClr val="tx1"/>
                </a:solidFill>
                <a:latin typeface="+mn-lt"/>
              </a:defRPr>
            </a:lvl1pPr>
            <a:lvl2pPr>
              <a:lnSpc>
                <a:spcPct val="100000"/>
              </a:lnSpc>
              <a:spcAft>
                <a:spcPts val="1088"/>
              </a:spcAft>
              <a:defRPr sz="1088" b="0">
                <a:solidFill>
                  <a:schemeClr val="tx1"/>
                </a:solidFill>
                <a:latin typeface="+mj-lt"/>
              </a:defRPr>
            </a:lvl2pPr>
            <a:lvl3pPr marL="0" indent="0">
              <a:lnSpc>
                <a:spcPct val="100000"/>
              </a:lnSpc>
              <a:spcAft>
                <a:spcPts val="0"/>
              </a:spcAft>
              <a:buNone/>
              <a:tabLst>
                <a:tab pos="164130" algn="l"/>
              </a:tabLst>
              <a:defRPr sz="907" b="0" baseline="0">
                <a:solidFill>
                  <a:schemeClr val="tx1"/>
                </a:solidFill>
              </a:defRPr>
            </a:lvl3pPr>
            <a:lvl8pPr>
              <a:defRPr/>
            </a:lvl8pPr>
          </a:lstStyle>
          <a:p>
            <a:pPr lvl="0"/>
            <a:r>
              <a:rPr lang="en-US" dirty="0"/>
              <a:t>Job title</a:t>
            </a:r>
          </a:p>
        </p:txBody>
      </p:sp>
      <p:sp>
        <p:nvSpPr>
          <p:cNvPr id="37" name="CV Name">
            <a:extLst>
              <a:ext uri="{FF2B5EF4-FFF2-40B4-BE49-F238E27FC236}">
                <a16:creationId xmlns:a16="http://schemas.microsoft.com/office/drawing/2014/main" id="{1AD1E1F5-626E-4BE7-809E-6473132CA65D}"/>
              </a:ext>
            </a:extLst>
          </p:cNvPr>
          <p:cNvSpPr>
            <a:spLocks noGrp="1"/>
          </p:cNvSpPr>
          <p:nvPr>
            <p:ph type="body" sz="quarter" idx="13" hasCustomPrompt="1"/>
          </p:nvPr>
        </p:nvSpPr>
        <p:spPr>
          <a:xfrm>
            <a:off x="1867884" y="1534879"/>
            <a:ext cx="2223252" cy="167490"/>
          </a:xfrm>
        </p:spPr>
        <p:txBody>
          <a:bodyPr lIns="54000" tIns="0">
            <a:noAutofit/>
          </a:bodyPr>
          <a:lstStyle>
            <a:lvl1pPr>
              <a:lnSpc>
                <a:spcPct val="100000"/>
              </a:lnSpc>
              <a:spcAft>
                <a:spcPts val="0"/>
              </a:spcAft>
              <a:defRPr sz="907" b="0">
                <a:solidFill>
                  <a:schemeClr val="accent1"/>
                </a:solidFill>
                <a:latin typeface="+mj-lt"/>
              </a:defRPr>
            </a:lvl1pPr>
            <a:lvl2pPr>
              <a:lnSpc>
                <a:spcPct val="100000"/>
              </a:lnSpc>
              <a:spcAft>
                <a:spcPts val="1088"/>
              </a:spcAft>
              <a:defRPr sz="1088" b="0">
                <a:solidFill>
                  <a:schemeClr val="tx1"/>
                </a:solidFill>
                <a:latin typeface="+mj-lt"/>
              </a:defRPr>
            </a:lvl2pPr>
            <a:lvl3pPr marL="0" indent="0">
              <a:lnSpc>
                <a:spcPct val="100000"/>
              </a:lnSpc>
              <a:spcAft>
                <a:spcPts val="0"/>
              </a:spcAft>
              <a:buNone/>
              <a:tabLst>
                <a:tab pos="164130" algn="l"/>
              </a:tabLst>
              <a:defRPr sz="907" b="0" baseline="0">
                <a:solidFill>
                  <a:schemeClr val="tx1"/>
                </a:solidFill>
              </a:defRPr>
            </a:lvl3pPr>
            <a:lvl8pPr>
              <a:defRPr/>
            </a:lvl8pPr>
          </a:lstStyle>
          <a:p>
            <a:pPr lvl="0"/>
            <a:r>
              <a:rPr lang="en-US" dirty="0"/>
              <a:t>Name</a:t>
            </a:r>
          </a:p>
        </p:txBody>
      </p:sp>
      <p:sp>
        <p:nvSpPr>
          <p:cNvPr id="27" name="CV Bio 2">
            <a:extLst>
              <a:ext uri="{FF2B5EF4-FFF2-40B4-BE49-F238E27FC236}">
                <a16:creationId xmlns:a16="http://schemas.microsoft.com/office/drawing/2014/main" id="{F4CA866E-99A4-4E10-AADF-CA36843E3A28}"/>
              </a:ext>
            </a:extLst>
          </p:cNvPr>
          <p:cNvSpPr>
            <a:spLocks noGrp="1"/>
          </p:cNvSpPr>
          <p:nvPr>
            <p:ph type="body" sz="quarter" idx="43" hasCustomPrompt="1"/>
          </p:nvPr>
        </p:nvSpPr>
        <p:spPr>
          <a:xfrm>
            <a:off x="4421088" y="3081724"/>
            <a:ext cx="3365701" cy="976737"/>
          </a:xfrm>
        </p:spPr>
        <p:txBody>
          <a:bodyPr wrap="square">
            <a:spAutoFit/>
          </a:bodyPr>
          <a:lstStyle>
            <a:lvl1pPr>
              <a:defRPr sz="907"/>
            </a:lvl1pPr>
            <a:lvl2pPr>
              <a:defRPr sz="816"/>
            </a:lvl2pPr>
            <a:lvl3pPr>
              <a:defRPr sz="816"/>
            </a:lvl3pPr>
            <a:lvl4pPr>
              <a:defRPr sz="816"/>
            </a:lvl4pPr>
            <a:lvl5pPr>
              <a:defRPr sz="816"/>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0" name="CV Mobile number 2">
            <a:extLst>
              <a:ext uri="{FF2B5EF4-FFF2-40B4-BE49-F238E27FC236}">
                <a16:creationId xmlns:a16="http://schemas.microsoft.com/office/drawing/2014/main" id="{E9BD464C-2253-4727-ABCD-D7736CB305B9}"/>
              </a:ext>
            </a:extLst>
          </p:cNvPr>
          <p:cNvSpPr>
            <a:spLocks noGrp="1"/>
          </p:cNvSpPr>
          <p:nvPr>
            <p:ph type="body" sz="quarter" idx="50" hasCustomPrompt="1"/>
          </p:nvPr>
        </p:nvSpPr>
        <p:spPr>
          <a:xfrm>
            <a:off x="5562670" y="2701371"/>
            <a:ext cx="2223252" cy="139575"/>
          </a:xfrm>
        </p:spPr>
        <p:txBody>
          <a:bodyPr lIns="54000" tIns="0">
            <a:noAutofit/>
          </a:bodyPr>
          <a:lstStyle>
            <a:lvl1pPr>
              <a:lnSpc>
                <a:spcPct val="100000"/>
              </a:lnSpc>
              <a:spcAft>
                <a:spcPts val="0"/>
              </a:spcAft>
              <a:defRPr sz="816" b="0">
                <a:solidFill>
                  <a:schemeClr val="tx1"/>
                </a:solidFill>
                <a:latin typeface="+mn-lt"/>
              </a:defRPr>
            </a:lvl1pPr>
            <a:lvl2pPr>
              <a:lnSpc>
                <a:spcPct val="100000"/>
              </a:lnSpc>
              <a:spcAft>
                <a:spcPts val="1088"/>
              </a:spcAft>
              <a:defRPr sz="1088" b="0">
                <a:solidFill>
                  <a:schemeClr val="tx1"/>
                </a:solidFill>
                <a:latin typeface="+mj-lt"/>
              </a:defRPr>
            </a:lvl2pPr>
            <a:lvl3pPr marL="0" indent="0">
              <a:lnSpc>
                <a:spcPct val="100000"/>
              </a:lnSpc>
              <a:spcAft>
                <a:spcPts val="0"/>
              </a:spcAft>
              <a:buNone/>
              <a:tabLst>
                <a:tab pos="164130" algn="l"/>
              </a:tabLst>
              <a:defRPr sz="907" b="0" baseline="0">
                <a:solidFill>
                  <a:schemeClr val="tx1"/>
                </a:solidFill>
              </a:defRPr>
            </a:lvl3pPr>
            <a:lvl8pPr>
              <a:defRPr/>
            </a:lvl8pPr>
          </a:lstStyle>
          <a:p>
            <a:pPr lvl="0"/>
            <a:r>
              <a:rPr lang="en-US" dirty="0"/>
              <a:t>M</a:t>
            </a:r>
          </a:p>
        </p:txBody>
      </p:sp>
      <p:sp>
        <p:nvSpPr>
          <p:cNvPr id="41" name="CV Email address 2">
            <a:extLst>
              <a:ext uri="{FF2B5EF4-FFF2-40B4-BE49-F238E27FC236}">
                <a16:creationId xmlns:a16="http://schemas.microsoft.com/office/drawing/2014/main" id="{E7DE53F3-933A-473C-93CD-9F1D9AE72EDE}"/>
              </a:ext>
            </a:extLst>
          </p:cNvPr>
          <p:cNvSpPr>
            <a:spLocks noGrp="1"/>
          </p:cNvSpPr>
          <p:nvPr>
            <p:ph type="body" sz="quarter" idx="51"/>
          </p:nvPr>
        </p:nvSpPr>
        <p:spPr>
          <a:xfrm>
            <a:off x="5562670" y="2506956"/>
            <a:ext cx="2223252" cy="139575"/>
          </a:xfrm>
        </p:spPr>
        <p:txBody>
          <a:bodyPr lIns="54000" tIns="0">
            <a:noAutofit/>
          </a:bodyPr>
          <a:lstStyle>
            <a:lvl1pPr>
              <a:lnSpc>
                <a:spcPct val="100000"/>
              </a:lnSpc>
              <a:spcAft>
                <a:spcPts val="0"/>
              </a:spcAft>
              <a:defRPr sz="816" b="0">
                <a:solidFill>
                  <a:schemeClr val="tx1"/>
                </a:solidFill>
                <a:latin typeface="+mn-lt"/>
              </a:defRPr>
            </a:lvl1pPr>
            <a:lvl2pPr>
              <a:lnSpc>
                <a:spcPct val="100000"/>
              </a:lnSpc>
              <a:spcAft>
                <a:spcPts val="1088"/>
              </a:spcAft>
              <a:defRPr sz="1088" b="0">
                <a:solidFill>
                  <a:schemeClr val="tx1"/>
                </a:solidFill>
                <a:latin typeface="+mj-lt"/>
              </a:defRPr>
            </a:lvl2pPr>
            <a:lvl3pPr marL="0" indent="0">
              <a:lnSpc>
                <a:spcPct val="100000"/>
              </a:lnSpc>
              <a:spcAft>
                <a:spcPts val="0"/>
              </a:spcAft>
              <a:buNone/>
              <a:tabLst>
                <a:tab pos="164130" algn="l"/>
              </a:tabLst>
              <a:defRPr sz="907" b="0" baseline="0">
                <a:solidFill>
                  <a:schemeClr val="tx1"/>
                </a:solidFill>
              </a:defRPr>
            </a:lvl3pPr>
            <a:lvl8pPr>
              <a:defRPr/>
            </a:lvl8pPr>
          </a:lstStyle>
          <a:p>
            <a:pPr lvl="0"/>
            <a:r>
              <a:rPr lang="en-US" dirty="0"/>
              <a:t>E</a:t>
            </a:r>
          </a:p>
        </p:txBody>
      </p:sp>
      <p:sp>
        <p:nvSpPr>
          <p:cNvPr id="42" name="CV Phone number 2">
            <a:extLst>
              <a:ext uri="{FF2B5EF4-FFF2-40B4-BE49-F238E27FC236}">
                <a16:creationId xmlns:a16="http://schemas.microsoft.com/office/drawing/2014/main" id="{B21A3064-A0CC-4BEC-8CAE-7E8902C48423}"/>
              </a:ext>
            </a:extLst>
          </p:cNvPr>
          <p:cNvSpPr>
            <a:spLocks noGrp="1"/>
          </p:cNvSpPr>
          <p:nvPr>
            <p:ph type="body" sz="quarter" idx="52" hasCustomPrompt="1"/>
          </p:nvPr>
        </p:nvSpPr>
        <p:spPr>
          <a:xfrm>
            <a:off x="5562670" y="2312540"/>
            <a:ext cx="2223252" cy="139575"/>
          </a:xfrm>
        </p:spPr>
        <p:txBody>
          <a:bodyPr lIns="54000" tIns="0">
            <a:noAutofit/>
          </a:bodyPr>
          <a:lstStyle>
            <a:lvl1pPr>
              <a:lnSpc>
                <a:spcPct val="100000"/>
              </a:lnSpc>
              <a:spcAft>
                <a:spcPts val="0"/>
              </a:spcAft>
              <a:defRPr sz="816" b="0">
                <a:solidFill>
                  <a:schemeClr val="tx1"/>
                </a:solidFill>
                <a:latin typeface="+mn-lt"/>
              </a:defRPr>
            </a:lvl1pPr>
            <a:lvl2pPr>
              <a:lnSpc>
                <a:spcPct val="100000"/>
              </a:lnSpc>
              <a:spcAft>
                <a:spcPts val="1088"/>
              </a:spcAft>
              <a:defRPr sz="1088" b="0">
                <a:solidFill>
                  <a:schemeClr val="tx1"/>
                </a:solidFill>
                <a:latin typeface="+mj-lt"/>
              </a:defRPr>
            </a:lvl2pPr>
            <a:lvl3pPr marL="0" indent="0">
              <a:lnSpc>
                <a:spcPct val="100000"/>
              </a:lnSpc>
              <a:spcAft>
                <a:spcPts val="0"/>
              </a:spcAft>
              <a:buNone/>
              <a:tabLst>
                <a:tab pos="164130" algn="l"/>
              </a:tabLst>
              <a:defRPr sz="907" b="0" baseline="0">
                <a:solidFill>
                  <a:schemeClr val="tx1"/>
                </a:solidFill>
              </a:defRPr>
            </a:lvl3pPr>
            <a:lvl8pPr>
              <a:defRPr/>
            </a:lvl8pPr>
          </a:lstStyle>
          <a:p>
            <a:pPr lvl="0"/>
            <a:r>
              <a:rPr lang="en-US" dirty="0"/>
              <a:t>T</a:t>
            </a:r>
          </a:p>
        </p:txBody>
      </p:sp>
      <p:sp>
        <p:nvSpPr>
          <p:cNvPr id="43" name="CV Location 2">
            <a:extLst>
              <a:ext uri="{FF2B5EF4-FFF2-40B4-BE49-F238E27FC236}">
                <a16:creationId xmlns:a16="http://schemas.microsoft.com/office/drawing/2014/main" id="{52A31AD4-11AF-4B7D-8247-95243F5356F7}"/>
              </a:ext>
            </a:extLst>
          </p:cNvPr>
          <p:cNvSpPr>
            <a:spLocks noGrp="1"/>
          </p:cNvSpPr>
          <p:nvPr>
            <p:ph type="body" sz="quarter" idx="53" hasCustomPrompt="1"/>
          </p:nvPr>
        </p:nvSpPr>
        <p:spPr>
          <a:xfrm>
            <a:off x="5562670" y="2118125"/>
            <a:ext cx="2223252" cy="139575"/>
          </a:xfrm>
        </p:spPr>
        <p:txBody>
          <a:bodyPr lIns="54000" tIns="0">
            <a:noAutofit/>
          </a:bodyPr>
          <a:lstStyle>
            <a:lvl1pPr>
              <a:lnSpc>
                <a:spcPct val="100000"/>
              </a:lnSpc>
              <a:spcAft>
                <a:spcPts val="0"/>
              </a:spcAft>
              <a:defRPr sz="816" b="0">
                <a:solidFill>
                  <a:schemeClr val="tx1"/>
                </a:solidFill>
                <a:latin typeface="+mn-lt"/>
              </a:defRPr>
            </a:lvl1pPr>
            <a:lvl2pPr>
              <a:lnSpc>
                <a:spcPct val="100000"/>
              </a:lnSpc>
              <a:spcAft>
                <a:spcPts val="1088"/>
              </a:spcAft>
              <a:defRPr sz="1088" b="0">
                <a:solidFill>
                  <a:schemeClr val="tx1"/>
                </a:solidFill>
                <a:latin typeface="+mj-lt"/>
              </a:defRPr>
            </a:lvl2pPr>
            <a:lvl3pPr marL="0" indent="0">
              <a:lnSpc>
                <a:spcPct val="100000"/>
              </a:lnSpc>
              <a:spcAft>
                <a:spcPts val="0"/>
              </a:spcAft>
              <a:buNone/>
              <a:tabLst>
                <a:tab pos="164130" algn="l"/>
              </a:tabLst>
              <a:defRPr sz="907" b="0" baseline="0">
                <a:solidFill>
                  <a:schemeClr val="tx1"/>
                </a:solidFill>
              </a:defRPr>
            </a:lvl3pPr>
            <a:lvl8pPr>
              <a:defRPr/>
            </a:lvl8pPr>
          </a:lstStyle>
          <a:p>
            <a:pPr lvl="0"/>
            <a:r>
              <a:rPr lang="en-US" dirty="0"/>
              <a:t>Location</a:t>
            </a:r>
          </a:p>
        </p:txBody>
      </p:sp>
      <p:sp>
        <p:nvSpPr>
          <p:cNvPr id="44" name="CV Job title 2">
            <a:extLst>
              <a:ext uri="{FF2B5EF4-FFF2-40B4-BE49-F238E27FC236}">
                <a16:creationId xmlns:a16="http://schemas.microsoft.com/office/drawing/2014/main" id="{C00FF998-18AE-42D1-A66D-C75008C54FE2}"/>
              </a:ext>
            </a:extLst>
          </p:cNvPr>
          <p:cNvSpPr>
            <a:spLocks noGrp="1"/>
          </p:cNvSpPr>
          <p:nvPr>
            <p:ph type="body" sz="quarter" idx="54" hasCustomPrompt="1"/>
          </p:nvPr>
        </p:nvSpPr>
        <p:spPr>
          <a:xfrm>
            <a:off x="5562670" y="1767589"/>
            <a:ext cx="2223252" cy="167490"/>
          </a:xfrm>
        </p:spPr>
        <p:txBody>
          <a:bodyPr lIns="54000" tIns="0">
            <a:noAutofit/>
          </a:bodyPr>
          <a:lstStyle>
            <a:lvl1pPr>
              <a:lnSpc>
                <a:spcPct val="100000"/>
              </a:lnSpc>
              <a:spcAft>
                <a:spcPts val="0"/>
              </a:spcAft>
              <a:defRPr sz="907" b="0">
                <a:solidFill>
                  <a:schemeClr val="tx1"/>
                </a:solidFill>
                <a:latin typeface="+mn-lt"/>
              </a:defRPr>
            </a:lvl1pPr>
            <a:lvl2pPr>
              <a:lnSpc>
                <a:spcPct val="100000"/>
              </a:lnSpc>
              <a:spcAft>
                <a:spcPts val="1088"/>
              </a:spcAft>
              <a:defRPr sz="1088" b="0">
                <a:solidFill>
                  <a:schemeClr val="tx1"/>
                </a:solidFill>
                <a:latin typeface="+mj-lt"/>
              </a:defRPr>
            </a:lvl2pPr>
            <a:lvl3pPr marL="0" indent="0">
              <a:lnSpc>
                <a:spcPct val="100000"/>
              </a:lnSpc>
              <a:spcAft>
                <a:spcPts val="0"/>
              </a:spcAft>
              <a:buNone/>
              <a:tabLst>
                <a:tab pos="164130" algn="l"/>
              </a:tabLst>
              <a:defRPr sz="907" b="0" baseline="0">
                <a:solidFill>
                  <a:schemeClr val="tx1"/>
                </a:solidFill>
              </a:defRPr>
            </a:lvl3pPr>
            <a:lvl8pPr>
              <a:defRPr/>
            </a:lvl8pPr>
          </a:lstStyle>
          <a:p>
            <a:pPr lvl="0"/>
            <a:r>
              <a:rPr lang="en-US" dirty="0"/>
              <a:t>Job title</a:t>
            </a:r>
          </a:p>
        </p:txBody>
      </p:sp>
      <p:sp>
        <p:nvSpPr>
          <p:cNvPr id="45" name="CV Name 2">
            <a:extLst>
              <a:ext uri="{FF2B5EF4-FFF2-40B4-BE49-F238E27FC236}">
                <a16:creationId xmlns:a16="http://schemas.microsoft.com/office/drawing/2014/main" id="{950E7B29-DD92-4A5E-8503-DE5B89C53063}"/>
              </a:ext>
            </a:extLst>
          </p:cNvPr>
          <p:cNvSpPr>
            <a:spLocks noGrp="1"/>
          </p:cNvSpPr>
          <p:nvPr>
            <p:ph type="body" sz="quarter" idx="55" hasCustomPrompt="1"/>
          </p:nvPr>
        </p:nvSpPr>
        <p:spPr>
          <a:xfrm>
            <a:off x="5562670" y="1534879"/>
            <a:ext cx="2223252" cy="167490"/>
          </a:xfrm>
        </p:spPr>
        <p:txBody>
          <a:bodyPr lIns="54000" tIns="0">
            <a:noAutofit/>
          </a:bodyPr>
          <a:lstStyle>
            <a:lvl1pPr>
              <a:lnSpc>
                <a:spcPct val="100000"/>
              </a:lnSpc>
              <a:spcAft>
                <a:spcPts val="0"/>
              </a:spcAft>
              <a:defRPr sz="907" b="0">
                <a:solidFill>
                  <a:schemeClr val="accent1"/>
                </a:solidFill>
                <a:latin typeface="+mj-lt"/>
              </a:defRPr>
            </a:lvl1pPr>
            <a:lvl2pPr>
              <a:lnSpc>
                <a:spcPct val="100000"/>
              </a:lnSpc>
              <a:spcAft>
                <a:spcPts val="1088"/>
              </a:spcAft>
              <a:defRPr sz="1088" b="0">
                <a:solidFill>
                  <a:schemeClr val="tx1"/>
                </a:solidFill>
                <a:latin typeface="+mj-lt"/>
              </a:defRPr>
            </a:lvl2pPr>
            <a:lvl3pPr marL="0" indent="0">
              <a:lnSpc>
                <a:spcPct val="100000"/>
              </a:lnSpc>
              <a:spcAft>
                <a:spcPts val="0"/>
              </a:spcAft>
              <a:buNone/>
              <a:tabLst>
                <a:tab pos="164130" algn="l"/>
              </a:tabLst>
              <a:defRPr sz="907" b="0" baseline="0">
                <a:solidFill>
                  <a:schemeClr val="tx1"/>
                </a:solidFill>
              </a:defRPr>
            </a:lvl3pPr>
            <a:lvl8pPr>
              <a:defRPr/>
            </a:lvl8pPr>
          </a:lstStyle>
          <a:p>
            <a:pPr lvl="0"/>
            <a:r>
              <a:rPr lang="en-US" dirty="0"/>
              <a:t>Name</a:t>
            </a:r>
          </a:p>
        </p:txBody>
      </p:sp>
      <p:sp>
        <p:nvSpPr>
          <p:cNvPr id="28" name="CV Bio 3">
            <a:extLst>
              <a:ext uri="{FF2B5EF4-FFF2-40B4-BE49-F238E27FC236}">
                <a16:creationId xmlns:a16="http://schemas.microsoft.com/office/drawing/2014/main" id="{E9AA4579-8FE0-4BD9-8D8A-9473EB42B2AC}"/>
              </a:ext>
            </a:extLst>
          </p:cNvPr>
          <p:cNvSpPr>
            <a:spLocks noGrp="1"/>
          </p:cNvSpPr>
          <p:nvPr>
            <p:ph type="body" sz="quarter" idx="56" hasCustomPrompt="1"/>
          </p:nvPr>
        </p:nvSpPr>
        <p:spPr>
          <a:xfrm>
            <a:off x="8124848" y="3081724"/>
            <a:ext cx="3365701" cy="976737"/>
          </a:xfrm>
        </p:spPr>
        <p:txBody>
          <a:bodyPr wrap="square">
            <a:spAutoFit/>
          </a:bodyPr>
          <a:lstStyle>
            <a:lvl1pPr>
              <a:defRPr sz="907"/>
            </a:lvl1pPr>
            <a:lvl2pPr>
              <a:defRPr sz="816"/>
            </a:lvl2pPr>
            <a:lvl3pPr>
              <a:defRPr sz="816"/>
            </a:lvl3pPr>
            <a:lvl4pPr>
              <a:defRPr sz="816"/>
            </a:lvl4pPr>
            <a:lvl5pPr>
              <a:defRPr sz="816"/>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6" name="CV Mobile number 3">
            <a:extLst>
              <a:ext uri="{FF2B5EF4-FFF2-40B4-BE49-F238E27FC236}">
                <a16:creationId xmlns:a16="http://schemas.microsoft.com/office/drawing/2014/main" id="{8E988766-628F-419C-91C6-4DD2E771A083}"/>
              </a:ext>
            </a:extLst>
          </p:cNvPr>
          <p:cNvSpPr>
            <a:spLocks noGrp="1"/>
          </p:cNvSpPr>
          <p:nvPr>
            <p:ph type="body" sz="quarter" idx="58" hasCustomPrompt="1"/>
          </p:nvPr>
        </p:nvSpPr>
        <p:spPr>
          <a:xfrm>
            <a:off x="9266430" y="2701371"/>
            <a:ext cx="2223252" cy="139575"/>
          </a:xfrm>
        </p:spPr>
        <p:txBody>
          <a:bodyPr lIns="54000" tIns="0">
            <a:noAutofit/>
          </a:bodyPr>
          <a:lstStyle>
            <a:lvl1pPr>
              <a:lnSpc>
                <a:spcPct val="100000"/>
              </a:lnSpc>
              <a:spcAft>
                <a:spcPts val="0"/>
              </a:spcAft>
              <a:defRPr sz="816" b="0">
                <a:solidFill>
                  <a:schemeClr val="tx1"/>
                </a:solidFill>
                <a:latin typeface="+mn-lt"/>
              </a:defRPr>
            </a:lvl1pPr>
            <a:lvl2pPr>
              <a:lnSpc>
                <a:spcPct val="100000"/>
              </a:lnSpc>
              <a:spcAft>
                <a:spcPts val="1088"/>
              </a:spcAft>
              <a:defRPr sz="1088" b="0">
                <a:solidFill>
                  <a:schemeClr val="tx1"/>
                </a:solidFill>
                <a:latin typeface="+mj-lt"/>
              </a:defRPr>
            </a:lvl2pPr>
            <a:lvl3pPr marL="0" indent="0">
              <a:lnSpc>
                <a:spcPct val="100000"/>
              </a:lnSpc>
              <a:spcAft>
                <a:spcPts val="0"/>
              </a:spcAft>
              <a:buNone/>
              <a:tabLst>
                <a:tab pos="164130" algn="l"/>
              </a:tabLst>
              <a:defRPr sz="907" b="0" baseline="0">
                <a:solidFill>
                  <a:schemeClr val="tx1"/>
                </a:solidFill>
              </a:defRPr>
            </a:lvl3pPr>
            <a:lvl8pPr>
              <a:defRPr/>
            </a:lvl8pPr>
          </a:lstStyle>
          <a:p>
            <a:pPr lvl="0"/>
            <a:r>
              <a:rPr lang="en-US" dirty="0"/>
              <a:t>M</a:t>
            </a:r>
          </a:p>
        </p:txBody>
      </p:sp>
      <p:sp>
        <p:nvSpPr>
          <p:cNvPr id="47" name="CV Email address 3">
            <a:extLst>
              <a:ext uri="{FF2B5EF4-FFF2-40B4-BE49-F238E27FC236}">
                <a16:creationId xmlns:a16="http://schemas.microsoft.com/office/drawing/2014/main" id="{62DEC8E9-31BD-42B7-BA4F-EC93DAEDC077}"/>
              </a:ext>
            </a:extLst>
          </p:cNvPr>
          <p:cNvSpPr>
            <a:spLocks noGrp="1"/>
          </p:cNvSpPr>
          <p:nvPr>
            <p:ph type="body" sz="quarter" idx="59"/>
          </p:nvPr>
        </p:nvSpPr>
        <p:spPr>
          <a:xfrm>
            <a:off x="9266430" y="2506956"/>
            <a:ext cx="2223252" cy="139575"/>
          </a:xfrm>
        </p:spPr>
        <p:txBody>
          <a:bodyPr lIns="54000" tIns="0">
            <a:noAutofit/>
          </a:bodyPr>
          <a:lstStyle>
            <a:lvl1pPr>
              <a:lnSpc>
                <a:spcPct val="100000"/>
              </a:lnSpc>
              <a:spcAft>
                <a:spcPts val="0"/>
              </a:spcAft>
              <a:defRPr sz="816" b="0">
                <a:solidFill>
                  <a:schemeClr val="tx1"/>
                </a:solidFill>
                <a:latin typeface="+mn-lt"/>
              </a:defRPr>
            </a:lvl1pPr>
            <a:lvl2pPr>
              <a:lnSpc>
                <a:spcPct val="100000"/>
              </a:lnSpc>
              <a:spcAft>
                <a:spcPts val="1088"/>
              </a:spcAft>
              <a:defRPr sz="1088" b="0">
                <a:solidFill>
                  <a:schemeClr val="tx1"/>
                </a:solidFill>
                <a:latin typeface="+mj-lt"/>
              </a:defRPr>
            </a:lvl2pPr>
            <a:lvl3pPr marL="0" indent="0">
              <a:lnSpc>
                <a:spcPct val="100000"/>
              </a:lnSpc>
              <a:spcAft>
                <a:spcPts val="0"/>
              </a:spcAft>
              <a:buNone/>
              <a:tabLst>
                <a:tab pos="164130" algn="l"/>
              </a:tabLst>
              <a:defRPr sz="907" b="0" baseline="0">
                <a:solidFill>
                  <a:schemeClr val="tx1"/>
                </a:solidFill>
              </a:defRPr>
            </a:lvl3pPr>
            <a:lvl8pPr>
              <a:defRPr/>
            </a:lvl8pPr>
          </a:lstStyle>
          <a:p>
            <a:pPr lvl="0"/>
            <a:r>
              <a:rPr lang="en-US" dirty="0"/>
              <a:t>E</a:t>
            </a:r>
          </a:p>
        </p:txBody>
      </p:sp>
      <p:sp>
        <p:nvSpPr>
          <p:cNvPr id="48" name="CV Phone number 3">
            <a:extLst>
              <a:ext uri="{FF2B5EF4-FFF2-40B4-BE49-F238E27FC236}">
                <a16:creationId xmlns:a16="http://schemas.microsoft.com/office/drawing/2014/main" id="{FF52599C-3B9E-404B-B2F8-3B22B4475F38}"/>
              </a:ext>
            </a:extLst>
          </p:cNvPr>
          <p:cNvSpPr>
            <a:spLocks noGrp="1"/>
          </p:cNvSpPr>
          <p:nvPr>
            <p:ph type="body" sz="quarter" idx="60" hasCustomPrompt="1"/>
          </p:nvPr>
        </p:nvSpPr>
        <p:spPr>
          <a:xfrm>
            <a:off x="9266430" y="2312540"/>
            <a:ext cx="2223252" cy="139575"/>
          </a:xfrm>
        </p:spPr>
        <p:txBody>
          <a:bodyPr lIns="54000" tIns="0">
            <a:noAutofit/>
          </a:bodyPr>
          <a:lstStyle>
            <a:lvl1pPr>
              <a:lnSpc>
                <a:spcPct val="100000"/>
              </a:lnSpc>
              <a:spcAft>
                <a:spcPts val="0"/>
              </a:spcAft>
              <a:defRPr sz="816" b="0">
                <a:solidFill>
                  <a:schemeClr val="tx1"/>
                </a:solidFill>
                <a:latin typeface="+mn-lt"/>
              </a:defRPr>
            </a:lvl1pPr>
            <a:lvl2pPr>
              <a:lnSpc>
                <a:spcPct val="100000"/>
              </a:lnSpc>
              <a:spcAft>
                <a:spcPts val="1088"/>
              </a:spcAft>
              <a:defRPr sz="1088" b="0">
                <a:solidFill>
                  <a:schemeClr val="tx1"/>
                </a:solidFill>
                <a:latin typeface="+mj-lt"/>
              </a:defRPr>
            </a:lvl2pPr>
            <a:lvl3pPr marL="0" indent="0">
              <a:lnSpc>
                <a:spcPct val="100000"/>
              </a:lnSpc>
              <a:spcAft>
                <a:spcPts val="0"/>
              </a:spcAft>
              <a:buNone/>
              <a:tabLst>
                <a:tab pos="164130" algn="l"/>
              </a:tabLst>
              <a:defRPr sz="907" b="0" baseline="0">
                <a:solidFill>
                  <a:schemeClr val="tx1"/>
                </a:solidFill>
              </a:defRPr>
            </a:lvl3pPr>
            <a:lvl8pPr>
              <a:defRPr/>
            </a:lvl8pPr>
          </a:lstStyle>
          <a:p>
            <a:pPr lvl="0"/>
            <a:r>
              <a:rPr lang="en-US" dirty="0"/>
              <a:t>T</a:t>
            </a:r>
          </a:p>
        </p:txBody>
      </p:sp>
      <p:sp>
        <p:nvSpPr>
          <p:cNvPr id="49" name="CV Location 3">
            <a:extLst>
              <a:ext uri="{FF2B5EF4-FFF2-40B4-BE49-F238E27FC236}">
                <a16:creationId xmlns:a16="http://schemas.microsoft.com/office/drawing/2014/main" id="{95236718-809B-43F7-A416-0EE6343E15D9}"/>
              </a:ext>
            </a:extLst>
          </p:cNvPr>
          <p:cNvSpPr>
            <a:spLocks noGrp="1"/>
          </p:cNvSpPr>
          <p:nvPr>
            <p:ph type="body" sz="quarter" idx="61" hasCustomPrompt="1"/>
          </p:nvPr>
        </p:nvSpPr>
        <p:spPr>
          <a:xfrm>
            <a:off x="9266430" y="2118125"/>
            <a:ext cx="2223252" cy="139575"/>
          </a:xfrm>
        </p:spPr>
        <p:txBody>
          <a:bodyPr lIns="54000" tIns="0">
            <a:noAutofit/>
          </a:bodyPr>
          <a:lstStyle>
            <a:lvl1pPr>
              <a:lnSpc>
                <a:spcPct val="100000"/>
              </a:lnSpc>
              <a:spcAft>
                <a:spcPts val="0"/>
              </a:spcAft>
              <a:defRPr sz="816" b="0">
                <a:solidFill>
                  <a:schemeClr val="tx1"/>
                </a:solidFill>
                <a:latin typeface="+mn-lt"/>
              </a:defRPr>
            </a:lvl1pPr>
            <a:lvl2pPr>
              <a:lnSpc>
                <a:spcPct val="100000"/>
              </a:lnSpc>
              <a:spcAft>
                <a:spcPts val="1088"/>
              </a:spcAft>
              <a:defRPr sz="1088" b="0">
                <a:solidFill>
                  <a:schemeClr val="tx1"/>
                </a:solidFill>
                <a:latin typeface="+mj-lt"/>
              </a:defRPr>
            </a:lvl2pPr>
            <a:lvl3pPr marL="0" indent="0">
              <a:lnSpc>
                <a:spcPct val="100000"/>
              </a:lnSpc>
              <a:spcAft>
                <a:spcPts val="0"/>
              </a:spcAft>
              <a:buNone/>
              <a:tabLst>
                <a:tab pos="164130" algn="l"/>
              </a:tabLst>
              <a:defRPr sz="907" b="0" baseline="0">
                <a:solidFill>
                  <a:schemeClr val="tx1"/>
                </a:solidFill>
              </a:defRPr>
            </a:lvl3pPr>
            <a:lvl8pPr>
              <a:defRPr/>
            </a:lvl8pPr>
          </a:lstStyle>
          <a:p>
            <a:pPr lvl="0"/>
            <a:r>
              <a:rPr lang="en-US" dirty="0"/>
              <a:t>Location</a:t>
            </a:r>
          </a:p>
        </p:txBody>
      </p:sp>
      <p:sp>
        <p:nvSpPr>
          <p:cNvPr id="50" name="CV Job title 3">
            <a:extLst>
              <a:ext uri="{FF2B5EF4-FFF2-40B4-BE49-F238E27FC236}">
                <a16:creationId xmlns:a16="http://schemas.microsoft.com/office/drawing/2014/main" id="{D8C9BEF9-C0A4-4DCB-A032-F97F3B1EB4CF}"/>
              </a:ext>
            </a:extLst>
          </p:cNvPr>
          <p:cNvSpPr>
            <a:spLocks noGrp="1"/>
          </p:cNvSpPr>
          <p:nvPr>
            <p:ph type="body" sz="quarter" idx="62" hasCustomPrompt="1"/>
          </p:nvPr>
        </p:nvSpPr>
        <p:spPr>
          <a:xfrm>
            <a:off x="9266430" y="1767589"/>
            <a:ext cx="2223252" cy="167490"/>
          </a:xfrm>
        </p:spPr>
        <p:txBody>
          <a:bodyPr lIns="54000" tIns="0">
            <a:noAutofit/>
          </a:bodyPr>
          <a:lstStyle>
            <a:lvl1pPr>
              <a:lnSpc>
                <a:spcPct val="100000"/>
              </a:lnSpc>
              <a:spcAft>
                <a:spcPts val="0"/>
              </a:spcAft>
              <a:defRPr sz="907" b="0">
                <a:solidFill>
                  <a:schemeClr val="tx1"/>
                </a:solidFill>
                <a:latin typeface="+mn-lt"/>
              </a:defRPr>
            </a:lvl1pPr>
            <a:lvl2pPr>
              <a:lnSpc>
                <a:spcPct val="100000"/>
              </a:lnSpc>
              <a:spcAft>
                <a:spcPts val="1088"/>
              </a:spcAft>
              <a:defRPr sz="1088" b="0">
                <a:solidFill>
                  <a:schemeClr val="tx1"/>
                </a:solidFill>
                <a:latin typeface="+mj-lt"/>
              </a:defRPr>
            </a:lvl2pPr>
            <a:lvl3pPr marL="0" indent="0">
              <a:lnSpc>
                <a:spcPct val="100000"/>
              </a:lnSpc>
              <a:spcAft>
                <a:spcPts val="0"/>
              </a:spcAft>
              <a:buNone/>
              <a:tabLst>
                <a:tab pos="164130" algn="l"/>
              </a:tabLst>
              <a:defRPr sz="907" b="0" baseline="0">
                <a:solidFill>
                  <a:schemeClr val="tx1"/>
                </a:solidFill>
              </a:defRPr>
            </a:lvl3pPr>
            <a:lvl8pPr>
              <a:defRPr/>
            </a:lvl8pPr>
          </a:lstStyle>
          <a:p>
            <a:pPr lvl="0"/>
            <a:r>
              <a:rPr lang="en-US" dirty="0"/>
              <a:t>Job title</a:t>
            </a:r>
          </a:p>
        </p:txBody>
      </p:sp>
      <p:sp>
        <p:nvSpPr>
          <p:cNvPr id="51" name="CV Name 3">
            <a:extLst>
              <a:ext uri="{FF2B5EF4-FFF2-40B4-BE49-F238E27FC236}">
                <a16:creationId xmlns:a16="http://schemas.microsoft.com/office/drawing/2014/main" id="{75B82E75-389E-4B36-A058-BCDFDB735BC1}"/>
              </a:ext>
            </a:extLst>
          </p:cNvPr>
          <p:cNvSpPr>
            <a:spLocks noGrp="1"/>
          </p:cNvSpPr>
          <p:nvPr>
            <p:ph type="body" sz="quarter" idx="63" hasCustomPrompt="1"/>
          </p:nvPr>
        </p:nvSpPr>
        <p:spPr>
          <a:xfrm>
            <a:off x="9266430" y="1534879"/>
            <a:ext cx="2223252" cy="167490"/>
          </a:xfrm>
        </p:spPr>
        <p:txBody>
          <a:bodyPr lIns="54000" tIns="0">
            <a:noAutofit/>
          </a:bodyPr>
          <a:lstStyle>
            <a:lvl1pPr>
              <a:lnSpc>
                <a:spcPct val="100000"/>
              </a:lnSpc>
              <a:spcAft>
                <a:spcPts val="0"/>
              </a:spcAft>
              <a:defRPr sz="907" b="0">
                <a:solidFill>
                  <a:schemeClr val="accent1"/>
                </a:solidFill>
                <a:latin typeface="+mj-lt"/>
              </a:defRPr>
            </a:lvl1pPr>
            <a:lvl2pPr>
              <a:lnSpc>
                <a:spcPct val="100000"/>
              </a:lnSpc>
              <a:spcAft>
                <a:spcPts val="1088"/>
              </a:spcAft>
              <a:defRPr sz="1088" b="0">
                <a:solidFill>
                  <a:schemeClr val="tx1"/>
                </a:solidFill>
                <a:latin typeface="+mj-lt"/>
              </a:defRPr>
            </a:lvl2pPr>
            <a:lvl3pPr marL="0" indent="0">
              <a:lnSpc>
                <a:spcPct val="100000"/>
              </a:lnSpc>
              <a:spcAft>
                <a:spcPts val="0"/>
              </a:spcAft>
              <a:buNone/>
              <a:tabLst>
                <a:tab pos="164130" algn="l"/>
              </a:tabLst>
              <a:defRPr sz="907" b="0" baseline="0">
                <a:solidFill>
                  <a:schemeClr val="tx1"/>
                </a:solidFill>
              </a:defRPr>
            </a:lvl3pPr>
            <a:lvl8pPr>
              <a:defRPr/>
            </a:lvl8pPr>
          </a:lstStyle>
          <a:p>
            <a:pPr lvl="0"/>
            <a:r>
              <a:rPr lang="en-US" dirty="0"/>
              <a:t>Name</a:t>
            </a:r>
          </a:p>
        </p:txBody>
      </p:sp>
      <p:sp>
        <p:nvSpPr>
          <p:cNvPr id="52" name="CV Photo">
            <a:extLst>
              <a:ext uri="{FF2B5EF4-FFF2-40B4-BE49-F238E27FC236}">
                <a16:creationId xmlns:a16="http://schemas.microsoft.com/office/drawing/2014/main" id="{9DFB63DD-F364-4571-B243-2D088F72D00F}"/>
              </a:ext>
            </a:extLst>
          </p:cNvPr>
          <p:cNvSpPr>
            <a:spLocks noGrp="1" noChangeAspect="1"/>
          </p:cNvSpPr>
          <p:nvPr>
            <p:ph type="pic" sz="quarter" idx="22" hasCustomPrompt="1"/>
          </p:nvPr>
        </p:nvSpPr>
        <p:spPr>
          <a:xfrm>
            <a:off x="731139" y="1534878"/>
            <a:ext cx="1026128" cy="816292"/>
          </a:xfrm>
          <a:solidFill>
            <a:schemeClr val="bg1">
              <a:lumMod val="95000"/>
            </a:schemeClr>
          </a:solidFill>
        </p:spPr>
        <p:txBody>
          <a:bodyPr anchor="ctr" anchorCtr="1">
            <a:noAutofit/>
          </a:bodyPr>
          <a:lstStyle>
            <a:lvl1pPr>
              <a:defRPr sz="726" b="0">
                <a:solidFill>
                  <a:schemeClr val="tx1"/>
                </a:solidFill>
              </a:defRPr>
            </a:lvl1pPr>
          </a:lstStyle>
          <a:p>
            <a:r>
              <a:rPr lang="en-NZ" dirty="0"/>
              <a:t>CV image</a:t>
            </a:r>
          </a:p>
        </p:txBody>
      </p:sp>
      <p:sp>
        <p:nvSpPr>
          <p:cNvPr id="53" name="CV Photo">
            <a:extLst>
              <a:ext uri="{FF2B5EF4-FFF2-40B4-BE49-F238E27FC236}">
                <a16:creationId xmlns:a16="http://schemas.microsoft.com/office/drawing/2014/main" id="{B14B9451-5EC1-4DD0-B368-F70762D02C94}"/>
              </a:ext>
            </a:extLst>
          </p:cNvPr>
          <p:cNvSpPr>
            <a:spLocks noGrp="1" noChangeAspect="1"/>
          </p:cNvSpPr>
          <p:nvPr>
            <p:ph type="pic" sz="quarter" idx="137" hasCustomPrompt="1"/>
          </p:nvPr>
        </p:nvSpPr>
        <p:spPr>
          <a:xfrm>
            <a:off x="4412723" y="1534878"/>
            <a:ext cx="1026128" cy="816292"/>
          </a:xfrm>
          <a:solidFill>
            <a:schemeClr val="bg1">
              <a:lumMod val="95000"/>
            </a:schemeClr>
          </a:solidFill>
        </p:spPr>
        <p:txBody>
          <a:bodyPr anchor="ctr" anchorCtr="1">
            <a:noAutofit/>
          </a:bodyPr>
          <a:lstStyle>
            <a:lvl1pPr>
              <a:defRPr sz="726" b="0">
                <a:solidFill>
                  <a:schemeClr val="tx1"/>
                </a:solidFill>
              </a:defRPr>
            </a:lvl1pPr>
          </a:lstStyle>
          <a:p>
            <a:r>
              <a:rPr lang="en-NZ" dirty="0"/>
              <a:t>CV image</a:t>
            </a:r>
          </a:p>
        </p:txBody>
      </p:sp>
      <p:sp>
        <p:nvSpPr>
          <p:cNvPr id="54" name="CV Photo">
            <a:extLst>
              <a:ext uri="{FF2B5EF4-FFF2-40B4-BE49-F238E27FC236}">
                <a16:creationId xmlns:a16="http://schemas.microsoft.com/office/drawing/2014/main" id="{A97AD05B-32F0-40A7-80FD-27DFE5728DA4}"/>
              </a:ext>
            </a:extLst>
          </p:cNvPr>
          <p:cNvSpPr>
            <a:spLocks noGrp="1" noChangeAspect="1"/>
          </p:cNvSpPr>
          <p:nvPr>
            <p:ph type="pic" sz="quarter" idx="138" hasCustomPrompt="1"/>
          </p:nvPr>
        </p:nvSpPr>
        <p:spPr>
          <a:xfrm>
            <a:off x="8127170" y="1534878"/>
            <a:ext cx="1026128" cy="816292"/>
          </a:xfrm>
          <a:solidFill>
            <a:schemeClr val="bg1">
              <a:lumMod val="95000"/>
            </a:schemeClr>
          </a:solidFill>
        </p:spPr>
        <p:txBody>
          <a:bodyPr anchor="ctr" anchorCtr="1">
            <a:noAutofit/>
          </a:bodyPr>
          <a:lstStyle>
            <a:lvl1pPr>
              <a:defRPr sz="726" b="0">
                <a:solidFill>
                  <a:schemeClr val="tx1"/>
                </a:solidFill>
              </a:defRPr>
            </a:lvl1pPr>
          </a:lstStyle>
          <a:p>
            <a:r>
              <a:rPr lang="en-NZ" dirty="0"/>
              <a:t>CV image</a:t>
            </a:r>
          </a:p>
        </p:txBody>
      </p:sp>
      <p:grpSp>
        <p:nvGrpSpPr>
          <p:cNvPr id="4" name="Group 31">
            <a:extLst>
              <a:ext uri="{FF2B5EF4-FFF2-40B4-BE49-F238E27FC236}">
                <a16:creationId xmlns:a16="http://schemas.microsoft.com/office/drawing/2014/main" id="{E7CEE6E2-CBDA-4339-967C-A03188EB45A5}"/>
              </a:ext>
            </a:extLst>
          </p:cNvPr>
          <p:cNvGrpSpPr/>
          <p:nvPr userDrawn="1"/>
        </p:nvGrpSpPr>
        <p:grpSpPr>
          <a:xfrm>
            <a:off x="12335553" y="2"/>
            <a:ext cx="2873478" cy="1720847"/>
            <a:chOff x="10891316" y="0"/>
            <a:chExt cx="2520280" cy="1897314"/>
          </a:xfrm>
        </p:grpSpPr>
        <p:sp>
          <p:nvSpPr>
            <p:cNvPr id="38" name="TextBox 37">
              <a:extLst>
                <a:ext uri="{FF2B5EF4-FFF2-40B4-BE49-F238E27FC236}">
                  <a16:creationId xmlns:a16="http://schemas.microsoft.com/office/drawing/2014/main" id="{FBC11460-99EB-425C-A4CD-1B0877B04D1D}"/>
                </a:ext>
              </a:extLst>
            </p:cNvPr>
            <p:cNvSpPr txBox="1"/>
            <p:nvPr/>
          </p:nvSpPr>
          <p:spPr>
            <a:xfrm>
              <a:off x="10891316" y="0"/>
              <a:ext cx="2520280" cy="1897314"/>
            </a:xfrm>
            <a:prstGeom prst="rect">
              <a:avLst/>
            </a:prstGeom>
            <a:solidFill>
              <a:schemeClr val="bg1">
                <a:lumMod val="85000"/>
              </a:schemeClr>
            </a:solidFill>
            <a:ln w="9525">
              <a:noFill/>
              <a:miter lim="800000"/>
              <a:headEnd/>
              <a:tailEnd/>
            </a:ln>
            <a:effectLst/>
          </p:spPr>
          <p:txBody>
            <a:bodyPr lIns="36000" tIns="36000" rIns="36000" bIns="36000">
              <a:spAutoFit/>
            </a:bodyPr>
            <a:lstStyle/>
            <a:p>
              <a:pPr>
                <a:spcAft>
                  <a:spcPts val="272"/>
                </a:spcAft>
              </a:pPr>
              <a:r>
                <a:rPr lang="en-GB" sz="726" b="1" dirty="0"/>
                <a:t>UPDATING CV’S</a:t>
              </a:r>
            </a:p>
            <a:p>
              <a:pPr>
                <a:spcAft>
                  <a:spcPts val="272"/>
                </a:spcAft>
              </a:pPr>
              <a:r>
                <a:rPr lang="en-GB" sz="726" dirty="0"/>
                <a:t>To add a CV image:</a:t>
              </a:r>
            </a:p>
            <a:p>
              <a:pPr marL="137886" indent="-137886">
                <a:spcAft>
                  <a:spcPts val="272"/>
                </a:spcAft>
                <a:buFont typeface="Arial" pitchFamily="34" charset="0"/>
                <a:buChar char="•"/>
              </a:pPr>
              <a:r>
                <a:rPr lang="en-GB" sz="726" dirty="0"/>
                <a:t>click on the picture placeholder icon</a:t>
              </a:r>
            </a:p>
            <a:p>
              <a:pPr marL="137886" indent="-137886">
                <a:spcAft>
                  <a:spcPts val="272"/>
                </a:spcAft>
                <a:buFont typeface="Arial" pitchFamily="34" charset="0"/>
                <a:buChar char="•"/>
              </a:pPr>
              <a:r>
                <a:rPr lang="en-GB" sz="726" dirty="0"/>
                <a:t>Windows Explorer will open, find your required image and click ‘Insert’</a:t>
              </a:r>
            </a:p>
            <a:p>
              <a:pPr marL="137886" indent="-137886">
                <a:spcAft>
                  <a:spcPts val="272"/>
                </a:spcAft>
                <a:buFont typeface="Arial" pitchFamily="34" charset="0"/>
                <a:buChar char="•"/>
              </a:pPr>
              <a:r>
                <a:rPr lang="en-GB" sz="726" dirty="0"/>
                <a:t>select the image, right-click and select ‘Send to </a:t>
              </a:r>
              <a:r>
                <a:rPr lang="en-GB" sz="726" b="0" dirty="0"/>
                <a:t>B</a:t>
              </a:r>
              <a:r>
                <a:rPr lang="en-GB" sz="726" dirty="0"/>
                <a:t>ack’</a:t>
              </a:r>
              <a:endParaRPr lang="en-US" sz="726" dirty="0"/>
            </a:p>
            <a:p>
              <a:pPr marL="0" indent="0">
                <a:spcAft>
                  <a:spcPts val="272"/>
                </a:spcAft>
                <a:buFont typeface="Arial" pitchFamily="34" charset="0"/>
                <a:buNone/>
              </a:pPr>
              <a:r>
                <a:rPr lang="en-US" sz="726" dirty="0"/>
                <a:t>If there</a:t>
              </a:r>
              <a:r>
                <a:rPr lang="en-US" sz="726" baseline="0" dirty="0"/>
                <a:t> is a generic silhouette image, you will need to change the picture:</a:t>
              </a:r>
              <a:endParaRPr lang="en-GB" sz="726" dirty="0"/>
            </a:p>
            <a:p>
              <a:pPr marL="137886" indent="-137886">
                <a:spcAft>
                  <a:spcPts val="272"/>
                </a:spcAft>
                <a:buFont typeface="Arial" pitchFamily="34" charset="0"/>
                <a:buChar char="•"/>
              </a:pPr>
              <a:r>
                <a:rPr lang="en-GB" sz="726" dirty="0"/>
                <a:t>select the silhouette image</a:t>
              </a:r>
            </a:p>
            <a:p>
              <a:pPr marL="137886" indent="-137886">
                <a:spcAft>
                  <a:spcPts val="272"/>
                </a:spcAft>
                <a:buFont typeface="Arial" pitchFamily="34" charset="0"/>
                <a:buChar char="•"/>
              </a:pPr>
              <a:r>
                <a:rPr lang="en-GB" sz="726" dirty="0"/>
                <a:t>right-click and select ‘Change Picture’</a:t>
              </a:r>
            </a:p>
            <a:p>
              <a:pPr marL="137886" indent="-137886">
                <a:spcAft>
                  <a:spcPts val="272"/>
                </a:spcAft>
                <a:buFont typeface="Arial" pitchFamily="34" charset="0"/>
                <a:buChar char="•"/>
              </a:pPr>
              <a:r>
                <a:rPr lang="en-GB" sz="726" dirty="0"/>
                <a:t>navigate to the required image file, select and click ‘Insert’.</a:t>
              </a:r>
            </a:p>
          </p:txBody>
        </p:sp>
        <p:pic>
          <p:nvPicPr>
            <p:cNvPr id="39" name="Picture 38">
              <a:extLst>
                <a:ext uri="{FF2B5EF4-FFF2-40B4-BE49-F238E27FC236}">
                  <a16:creationId xmlns:a16="http://schemas.microsoft.com/office/drawing/2014/main" id="{E3EE55DA-1F6C-44C8-90E3-167A2BFB9D63}"/>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3020535" y="124489"/>
              <a:ext cx="323810" cy="323810"/>
            </a:xfrm>
            <a:prstGeom prst="rect">
              <a:avLst/>
            </a:prstGeom>
          </p:spPr>
        </p:pic>
      </p:grpSp>
    </p:spTree>
    <p:extLst>
      <p:ext uri="{BB962C8B-B14F-4D97-AF65-F5344CB8AC3E}">
        <p14:creationId xmlns:p14="http://schemas.microsoft.com/office/powerpoint/2010/main" val="4001180813"/>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ontacts multip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page title</a:t>
            </a:r>
            <a:endParaRPr lang="en-GB" dirty="0"/>
          </a:p>
        </p:txBody>
      </p:sp>
      <p:grpSp>
        <p:nvGrpSpPr>
          <p:cNvPr id="3" name="Group 30">
            <a:extLst>
              <a:ext uri="{FF2B5EF4-FFF2-40B4-BE49-F238E27FC236}">
                <a16:creationId xmlns:a16="http://schemas.microsoft.com/office/drawing/2014/main" id="{ECFE85AE-372F-4D0E-BB6B-A7F4986F159F}"/>
              </a:ext>
            </a:extLst>
          </p:cNvPr>
          <p:cNvGrpSpPr/>
          <p:nvPr userDrawn="1"/>
        </p:nvGrpSpPr>
        <p:grpSpPr>
          <a:xfrm>
            <a:off x="12417653" y="2"/>
            <a:ext cx="2873478" cy="1720847"/>
            <a:chOff x="10891316" y="0"/>
            <a:chExt cx="2520280" cy="1897314"/>
          </a:xfrm>
        </p:grpSpPr>
        <p:sp>
          <p:nvSpPr>
            <p:cNvPr id="51" name="TextBox 50">
              <a:extLst>
                <a:ext uri="{FF2B5EF4-FFF2-40B4-BE49-F238E27FC236}">
                  <a16:creationId xmlns:a16="http://schemas.microsoft.com/office/drawing/2014/main" id="{96DE57D6-CA55-41F9-A52D-3BF79191C5D3}"/>
                </a:ext>
              </a:extLst>
            </p:cNvPr>
            <p:cNvSpPr txBox="1"/>
            <p:nvPr/>
          </p:nvSpPr>
          <p:spPr>
            <a:xfrm>
              <a:off x="10891316" y="0"/>
              <a:ext cx="2520280" cy="1897314"/>
            </a:xfrm>
            <a:prstGeom prst="rect">
              <a:avLst/>
            </a:prstGeom>
            <a:solidFill>
              <a:schemeClr val="bg1">
                <a:lumMod val="85000"/>
              </a:schemeClr>
            </a:solidFill>
            <a:ln w="9525">
              <a:noFill/>
              <a:miter lim="800000"/>
              <a:headEnd/>
              <a:tailEnd/>
            </a:ln>
            <a:effectLst/>
          </p:spPr>
          <p:txBody>
            <a:bodyPr lIns="36000" tIns="36000" rIns="36000" bIns="36000">
              <a:spAutoFit/>
            </a:bodyPr>
            <a:lstStyle/>
            <a:p>
              <a:pPr>
                <a:spcAft>
                  <a:spcPts val="272"/>
                </a:spcAft>
              </a:pPr>
              <a:r>
                <a:rPr lang="en-GB" sz="726" dirty="0"/>
                <a:t>If you are updating a CV manually</a:t>
              </a:r>
            </a:p>
            <a:p>
              <a:pPr>
                <a:spcAft>
                  <a:spcPts val="272"/>
                </a:spcAft>
              </a:pPr>
              <a:r>
                <a:rPr lang="en-GB" sz="726" dirty="0"/>
                <a:t>To add a CV image:</a:t>
              </a:r>
            </a:p>
            <a:p>
              <a:pPr marL="137886" indent="-137886">
                <a:spcAft>
                  <a:spcPts val="272"/>
                </a:spcAft>
                <a:buFont typeface="Arial" pitchFamily="34" charset="0"/>
                <a:buChar char="•"/>
              </a:pPr>
              <a:r>
                <a:rPr lang="en-GB" sz="726" dirty="0"/>
                <a:t>click on the picture placeholder icon</a:t>
              </a:r>
            </a:p>
            <a:p>
              <a:pPr marL="137886" indent="-137886">
                <a:spcAft>
                  <a:spcPts val="272"/>
                </a:spcAft>
                <a:buFont typeface="Arial" pitchFamily="34" charset="0"/>
                <a:buChar char="•"/>
              </a:pPr>
              <a:r>
                <a:rPr lang="en-GB" sz="726" dirty="0"/>
                <a:t>Windows Explorer will open, find your required image and click ‘Insert’</a:t>
              </a:r>
            </a:p>
            <a:p>
              <a:pPr marL="137886" indent="-137886">
                <a:spcAft>
                  <a:spcPts val="272"/>
                </a:spcAft>
                <a:buFont typeface="Arial" pitchFamily="34" charset="0"/>
                <a:buChar char="•"/>
              </a:pPr>
              <a:r>
                <a:rPr lang="en-GB" sz="726" dirty="0"/>
                <a:t>select the image, right-click and select ‘Send to </a:t>
              </a:r>
              <a:r>
                <a:rPr lang="en-GB" sz="726" b="0" dirty="0"/>
                <a:t>B</a:t>
              </a:r>
              <a:r>
                <a:rPr lang="en-GB" sz="726" dirty="0"/>
                <a:t>ack’</a:t>
              </a:r>
              <a:endParaRPr lang="en-US" sz="726" dirty="0"/>
            </a:p>
            <a:p>
              <a:pPr marL="0" indent="0">
                <a:spcAft>
                  <a:spcPts val="272"/>
                </a:spcAft>
                <a:buFont typeface="Arial" pitchFamily="34" charset="0"/>
                <a:buNone/>
              </a:pPr>
              <a:r>
                <a:rPr lang="en-US" sz="726" dirty="0"/>
                <a:t>If there</a:t>
              </a:r>
              <a:r>
                <a:rPr lang="en-US" sz="726" baseline="0" dirty="0"/>
                <a:t> is a generic silhouette image, you will need to change the picture:</a:t>
              </a:r>
              <a:endParaRPr lang="en-GB" sz="726" dirty="0"/>
            </a:p>
            <a:p>
              <a:pPr marL="137886" indent="-137886">
                <a:spcAft>
                  <a:spcPts val="272"/>
                </a:spcAft>
                <a:buFont typeface="Arial" pitchFamily="34" charset="0"/>
                <a:buChar char="•"/>
              </a:pPr>
              <a:r>
                <a:rPr lang="en-GB" sz="726" dirty="0"/>
                <a:t>select the silhouette image</a:t>
              </a:r>
            </a:p>
            <a:p>
              <a:pPr marL="137886" indent="-137886">
                <a:spcAft>
                  <a:spcPts val="272"/>
                </a:spcAft>
                <a:buFont typeface="Arial" pitchFamily="34" charset="0"/>
                <a:buChar char="•"/>
              </a:pPr>
              <a:r>
                <a:rPr lang="en-GB" sz="726" dirty="0"/>
                <a:t>right-click and select ‘Change Picture’</a:t>
              </a:r>
            </a:p>
            <a:p>
              <a:pPr marL="137886" indent="-137886">
                <a:spcAft>
                  <a:spcPts val="272"/>
                </a:spcAft>
                <a:buFont typeface="Arial" pitchFamily="34" charset="0"/>
                <a:buChar char="•"/>
              </a:pPr>
              <a:r>
                <a:rPr lang="en-GB" sz="726" dirty="0"/>
                <a:t>navigate to the required image file, select and click ‘Insert’.</a:t>
              </a:r>
            </a:p>
          </p:txBody>
        </p:sp>
        <p:pic>
          <p:nvPicPr>
            <p:cNvPr id="52" name="Picture 51">
              <a:extLst>
                <a:ext uri="{FF2B5EF4-FFF2-40B4-BE49-F238E27FC236}">
                  <a16:creationId xmlns:a16="http://schemas.microsoft.com/office/drawing/2014/main" id="{11451F88-5623-4F9C-8D82-3D4A244BC25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3020535" y="124489"/>
              <a:ext cx="323810" cy="323810"/>
            </a:xfrm>
            <a:prstGeom prst="rect">
              <a:avLst/>
            </a:prstGeom>
          </p:spPr>
        </p:pic>
      </p:grpSp>
      <p:sp>
        <p:nvSpPr>
          <p:cNvPr id="54" name="CV Location">
            <a:extLst>
              <a:ext uri="{FF2B5EF4-FFF2-40B4-BE49-F238E27FC236}">
                <a16:creationId xmlns:a16="http://schemas.microsoft.com/office/drawing/2014/main" id="{BA1FCF02-C369-49CE-9139-ACDCAA77765F}"/>
              </a:ext>
            </a:extLst>
          </p:cNvPr>
          <p:cNvSpPr>
            <a:spLocks noGrp="1"/>
          </p:cNvSpPr>
          <p:nvPr>
            <p:ph type="body" sz="quarter" idx="45" hasCustomPrompt="1"/>
          </p:nvPr>
        </p:nvSpPr>
        <p:spPr>
          <a:xfrm>
            <a:off x="1900245" y="2048409"/>
            <a:ext cx="2182202" cy="139575"/>
          </a:xfrm>
        </p:spPr>
        <p:txBody>
          <a:bodyPr lIns="54000" tIns="0">
            <a:noAutofit/>
          </a:bodyPr>
          <a:lstStyle>
            <a:lvl1pPr>
              <a:lnSpc>
                <a:spcPct val="100000"/>
              </a:lnSpc>
              <a:spcAft>
                <a:spcPts val="0"/>
              </a:spcAft>
              <a:defRPr sz="816" b="0">
                <a:solidFill>
                  <a:schemeClr val="tx1"/>
                </a:solidFill>
                <a:latin typeface="+mn-lt"/>
              </a:defRPr>
            </a:lvl1pPr>
            <a:lvl2pPr>
              <a:lnSpc>
                <a:spcPct val="100000"/>
              </a:lnSpc>
              <a:spcAft>
                <a:spcPts val="1088"/>
              </a:spcAft>
              <a:defRPr sz="1088" b="0">
                <a:solidFill>
                  <a:schemeClr val="tx1"/>
                </a:solidFill>
                <a:latin typeface="+mj-lt"/>
              </a:defRPr>
            </a:lvl2pPr>
            <a:lvl3pPr marL="0" indent="0">
              <a:lnSpc>
                <a:spcPct val="100000"/>
              </a:lnSpc>
              <a:spcAft>
                <a:spcPts val="0"/>
              </a:spcAft>
              <a:buNone/>
              <a:tabLst>
                <a:tab pos="164130" algn="l"/>
              </a:tabLst>
              <a:defRPr sz="907" b="0" baseline="0">
                <a:solidFill>
                  <a:schemeClr val="tx1"/>
                </a:solidFill>
              </a:defRPr>
            </a:lvl3pPr>
            <a:lvl8pPr>
              <a:defRPr/>
            </a:lvl8pPr>
          </a:lstStyle>
          <a:p>
            <a:pPr lvl="0"/>
            <a:r>
              <a:rPr lang="en-US" dirty="0"/>
              <a:t>Location</a:t>
            </a:r>
          </a:p>
        </p:txBody>
      </p:sp>
      <p:sp>
        <p:nvSpPr>
          <p:cNvPr id="55" name="CV Job title">
            <a:extLst>
              <a:ext uri="{FF2B5EF4-FFF2-40B4-BE49-F238E27FC236}">
                <a16:creationId xmlns:a16="http://schemas.microsoft.com/office/drawing/2014/main" id="{772FF201-40B5-4E17-8CF0-153C84440BE8}"/>
              </a:ext>
            </a:extLst>
          </p:cNvPr>
          <p:cNvSpPr>
            <a:spLocks noGrp="1"/>
          </p:cNvSpPr>
          <p:nvPr>
            <p:ph type="body" sz="quarter" idx="44" hasCustomPrompt="1"/>
          </p:nvPr>
        </p:nvSpPr>
        <p:spPr>
          <a:xfrm>
            <a:off x="1900245" y="1767589"/>
            <a:ext cx="2182202" cy="167490"/>
          </a:xfrm>
        </p:spPr>
        <p:txBody>
          <a:bodyPr lIns="54000" tIns="0">
            <a:noAutofit/>
          </a:bodyPr>
          <a:lstStyle>
            <a:lvl1pPr>
              <a:lnSpc>
                <a:spcPct val="100000"/>
              </a:lnSpc>
              <a:spcAft>
                <a:spcPts val="0"/>
              </a:spcAft>
              <a:defRPr sz="907" b="0">
                <a:solidFill>
                  <a:schemeClr val="tx1"/>
                </a:solidFill>
                <a:latin typeface="+mn-lt"/>
              </a:defRPr>
            </a:lvl1pPr>
            <a:lvl2pPr>
              <a:lnSpc>
                <a:spcPct val="100000"/>
              </a:lnSpc>
              <a:spcAft>
                <a:spcPts val="1088"/>
              </a:spcAft>
              <a:defRPr sz="1088" b="0">
                <a:solidFill>
                  <a:schemeClr val="tx1"/>
                </a:solidFill>
                <a:latin typeface="+mj-lt"/>
              </a:defRPr>
            </a:lvl2pPr>
            <a:lvl3pPr marL="0" indent="0">
              <a:lnSpc>
                <a:spcPct val="100000"/>
              </a:lnSpc>
              <a:spcAft>
                <a:spcPts val="0"/>
              </a:spcAft>
              <a:buNone/>
              <a:tabLst>
                <a:tab pos="164130" algn="l"/>
              </a:tabLst>
              <a:defRPr sz="907" b="0" baseline="0">
                <a:solidFill>
                  <a:schemeClr val="tx1"/>
                </a:solidFill>
              </a:defRPr>
            </a:lvl3pPr>
            <a:lvl8pPr>
              <a:defRPr/>
            </a:lvl8pPr>
          </a:lstStyle>
          <a:p>
            <a:pPr lvl="0"/>
            <a:r>
              <a:rPr lang="en-US" dirty="0"/>
              <a:t>Job title</a:t>
            </a:r>
          </a:p>
        </p:txBody>
      </p:sp>
      <p:sp>
        <p:nvSpPr>
          <p:cNvPr id="56" name="CV Name">
            <a:extLst>
              <a:ext uri="{FF2B5EF4-FFF2-40B4-BE49-F238E27FC236}">
                <a16:creationId xmlns:a16="http://schemas.microsoft.com/office/drawing/2014/main" id="{A540F68E-F2E4-4700-9D7D-D3BD3814B798}"/>
              </a:ext>
            </a:extLst>
          </p:cNvPr>
          <p:cNvSpPr>
            <a:spLocks noGrp="1"/>
          </p:cNvSpPr>
          <p:nvPr>
            <p:ph type="body" sz="quarter" idx="13" hasCustomPrompt="1"/>
          </p:nvPr>
        </p:nvSpPr>
        <p:spPr>
          <a:xfrm>
            <a:off x="1900245" y="1534879"/>
            <a:ext cx="2182202" cy="167490"/>
          </a:xfrm>
        </p:spPr>
        <p:txBody>
          <a:bodyPr lIns="54000" tIns="0">
            <a:noAutofit/>
          </a:bodyPr>
          <a:lstStyle>
            <a:lvl1pPr>
              <a:lnSpc>
                <a:spcPct val="100000"/>
              </a:lnSpc>
              <a:spcAft>
                <a:spcPts val="0"/>
              </a:spcAft>
              <a:defRPr sz="907" b="0">
                <a:solidFill>
                  <a:schemeClr val="accent1"/>
                </a:solidFill>
                <a:latin typeface="+mj-lt"/>
              </a:defRPr>
            </a:lvl1pPr>
            <a:lvl2pPr>
              <a:lnSpc>
                <a:spcPct val="100000"/>
              </a:lnSpc>
              <a:spcAft>
                <a:spcPts val="1088"/>
              </a:spcAft>
              <a:defRPr sz="1088" b="0">
                <a:solidFill>
                  <a:schemeClr val="tx1"/>
                </a:solidFill>
                <a:latin typeface="+mj-lt"/>
              </a:defRPr>
            </a:lvl2pPr>
            <a:lvl3pPr marL="0" indent="0">
              <a:lnSpc>
                <a:spcPct val="100000"/>
              </a:lnSpc>
              <a:spcAft>
                <a:spcPts val="0"/>
              </a:spcAft>
              <a:buNone/>
              <a:tabLst>
                <a:tab pos="164130" algn="l"/>
              </a:tabLst>
              <a:defRPr sz="907" b="0" baseline="0">
                <a:solidFill>
                  <a:schemeClr val="tx1"/>
                </a:solidFill>
              </a:defRPr>
            </a:lvl3pPr>
            <a:lvl8pPr>
              <a:defRPr/>
            </a:lvl8pPr>
          </a:lstStyle>
          <a:p>
            <a:pPr lvl="0"/>
            <a:r>
              <a:rPr lang="en-US" dirty="0"/>
              <a:t>Name</a:t>
            </a:r>
          </a:p>
        </p:txBody>
      </p:sp>
      <p:sp>
        <p:nvSpPr>
          <p:cNvPr id="58" name="CV Location">
            <a:extLst>
              <a:ext uri="{FF2B5EF4-FFF2-40B4-BE49-F238E27FC236}">
                <a16:creationId xmlns:a16="http://schemas.microsoft.com/office/drawing/2014/main" id="{786D6C67-F8BB-4036-9A12-4AD74AE9B664}"/>
              </a:ext>
            </a:extLst>
          </p:cNvPr>
          <p:cNvSpPr>
            <a:spLocks noGrp="1"/>
          </p:cNvSpPr>
          <p:nvPr>
            <p:ph type="body" sz="quarter" idx="104" hasCustomPrompt="1"/>
          </p:nvPr>
        </p:nvSpPr>
        <p:spPr>
          <a:xfrm>
            <a:off x="1900245" y="3195801"/>
            <a:ext cx="2182202" cy="139575"/>
          </a:xfrm>
        </p:spPr>
        <p:txBody>
          <a:bodyPr lIns="54000" tIns="0">
            <a:noAutofit/>
          </a:bodyPr>
          <a:lstStyle>
            <a:lvl1pPr>
              <a:lnSpc>
                <a:spcPct val="100000"/>
              </a:lnSpc>
              <a:spcAft>
                <a:spcPts val="0"/>
              </a:spcAft>
              <a:defRPr sz="816" b="0">
                <a:solidFill>
                  <a:schemeClr val="tx1"/>
                </a:solidFill>
                <a:latin typeface="+mn-lt"/>
              </a:defRPr>
            </a:lvl1pPr>
            <a:lvl2pPr>
              <a:lnSpc>
                <a:spcPct val="100000"/>
              </a:lnSpc>
              <a:spcAft>
                <a:spcPts val="1088"/>
              </a:spcAft>
              <a:defRPr sz="1088" b="0">
                <a:solidFill>
                  <a:schemeClr val="tx1"/>
                </a:solidFill>
                <a:latin typeface="+mj-lt"/>
              </a:defRPr>
            </a:lvl2pPr>
            <a:lvl3pPr marL="0" indent="0">
              <a:lnSpc>
                <a:spcPct val="100000"/>
              </a:lnSpc>
              <a:spcAft>
                <a:spcPts val="0"/>
              </a:spcAft>
              <a:buNone/>
              <a:tabLst>
                <a:tab pos="164130" algn="l"/>
              </a:tabLst>
              <a:defRPr sz="907" b="0" baseline="0">
                <a:solidFill>
                  <a:schemeClr val="tx1"/>
                </a:solidFill>
              </a:defRPr>
            </a:lvl3pPr>
            <a:lvl8pPr>
              <a:defRPr/>
            </a:lvl8pPr>
          </a:lstStyle>
          <a:p>
            <a:pPr lvl="0"/>
            <a:r>
              <a:rPr lang="en-US" dirty="0"/>
              <a:t>Location</a:t>
            </a:r>
          </a:p>
        </p:txBody>
      </p:sp>
      <p:sp>
        <p:nvSpPr>
          <p:cNvPr id="59" name="CV Job title">
            <a:extLst>
              <a:ext uri="{FF2B5EF4-FFF2-40B4-BE49-F238E27FC236}">
                <a16:creationId xmlns:a16="http://schemas.microsoft.com/office/drawing/2014/main" id="{0AF27D7A-8F32-4D33-8298-556618ADB2B4}"/>
              </a:ext>
            </a:extLst>
          </p:cNvPr>
          <p:cNvSpPr>
            <a:spLocks noGrp="1"/>
          </p:cNvSpPr>
          <p:nvPr>
            <p:ph type="body" sz="quarter" idx="105" hasCustomPrompt="1"/>
          </p:nvPr>
        </p:nvSpPr>
        <p:spPr>
          <a:xfrm>
            <a:off x="1900245" y="2914981"/>
            <a:ext cx="2182202" cy="167490"/>
          </a:xfrm>
        </p:spPr>
        <p:txBody>
          <a:bodyPr lIns="54000" tIns="0">
            <a:noAutofit/>
          </a:bodyPr>
          <a:lstStyle>
            <a:lvl1pPr>
              <a:lnSpc>
                <a:spcPct val="100000"/>
              </a:lnSpc>
              <a:spcAft>
                <a:spcPts val="0"/>
              </a:spcAft>
              <a:defRPr sz="907" b="0">
                <a:solidFill>
                  <a:schemeClr val="tx1"/>
                </a:solidFill>
                <a:latin typeface="+mn-lt"/>
              </a:defRPr>
            </a:lvl1pPr>
            <a:lvl2pPr>
              <a:lnSpc>
                <a:spcPct val="100000"/>
              </a:lnSpc>
              <a:spcAft>
                <a:spcPts val="1088"/>
              </a:spcAft>
              <a:defRPr sz="1088" b="0">
                <a:solidFill>
                  <a:schemeClr val="tx1"/>
                </a:solidFill>
                <a:latin typeface="+mj-lt"/>
              </a:defRPr>
            </a:lvl2pPr>
            <a:lvl3pPr marL="0" indent="0">
              <a:lnSpc>
                <a:spcPct val="100000"/>
              </a:lnSpc>
              <a:spcAft>
                <a:spcPts val="0"/>
              </a:spcAft>
              <a:buNone/>
              <a:tabLst>
                <a:tab pos="164130" algn="l"/>
              </a:tabLst>
              <a:defRPr sz="907" b="0" baseline="0">
                <a:solidFill>
                  <a:schemeClr val="tx1"/>
                </a:solidFill>
              </a:defRPr>
            </a:lvl3pPr>
            <a:lvl8pPr>
              <a:defRPr/>
            </a:lvl8pPr>
          </a:lstStyle>
          <a:p>
            <a:pPr lvl="0"/>
            <a:r>
              <a:rPr lang="en-US" dirty="0"/>
              <a:t>Job title</a:t>
            </a:r>
          </a:p>
        </p:txBody>
      </p:sp>
      <p:sp>
        <p:nvSpPr>
          <p:cNvPr id="61" name="CV Name">
            <a:extLst>
              <a:ext uri="{FF2B5EF4-FFF2-40B4-BE49-F238E27FC236}">
                <a16:creationId xmlns:a16="http://schemas.microsoft.com/office/drawing/2014/main" id="{32A719F2-3DF3-40FC-858D-412F4EB0D772}"/>
              </a:ext>
            </a:extLst>
          </p:cNvPr>
          <p:cNvSpPr>
            <a:spLocks noGrp="1"/>
          </p:cNvSpPr>
          <p:nvPr>
            <p:ph type="body" sz="quarter" idx="106" hasCustomPrompt="1"/>
          </p:nvPr>
        </p:nvSpPr>
        <p:spPr>
          <a:xfrm>
            <a:off x="1900245" y="2682271"/>
            <a:ext cx="2182202" cy="167490"/>
          </a:xfrm>
        </p:spPr>
        <p:txBody>
          <a:bodyPr lIns="54000" tIns="0">
            <a:noAutofit/>
          </a:bodyPr>
          <a:lstStyle>
            <a:lvl1pPr>
              <a:lnSpc>
                <a:spcPct val="100000"/>
              </a:lnSpc>
              <a:spcAft>
                <a:spcPts val="0"/>
              </a:spcAft>
              <a:defRPr sz="907" b="0">
                <a:solidFill>
                  <a:schemeClr val="accent1"/>
                </a:solidFill>
                <a:latin typeface="+mj-lt"/>
              </a:defRPr>
            </a:lvl1pPr>
            <a:lvl2pPr>
              <a:lnSpc>
                <a:spcPct val="100000"/>
              </a:lnSpc>
              <a:spcAft>
                <a:spcPts val="1088"/>
              </a:spcAft>
              <a:defRPr sz="1088" b="0">
                <a:solidFill>
                  <a:schemeClr val="tx1"/>
                </a:solidFill>
                <a:latin typeface="+mj-lt"/>
              </a:defRPr>
            </a:lvl2pPr>
            <a:lvl3pPr marL="0" indent="0">
              <a:lnSpc>
                <a:spcPct val="100000"/>
              </a:lnSpc>
              <a:spcAft>
                <a:spcPts val="0"/>
              </a:spcAft>
              <a:buNone/>
              <a:tabLst>
                <a:tab pos="164130" algn="l"/>
              </a:tabLst>
              <a:defRPr sz="907" b="0" baseline="0">
                <a:solidFill>
                  <a:schemeClr val="tx1"/>
                </a:solidFill>
              </a:defRPr>
            </a:lvl3pPr>
            <a:lvl8pPr>
              <a:defRPr/>
            </a:lvl8pPr>
          </a:lstStyle>
          <a:p>
            <a:pPr lvl="0"/>
            <a:r>
              <a:rPr lang="en-US" dirty="0"/>
              <a:t>Name</a:t>
            </a:r>
          </a:p>
        </p:txBody>
      </p:sp>
      <p:sp>
        <p:nvSpPr>
          <p:cNvPr id="62" name="CV Location">
            <a:extLst>
              <a:ext uri="{FF2B5EF4-FFF2-40B4-BE49-F238E27FC236}">
                <a16:creationId xmlns:a16="http://schemas.microsoft.com/office/drawing/2014/main" id="{A24DF564-FA3C-4536-9A76-EA7139569B61}"/>
              </a:ext>
            </a:extLst>
          </p:cNvPr>
          <p:cNvSpPr>
            <a:spLocks noGrp="1"/>
          </p:cNvSpPr>
          <p:nvPr>
            <p:ph type="body" sz="quarter" idx="107" hasCustomPrompt="1"/>
          </p:nvPr>
        </p:nvSpPr>
        <p:spPr>
          <a:xfrm>
            <a:off x="1900245" y="4356098"/>
            <a:ext cx="2182202" cy="139575"/>
          </a:xfrm>
        </p:spPr>
        <p:txBody>
          <a:bodyPr lIns="54000" tIns="0">
            <a:noAutofit/>
          </a:bodyPr>
          <a:lstStyle>
            <a:lvl1pPr>
              <a:lnSpc>
                <a:spcPct val="100000"/>
              </a:lnSpc>
              <a:spcAft>
                <a:spcPts val="0"/>
              </a:spcAft>
              <a:defRPr sz="816" b="0">
                <a:solidFill>
                  <a:schemeClr val="tx1"/>
                </a:solidFill>
                <a:latin typeface="+mn-lt"/>
              </a:defRPr>
            </a:lvl1pPr>
            <a:lvl2pPr>
              <a:lnSpc>
                <a:spcPct val="100000"/>
              </a:lnSpc>
              <a:spcAft>
                <a:spcPts val="1088"/>
              </a:spcAft>
              <a:defRPr sz="1088" b="0">
                <a:solidFill>
                  <a:schemeClr val="tx1"/>
                </a:solidFill>
                <a:latin typeface="+mj-lt"/>
              </a:defRPr>
            </a:lvl2pPr>
            <a:lvl3pPr marL="0" indent="0">
              <a:lnSpc>
                <a:spcPct val="100000"/>
              </a:lnSpc>
              <a:spcAft>
                <a:spcPts val="0"/>
              </a:spcAft>
              <a:buNone/>
              <a:tabLst>
                <a:tab pos="164130" algn="l"/>
              </a:tabLst>
              <a:defRPr sz="907" b="0" baseline="0">
                <a:solidFill>
                  <a:schemeClr val="tx1"/>
                </a:solidFill>
              </a:defRPr>
            </a:lvl3pPr>
            <a:lvl8pPr>
              <a:defRPr/>
            </a:lvl8pPr>
          </a:lstStyle>
          <a:p>
            <a:pPr lvl="0"/>
            <a:r>
              <a:rPr lang="en-US" dirty="0"/>
              <a:t>Location</a:t>
            </a:r>
          </a:p>
        </p:txBody>
      </p:sp>
      <p:sp>
        <p:nvSpPr>
          <p:cNvPr id="63" name="CV Job title">
            <a:extLst>
              <a:ext uri="{FF2B5EF4-FFF2-40B4-BE49-F238E27FC236}">
                <a16:creationId xmlns:a16="http://schemas.microsoft.com/office/drawing/2014/main" id="{6BFFD46B-950D-4D6B-BEB1-5279515626E8}"/>
              </a:ext>
            </a:extLst>
          </p:cNvPr>
          <p:cNvSpPr>
            <a:spLocks noGrp="1"/>
          </p:cNvSpPr>
          <p:nvPr>
            <p:ph type="body" sz="quarter" idx="108" hasCustomPrompt="1"/>
          </p:nvPr>
        </p:nvSpPr>
        <p:spPr>
          <a:xfrm>
            <a:off x="1900245" y="4075278"/>
            <a:ext cx="2182202" cy="167490"/>
          </a:xfrm>
        </p:spPr>
        <p:txBody>
          <a:bodyPr lIns="54000" tIns="0">
            <a:noAutofit/>
          </a:bodyPr>
          <a:lstStyle>
            <a:lvl1pPr>
              <a:lnSpc>
                <a:spcPct val="100000"/>
              </a:lnSpc>
              <a:spcAft>
                <a:spcPts val="0"/>
              </a:spcAft>
              <a:defRPr sz="907" b="0">
                <a:solidFill>
                  <a:schemeClr val="tx1"/>
                </a:solidFill>
                <a:latin typeface="+mn-lt"/>
              </a:defRPr>
            </a:lvl1pPr>
            <a:lvl2pPr>
              <a:lnSpc>
                <a:spcPct val="100000"/>
              </a:lnSpc>
              <a:spcAft>
                <a:spcPts val="1088"/>
              </a:spcAft>
              <a:defRPr sz="1088" b="0">
                <a:solidFill>
                  <a:schemeClr val="tx1"/>
                </a:solidFill>
                <a:latin typeface="+mj-lt"/>
              </a:defRPr>
            </a:lvl2pPr>
            <a:lvl3pPr marL="0" indent="0">
              <a:lnSpc>
                <a:spcPct val="100000"/>
              </a:lnSpc>
              <a:spcAft>
                <a:spcPts val="0"/>
              </a:spcAft>
              <a:buNone/>
              <a:tabLst>
                <a:tab pos="164130" algn="l"/>
              </a:tabLst>
              <a:defRPr sz="907" b="0" baseline="0">
                <a:solidFill>
                  <a:schemeClr val="tx1"/>
                </a:solidFill>
              </a:defRPr>
            </a:lvl3pPr>
            <a:lvl8pPr>
              <a:defRPr/>
            </a:lvl8pPr>
          </a:lstStyle>
          <a:p>
            <a:pPr lvl="0"/>
            <a:r>
              <a:rPr lang="en-US" dirty="0"/>
              <a:t>Job title</a:t>
            </a:r>
          </a:p>
        </p:txBody>
      </p:sp>
      <p:sp>
        <p:nvSpPr>
          <p:cNvPr id="65" name="CV Name">
            <a:extLst>
              <a:ext uri="{FF2B5EF4-FFF2-40B4-BE49-F238E27FC236}">
                <a16:creationId xmlns:a16="http://schemas.microsoft.com/office/drawing/2014/main" id="{554A4A13-34CB-414E-954A-8F41DF684EE0}"/>
              </a:ext>
            </a:extLst>
          </p:cNvPr>
          <p:cNvSpPr>
            <a:spLocks noGrp="1"/>
          </p:cNvSpPr>
          <p:nvPr>
            <p:ph type="body" sz="quarter" idx="109" hasCustomPrompt="1"/>
          </p:nvPr>
        </p:nvSpPr>
        <p:spPr>
          <a:xfrm>
            <a:off x="1900245" y="3842568"/>
            <a:ext cx="2182202" cy="167490"/>
          </a:xfrm>
        </p:spPr>
        <p:txBody>
          <a:bodyPr lIns="54000" tIns="0">
            <a:noAutofit/>
          </a:bodyPr>
          <a:lstStyle>
            <a:lvl1pPr>
              <a:lnSpc>
                <a:spcPct val="100000"/>
              </a:lnSpc>
              <a:spcAft>
                <a:spcPts val="0"/>
              </a:spcAft>
              <a:defRPr sz="907" b="0">
                <a:solidFill>
                  <a:schemeClr val="accent1"/>
                </a:solidFill>
                <a:latin typeface="+mj-lt"/>
              </a:defRPr>
            </a:lvl1pPr>
            <a:lvl2pPr>
              <a:lnSpc>
                <a:spcPct val="100000"/>
              </a:lnSpc>
              <a:spcAft>
                <a:spcPts val="1088"/>
              </a:spcAft>
              <a:defRPr sz="1088" b="0">
                <a:solidFill>
                  <a:schemeClr val="tx1"/>
                </a:solidFill>
                <a:latin typeface="+mj-lt"/>
              </a:defRPr>
            </a:lvl2pPr>
            <a:lvl3pPr marL="0" indent="0">
              <a:lnSpc>
                <a:spcPct val="100000"/>
              </a:lnSpc>
              <a:spcAft>
                <a:spcPts val="0"/>
              </a:spcAft>
              <a:buNone/>
              <a:tabLst>
                <a:tab pos="164130" algn="l"/>
              </a:tabLst>
              <a:defRPr sz="907" b="0" baseline="0">
                <a:solidFill>
                  <a:schemeClr val="tx1"/>
                </a:solidFill>
              </a:defRPr>
            </a:lvl3pPr>
            <a:lvl8pPr>
              <a:defRPr/>
            </a:lvl8pPr>
          </a:lstStyle>
          <a:p>
            <a:pPr lvl="0"/>
            <a:r>
              <a:rPr lang="en-US" dirty="0"/>
              <a:t>Name</a:t>
            </a:r>
          </a:p>
        </p:txBody>
      </p:sp>
      <p:sp>
        <p:nvSpPr>
          <p:cNvPr id="66" name="CV Location">
            <a:extLst>
              <a:ext uri="{FF2B5EF4-FFF2-40B4-BE49-F238E27FC236}">
                <a16:creationId xmlns:a16="http://schemas.microsoft.com/office/drawing/2014/main" id="{96ECB431-5577-4175-B743-82EA9283154F}"/>
              </a:ext>
            </a:extLst>
          </p:cNvPr>
          <p:cNvSpPr>
            <a:spLocks noGrp="1"/>
          </p:cNvSpPr>
          <p:nvPr>
            <p:ph type="body" sz="quarter" idx="110" hasCustomPrompt="1"/>
          </p:nvPr>
        </p:nvSpPr>
        <p:spPr>
          <a:xfrm>
            <a:off x="1900245" y="5492343"/>
            <a:ext cx="2182202" cy="139575"/>
          </a:xfrm>
        </p:spPr>
        <p:txBody>
          <a:bodyPr lIns="54000" tIns="0">
            <a:noAutofit/>
          </a:bodyPr>
          <a:lstStyle>
            <a:lvl1pPr>
              <a:lnSpc>
                <a:spcPct val="100000"/>
              </a:lnSpc>
              <a:spcAft>
                <a:spcPts val="0"/>
              </a:spcAft>
              <a:defRPr sz="816" b="0">
                <a:solidFill>
                  <a:schemeClr val="tx1"/>
                </a:solidFill>
                <a:latin typeface="+mn-lt"/>
              </a:defRPr>
            </a:lvl1pPr>
            <a:lvl2pPr>
              <a:lnSpc>
                <a:spcPct val="100000"/>
              </a:lnSpc>
              <a:spcAft>
                <a:spcPts val="1088"/>
              </a:spcAft>
              <a:defRPr sz="1088" b="0">
                <a:solidFill>
                  <a:schemeClr val="tx1"/>
                </a:solidFill>
                <a:latin typeface="+mj-lt"/>
              </a:defRPr>
            </a:lvl2pPr>
            <a:lvl3pPr marL="0" indent="0">
              <a:lnSpc>
                <a:spcPct val="100000"/>
              </a:lnSpc>
              <a:spcAft>
                <a:spcPts val="0"/>
              </a:spcAft>
              <a:buNone/>
              <a:tabLst>
                <a:tab pos="164130" algn="l"/>
              </a:tabLst>
              <a:defRPr sz="907" b="0" baseline="0">
                <a:solidFill>
                  <a:schemeClr val="tx1"/>
                </a:solidFill>
              </a:defRPr>
            </a:lvl3pPr>
            <a:lvl8pPr>
              <a:defRPr/>
            </a:lvl8pPr>
          </a:lstStyle>
          <a:p>
            <a:pPr lvl="0"/>
            <a:r>
              <a:rPr lang="en-US" dirty="0"/>
              <a:t>Location</a:t>
            </a:r>
          </a:p>
        </p:txBody>
      </p:sp>
      <p:sp>
        <p:nvSpPr>
          <p:cNvPr id="68" name="CV Job title">
            <a:extLst>
              <a:ext uri="{FF2B5EF4-FFF2-40B4-BE49-F238E27FC236}">
                <a16:creationId xmlns:a16="http://schemas.microsoft.com/office/drawing/2014/main" id="{7C442EAC-A02D-4681-8B33-14014B5790A4}"/>
              </a:ext>
            </a:extLst>
          </p:cNvPr>
          <p:cNvSpPr>
            <a:spLocks noGrp="1"/>
          </p:cNvSpPr>
          <p:nvPr>
            <p:ph type="body" sz="quarter" idx="111" hasCustomPrompt="1"/>
          </p:nvPr>
        </p:nvSpPr>
        <p:spPr>
          <a:xfrm>
            <a:off x="1900245" y="5211523"/>
            <a:ext cx="2182202" cy="167490"/>
          </a:xfrm>
        </p:spPr>
        <p:txBody>
          <a:bodyPr lIns="54000" tIns="0">
            <a:noAutofit/>
          </a:bodyPr>
          <a:lstStyle>
            <a:lvl1pPr>
              <a:lnSpc>
                <a:spcPct val="100000"/>
              </a:lnSpc>
              <a:spcAft>
                <a:spcPts val="0"/>
              </a:spcAft>
              <a:defRPr sz="907" b="0">
                <a:solidFill>
                  <a:schemeClr val="tx1"/>
                </a:solidFill>
                <a:latin typeface="+mn-lt"/>
              </a:defRPr>
            </a:lvl1pPr>
            <a:lvl2pPr>
              <a:lnSpc>
                <a:spcPct val="100000"/>
              </a:lnSpc>
              <a:spcAft>
                <a:spcPts val="1088"/>
              </a:spcAft>
              <a:defRPr sz="1088" b="0">
                <a:solidFill>
                  <a:schemeClr val="tx1"/>
                </a:solidFill>
                <a:latin typeface="+mj-lt"/>
              </a:defRPr>
            </a:lvl2pPr>
            <a:lvl3pPr marL="0" indent="0">
              <a:lnSpc>
                <a:spcPct val="100000"/>
              </a:lnSpc>
              <a:spcAft>
                <a:spcPts val="0"/>
              </a:spcAft>
              <a:buNone/>
              <a:tabLst>
                <a:tab pos="164130" algn="l"/>
              </a:tabLst>
              <a:defRPr sz="907" b="0" baseline="0">
                <a:solidFill>
                  <a:schemeClr val="tx1"/>
                </a:solidFill>
              </a:defRPr>
            </a:lvl3pPr>
            <a:lvl8pPr>
              <a:defRPr/>
            </a:lvl8pPr>
          </a:lstStyle>
          <a:p>
            <a:pPr lvl="0"/>
            <a:r>
              <a:rPr lang="en-US" dirty="0"/>
              <a:t>Job title</a:t>
            </a:r>
          </a:p>
        </p:txBody>
      </p:sp>
      <p:sp>
        <p:nvSpPr>
          <p:cNvPr id="69" name="CV Name">
            <a:extLst>
              <a:ext uri="{FF2B5EF4-FFF2-40B4-BE49-F238E27FC236}">
                <a16:creationId xmlns:a16="http://schemas.microsoft.com/office/drawing/2014/main" id="{D4C1E388-CE09-4287-9D7B-6F3A99D72F6E}"/>
              </a:ext>
            </a:extLst>
          </p:cNvPr>
          <p:cNvSpPr>
            <a:spLocks noGrp="1"/>
          </p:cNvSpPr>
          <p:nvPr>
            <p:ph type="body" sz="quarter" idx="112" hasCustomPrompt="1"/>
          </p:nvPr>
        </p:nvSpPr>
        <p:spPr>
          <a:xfrm>
            <a:off x="1900245" y="4978813"/>
            <a:ext cx="2182202" cy="167490"/>
          </a:xfrm>
        </p:spPr>
        <p:txBody>
          <a:bodyPr lIns="54000" tIns="0">
            <a:noAutofit/>
          </a:bodyPr>
          <a:lstStyle>
            <a:lvl1pPr>
              <a:lnSpc>
                <a:spcPct val="100000"/>
              </a:lnSpc>
              <a:spcAft>
                <a:spcPts val="0"/>
              </a:spcAft>
              <a:defRPr sz="907" b="0">
                <a:solidFill>
                  <a:schemeClr val="accent1"/>
                </a:solidFill>
                <a:latin typeface="+mj-lt"/>
              </a:defRPr>
            </a:lvl1pPr>
            <a:lvl2pPr>
              <a:lnSpc>
                <a:spcPct val="100000"/>
              </a:lnSpc>
              <a:spcAft>
                <a:spcPts val="1088"/>
              </a:spcAft>
              <a:defRPr sz="1088" b="0">
                <a:solidFill>
                  <a:schemeClr val="tx1"/>
                </a:solidFill>
                <a:latin typeface="+mj-lt"/>
              </a:defRPr>
            </a:lvl2pPr>
            <a:lvl3pPr marL="0" indent="0">
              <a:lnSpc>
                <a:spcPct val="100000"/>
              </a:lnSpc>
              <a:spcAft>
                <a:spcPts val="0"/>
              </a:spcAft>
              <a:buNone/>
              <a:tabLst>
                <a:tab pos="164130" algn="l"/>
              </a:tabLst>
              <a:defRPr sz="907" b="0" baseline="0">
                <a:solidFill>
                  <a:schemeClr val="tx1"/>
                </a:solidFill>
              </a:defRPr>
            </a:lvl3pPr>
            <a:lvl8pPr>
              <a:defRPr/>
            </a:lvl8pPr>
          </a:lstStyle>
          <a:p>
            <a:pPr lvl="0"/>
            <a:r>
              <a:rPr lang="en-US" dirty="0"/>
              <a:t>Name</a:t>
            </a:r>
          </a:p>
        </p:txBody>
      </p:sp>
      <p:sp>
        <p:nvSpPr>
          <p:cNvPr id="70" name="CV Location">
            <a:extLst>
              <a:ext uri="{FF2B5EF4-FFF2-40B4-BE49-F238E27FC236}">
                <a16:creationId xmlns:a16="http://schemas.microsoft.com/office/drawing/2014/main" id="{4D30E72C-F48C-4340-89FB-E77F037AD7EF}"/>
              </a:ext>
            </a:extLst>
          </p:cNvPr>
          <p:cNvSpPr>
            <a:spLocks noGrp="1"/>
          </p:cNvSpPr>
          <p:nvPr>
            <p:ph type="body" sz="quarter" idx="113" hasCustomPrompt="1"/>
          </p:nvPr>
        </p:nvSpPr>
        <p:spPr>
          <a:xfrm>
            <a:off x="5596127" y="2048409"/>
            <a:ext cx="2182202" cy="139575"/>
          </a:xfrm>
        </p:spPr>
        <p:txBody>
          <a:bodyPr lIns="54000" tIns="0">
            <a:noAutofit/>
          </a:bodyPr>
          <a:lstStyle>
            <a:lvl1pPr>
              <a:lnSpc>
                <a:spcPct val="100000"/>
              </a:lnSpc>
              <a:spcAft>
                <a:spcPts val="0"/>
              </a:spcAft>
              <a:defRPr sz="816" b="0">
                <a:solidFill>
                  <a:schemeClr val="tx1"/>
                </a:solidFill>
                <a:latin typeface="+mn-lt"/>
              </a:defRPr>
            </a:lvl1pPr>
            <a:lvl2pPr>
              <a:lnSpc>
                <a:spcPct val="100000"/>
              </a:lnSpc>
              <a:spcAft>
                <a:spcPts val="1088"/>
              </a:spcAft>
              <a:defRPr sz="1088" b="0">
                <a:solidFill>
                  <a:schemeClr val="tx1"/>
                </a:solidFill>
                <a:latin typeface="+mj-lt"/>
              </a:defRPr>
            </a:lvl2pPr>
            <a:lvl3pPr marL="0" indent="0">
              <a:lnSpc>
                <a:spcPct val="100000"/>
              </a:lnSpc>
              <a:spcAft>
                <a:spcPts val="0"/>
              </a:spcAft>
              <a:buNone/>
              <a:tabLst>
                <a:tab pos="164130" algn="l"/>
              </a:tabLst>
              <a:defRPr sz="907" b="0" baseline="0">
                <a:solidFill>
                  <a:schemeClr val="tx1"/>
                </a:solidFill>
              </a:defRPr>
            </a:lvl3pPr>
            <a:lvl8pPr>
              <a:defRPr/>
            </a:lvl8pPr>
          </a:lstStyle>
          <a:p>
            <a:pPr lvl="0"/>
            <a:r>
              <a:rPr lang="en-US" dirty="0"/>
              <a:t>Location</a:t>
            </a:r>
          </a:p>
        </p:txBody>
      </p:sp>
      <p:sp>
        <p:nvSpPr>
          <p:cNvPr id="71" name="CV Job title">
            <a:extLst>
              <a:ext uri="{FF2B5EF4-FFF2-40B4-BE49-F238E27FC236}">
                <a16:creationId xmlns:a16="http://schemas.microsoft.com/office/drawing/2014/main" id="{5CD1CE2C-1893-4C97-986B-C3F8E7E99CBC}"/>
              </a:ext>
            </a:extLst>
          </p:cNvPr>
          <p:cNvSpPr>
            <a:spLocks noGrp="1"/>
          </p:cNvSpPr>
          <p:nvPr>
            <p:ph type="body" sz="quarter" idx="114" hasCustomPrompt="1"/>
          </p:nvPr>
        </p:nvSpPr>
        <p:spPr>
          <a:xfrm>
            <a:off x="5596127" y="1767589"/>
            <a:ext cx="2182202" cy="167490"/>
          </a:xfrm>
        </p:spPr>
        <p:txBody>
          <a:bodyPr lIns="54000" tIns="0">
            <a:noAutofit/>
          </a:bodyPr>
          <a:lstStyle>
            <a:lvl1pPr>
              <a:lnSpc>
                <a:spcPct val="100000"/>
              </a:lnSpc>
              <a:spcAft>
                <a:spcPts val="0"/>
              </a:spcAft>
              <a:defRPr sz="907" b="0">
                <a:solidFill>
                  <a:schemeClr val="tx1"/>
                </a:solidFill>
                <a:latin typeface="+mn-lt"/>
              </a:defRPr>
            </a:lvl1pPr>
            <a:lvl2pPr>
              <a:lnSpc>
                <a:spcPct val="100000"/>
              </a:lnSpc>
              <a:spcAft>
                <a:spcPts val="1088"/>
              </a:spcAft>
              <a:defRPr sz="1088" b="0">
                <a:solidFill>
                  <a:schemeClr val="tx1"/>
                </a:solidFill>
                <a:latin typeface="+mj-lt"/>
              </a:defRPr>
            </a:lvl2pPr>
            <a:lvl3pPr marL="0" indent="0">
              <a:lnSpc>
                <a:spcPct val="100000"/>
              </a:lnSpc>
              <a:spcAft>
                <a:spcPts val="0"/>
              </a:spcAft>
              <a:buNone/>
              <a:tabLst>
                <a:tab pos="164130" algn="l"/>
              </a:tabLst>
              <a:defRPr sz="907" b="0" baseline="0">
                <a:solidFill>
                  <a:schemeClr val="tx1"/>
                </a:solidFill>
              </a:defRPr>
            </a:lvl3pPr>
            <a:lvl8pPr>
              <a:defRPr/>
            </a:lvl8pPr>
          </a:lstStyle>
          <a:p>
            <a:pPr lvl="0"/>
            <a:r>
              <a:rPr lang="en-US" dirty="0"/>
              <a:t>Job title</a:t>
            </a:r>
          </a:p>
        </p:txBody>
      </p:sp>
      <p:sp>
        <p:nvSpPr>
          <p:cNvPr id="72" name="CV Name">
            <a:extLst>
              <a:ext uri="{FF2B5EF4-FFF2-40B4-BE49-F238E27FC236}">
                <a16:creationId xmlns:a16="http://schemas.microsoft.com/office/drawing/2014/main" id="{34B99594-C486-4472-89A2-1C9BD316CEB7}"/>
              </a:ext>
            </a:extLst>
          </p:cNvPr>
          <p:cNvSpPr>
            <a:spLocks noGrp="1"/>
          </p:cNvSpPr>
          <p:nvPr>
            <p:ph type="body" sz="quarter" idx="115" hasCustomPrompt="1"/>
          </p:nvPr>
        </p:nvSpPr>
        <p:spPr>
          <a:xfrm>
            <a:off x="5596127" y="1534879"/>
            <a:ext cx="2182202" cy="167490"/>
          </a:xfrm>
        </p:spPr>
        <p:txBody>
          <a:bodyPr lIns="54000" tIns="0">
            <a:noAutofit/>
          </a:bodyPr>
          <a:lstStyle>
            <a:lvl1pPr>
              <a:lnSpc>
                <a:spcPct val="100000"/>
              </a:lnSpc>
              <a:spcAft>
                <a:spcPts val="0"/>
              </a:spcAft>
              <a:defRPr sz="907" b="0">
                <a:solidFill>
                  <a:schemeClr val="accent1"/>
                </a:solidFill>
                <a:latin typeface="+mj-lt"/>
              </a:defRPr>
            </a:lvl1pPr>
            <a:lvl2pPr>
              <a:lnSpc>
                <a:spcPct val="100000"/>
              </a:lnSpc>
              <a:spcAft>
                <a:spcPts val="1088"/>
              </a:spcAft>
              <a:defRPr sz="1088" b="0">
                <a:solidFill>
                  <a:schemeClr val="tx1"/>
                </a:solidFill>
                <a:latin typeface="+mj-lt"/>
              </a:defRPr>
            </a:lvl2pPr>
            <a:lvl3pPr marL="0" indent="0">
              <a:lnSpc>
                <a:spcPct val="100000"/>
              </a:lnSpc>
              <a:spcAft>
                <a:spcPts val="0"/>
              </a:spcAft>
              <a:buNone/>
              <a:tabLst>
                <a:tab pos="164130" algn="l"/>
              </a:tabLst>
              <a:defRPr sz="907" b="0" baseline="0">
                <a:solidFill>
                  <a:schemeClr val="tx1"/>
                </a:solidFill>
              </a:defRPr>
            </a:lvl3pPr>
            <a:lvl8pPr>
              <a:defRPr/>
            </a:lvl8pPr>
          </a:lstStyle>
          <a:p>
            <a:pPr lvl="0"/>
            <a:r>
              <a:rPr lang="en-US" dirty="0"/>
              <a:t>Name</a:t>
            </a:r>
          </a:p>
        </p:txBody>
      </p:sp>
      <p:sp>
        <p:nvSpPr>
          <p:cNvPr id="73" name="CV Location">
            <a:extLst>
              <a:ext uri="{FF2B5EF4-FFF2-40B4-BE49-F238E27FC236}">
                <a16:creationId xmlns:a16="http://schemas.microsoft.com/office/drawing/2014/main" id="{5D2B2263-4BE6-4F66-B8FD-113CB5C6536B}"/>
              </a:ext>
            </a:extLst>
          </p:cNvPr>
          <p:cNvSpPr>
            <a:spLocks noGrp="1"/>
          </p:cNvSpPr>
          <p:nvPr>
            <p:ph type="body" sz="quarter" idx="116" hasCustomPrompt="1"/>
          </p:nvPr>
        </p:nvSpPr>
        <p:spPr>
          <a:xfrm>
            <a:off x="5596127" y="3195801"/>
            <a:ext cx="2182202" cy="139575"/>
          </a:xfrm>
        </p:spPr>
        <p:txBody>
          <a:bodyPr lIns="54000" tIns="0">
            <a:noAutofit/>
          </a:bodyPr>
          <a:lstStyle>
            <a:lvl1pPr>
              <a:lnSpc>
                <a:spcPct val="100000"/>
              </a:lnSpc>
              <a:spcAft>
                <a:spcPts val="0"/>
              </a:spcAft>
              <a:defRPr sz="816" b="0">
                <a:solidFill>
                  <a:schemeClr val="tx1"/>
                </a:solidFill>
                <a:latin typeface="+mn-lt"/>
              </a:defRPr>
            </a:lvl1pPr>
            <a:lvl2pPr>
              <a:lnSpc>
                <a:spcPct val="100000"/>
              </a:lnSpc>
              <a:spcAft>
                <a:spcPts val="1088"/>
              </a:spcAft>
              <a:defRPr sz="1088" b="0">
                <a:solidFill>
                  <a:schemeClr val="tx1"/>
                </a:solidFill>
                <a:latin typeface="+mj-lt"/>
              </a:defRPr>
            </a:lvl2pPr>
            <a:lvl3pPr marL="0" indent="0">
              <a:lnSpc>
                <a:spcPct val="100000"/>
              </a:lnSpc>
              <a:spcAft>
                <a:spcPts val="0"/>
              </a:spcAft>
              <a:buNone/>
              <a:tabLst>
                <a:tab pos="164130" algn="l"/>
              </a:tabLst>
              <a:defRPr sz="907" b="0" baseline="0">
                <a:solidFill>
                  <a:schemeClr val="tx1"/>
                </a:solidFill>
              </a:defRPr>
            </a:lvl3pPr>
            <a:lvl8pPr>
              <a:defRPr/>
            </a:lvl8pPr>
          </a:lstStyle>
          <a:p>
            <a:pPr lvl="0"/>
            <a:r>
              <a:rPr lang="en-US" dirty="0"/>
              <a:t>Location</a:t>
            </a:r>
          </a:p>
        </p:txBody>
      </p:sp>
      <p:sp>
        <p:nvSpPr>
          <p:cNvPr id="74" name="CV Job title">
            <a:extLst>
              <a:ext uri="{FF2B5EF4-FFF2-40B4-BE49-F238E27FC236}">
                <a16:creationId xmlns:a16="http://schemas.microsoft.com/office/drawing/2014/main" id="{203B4284-14F4-4C57-9E09-705C8F6183B8}"/>
              </a:ext>
            </a:extLst>
          </p:cNvPr>
          <p:cNvSpPr>
            <a:spLocks noGrp="1"/>
          </p:cNvSpPr>
          <p:nvPr>
            <p:ph type="body" sz="quarter" idx="117" hasCustomPrompt="1"/>
          </p:nvPr>
        </p:nvSpPr>
        <p:spPr>
          <a:xfrm>
            <a:off x="5596127" y="2914981"/>
            <a:ext cx="2182202" cy="167490"/>
          </a:xfrm>
        </p:spPr>
        <p:txBody>
          <a:bodyPr lIns="54000" tIns="0">
            <a:noAutofit/>
          </a:bodyPr>
          <a:lstStyle>
            <a:lvl1pPr>
              <a:lnSpc>
                <a:spcPct val="100000"/>
              </a:lnSpc>
              <a:spcAft>
                <a:spcPts val="0"/>
              </a:spcAft>
              <a:defRPr sz="907" b="0">
                <a:solidFill>
                  <a:schemeClr val="tx1"/>
                </a:solidFill>
                <a:latin typeface="+mn-lt"/>
              </a:defRPr>
            </a:lvl1pPr>
            <a:lvl2pPr>
              <a:lnSpc>
                <a:spcPct val="100000"/>
              </a:lnSpc>
              <a:spcAft>
                <a:spcPts val="1088"/>
              </a:spcAft>
              <a:defRPr sz="1088" b="0">
                <a:solidFill>
                  <a:schemeClr val="tx1"/>
                </a:solidFill>
                <a:latin typeface="+mj-lt"/>
              </a:defRPr>
            </a:lvl2pPr>
            <a:lvl3pPr marL="0" indent="0">
              <a:lnSpc>
                <a:spcPct val="100000"/>
              </a:lnSpc>
              <a:spcAft>
                <a:spcPts val="0"/>
              </a:spcAft>
              <a:buNone/>
              <a:tabLst>
                <a:tab pos="164130" algn="l"/>
              </a:tabLst>
              <a:defRPr sz="907" b="0" baseline="0">
                <a:solidFill>
                  <a:schemeClr val="tx1"/>
                </a:solidFill>
              </a:defRPr>
            </a:lvl3pPr>
            <a:lvl8pPr>
              <a:defRPr/>
            </a:lvl8pPr>
          </a:lstStyle>
          <a:p>
            <a:pPr lvl="0"/>
            <a:r>
              <a:rPr lang="en-US" dirty="0"/>
              <a:t>Job title</a:t>
            </a:r>
          </a:p>
        </p:txBody>
      </p:sp>
      <p:sp>
        <p:nvSpPr>
          <p:cNvPr id="75" name="CV Name">
            <a:extLst>
              <a:ext uri="{FF2B5EF4-FFF2-40B4-BE49-F238E27FC236}">
                <a16:creationId xmlns:a16="http://schemas.microsoft.com/office/drawing/2014/main" id="{9D40D3CA-C153-4F92-9C69-79A82127BF8F}"/>
              </a:ext>
            </a:extLst>
          </p:cNvPr>
          <p:cNvSpPr>
            <a:spLocks noGrp="1"/>
          </p:cNvSpPr>
          <p:nvPr>
            <p:ph type="body" sz="quarter" idx="118" hasCustomPrompt="1"/>
          </p:nvPr>
        </p:nvSpPr>
        <p:spPr>
          <a:xfrm>
            <a:off x="5596127" y="2682271"/>
            <a:ext cx="2182202" cy="167490"/>
          </a:xfrm>
        </p:spPr>
        <p:txBody>
          <a:bodyPr lIns="54000" tIns="0">
            <a:noAutofit/>
          </a:bodyPr>
          <a:lstStyle>
            <a:lvl1pPr>
              <a:lnSpc>
                <a:spcPct val="100000"/>
              </a:lnSpc>
              <a:spcAft>
                <a:spcPts val="0"/>
              </a:spcAft>
              <a:defRPr sz="907" b="0">
                <a:solidFill>
                  <a:schemeClr val="accent1"/>
                </a:solidFill>
                <a:latin typeface="+mj-lt"/>
              </a:defRPr>
            </a:lvl1pPr>
            <a:lvl2pPr>
              <a:lnSpc>
                <a:spcPct val="100000"/>
              </a:lnSpc>
              <a:spcAft>
                <a:spcPts val="1088"/>
              </a:spcAft>
              <a:defRPr sz="1088" b="0">
                <a:solidFill>
                  <a:schemeClr val="tx1"/>
                </a:solidFill>
                <a:latin typeface="+mj-lt"/>
              </a:defRPr>
            </a:lvl2pPr>
            <a:lvl3pPr marL="0" indent="0">
              <a:lnSpc>
                <a:spcPct val="100000"/>
              </a:lnSpc>
              <a:spcAft>
                <a:spcPts val="0"/>
              </a:spcAft>
              <a:buNone/>
              <a:tabLst>
                <a:tab pos="164130" algn="l"/>
              </a:tabLst>
              <a:defRPr sz="907" b="0" baseline="0">
                <a:solidFill>
                  <a:schemeClr val="tx1"/>
                </a:solidFill>
              </a:defRPr>
            </a:lvl3pPr>
            <a:lvl8pPr>
              <a:defRPr/>
            </a:lvl8pPr>
          </a:lstStyle>
          <a:p>
            <a:pPr lvl="0"/>
            <a:r>
              <a:rPr lang="en-US" dirty="0"/>
              <a:t>Name</a:t>
            </a:r>
          </a:p>
        </p:txBody>
      </p:sp>
      <p:sp>
        <p:nvSpPr>
          <p:cNvPr id="76" name="CV Location">
            <a:extLst>
              <a:ext uri="{FF2B5EF4-FFF2-40B4-BE49-F238E27FC236}">
                <a16:creationId xmlns:a16="http://schemas.microsoft.com/office/drawing/2014/main" id="{85E3B6BB-1EB7-4530-BD86-CD3E3BB94146}"/>
              </a:ext>
            </a:extLst>
          </p:cNvPr>
          <p:cNvSpPr>
            <a:spLocks noGrp="1"/>
          </p:cNvSpPr>
          <p:nvPr>
            <p:ph type="body" sz="quarter" idx="119" hasCustomPrompt="1"/>
          </p:nvPr>
        </p:nvSpPr>
        <p:spPr>
          <a:xfrm>
            <a:off x="5596127" y="4356098"/>
            <a:ext cx="2182202" cy="139575"/>
          </a:xfrm>
        </p:spPr>
        <p:txBody>
          <a:bodyPr lIns="54000" tIns="0">
            <a:noAutofit/>
          </a:bodyPr>
          <a:lstStyle>
            <a:lvl1pPr>
              <a:lnSpc>
                <a:spcPct val="100000"/>
              </a:lnSpc>
              <a:spcAft>
                <a:spcPts val="0"/>
              </a:spcAft>
              <a:defRPr sz="816" b="0">
                <a:solidFill>
                  <a:schemeClr val="tx1"/>
                </a:solidFill>
                <a:latin typeface="+mn-lt"/>
              </a:defRPr>
            </a:lvl1pPr>
            <a:lvl2pPr>
              <a:lnSpc>
                <a:spcPct val="100000"/>
              </a:lnSpc>
              <a:spcAft>
                <a:spcPts val="1088"/>
              </a:spcAft>
              <a:defRPr sz="1088" b="0">
                <a:solidFill>
                  <a:schemeClr val="tx1"/>
                </a:solidFill>
                <a:latin typeface="+mj-lt"/>
              </a:defRPr>
            </a:lvl2pPr>
            <a:lvl3pPr marL="0" indent="0">
              <a:lnSpc>
                <a:spcPct val="100000"/>
              </a:lnSpc>
              <a:spcAft>
                <a:spcPts val="0"/>
              </a:spcAft>
              <a:buNone/>
              <a:tabLst>
                <a:tab pos="164130" algn="l"/>
              </a:tabLst>
              <a:defRPr sz="907" b="0" baseline="0">
                <a:solidFill>
                  <a:schemeClr val="tx1"/>
                </a:solidFill>
              </a:defRPr>
            </a:lvl3pPr>
            <a:lvl8pPr>
              <a:defRPr/>
            </a:lvl8pPr>
          </a:lstStyle>
          <a:p>
            <a:pPr lvl="0"/>
            <a:r>
              <a:rPr lang="en-US" dirty="0"/>
              <a:t>Location</a:t>
            </a:r>
          </a:p>
        </p:txBody>
      </p:sp>
      <p:sp>
        <p:nvSpPr>
          <p:cNvPr id="77" name="CV Job title">
            <a:extLst>
              <a:ext uri="{FF2B5EF4-FFF2-40B4-BE49-F238E27FC236}">
                <a16:creationId xmlns:a16="http://schemas.microsoft.com/office/drawing/2014/main" id="{6D0A2978-2837-4D77-884E-EB161EFAFF81}"/>
              </a:ext>
            </a:extLst>
          </p:cNvPr>
          <p:cNvSpPr>
            <a:spLocks noGrp="1"/>
          </p:cNvSpPr>
          <p:nvPr>
            <p:ph type="body" sz="quarter" idx="120" hasCustomPrompt="1"/>
          </p:nvPr>
        </p:nvSpPr>
        <p:spPr>
          <a:xfrm>
            <a:off x="5596127" y="4075278"/>
            <a:ext cx="2182202" cy="167490"/>
          </a:xfrm>
        </p:spPr>
        <p:txBody>
          <a:bodyPr lIns="54000" tIns="0">
            <a:noAutofit/>
          </a:bodyPr>
          <a:lstStyle>
            <a:lvl1pPr>
              <a:lnSpc>
                <a:spcPct val="100000"/>
              </a:lnSpc>
              <a:spcAft>
                <a:spcPts val="0"/>
              </a:spcAft>
              <a:defRPr sz="907" b="0">
                <a:solidFill>
                  <a:schemeClr val="tx1"/>
                </a:solidFill>
                <a:latin typeface="+mn-lt"/>
              </a:defRPr>
            </a:lvl1pPr>
            <a:lvl2pPr>
              <a:lnSpc>
                <a:spcPct val="100000"/>
              </a:lnSpc>
              <a:spcAft>
                <a:spcPts val="1088"/>
              </a:spcAft>
              <a:defRPr sz="1088" b="0">
                <a:solidFill>
                  <a:schemeClr val="tx1"/>
                </a:solidFill>
                <a:latin typeface="+mj-lt"/>
              </a:defRPr>
            </a:lvl2pPr>
            <a:lvl3pPr marL="0" indent="0">
              <a:lnSpc>
                <a:spcPct val="100000"/>
              </a:lnSpc>
              <a:spcAft>
                <a:spcPts val="0"/>
              </a:spcAft>
              <a:buNone/>
              <a:tabLst>
                <a:tab pos="164130" algn="l"/>
              </a:tabLst>
              <a:defRPr sz="907" b="0" baseline="0">
                <a:solidFill>
                  <a:schemeClr val="tx1"/>
                </a:solidFill>
              </a:defRPr>
            </a:lvl3pPr>
            <a:lvl8pPr>
              <a:defRPr/>
            </a:lvl8pPr>
          </a:lstStyle>
          <a:p>
            <a:pPr lvl="0"/>
            <a:r>
              <a:rPr lang="en-US" dirty="0"/>
              <a:t>Job title</a:t>
            </a:r>
          </a:p>
        </p:txBody>
      </p:sp>
      <p:sp>
        <p:nvSpPr>
          <p:cNvPr id="78" name="CV Name">
            <a:extLst>
              <a:ext uri="{FF2B5EF4-FFF2-40B4-BE49-F238E27FC236}">
                <a16:creationId xmlns:a16="http://schemas.microsoft.com/office/drawing/2014/main" id="{B01F2A85-F891-4B96-82BB-9D06BD9B1B2F}"/>
              </a:ext>
            </a:extLst>
          </p:cNvPr>
          <p:cNvSpPr>
            <a:spLocks noGrp="1"/>
          </p:cNvSpPr>
          <p:nvPr>
            <p:ph type="body" sz="quarter" idx="121" hasCustomPrompt="1"/>
          </p:nvPr>
        </p:nvSpPr>
        <p:spPr>
          <a:xfrm>
            <a:off x="5596127" y="3842568"/>
            <a:ext cx="2182202" cy="167490"/>
          </a:xfrm>
        </p:spPr>
        <p:txBody>
          <a:bodyPr lIns="54000" tIns="0">
            <a:noAutofit/>
          </a:bodyPr>
          <a:lstStyle>
            <a:lvl1pPr>
              <a:lnSpc>
                <a:spcPct val="100000"/>
              </a:lnSpc>
              <a:spcAft>
                <a:spcPts val="0"/>
              </a:spcAft>
              <a:defRPr sz="907" b="0">
                <a:solidFill>
                  <a:schemeClr val="accent1"/>
                </a:solidFill>
                <a:latin typeface="+mj-lt"/>
              </a:defRPr>
            </a:lvl1pPr>
            <a:lvl2pPr>
              <a:lnSpc>
                <a:spcPct val="100000"/>
              </a:lnSpc>
              <a:spcAft>
                <a:spcPts val="1088"/>
              </a:spcAft>
              <a:defRPr sz="1088" b="0">
                <a:solidFill>
                  <a:schemeClr val="tx1"/>
                </a:solidFill>
                <a:latin typeface="+mj-lt"/>
              </a:defRPr>
            </a:lvl2pPr>
            <a:lvl3pPr marL="0" indent="0">
              <a:lnSpc>
                <a:spcPct val="100000"/>
              </a:lnSpc>
              <a:spcAft>
                <a:spcPts val="0"/>
              </a:spcAft>
              <a:buNone/>
              <a:tabLst>
                <a:tab pos="164130" algn="l"/>
              </a:tabLst>
              <a:defRPr sz="907" b="0" baseline="0">
                <a:solidFill>
                  <a:schemeClr val="tx1"/>
                </a:solidFill>
              </a:defRPr>
            </a:lvl3pPr>
            <a:lvl8pPr>
              <a:defRPr/>
            </a:lvl8pPr>
          </a:lstStyle>
          <a:p>
            <a:pPr lvl="0"/>
            <a:r>
              <a:rPr lang="en-US" dirty="0"/>
              <a:t>Name</a:t>
            </a:r>
          </a:p>
        </p:txBody>
      </p:sp>
      <p:sp>
        <p:nvSpPr>
          <p:cNvPr id="79" name="CV Location">
            <a:extLst>
              <a:ext uri="{FF2B5EF4-FFF2-40B4-BE49-F238E27FC236}">
                <a16:creationId xmlns:a16="http://schemas.microsoft.com/office/drawing/2014/main" id="{2CEEFA1A-C5A1-47AD-8D00-4B46504FE201}"/>
              </a:ext>
            </a:extLst>
          </p:cNvPr>
          <p:cNvSpPr>
            <a:spLocks noGrp="1"/>
          </p:cNvSpPr>
          <p:nvPr>
            <p:ph type="body" sz="quarter" idx="122" hasCustomPrompt="1"/>
          </p:nvPr>
        </p:nvSpPr>
        <p:spPr>
          <a:xfrm>
            <a:off x="5596127" y="5492343"/>
            <a:ext cx="2182202" cy="139575"/>
          </a:xfrm>
        </p:spPr>
        <p:txBody>
          <a:bodyPr lIns="54000" tIns="0">
            <a:noAutofit/>
          </a:bodyPr>
          <a:lstStyle>
            <a:lvl1pPr>
              <a:lnSpc>
                <a:spcPct val="100000"/>
              </a:lnSpc>
              <a:spcAft>
                <a:spcPts val="0"/>
              </a:spcAft>
              <a:defRPr sz="816" b="0">
                <a:solidFill>
                  <a:schemeClr val="tx1"/>
                </a:solidFill>
                <a:latin typeface="+mn-lt"/>
              </a:defRPr>
            </a:lvl1pPr>
            <a:lvl2pPr>
              <a:lnSpc>
                <a:spcPct val="100000"/>
              </a:lnSpc>
              <a:spcAft>
                <a:spcPts val="1088"/>
              </a:spcAft>
              <a:defRPr sz="1088" b="0">
                <a:solidFill>
                  <a:schemeClr val="tx1"/>
                </a:solidFill>
                <a:latin typeface="+mj-lt"/>
              </a:defRPr>
            </a:lvl2pPr>
            <a:lvl3pPr marL="0" indent="0">
              <a:lnSpc>
                <a:spcPct val="100000"/>
              </a:lnSpc>
              <a:spcAft>
                <a:spcPts val="0"/>
              </a:spcAft>
              <a:buNone/>
              <a:tabLst>
                <a:tab pos="164130" algn="l"/>
              </a:tabLst>
              <a:defRPr sz="907" b="0" baseline="0">
                <a:solidFill>
                  <a:schemeClr val="tx1"/>
                </a:solidFill>
              </a:defRPr>
            </a:lvl3pPr>
            <a:lvl8pPr>
              <a:defRPr/>
            </a:lvl8pPr>
          </a:lstStyle>
          <a:p>
            <a:pPr lvl="0"/>
            <a:r>
              <a:rPr lang="en-US" dirty="0"/>
              <a:t>Location</a:t>
            </a:r>
          </a:p>
        </p:txBody>
      </p:sp>
      <p:sp>
        <p:nvSpPr>
          <p:cNvPr id="80" name="CV Job title">
            <a:extLst>
              <a:ext uri="{FF2B5EF4-FFF2-40B4-BE49-F238E27FC236}">
                <a16:creationId xmlns:a16="http://schemas.microsoft.com/office/drawing/2014/main" id="{ADBC39AE-F6D5-435C-A015-1B668D001F23}"/>
              </a:ext>
            </a:extLst>
          </p:cNvPr>
          <p:cNvSpPr>
            <a:spLocks noGrp="1"/>
          </p:cNvSpPr>
          <p:nvPr>
            <p:ph type="body" sz="quarter" idx="123" hasCustomPrompt="1"/>
          </p:nvPr>
        </p:nvSpPr>
        <p:spPr>
          <a:xfrm>
            <a:off x="5596127" y="5211523"/>
            <a:ext cx="2182202" cy="167490"/>
          </a:xfrm>
        </p:spPr>
        <p:txBody>
          <a:bodyPr lIns="54000" tIns="0">
            <a:noAutofit/>
          </a:bodyPr>
          <a:lstStyle>
            <a:lvl1pPr>
              <a:lnSpc>
                <a:spcPct val="100000"/>
              </a:lnSpc>
              <a:spcAft>
                <a:spcPts val="0"/>
              </a:spcAft>
              <a:defRPr sz="907" b="0">
                <a:solidFill>
                  <a:schemeClr val="tx1"/>
                </a:solidFill>
                <a:latin typeface="+mn-lt"/>
              </a:defRPr>
            </a:lvl1pPr>
            <a:lvl2pPr>
              <a:lnSpc>
                <a:spcPct val="100000"/>
              </a:lnSpc>
              <a:spcAft>
                <a:spcPts val="1088"/>
              </a:spcAft>
              <a:defRPr sz="1088" b="0">
                <a:solidFill>
                  <a:schemeClr val="tx1"/>
                </a:solidFill>
                <a:latin typeface="+mj-lt"/>
              </a:defRPr>
            </a:lvl2pPr>
            <a:lvl3pPr marL="0" indent="0">
              <a:lnSpc>
                <a:spcPct val="100000"/>
              </a:lnSpc>
              <a:spcAft>
                <a:spcPts val="0"/>
              </a:spcAft>
              <a:buNone/>
              <a:tabLst>
                <a:tab pos="164130" algn="l"/>
              </a:tabLst>
              <a:defRPr sz="907" b="0" baseline="0">
                <a:solidFill>
                  <a:schemeClr val="tx1"/>
                </a:solidFill>
              </a:defRPr>
            </a:lvl3pPr>
            <a:lvl8pPr>
              <a:defRPr/>
            </a:lvl8pPr>
          </a:lstStyle>
          <a:p>
            <a:pPr lvl="0"/>
            <a:r>
              <a:rPr lang="en-US" dirty="0"/>
              <a:t>Job title</a:t>
            </a:r>
          </a:p>
        </p:txBody>
      </p:sp>
      <p:sp>
        <p:nvSpPr>
          <p:cNvPr id="81" name="CV Name">
            <a:extLst>
              <a:ext uri="{FF2B5EF4-FFF2-40B4-BE49-F238E27FC236}">
                <a16:creationId xmlns:a16="http://schemas.microsoft.com/office/drawing/2014/main" id="{0F4C9E41-653C-413B-AEDF-8330994D8E61}"/>
              </a:ext>
            </a:extLst>
          </p:cNvPr>
          <p:cNvSpPr>
            <a:spLocks noGrp="1"/>
          </p:cNvSpPr>
          <p:nvPr>
            <p:ph type="body" sz="quarter" idx="124" hasCustomPrompt="1"/>
          </p:nvPr>
        </p:nvSpPr>
        <p:spPr>
          <a:xfrm>
            <a:off x="5596127" y="4978813"/>
            <a:ext cx="2182202" cy="167490"/>
          </a:xfrm>
        </p:spPr>
        <p:txBody>
          <a:bodyPr lIns="54000" tIns="0">
            <a:noAutofit/>
          </a:bodyPr>
          <a:lstStyle>
            <a:lvl1pPr>
              <a:lnSpc>
                <a:spcPct val="100000"/>
              </a:lnSpc>
              <a:spcAft>
                <a:spcPts val="0"/>
              </a:spcAft>
              <a:defRPr sz="907" b="0">
                <a:solidFill>
                  <a:schemeClr val="accent1"/>
                </a:solidFill>
                <a:latin typeface="+mj-lt"/>
              </a:defRPr>
            </a:lvl1pPr>
            <a:lvl2pPr>
              <a:lnSpc>
                <a:spcPct val="100000"/>
              </a:lnSpc>
              <a:spcAft>
                <a:spcPts val="1088"/>
              </a:spcAft>
              <a:defRPr sz="1088" b="0">
                <a:solidFill>
                  <a:schemeClr val="tx1"/>
                </a:solidFill>
                <a:latin typeface="+mj-lt"/>
              </a:defRPr>
            </a:lvl2pPr>
            <a:lvl3pPr marL="0" indent="0">
              <a:lnSpc>
                <a:spcPct val="100000"/>
              </a:lnSpc>
              <a:spcAft>
                <a:spcPts val="0"/>
              </a:spcAft>
              <a:buNone/>
              <a:tabLst>
                <a:tab pos="164130" algn="l"/>
              </a:tabLst>
              <a:defRPr sz="907" b="0" baseline="0">
                <a:solidFill>
                  <a:schemeClr val="tx1"/>
                </a:solidFill>
              </a:defRPr>
            </a:lvl3pPr>
            <a:lvl8pPr>
              <a:defRPr/>
            </a:lvl8pPr>
          </a:lstStyle>
          <a:p>
            <a:pPr lvl="0"/>
            <a:r>
              <a:rPr lang="en-US" dirty="0"/>
              <a:t>Name</a:t>
            </a:r>
          </a:p>
        </p:txBody>
      </p:sp>
      <p:sp>
        <p:nvSpPr>
          <p:cNvPr id="82" name="CV Location">
            <a:extLst>
              <a:ext uri="{FF2B5EF4-FFF2-40B4-BE49-F238E27FC236}">
                <a16:creationId xmlns:a16="http://schemas.microsoft.com/office/drawing/2014/main" id="{55C77A51-A0A5-4EAA-8257-D6D94EF2F027}"/>
              </a:ext>
            </a:extLst>
          </p:cNvPr>
          <p:cNvSpPr>
            <a:spLocks noGrp="1"/>
          </p:cNvSpPr>
          <p:nvPr>
            <p:ph type="body" sz="quarter" idx="125" hasCustomPrompt="1"/>
          </p:nvPr>
        </p:nvSpPr>
        <p:spPr>
          <a:xfrm>
            <a:off x="9288782" y="2048409"/>
            <a:ext cx="2182202" cy="139575"/>
          </a:xfrm>
        </p:spPr>
        <p:txBody>
          <a:bodyPr lIns="54000" tIns="0">
            <a:noAutofit/>
          </a:bodyPr>
          <a:lstStyle>
            <a:lvl1pPr>
              <a:lnSpc>
                <a:spcPct val="100000"/>
              </a:lnSpc>
              <a:spcAft>
                <a:spcPts val="0"/>
              </a:spcAft>
              <a:defRPr sz="816" b="0">
                <a:solidFill>
                  <a:schemeClr val="tx1"/>
                </a:solidFill>
                <a:latin typeface="+mn-lt"/>
              </a:defRPr>
            </a:lvl1pPr>
            <a:lvl2pPr>
              <a:lnSpc>
                <a:spcPct val="100000"/>
              </a:lnSpc>
              <a:spcAft>
                <a:spcPts val="1088"/>
              </a:spcAft>
              <a:defRPr sz="1088" b="0">
                <a:solidFill>
                  <a:schemeClr val="tx1"/>
                </a:solidFill>
                <a:latin typeface="+mj-lt"/>
              </a:defRPr>
            </a:lvl2pPr>
            <a:lvl3pPr marL="0" indent="0">
              <a:lnSpc>
                <a:spcPct val="100000"/>
              </a:lnSpc>
              <a:spcAft>
                <a:spcPts val="0"/>
              </a:spcAft>
              <a:buNone/>
              <a:tabLst>
                <a:tab pos="164130" algn="l"/>
              </a:tabLst>
              <a:defRPr sz="907" b="0" baseline="0">
                <a:solidFill>
                  <a:schemeClr val="tx1"/>
                </a:solidFill>
              </a:defRPr>
            </a:lvl3pPr>
            <a:lvl8pPr>
              <a:defRPr/>
            </a:lvl8pPr>
          </a:lstStyle>
          <a:p>
            <a:pPr lvl="0"/>
            <a:r>
              <a:rPr lang="en-US" dirty="0"/>
              <a:t>Location</a:t>
            </a:r>
          </a:p>
        </p:txBody>
      </p:sp>
      <p:sp>
        <p:nvSpPr>
          <p:cNvPr id="83" name="CV Job title">
            <a:extLst>
              <a:ext uri="{FF2B5EF4-FFF2-40B4-BE49-F238E27FC236}">
                <a16:creationId xmlns:a16="http://schemas.microsoft.com/office/drawing/2014/main" id="{CF0AA174-202A-44CE-989F-57B450DD6802}"/>
              </a:ext>
            </a:extLst>
          </p:cNvPr>
          <p:cNvSpPr>
            <a:spLocks noGrp="1"/>
          </p:cNvSpPr>
          <p:nvPr>
            <p:ph type="body" sz="quarter" idx="126" hasCustomPrompt="1"/>
          </p:nvPr>
        </p:nvSpPr>
        <p:spPr>
          <a:xfrm>
            <a:off x="9288782" y="1767589"/>
            <a:ext cx="2182202" cy="167490"/>
          </a:xfrm>
        </p:spPr>
        <p:txBody>
          <a:bodyPr lIns="54000" tIns="0">
            <a:noAutofit/>
          </a:bodyPr>
          <a:lstStyle>
            <a:lvl1pPr>
              <a:lnSpc>
                <a:spcPct val="100000"/>
              </a:lnSpc>
              <a:spcAft>
                <a:spcPts val="0"/>
              </a:spcAft>
              <a:defRPr sz="907" b="0">
                <a:solidFill>
                  <a:schemeClr val="tx1"/>
                </a:solidFill>
                <a:latin typeface="+mn-lt"/>
              </a:defRPr>
            </a:lvl1pPr>
            <a:lvl2pPr>
              <a:lnSpc>
                <a:spcPct val="100000"/>
              </a:lnSpc>
              <a:spcAft>
                <a:spcPts val="1088"/>
              </a:spcAft>
              <a:defRPr sz="1088" b="0">
                <a:solidFill>
                  <a:schemeClr val="tx1"/>
                </a:solidFill>
                <a:latin typeface="+mj-lt"/>
              </a:defRPr>
            </a:lvl2pPr>
            <a:lvl3pPr marL="0" indent="0">
              <a:lnSpc>
                <a:spcPct val="100000"/>
              </a:lnSpc>
              <a:spcAft>
                <a:spcPts val="0"/>
              </a:spcAft>
              <a:buNone/>
              <a:tabLst>
                <a:tab pos="164130" algn="l"/>
              </a:tabLst>
              <a:defRPr sz="907" b="0" baseline="0">
                <a:solidFill>
                  <a:schemeClr val="tx1"/>
                </a:solidFill>
              </a:defRPr>
            </a:lvl3pPr>
            <a:lvl8pPr>
              <a:defRPr/>
            </a:lvl8pPr>
          </a:lstStyle>
          <a:p>
            <a:pPr lvl="0"/>
            <a:r>
              <a:rPr lang="en-US" dirty="0"/>
              <a:t>Job title</a:t>
            </a:r>
          </a:p>
        </p:txBody>
      </p:sp>
      <p:sp>
        <p:nvSpPr>
          <p:cNvPr id="84" name="CV Name">
            <a:extLst>
              <a:ext uri="{FF2B5EF4-FFF2-40B4-BE49-F238E27FC236}">
                <a16:creationId xmlns:a16="http://schemas.microsoft.com/office/drawing/2014/main" id="{CD9696F1-BDDD-491C-A8E1-14D069A9D748}"/>
              </a:ext>
            </a:extLst>
          </p:cNvPr>
          <p:cNvSpPr>
            <a:spLocks noGrp="1"/>
          </p:cNvSpPr>
          <p:nvPr>
            <p:ph type="body" sz="quarter" idx="127" hasCustomPrompt="1"/>
          </p:nvPr>
        </p:nvSpPr>
        <p:spPr>
          <a:xfrm>
            <a:off x="9288782" y="1534879"/>
            <a:ext cx="2182202" cy="167490"/>
          </a:xfrm>
        </p:spPr>
        <p:txBody>
          <a:bodyPr lIns="54000" tIns="0">
            <a:noAutofit/>
          </a:bodyPr>
          <a:lstStyle>
            <a:lvl1pPr>
              <a:lnSpc>
                <a:spcPct val="100000"/>
              </a:lnSpc>
              <a:spcAft>
                <a:spcPts val="0"/>
              </a:spcAft>
              <a:defRPr sz="907" b="0">
                <a:solidFill>
                  <a:schemeClr val="accent1"/>
                </a:solidFill>
                <a:latin typeface="+mj-lt"/>
              </a:defRPr>
            </a:lvl1pPr>
            <a:lvl2pPr>
              <a:lnSpc>
                <a:spcPct val="100000"/>
              </a:lnSpc>
              <a:spcAft>
                <a:spcPts val="1088"/>
              </a:spcAft>
              <a:defRPr sz="1088" b="0">
                <a:solidFill>
                  <a:schemeClr val="tx1"/>
                </a:solidFill>
                <a:latin typeface="+mj-lt"/>
              </a:defRPr>
            </a:lvl2pPr>
            <a:lvl3pPr marL="0" indent="0">
              <a:lnSpc>
                <a:spcPct val="100000"/>
              </a:lnSpc>
              <a:spcAft>
                <a:spcPts val="0"/>
              </a:spcAft>
              <a:buNone/>
              <a:tabLst>
                <a:tab pos="164130" algn="l"/>
              </a:tabLst>
              <a:defRPr sz="907" b="0" baseline="0">
                <a:solidFill>
                  <a:schemeClr val="tx1"/>
                </a:solidFill>
              </a:defRPr>
            </a:lvl3pPr>
            <a:lvl8pPr>
              <a:defRPr/>
            </a:lvl8pPr>
          </a:lstStyle>
          <a:p>
            <a:pPr lvl="0"/>
            <a:r>
              <a:rPr lang="en-US" dirty="0"/>
              <a:t>Name</a:t>
            </a:r>
          </a:p>
        </p:txBody>
      </p:sp>
      <p:sp>
        <p:nvSpPr>
          <p:cNvPr id="85" name="CV Location">
            <a:extLst>
              <a:ext uri="{FF2B5EF4-FFF2-40B4-BE49-F238E27FC236}">
                <a16:creationId xmlns:a16="http://schemas.microsoft.com/office/drawing/2014/main" id="{C3C4139D-D7B3-46FC-915F-8AA39C69A09F}"/>
              </a:ext>
            </a:extLst>
          </p:cNvPr>
          <p:cNvSpPr>
            <a:spLocks noGrp="1"/>
          </p:cNvSpPr>
          <p:nvPr>
            <p:ph type="body" sz="quarter" idx="128" hasCustomPrompt="1"/>
          </p:nvPr>
        </p:nvSpPr>
        <p:spPr>
          <a:xfrm>
            <a:off x="9288782" y="3195801"/>
            <a:ext cx="2182202" cy="139575"/>
          </a:xfrm>
        </p:spPr>
        <p:txBody>
          <a:bodyPr lIns="54000" tIns="0">
            <a:noAutofit/>
          </a:bodyPr>
          <a:lstStyle>
            <a:lvl1pPr>
              <a:lnSpc>
                <a:spcPct val="100000"/>
              </a:lnSpc>
              <a:spcAft>
                <a:spcPts val="0"/>
              </a:spcAft>
              <a:defRPr sz="816" b="0">
                <a:solidFill>
                  <a:schemeClr val="tx1"/>
                </a:solidFill>
                <a:latin typeface="+mn-lt"/>
              </a:defRPr>
            </a:lvl1pPr>
            <a:lvl2pPr>
              <a:lnSpc>
                <a:spcPct val="100000"/>
              </a:lnSpc>
              <a:spcAft>
                <a:spcPts val="1088"/>
              </a:spcAft>
              <a:defRPr sz="1088" b="0">
                <a:solidFill>
                  <a:schemeClr val="tx1"/>
                </a:solidFill>
                <a:latin typeface="+mj-lt"/>
              </a:defRPr>
            </a:lvl2pPr>
            <a:lvl3pPr marL="0" indent="0">
              <a:lnSpc>
                <a:spcPct val="100000"/>
              </a:lnSpc>
              <a:spcAft>
                <a:spcPts val="0"/>
              </a:spcAft>
              <a:buNone/>
              <a:tabLst>
                <a:tab pos="164130" algn="l"/>
              </a:tabLst>
              <a:defRPr sz="907" b="0" baseline="0">
                <a:solidFill>
                  <a:schemeClr val="tx1"/>
                </a:solidFill>
              </a:defRPr>
            </a:lvl3pPr>
            <a:lvl8pPr>
              <a:defRPr/>
            </a:lvl8pPr>
          </a:lstStyle>
          <a:p>
            <a:pPr lvl="0"/>
            <a:r>
              <a:rPr lang="en-US" dirty="0"/>
              <a:t>Location</a:t>
            </a:r>
          </a:p>
        </p:txBody>
      </p:sp>
      <p:sp>
        <p:nvSpPr>
          <p:cNvPr id="86" name="CV Job title">
            <a:extLst>
              <a:ext uri="{FF2B5EF4-FFF2-40B4-BE49-F238E27FC236}">
                <a16:creationId xmlns:a16="http://schemas.microsoft.com/office/drawing/2014/main" id="{F26F6445-5BEB-415F-B93F-4F37A5AE75FC}"/>
              </a:ext>
            </a:extLst>
          </p:cNvPr>
          <p:cNvSpPr>
            <a:spLocks noGrp="1"/>
          </p:cNvSpPr>
          <p:nvPr>
            <p:ph type="body" sz="quarter" idx="129" hasCustomPrompt="1"/>
          </p:nvPr>
        </p:nvSpPr>
        <p:spPr>
          <a:xfrm>
            <a:off x="9288782" y="2914981"/>
            <a:ext cx="2182202" cy="167490"/>
          </a:xfrm>
        </p:spPr>
        <p:txBody>
          <a:bodyPr lIns="54000" tIns="0">
            <a:noAutofit/>
          </a:bodyPr>
          <a:lstStyle>
            <a:lvl1pPr>
              <a:lnSpc>
                <a:spcPct val="100000"/>
              </a:lnSpc>
              <a:spcAft>
                <a:spcPts val="0"/>
              </a:spcAft>
              <a:defRPr sz="907" b="0">
                <a:solidFill>
                  <a:schemeClr val="tx1"/>
                </a:solidFill>
                <a:latin typeface="+mn-lt"/>
              </a:defRPr>
            </a:lvl1pPr>
            <a:lvl2pPr>
              <a:lnSpc>
                <a:spcPct val="100000"/>
              </a:lnSpc>
              <a:spcAft>
                <a:spcPts val="1088"/>
              </a:spcAft>
              <a:defRPr sz="1088" b="0">
                <a:solidFill>
                  <a:schemeClr val="tx1"/>
                </a:solidFill>
                <a:latin typeface="+mj-lt"/>
              </a:defRPr>
            </a:lvl2pPr>
            <a:lvl3pPr marL="0" indent="0">
              <a:lnSpc>
                <a:spcPct val="100000"/>
              </a:lnSpc>
              <a:spcAft>
                <a:spcPts val="0"/>
              </a:spcAft>
              <a:buNone/>
              <a:tabLst>
                <a:tab pos="164130" algn="l"/>
              </a:tabLst>
              <a:defRPr sz="907" b="0" baseline="0">
                <a:solidFill>
                  <a:schemeClr val="tx1"/>
                </a:solidFill>
              </a:defRPr>
            </a:lvl3pPr>
            <a:lvl8pPr>
              <a:defRPr/>
            </a:lvl8pPr>
          </a:lstStyle>
          <a:p>
            <a:pPr lvl="0"/>
            <a:r>
              <a:rPr lang="en-US" dirty="0"/>
              <a:t>Job title</a:t>
            </a:r>
          </a:p>
        </p:txBody>
      </p:sp>
      <p:sp>
        <p:nvSpPr>
          <p:cNvPr id="87" name="CV Name">
            <a:extLst>
              <a:ext uri="{FF2B5EF4-FFF2-40B4-BE49-F238E27FC236}">
                <a16:creationId xmlns:a16="http://schemas.microsoft.com/office/drawing/2014/main" id="{E3E0B3D8-9404-4D16-99E3-C7C90120F1D0}"/>
              </a:ext>
            </a:extLst>
          </p:cNvPr>
          <p:cNvSpPr>
            <a:spLocks noGrp="1"/>
          </p:cNvSpPr>
          <p:nvPr>
            <p:ph type="body" sz="quarter" idx="130" hasCustomPrompt="1"/>
          </p:nvPr>
        </p:nvSpPr>
        <p:spPr>
          <a:xfrm>
            <a:off x="9288782" y="2682271"/>
            <a:ext cx="2182202" cy="167490"/>
          </a:xfrm>
        </p:spPr>
        <p:txBody>
          <a:bodyPr lIns="54000" tIns="0">
            <a:noAutofit/>
          </a:bodyPr>
          <a:lstStyle>
            <a:lvl1pPr>
              <a:lnSpc>
                <a:spcPct val="100000"/>
              </a:lnSpc>
              <a:spcAft>
                <a:spcPts val="0"/>
              </a:spcAft>
              <a:defRPr sz="907" b="0">
                <a:solidFill>
                  <a:schemeClr val="accent1"/>
                </a:solidFill>
                <a:latin typeface="+mj-lt"/>
              </a:defRPr>
            </a:lvl1pPr>
            <a:lvl2pPr>
              <a:lnSpc>
                <a:spcPct val="100000"/>
              </a:lnSpc>
              <a:spcAft>
                <a:spcPts val="1088"/>
              </a:spcAft>
              <a:defRPr sz="1088" b="0">
                <a:solidFill>
                  <a:schemeClr val="tx1"/>
                </a:solidFill>
                <a:latin typeface="+mj-lt"/>
              </a:defRPr>
            </a:lvl2pPr>
            <a:lvl3pPr marL="0" indent="0">
              <a:lnSpc>
                <a:spcPct val="100000"/>
              </a:lnSpc>
              <a:spcAft>
                <a:spcPts val="0"/>
              </a:spcAft>
              <a:buNone/>
              <a:tabLst>
                <a:tab pos="164130" algn="l"/>
              </a:tabLst>
              <a:defRPr sz="907" b="0" baseline="0">
                <a:solidFill>
                  <a:schemeClr val="tx1"/>
                </a:solidFill>
              </a:defRPr>
            </a:lvl3pPr>
            <a:lvl8pPr>
              <a:defRPr/>
            </a:lvl8pPr>
          </a:lstStyle>
          <a:p>
            <a:pPr lvl="0"/>
            <a:r>
              <a:rPr lang="en-US" dirty="0"/>
              <a:t>Name</a:t>
            </a:r>
          </a:p>
        </p:txBody>
      </p:sp>
      <p:sp>
        <p:nvSpPr>
          <p:cNvPr id="88" name="CV Location">
            <a:extLst>
              <a:ext uri="{FF2B5EF4-FFF2-40B4-BE49-F238E27FC236}">
                <a16:creationId xmlns:a16="http://schemas.microsoft.com/office/drawing/2014/main" id="{EF91CDF3-ACCE-4146-893A-BDAB27C071D5}"/>
              </a:ext>
            </a:extLst>
          </p:cNvPr>
          <p:cNvSpPr>
            <a:spLocks noGrp="1"/>
          </p:cNvSpPr>
          <p:nvPr>
            <p:ph type="body" sz="quarter" idx="131" hasCustomPrompt="1"/>
          </p:nvPr>
        </p:nvSpPr>
        <p:spPr>
          <a:xfrm>
            <a:off x="9288782" y="4356098"/>
            <a:ext cx="2182202" cy="139575"/>
          </a:xfrm>
        </p:spPr>
        <p:txBody>
          <a:bodyPr lIns="54000" tIns="0">
            <a:noAutofit/>
          </a:bodyPr>
          <a:lstStyle>
            <a:lvl1pPr>
              <a:lnSpc>
                <a:spcPct val="100000"/>
              </a:lnSpc>
              <a:spcAft>
                <a:spcPts val="0"/>
              </a:spcAft>
              <a:defRPr sz="816" b="0">
                <a:solidFill>
                  <a:schemeClr val="tx1"/>
                </a:solidFill>
                <a:latin typeface="+mn-lt"/>
              </a:defRPr>
            </a:lvl1pPr>
            <a:lvl2pPr>
              <a:lnSpc>
                <a:spcPct val="100000"/>
              </a:lnSpc>
              <a:spcAft>
                <a:spcPts val="1088"/>
              </a:spcAft>
              <a:defRPr sz="1088" b="0">
                <a:solidFill>
                  <a:schemeClr val="tx1"/>
                </a:solidFill>
                <a:latin typeface="+mj-lt"/>
              </a:defRPr>
            </a:lvl2pPr>
            <a:lvl3pPr marL="0" indent="0">
              <a:lnSpc>
                <a:spcPct val="100000"/>
              </a:lnSpc>
              <a:spcAft>
                <a:spcPts val="0"/>
              </a:spcAft>
              <a:buNone/>
              <a:tabLst>
                <a:tab pos="164130" algn="l"/>
              </a:tabLst>
              <a:defRPr sz="907" b="0" baseline="0">
                <a:solidFill>
                  <a:schemeClr val="tx1"/>
                </a:solidFill>
              </a:defRPr>
            </a:lvl3pPr>
            <a:lvl8pPr>
              <a:defRPr/>
            </a:lvl8pPr>
          </a:lstStyle>
          <a:p>
            <a:pPr lvl="0"/>
            <a:r>
              <a:rPr lang="en-US" dirty="0"/>
              <a:t>Location</a:t>
            </a:r>
          </a:p>
        </p:txBody>
      </p:sp>
      <p:sp>
        <p:nvSpPr>
          <p:cNvPr id="89" name="CV Job title">
            <a:extLst>
              <a:ext uri="{FF2B5EF4-FFF2-40B4-BE49-F238E27FC236}">
                <a16:creationId xmlns:a16="http://schemas.microsoft.com/office/drawing/2014/main" id="{D742F2DE-15CA-4E9B-BD27-27B72058F467}"/>
              </a:ext>
            </a:extLst>
          </p:cNvPr>
          <p:cNvSpPr>
            <a:spLocks noGrp="1"/>
          </p:cNvSpPr>
          <p:nvPr>
            <p:ph type="body" sz="quarter" idx="132" hasCustomPrompt="1"/>
          </p:nvPr>
        </p:nvSpPr>
        <p:spPr>
          <a:xfrm>
            <a:off x="9288782" y="4075278"/>
            <a:ext cx="2182202" cy="167490"/>
          </a:xfrm>
        </p:spPr>
        <p:txBody>
          <a:bodyPr lIns="54000" tIns="0">
            <a:noAutofit/>
          </a:bodyPr>
          <a:lstStyle>
            <a:lvl1pPr>
              <a:lnSpc>
                <a:spcPct val="100000"/>
              </a:lnSpc>
              <a:spcAft>
                <a:spcPts val="0"/>
              </a:spcAft>
              <a:defRPr sz="907" b="0">
                <a:solidFill>
                  <a:schemeClr val="tx1"/>
                </a:solidFill>
                <a:latin typeface="+mn-lt"/>
              </a:defRPr>
            </a:lvl1pPr>
            <a:lvl2pPr>
              <a:lnSpc>
                <a:spcPct val="100000"/>
              </a:lnSpc>
              <a:spcAft>
                <a:spcPts val="1088"/>
              </a:spcAft>
              <a:defRPr sz="1088" b="0">
                <a:solidFill>
                  <a:schemeClr val="tx1"/>
                </a:solidFill>
                <a:latin typeface="+mj-lt"/>
              </a:defRPr>
            </a:lvl2pPr>
            <a:lvl3pPr marL="0" indent="0">
              <a:lnSpc>
                <a:spcPct val="100000"/>
              </a:lnSpc>
              <a:spcAft>
                <a:spcPts val="0"/>
              </a:spcAft>
              <a:buNone/>
              <a:tabLst>
                <a:tab pos="164130" algn="l"/>
              </a:tabLst>
              <a:defRPr sz="907" b="0" baseline="0">
                <a:solidFill>
                  <a:schemeClr val="tx1"/>
                </a:solidFill>
              </a:defRPr>
            </a:lvl3pPr>
            <a:lvl8pPr>
              <a:defRPr/>
            </a:lvl8pPr>
          </a:lstStyle>
          <a:p>
            <a:pPr lvl="0"/>
            <a:r>
              <a:rPr lang="en-US" dirty="0"/>
              <a:t>Job title</a:t>
            </a:r>
          </a:p>
        </p:txBody>
      </p:sp>
      <p:sp>
        <p:nvSpPr>
          <p:cNvPr id="90" name="CV Name">
            <a:extLst>
              <a:ext uri="{FF2B5EF4-FFF2-40B4-BE49-F238E27FC236}">
                <a16:creationId xmlns:a16="http://schemas.microsoft.com/office/drawing/2014/main" id="{CA712893-F616-4DCE-A8FB-502603CB19DE}"/>
              </a:ext>
            </a:extLst>
          </p:cNvPr>
          <p:cNvSpPr>
            <a:spLocks noGrp="1"/>
          </p:cNvSpPr>
          <p:nvPr>
            <p:ph type="body" sz="quarter" idx="133" hasCustomPrompt="1"/>
          </p:nvPr>
        </p:nvSpPr>
        <p:spPr>
          <a:xfrm>
            <a:off x="9288782" y="3842568"/>
            <a:ext cx="2182202" cy="167490"/>
          </a:xfrm>
        </p:spPr>
        <p:txBody>
          <a:bodyPr lIns="54000" tIns="0">
            <a:noAutofit/>
          </a:bodyPr>
          <a:lstStyle>
            <a:lvl1pPr>
              <a:lnSpc>
                <a:spcPct val="100000"/>
              </a:lnSpc>
              <a:spcAft>
                <a:spcPts val="0"/>
              </a:spcAft>
              <a:defRPr sz="907" b="0">
                <a:solidFill>
                  <a:schemeClr val="accent1"/>
                </a:solidFill>
                <a:latin typeface="+mj-lt"/>
              </a:defRPr>
            </a:lvl1pPr>
            <a:lvl2pPr>
              <a:lnSpc>
                <a:spcPct val="100000"/>
              </a:lnSpc>
              <a:spcAft>
                <a:spcPts val="1088"/>
              </a:spcAft>
              <a:defRPr sz="1088" b="0">
                <a:solidFill>
                  <a:schemeClr val="tx1"/>
                </a:solidFill>
                <a:latin typeface="+mj-lt"/>
              </a:defRPr>
            </a:lvl2pPr>
            <a:lvl3pPr marL="0" indent="0">
              <a:lnSpc>
                <a:spcPct val="100000"/>
              </a:lnSpc>
              <a:spcAft>
                <a:spcPts val="0"/>
              </a:spcAft>
              <a:buNone/>
              <a:tabLst>
                <a:tab pos="164130" algn="l"/>
              </a:tabLst>
              <a:defRPr sz="907" b="0" baseline="0">
                <a:solidFill>
                  <a:schemeClr val="tx1"/>
                </a:solidFill>
              </a:defRPr>
            </a:lvl3pPr>
            <a:lvl8pPr>
              <a:defRPr/>
            </a:lvl8pPr>
          </a:lstStyle>
          <a:p>
            <a:pPr lvl="0"/>
            <a:r>
              <a:rPr lang="en-US" dirty="0"/>
              <a:t>Name</a:t>
            </a:r>
          </a:p>
        </p:txBody>
      </p:sp>
      <p:sp>
        <p:nvSpPr>
          <p:cNvPr id="91" name="CV Location">
            <a:extLst>
              <a:ext uri="{FF2B5EF4-FFF2-40B4-BE49-F238E27FC236}">
                <a16:creationId xmlns:a16="http://schemas.microsoft.com/office/drawing/2014/main" id="{498E66C1-C94B-4918-986F-42A9AC8FBB22}"/>
              </a:ext>
            </a:extLst>
          </p:cNvPr>
          <p:cNvSpPr>
            <a:spLocks noGrp="1"/>
          </p:cNvSpPr>
          <p:nvPr>
            <p:ph type="body" sz="quarter" idx="134" hasCustomPrompt="1"/>
          </p:nvPr>
        </p:nvSpPr>
        <p:spPr>
          <a:xfrm>
            <a:off x="9288782" y="5492343"/>
            <a:ext cx="2182202" cy="139575"/>
          </a:xfrm>
        </p:spPr>
        <p:txBody>
          <a:bodyPr lIns="54000" tIns="0">
            <a:noAutofit/>
          </a:bodyPr>
          <a:lstStyle>
            <a:lvl1pPr>
              <a:lnSpc>
                <a:spcPct val="100000"/>
              </a:lnSpc>
              <a:spcAft>
                <a:spcPts val="0"/>
              </a:spcAft>
              <a:defRPr sz="816" b="0">
                <a:solidFill>
                  <a:schemeClr val="tx1"/>
                </a:solidFill>
                <a:latin typeface="+mn-lt"/>
              </a:defRPr>
            </a:lvl1pPr>
            <a:lvl2pPr>
              <a:lnSpc>
                <a:spcPct val="100000"/>
              </a:lnSpc>
              <a:spcAft>
                <a:spcPts val="1088"/>
              </a:spcAft>
              <a:defRPr sz="1088" b="0">
                <a:solidFill>
                  <a:schemeClr val="tx1"/>
                </a:solidFill>
                <a:latin typeface="+mj-lt"/>
              </a:defRPr>
            </a:lvl2pPr>
            <a:lvl3pPr marL="0" indent="0">
              <a:lnSpc>
                <a:spcPct val="100000"/>
              </a:lnSpc>
              <a:spcAft>
                <a:spcPts val="0"/>
              </a:spcAft>
              <a:buNone/>
              <a:tabLst>
                <a:tab pos="164130" algn="l"/>
              </a:tabLst>
              <a:defRPr sz="907" b="0" baseline="0">
                <a:solidFill>
                  <a:schemeClr val="tx1"/>
                </a:solidFill>
              </a:defRPr>
            </a:lvl3pPr>
            <a:lvl8pPr>
              <a:defRPr/>
            </a:lvl8pPr>
          </a:lstStyle>
          <a:p>
            <a:pPr lvl="0"/>
            <a:r>
              <a:rPr lang="en-US" dirty="0"/>
              <a:t>Location</a:t>
            </a:r>
          </a:p>
        </p:txBody>
      </p:sp>
      <p:sp>
        <p:nvSpPr>
          <p:cNvPr id="92" name="CV Job title">
            <a:extLst>
              <a:ext uri="{FF2B5EF4-FFF2-40B4-BE49-F238E27FC236}">
                <a16:creationId xmlns:a16="http://schemas.microsoft.com/office/drawing/2014/main" id="{ED48D8D5-B9E4-4651-96BF-CD59814FDF1E}"/>
              </a:ext>
            </a:extLst>
          </p:cNvPr>
          <p:cNvSpPr>
            <a:spLocks noGrp="1"/>
          </p:cNvSpPr>
          <p:nvPr>
            <p:ph type="body" sz="quarter" idx="135" hasCustomPrompt="1"/>
          </p:nvPr>
        </p:nvSpPr>
        <p:spPr>
          <a:xfrm>
            <a:off x="9288782" y="5211523"/>
            <a:ext cx="2182202" cy="167490"/>
          </a:xfrm>
        </p:spPr>
        <p:txBody>
          <a:bodyPr lIns="54000" tIns="0">
            <a:noAutofit/>
          </a:bodyPr>
          <a:lstStyle>
            <a:lvl1pPr>
              <a:lnSpc>
                <a:spcPct val="100000"/>
              </a:lnSpc>
              <a:spcAft>
                <a:spcPts val="0"/>
              </a:spcAft>
              <a:defRPr sz="907" b="0">
                <a:solidFill>
                  <a:schemeClr val="tx1"/>
                </a:solidFill>
                <a:latin typeface="+mn-lt"/>
              </a:defRPr>
            </a:lvl1pPr>
            <a:lvl2pPr>
              <a:lnSpc>
                <a:spcPct val="100000"/>
              </a:lnSpc>
              <a:spcAft>
                <a:spcPts val="1088"/>
              </a:spcAft>
              <a:defRPr sz="1088" b="0">
                <a:solidFill>
                  <a:schemeClr val="tx1"/>
                </a:solidFill>
                <a:latin typeface="+mj-lt"/>
              </a:defRPr>
            </a:lvl2pPr>
            <a:lvl3pPr marL="0" indent="0">
              <a:lnSpc>
                <a:spcPct val="100000"/>
              </a:lnSpc>
              <a:spcAft>
                <a:spcPts val="0"/>
              </a:spcAft>
              <a:buNone/>
              <a:tabLst>
                <a:tab pos="164130" algn="l"/>
              </a:tabLst>
              <a:defRPr sz="907" b="0" baseline="0">
                <a:solidFill>
                  <a:schemeClr val="tx1"/>
                </a:solidFill>
              </a:defRPr>
            </a:lvl3pPr>
            <a:lvl8pPr>
              <a:defRPr/>
            </a:lvl8pPr>
          </a:lstStyle>
          <a:p>
            <a:pPr lvl="0"/>
            <a:r>
              <a:rPr lang="en-US" dirty="0"/>
              <a:t>Job title</a:t>
            </a:r>
          </a:p>
        </p:txBody>
      </p:sp>
      <p:sp>
        <p:nvSpPr>
          <p:cNvPr id="93" name="CV Name">
            <a:extLst>
              <a:ext uri="{FF2B5EF4-FFF2-40B4-BE49-F238E27FC236}">
                <a16:creationId xmlns:a16="http://schemas.microsoft.com/office/drawing/2014/main" id="{2CD6151E-6A87-4C69-A53E-DD74879CE986}"/>
              </a:ext>
            </a:extLst>
          </p:cNvPr>
          <p:cNvSpPr>
            <a:spLocks noGrp="1"/>
          </p:cNvSpPr>
          <p:nvPr>
            <p:ph type="body" sz="quarter" idx="136" hasCustomPrompt="1"/>
          </p:nvPr>
        </p:nvSpPr>
        <p:spPr>
          <a:xfrm>
            <a:off x="9288782" y="4978813"/>
            <a:ext cx="2182202" cy="167490"/>
          </a:xfrm>
        </p:spPr>
        <p:txBody>
          <a:bodyPr lIns="54000" tIns="0">
            <a:noAutofit/>
          </a:bodyPr>
          <a:lstStyle>
            <a:lvl1pPr>
              <a:lnSpc>
                <a:spcPct val="100000"/>
              </a:lnSpc>
              <a:spcAft>
                <a:spcPts val="0"/>
              </a:spcAft>
              <a:defRPr sz="907" b="0">
                <a:solidFill>
                  <a:schemeClr val="accent1"/>
                </a:solidFill>
                <a:latin typeface="+mj-lt"/>
              </a:defRPr>
            </a:lvl1pPr>
            <a:lvl2pPr>
              <a:lnSpc>
                <a:spcPct val="100000"/>
              </a:lnSpc>
              <a:spcAft>
                <a:spcPts val="1088"/>
              </a:spcAft>
              <a:defRPr sz="1088" b="0">
                <a:solidFill>
                  <a:schemeClr val="tx1"/>
                </a:solidFill>
                <a:latin typeface="+mj-lt"/>
              </a:defRPr>
            </a:lvl2pPr>
            <a:lvl3pPr marL="0" indent="0">
              <a:lnSpc>
                <a:spcPct val="100000"/>
              </a:lnSpc>
              <a:spcAft>
                <a:spcPts val="0"/>
              </a:spcAft>
              <a:buNone/>
              <a:tabLst>
                <a:tab pos="164130" algn="l"/>
              </a:tabLst>
              <a:defRPr sz="907" b="0" baseline="0">
                <a:solidFill>
                  <a:schemeClr val="tx1"/>
                </a:solidFill>
              </a:defRPr>
            </a:lvl3pPr>
            <a:lvl8pPr>
              <a:defRPr/>
            </a:lvl8pPr>
          </a:lstStyle>
          <a:p>
            <a:pPr lvl="0"/>
            <a:r>
              <a:rPr lang="en-US" dirty="0"/>
              <a:t>Name</a:t>
            </a:r>
          </a:p>
        </p:txBody>
      </p:sp>
      <p:sp>
        <p:nvSpPr>
          <p:cNvPr id="94" name="CV Photo">
            <a:extLst>
              <a:ext uri="{FF2B5EF4-FFF2-40B4-BE49-F238E27FC236}">
                <a16:creationId xmlns:a16="http://schemas.microsoft.com/office/drawing/2014/main" id="{25F16CDD-02B0-452B-88D6-447D14DFBE78}"/>
              </a:ext>
            </a:extLst>
          </p:cNvPr>
          <p:cNvSpPr>
            <a:spLocks noGrp="1" noChangeAspect="1"/>
          </p:cNvSpPr>
          <p:nvPr>
            <p:ph type="pic" sz="quarter" idx="22" hasCustomPrompt="1"/>
          </p:nvPr>
        </p:nvSpPr>
        <p:spPr>
          <a:xfrm>
            <a:off x="731139" y="1534878"/>
            <a:ext cx="1026128" cy="816292"/>
          </a:xfrm>
          <a:solidFill>
            <a:schemeClr val="bg1">
              <a:lumMod val="95000"/>
            </a:schemeClr>
          </a:solidFill>
        </p:spPr>
        <p:txBody>
          <a:bodyPr anchor="ctr" anchorCtr="1">
            <a:noAutofit/>
          </a:bodyPr>
          <a:lstStyle>
            <a:lvl1pPr>
              <a:defRPr sz="726" b="0">
                <a:solidFill>
                  <a:schemeClr val="tx1"/>
                </a:solidFill>
              </a:defRPr>
            </a:lvl1pPr>
          </a:lstStyle>
          <a:p>
            <a:r>
              <a:rPr lang="en-NZ" dirty="0"/>
              <a:t>CV image</a:t>
            </a:r>
          </a:p>
        </p:txBody>
      </p:sp>
      <p:sp>
        <p:nvSpPr>
          <p:cNvPr id="95" name="CV Photo">
            <a:extLst>
              <a:ext uri="{FF2B5EF4-FFF2-40B4-BE49-F238E27FC236}">
                <a16:creationId xmlns:a16="http://schemas.microsoft.com/office/drawing/2014/main" id="{3F20F576-179E-4652-BA24-EF623842B708}"/>
              </a:ext>
            </a:extLst>
          </p:cNvPr>
          <p:cNvSpPr>
            <a:spLocks noGrp="1" noChangeAspect="1"/>
          </p:cNvSpPr>
          <p:nvPr>
            <p:ph type="pic" sz="quarter" idx="137" hasCustomPrompt="1"/>
          </p:nvPr>
        </p:nvSpPr>
        <p:spPr>
          <a:xfrm>
            <a:off x="4412723" y="1534878"/>
            <a:ext cx="1026128" cy="816292"/>
          </a:xfrm>
          <a:solidFill>
            <a:schemeClr val="bg1">
              <a:lumMod val="95000"/>
            </a:schemeClr>
          </a:solidFill>
        </p:spPr>
        <p:txBody>
          <a:bodyPr anchor="ctr" anchorCtr="1">
            <a:noAutofit/>
          </a:bodyPr>
          <a:lstStyle>
            <a:lvl1pPr>
              <a:defRPr sz="726" b="0">
                <a:solidFill>
                  <a:schemeClr val="tx1"/>
                </a:solidFill>
              </a:defRPr>
            </a:lvl1pPr>
          </a:lstStyle>
          <a:p>
            <a:r>
              <a:rPr lang="en-NZ" dirty="0"/>
              <a:t>CV image</a:t>
            </a:r>
          </a:p>
        </p:txBody>
      </p:sp>
      <p:sp>
        <p:nvSpPr>
          <p:cNvPr id="96" name="CV Photo">
            <a:extLst>
              <a:ext uri="{FF2B5EF4-FFF2-40B4-BE49-F238E27FC236}">
                <a16:creationId xmlns:a16="http://schemas.microsoft.com/office/drawing/2014/main" id="{096FA61D-FA2E-412B-9DBF-EF3719FA65D0}"/>
              </a:ext>
            </a:extLst>
          </p:cNvPr>
          <p:cNvSpPr>
            <a:spLocks noGrp="1" noChangeAspect="1"/>
          </p:cNvSpPr>
          <p:nvPr>
            <p:ph type="pic" sz="quarter" idx="138" hasCustomPrompt="1"/>
          </p:nvPr>
        </p:nvSpPr>
        <p:spPr>
          <a:xfrm>
            <a:off x="8127170" y="1534878"/>
            <a:ext cx="1026128" cy="816292"/>
          </a:xfrm>
          <a:solidFill>
            <a:schemeClr val="bg1">
              <a:lumMod val="95000"/>
            </a:schemeClr>
          </a:solidFill>
        </p:spPr>
        <p:txBody>
          <a:bodyPr anchor="ctr" anchorCtr="1">
            <a:noAutofit/>
          </a:bodyPr>
          <a:lstStyle>
            <a:lvl1pPr>
              <a:defRPr sz="726" b="0">
                <a:solidFill>
                  <a:schemeClr val="tx1"/>
                </a:solidFill>
              </a:defRPr>
            </a:lvl1pPr>
          </a:lstStyle>
          <a:p>
            <a:r>
              <a:rPr lang="en-NZ" dirty="0"/>
              <a:t>CV image</a:t>
            </a:r>
          </a:p>
        </p:txBody>
      </p:sp>
      <p:sp>
        <p:nvSpPr>
          <p:cNvPr id="97" name="CV Photo">
            <a:extLst>
              <a:ext uri="{FF2B5EF4-FFF2-40B4-BE49-F238E27FC236}">
                <a16:creationId xmlns:a16="http://schemas.microsoft.com/office/drawing/2014/main" id="{0053A1AE-B592-406C-903F-48562DA73FA9}"/>
              </a:ext>
            </a:extLst>
          </p:cNvPr>
          <p:cNvSpPr>
            <a:spLocks noGrp="1" noChangeAspect="1"/>
          </p:cNvSpPr>
          <p:nvPr>
            <p:ph type="pic" sz="quarter" idx="139" hasCustomPrompt="1"/>
          </p:nvPr>
        </p:nvSpPr>
        <p:spPr>
          <a:xfrm>
            <a:off x="731139" y="2682321"/>
            <a:ext cx="1026128" cy="816292"/>
          </a:xfrm>
          <a:solidFill>
            <a:schemeClr val="bg1">
              <a:lumMod val="95000"/>
            </a:schemeClr>
          </a:solidFill>
        </p:spPr>
        <p:txBody>
          <a:bodyPr anchor="ctr" anchorCtr="1">
            <a:noAutofit/>
          </a:bodyPr>
          <a:lstStyle>
            <a:lvl1pPr>
              <a:defRPr sz="726" b="0">
                <a:solidFill>
                  <a:schemeClr val="tx1"/>
                </a:solidFill>
              </a:defRPr>
            </a:lvl1pPr>
          </a:lstStyle>
          <a:p>
            <a:r>
              <a:rPr lang="en-NZ" dirty="0"/>
              <a:t>CV image</a:t>
            </a:r>
          </a:p>
        </p:txBody>
      </p:sp>
      <p:sp>
        <p:nvSpPr>
          <p:cNvPr id="98" name="CV Photo">
            <a:extLst>
              <a:ext uri="{FF2B5EF4-FFF2-40B4-BE49-F238E27FC236}">
                <a16:creationId xmlns:a16="http://schemas.microsoft.com/office/drawing/2014/main" id="{DABFFF9C-CAE7-4F5B-B3B1-F6CCDAA1231B}"/>
              </a:ext>
            </a:extLst>
          </p:cNvPr>
          <p:cNvSpPr>
            <a:spLocks noGrp="1" noChangeAspect="1"/>
          </p:cNvSpPr>
          <p:nvPr>
            <p:ph type="pic" sz="quarter" idx="140" hasCustomPrompt="1"/>
          </p:nvPr>
        </p:nvSpPr>
        <p:spPr>
          <a:xfrm>
            <a:off x="4412723" y="2667988"/>
            <a:ext cx="1026128" cy="816292"/>
          </a:xfrm>
          <a:solidFill>
            <a:schemeClr val="bg1">
              <a:lumMod val="95000"/>
            </a:schemeClr>
          </a:solidFill>
        </p:spPr>
        <p:txBody>
          <a:bodyPr anchor="ctr" anchorCtr="1">
            <a:noAutofit/>
          </a:bodyPr>
          <a:lstStyle>
            <a:lvl1pPr>
              <a:defRPr sz="726" b="0">
                <a:solidFill>
                  <a:schemeClr val="tx1"/>
                </a:solidFill>
              </a:defRPr>
            </a:lvl1pPr>
          </a:lstStyle>
          <a:p>
            <a:r>
              <a:rPr lang="en-NZ" dirty="0"/>
              <a:t>CV image</a:t>
            </a:r>
          </a:p>
        </p:txBody>
      </p:sp>
      <p:sp>
        <p:nvSpPr>
          <p:cNvPr id="99" name="CV Photo">
            <a:extLst>
              <a:ext uri="{FF2B5EF4-FFF2-40B4-BE49-F238E27FC236}">
                <a16:creationId xmlns:a16="http://schemas.microsoft.com/office/drawing/2014/main" id="{7D427369-B504-4F20-AC30-5E6548C4783D}"/>
              </a:ext>
            </a:extLst>
          </p:cNvPr>
          <p:cNvSpPr>
            <a:spLocks noGrp="1" noChangeAspect="1"/>
          </p:cNvSpPr>
          <p:nvPr>
            <p:ph type="pic" sz="quarter" idx="141" hasCustomPrompt="1"/>
          </p:nvPr>
        </p:nvSpPr>
        <p:spPr>
          <a:xfrm>
            <a:off x="8127170" y="2667988"/>
            <a:ext cx="1026128" cy="816292"/>
          </a:xfrm>
          <a:solidFill>
            <a:schemeClr val="bg1">
              <a:lumMod val="95000"/>
            </a:schemeClr>
          </a:solidFill>
        </p:spPr>
        <p:txBody>
          <a:bodyPr anchor="ctr" anchorCtr="1">
            <a:noAutofit/>
          </a:bodyPr>
          <a:lstStyle>
            <a:lvl1pPr>
              <a:defRPr sz="726" b="0">
                <a:solidFill>
                  <a:schemeClr val="tx1"/>
                </a:solidFill>
              </a:defRPr>
            </a:lvl1pPr>
          </a:lstStyle>
          <a:p>
            <a:r>
              <a:rPr lang="en-NZ" dirty="0"/>
              <a:t>CV image</a:t>
            </a:r>
          </a:p>
        </p:txBody>
      </p:sp>
      <p:sp>
        <p:nvSpPr>
          <p:cNvPr id="100" name="CV Photo">
            <a:extLst>
              <a:ext uri="{FF2B5EF4-FFF2-40B4-BE49-F238E27FC236}">
                <a16:creationId xmlns:a16="http://schemas.microsoft.com/office/drawing/2014/main" id="{335D1C5C-7E5B-4CD9-8196-6790897A573A}"/>
              </a:ext>
            </a:extLst>
          </p:cNvPr>
          <p:cNvSpPr>
            <a:spLocks noGrp="1" noChangeAspect="1"/>
          </p:cNvSpPr>
          <p:nvPr>
            <p:ph type="pic" sz="quarter" idx="142" hasCustomPrompt="1"/>
          </p:nvPr>
        </p:nvSpPr>
        <p:spPr>
          <a:xfrm>
            <a:off x="731139" y="3829764"/>
            <a:ext cx="1026128" cy="816292"/>
          </a:xfrm>
          <a:solidFill>
            <a:schemeClr val="bg1">
              <a:lumMod val="95000"/>
            </a:schemeClr>
          </a:solidFill>
        </p:spPr>
        <p:txBody>
          <a:bodyPr anchor="ctr" anchorCtr="1">
            <a:noAutofit/>
          </a:bodyPr>
          <a:lstStyle>
            <a:lvl1pPr>
              <a:defRPr sz="726" b="0">
                <a:solidFill>
                  <a:schemeClr val="tx1"/>
                </a:solidFill>
              </a:defRPr>
            </a:lvl1pPr>
          </a:lstStyle>
          <a:p>
            <a:r>
              <a:rPr lang="en-NZ" dirty="0"/>
              <a:t>CV image</a:t>
            </a:r>
          </a:p>
        </p:txBody>
      </p:sp>
      <p:sp>
        <p:nvSpPr>
          <p:cNvPr id="101" name="CV Photo">
            <a:extLst>
              <a:ext uri="{FF2B5EF4-FFF2-40B4-BE49-F238E27FC236}">
                <a16:creationId xmlns:a16="http://schemas.microsoft.com/office/drawing/2014/main" id="{1457D62B-AA5A-4522-916F-D04BEBA2B24D}"/>
              </a:ext>
            </a:extLst>
          </p:cNvPr>
          <p:cNvSpPr>
            <a:spLocks noGrp="1" noChangeAspect="1"/>
          </p:cNvSpPr>
          <p:nvPr>
            <p:ph type="pic" sz="quarter" idx="143" hasCustomPrompt="1"/>
          </p:nvPr>
        </p:nvSpPr>
        <p:spPr>
          <a:xfrm>
            <a:off x="4412723" y="3834622"/>
            <a:ext cx="1026128" cy="816292"/>
          </a:xfrm>
          <a:solidFill>
            <a:schemeClr val="bg1">
              <a:lumMod val="95000"/>
            </a:schemeClr>
          </a:solidFill>
        </p:spPr>
        <p:txBody>
          <a:bodyPr anchor="ctr" anchorCtr="1">
            <a:noAutofit/>
          </a:bodyPr>
          <a:lstStyle>
            <a:lvl1pPr>
              <a:defRPr sz="726" b="0">
                <a:solidFill>
                  <a:schemeClr val="tx1"/>
                </a:solidFill>
              </a:defRPr>
            </a:lvl1pPr>
          </a:lstStyle>
          <a:p>
            <a:r>
              <a:rPr lang="en-NZ" dirty="0"/>
              <a:t>CV image</a:t>
            </a:r>
          </a:p>
        </p:txBody>
      </p:sp>
      <p:sp>
        <p:nvSpPr>
          <p:cNvPr id="102" name="CV Photo">
            <a:extLst>
              <a:ext uri="{FF2B5EF4-FFF2-40B4-BE49-F238E27FC236}">
                <a16:creationId xmlns:a16="http://schemas.microsoft.com/office/drawing/2014/main" id="{AD78686D-DF95-42C7-B76E-00D88AFA7AB9}"/>
              </a:ext>
            </a:extLst>
          </p:cNvPr>
          <p:cNvSpPr>
            <a:spLocks noGrp="1" noChangeAspect="1"/>
          </p:cNvSpPr>
          <p:nvPr>
            <p:ph type="pic" sz="quarter" idx="144" hasCustomPrompt="1"/>
          </p:nvPr>
        </p:nvSpPr>
        <p:spPr>
          <a:xfrm>
            <a:off x="8127170" y="3834622"/>
            <a:ext cx="1026128" cy="816292"/>
          </a:xfrm>
          <a:solidFill>
            <a:schemeClr val="bg1">
              <a:lumMod val="95000"/>
            </a:schemeClr>
          </a:solidFill>
        </p:spPr>
        <p:txBody>
          <a:bodyPr anchor="ctr" anchorCtr="1">
            <a:noAutofit/>
          </a:bodyPr>
          <a:lstStyle>
            <a:lvl1pPr>
              <a:defRPr sz="726" b="0">
                <a:solidFill>
                  <a:schemeClr val="tx1"/>
                </a:solidFill>
              </a:defRPr>
            </a:lvl1pPr>
          </a:lstStyle>
          <a:p>
            <a:r>
              <a:rPr lang="en-NZ" dirty="0"/>
              <a:t>CV image</a:t>
            </a:r>
          </a:p>
        </p:txBody>
      </p:sp>
      <p:sp>
        <p:nvSpPr>
          <p:cNvPr id="103" name="CV Photo">
            <a:extLst>
              <a:ext uri="{FF2B5EF4-FFF2-40B4-BE49-F238E27FC236}">
                <a16:creationId xmlns:a16="http://schemas.microsoft.com/office/drawing/2014/main" id="{5B51B9DD-1BEC-4F91-BD31-208281C09C86}"/>
              </a:ext>
            </a:extLst>
          </p:cNvPr>
          <p:cNvSpPr>
            <a:spLocks noGrp="1" noChangeAspect="1"/>
          </p:cNvSpPr>
          <p:nvPr>
            <p:ph type="pic" sz="quarter" idx="145" hasCustomPrompt="1"/>
          </p:nvPr>
        </p:nvSpPr>
        <p:spPr>
          <a:xfrm>
            <a:off x="731139" y="4977206"/>
            <a:ext cx="1026128" cy="816292"/>
          </a:xfrm>
          <a:solidFill>
            <a:schemeClr val="bg1">
              <a:lumMod val="95000"/>
            </a:schemeClr>
          </a:solidFill>
        </p:spPr>
        <p:txBody>
          <a:bodyPr anchor="ctr" anchorCtr="1">
            <a:noAutofit/>
          </a:bodyPr>
          <a:lstStyle>
            <a:lvl1pPr>
              <a:defRPr sz="726" b="0">
                <a:solidFill>
                  <a:schemeClr val="tx1"/>
                </a:solidFill>
              </a:defRPr>
            </a:lvl1pPr>
          </a:lstStyle>
          <a:p>
            <a:r>
              <a:rPr lang="en-NZ" dirty="0"/>
              <a:t>CV image</a:t>
            </a:r>
          </a:p>
        </p:txBody>
      </p:sp>
      <p:sp>
        <p:nvSpPr>
          <p:cNvPr id="104" name="CV Photo">
            <a:extLst>
              <a:ext uri="{FF2B5EF4-FFF2-40B4-BE49-F238E27FC236}">
                <a16:creationId xmlns:a16="http://schemas.microsoft.com/office/drawing/2014/main" id="{A2F5B64D-8C5F-4FCB-B127-BB453363E695}"/>
              </a:ext>
            </a:extLst>
          </p:cNvPr>
          <p:cNvSpPr>
            <a:spLocks noGrp="1" noChangeAspect="1"/>
          </p:cNvSpPr>
          <p:nvPr>
            <p:ph type="pic" sz="quarter" idx="146" hasCustomPrompt="1"/>
          </p:nvPr>
        </p:nvSpPr>
        <p:spPr>
          <a:xfrm>
            <a:off x="4412723" y="4977206"/>
            <a:ext cx="1026128" cy="816292"/>
          </a:xfrm>
          <a:solidFill>
            <a:schemeClr val="bg1">
              <a:lumMod val="95000"/>
            </a:schemeClr>
          </a:solidFill>
        </p:spPr>
        <p:txBody>
          <a:bodyPr anchor="ctr" anchorCtr="1">
            <a:noAutofit/>
          </a:bodyPr>
          <a:lstStyle>
            <a:lvl1pPr>
              <a:defRPr sz="726" b="0">
                <a:solidFill>
                  <a:schemeClr val="tx1"/>
                </a:solidFill>
              </a:defRPr>
            </a:lvl1pPr>
          </a:lstStyle>
          <a:p>
            <a:r>
              <a:rPr lang="en-NZ" dirty="0"/>
              <a:t>CV image</a:t>
            </a:r>
          </a:p>
        </p:txBody>
      </p:sp>
      <p:sp>
        <p:nvSpPr>
          <p:cNvPr id="105" name="CV Photo">
            <a:extLst>
              <a:ext uri="{FF2B5EF4-FFF2-40B4-BE49-F238E27FC236}">
                <a16:creationId xmlns:a16="http://schemas.microsoft.com/office/drawing/2014/main" id="{186B6E80-F85B-4D18-ACA7-7659648A4DC1}"/>
              </a:ext>
            </a:extLst>
          </p:cNvPr>
          <p:cNvSpPr>
            <a:spLocks noGrp="1" noChangeAspect="1"/>
          </p:cNvSpPr>
          <p:nvPr>
            <p:ph type="pic" sz="quarter" idx="147" hasCustomPrompt="1"/>
          </p:nvPr>
        </p:nvSpPr>
        <p:spPr>
          <a:xfrm>
            <a:off x="8127170" y="4977206"/>
            <a:ext cx="1026128" cy="816292"/>
          </a:xfrm>
          <a:solidFill>
            <a:schemeClr val="bg1">
              <a:lumMod val="95000"/>
            </a:schemeClr>
          </a:solidFill>
        </p:spPr>
        <p:txBody>
          <a:bodyPr anchor="ctr" anchorCtr="1">
            <a:noAutofit/>
          </a:bodyPr>
          <a:lstStyle>
            <a:lvl1pPr>
              <a:defRPr sz="726" b="0">
                <a:solidFill>
                  <a:schemeClr val="tx1"/>
                </a:solidFill>
              </a:defRPr>
            </a:lvl1pPr>
          </a:lstStyle>
          <a:p>
            <a:r>
              <a:rPr lang="en-NZ" dirty="0"/>
              <a:t>CV image</a:t>
            </a:r>
          </a:p>
        </p:txBody>
      </p:sp>
    </p:spTree>
    <p:extLst>
      <p:ext uri="{BB962C8B-B14F-4D97-AF65-F5344CB8AC3E}">
        <p14:creationId xmlns:p14="http://schemas.microsoft.com/office/powerpoint/2010/main" val="93800435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Award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page title</a:t>
            </a:r>
            <a:endParaRPr lang="en-GB" dirty="0"/>
          </a:p>
        </p:txBody>
      </p:sp>
      <p:sp>
        <p:nvSpPr>
          <p:cNvPr id="16" name="Picture Placeholder 15"/>
          <p:cNvSpPr>
            <a:spLocks noGrp="1"/>
          </p:cNvSpPr>
          <p:nvPr>
            <p:ph type="pic" sz="quarter" idx="10" hasCustomPrompt="1"/>
          </p:nvPr>
        </p:nvSpPr>
        <p:spPr>
          <a:xfrm>
            <a:off x="720501" y="1545552"/>
            <a:ext cx="2463378" cy="951740"/>
          </a:xfrm>
          <a:solidFill>
            <a:schemeClr val="bg1">
              <a:lumMod val="95000"/>
            </a:schemeClr>
          </a:solidFill>
          <a:ln w="6350">
            <a:solidFill>
              <a:schemeClr val="bg1"/>
            </a:solidFill>
          </a:ln>
        </p:spPr>
        <p:txBody>
          <a:bodyPr anchor="ctr" anchorCtr="1">
            <a:noAutofit/>
          </a:bodyPr>
          <a:lstStyle>
            <a:lvl1pPr>
              <a:defRPr sz="907" b="0"/>
            </a:lvl1pPr>
          </a:lstStyle>
          <a:p>
            <a:r>
              <a:rPr lang="en-US" dirty="0"/>
              <a:t>Click to insert picture</a:t>
            </a:r>
            <a:endParaRPr lang="en-GB" dirty="0"/>
          </a:p>
        </p:txBody>
      </p:sp>
      <p:sp>
        <p:nvSpPr>
          <p:cNvPr id="17" name="Picture Placeholder 15"/>
          <p:cNvSpPr>
            <a:spLocks noGrp="1"/>
          </p:cNvSpPr>
          <p:nvPr>
            <p:ph type="pic" sz="quarter" idx="11" hasCustomPrompt="1"/>
          </p:nvPr>
        </p:nvSpPr>
        <p:spPr>
          <a:xfrm>
            <a:off x="3483758" y="1545552"/>
            <a:ext cx="2463378" cy="951740"/>
          </a:xfrm>
          <a:solidFill>
            <a:schemeClr val="bg1">
              <a:lumMod val="95000"/>
            </a:schemeClr>
          </a:solidFill>
          <a:ln w="6350">
            <a:solidFill>
              <a:schemeClr val="bg1"/>
            </a:solidFill>
          </a:ln>
        </p:spPr>
        <p:txBody>
          <a:bodyPr anchor="ctr" anchorCtr="1">
            <a:noAutofit/>
          </a:bodyPr>
          <a:lstStyle>
            <a:lvl1pPr>
              <a:defRPr sz="907" b="0"/>
            </a:lvl1pPr>
          </a:lstStyle>
          <a:p>
            <a:r>
              <a:rPr lang="en-US" dirty="0"/>
              <a:t>Click to insert picture</a:t>
            </a:r>
            <a:endParaRPr lang="en-GB" dirty="0"/>
          </a:p>
        </p:txBody>
      </p:sp>
      <p:sp>
        <p:nvSpPr>
          <p:cNvPr id="18" name="Picture Placeholder 15"/>
          <p:cNvSpPr>
            <a:spLocks noGrp="1"/>
          </p:cNvSpPr>
          <p:nvPr>
            <p:ph type="pic" sz="quarter" idx="12" hasCustomPrompt="1"/>
          </p:nvPr>
        </p:nvSpPr>
        <p:spPr>
          <a:xfrm>
            <a:off x="6247015" y="1545552"/>
            <a:ext cx="2463378" cy="951740"/>
          </a:xfrm>
          <a:solidFill>
            <a:schemeClr val="bg1">
              <a:lumMod val="95000"/>
            </a:schemeClr>
          </a:solidFill>
          <a:ln w="6350">
            <a:solidFill>
              <a:schemeClr val="bg1"/>
            </a:solidFill>
          </a:ln>
        </p:spPr>
        <p:txBody>
          <a:bodyPr anchor="ctr" anchorCtr="1">
            <a:noAutofit/>
          </a:bodyPr>
          <a:lstStyle>
            <a:lvl1pPr>
              <a:defRPr sz="907" b="0"/>
            </a:lvl1pPr>
          </a:lstStyle>
          <a:p>
            <a:r>
              <a:rPr lang="en-US" dirty="0"/>
              <a:t>Click to insert picture</a:t>
            </a:r>
            <a:endParaRPr lang="en-GB" dirty="0"/>
          </a:p>
        </p:txBody>
      </p:sp>
      <p:sp>
        <p:nvSpPr>
          <p:cNvPr id="19" name="Picture Placeholder 15"/>
          <p:cNvSpPr>
            <a:spLocks noGrp="1"/>
          </p:cNvSpPr>
          <p:nvPr>
            <p:ph type="pic" sz="quarter" idx="13" hasCustomPrompt="1"/>
          </p:nvPr>
        </p:nvSpPr>
        <p:spPr>
          <a:xfrm>
            <a:off x="9010272" y="1545552"/>
            <a:ext cx="2463378" cy="951740"/>
          </a:xfrm>
          <a:solidFill>
            <a:schemeClr val="bg1">
              <a:lumMod val="95000"/>
            </a:schemeClr>
          </a:solidFill>
          <a:ln w="6350">
            <a:solidFill>
              <a:schemeClr val="bg1"/>
            </a:solidFill>
          </a:ln>
        </p:spPr>
        <p:txBody>
          <a:bodyPr anchor="ctr" anchorCtr="1">
            <a:noAutofit/>
          </a:bodyPr>
          <a:lstStyle>
            <a:lvl1pPr>
              <a:defRPr sz="907" b="0"/>
            </a:lvl1pPr>
          </a:lstStyle>
          <a:p>
            <a:r>
              <a:rPr lang="en-US" dirty="0"/>
              <a:t>Click to insert picture</a:t>
            </a:r>
            <a:endParaRPr lang="en-GB" dirty="0"/>
          </a:p>
        </p:txBody>
      </p:sp>
      <p:sp>
        <p:nvSpPr>
          <p:cNvPr id="26" name="Text Placeholder 25"/>
          <p:cNvSpPr>
            <a:spLocks noGrp="1"/>
          </p:cNvSpPr>
          <p:nvPr>
            <p:ph type="body" sz="quarter" idx="18" hasCustomPrompt="1"/>
          </p:nvPr>
        </p:nvSpPr>
        <p:spPr>
          <a:xfrm>
            <a:off x="720501" y="2562875"/>
            <a:ext cx="2461568" cy="1142809"/>
          </a:xfrm>
        </p:spPr>
        <p:txBody>
          <a:bodyPr>
            <a:noAutofit/>
          </a:bodyPr>
          <a:lstStyle>
            <a:lvl1pPr>
              <a:lnSpc>
                <a:spcPct val="100000"/>
              </a:lnSpc>
              <a:spcAft>
                <a:spcPts val="272"/>
              </a:spcAft>
              <a:defRPr sz="907">
                <a:solidFill>
                  <a:schemeClr val="accent1"/>
                </a:solidFill>
              </a:defRPr>
            </a:lvl1pPr>
            <a:lvl2pPr>
              <a:lnSpc>
                <a:spcPct val="100000"/>
              </a:lnSpc>
              <a:spcAft>
                <a:spcPts val="272"/>
              </a:spcAft>
              <a:defRPr sz="907"/>
            </a:lvl2pPr>
            <a:lvl3pPr>
              <a:lnSpc>
                <a:spcPct val="100000"/>
              </a:lnSpc>
              <a:spcAft>
                <a:spcPts val="272"/>
              </a:spcAft>
              <a:defRPr sz="907"/>
            </a:lvl3pPr>
            <a:lvl4pPr>
              <a:lnSpc>
                <a:spcPct val="100000"/>
              </a:lnSpc>
              <a:spcAft>
                <a:spcPts val="272"/>
              </a:spcAft>
              <a:defRPr sz="907"/>
            </a:lvl4pPr>
            <a:lvl5pPr>
              <a:lnSpc>
                <a:spcPct val="100000"/>
              </a:lnSpc>
              <a:spcAft>
                <a:spcPts val="272"/>
              </a:spcAft>
              <a:defRPr sz="907"/>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7" name="Text Placeholder 25"/>
          <p:cNvSpPr>
            <a:spLocks noGrp="1"/>
          </p:cNvSpPr>
          <p:nvPr>
            <p:ph type="body" sz="quarter" idx="19" hasCustomPrompt="1"/>
          </p:nvPr>
        </p:nvSpPr>
        <p:spPr>
          <a:xfrm>
            <a:off x="3484361" y="2562875"/>
            <a:ext cx="2461568" cy="1142809"/>
          </a:xfrm>
        </p:spPr>
        <p:txBody>
          <a:bodyPr>
            <a:noAutofit/>
          </a:bodyPr>
          <a:lstStyle>
            <a:lvl1pPr>
              <a:lnSpc>
                <a:spcPct val="100000"/>
              </a:lnSpc>
              <a:spcAft>
                <a:spcPts val="272"/>
              </a:spcAft>
              <a:defRPr sz="907">
                <a:solidFill>
                  <a:schemeClr val="accent1"/>
                </a:solidFill>
              </a:defRPr>
            </a:lvl1pPr>
            <a:lvl2pPr>
              <a:lnSpc>
                <a:spcPct val="100000"/>
              </a:lnSpc>
              <a:spcAft>
                <a:spcPts val="272"/>
              </a:spcAft>
              <a:defRPr sz="907"/>
            </a:lvl2pPr>
            <a:lvl3pPr>
              <a:lnSpc>
                <a:spcPct val="100000"/>
              </a:lnSpc>
              <a:spcAft>
                <a:spcPts val="272"/>
              </a:spcAft>
              <a:defRPr sz="907"/>
            </a:lvl3pPr>
            <a:lvl4pPr>
              <a:lnSpc>
                <a:spcPct val="100000"/>
              </a:lnSpc>
              <a:spcAft>
                <a:spcPts val="272"/>
              </a:spcAft>
              <a:defRPr sz="907"/>
            </a:lvl4pPr>
            <a:lvl5pPr>
              <a:lnSpc>
                <a:spcPct val="100000"/>
              </a:lnSpc>
              <a:spcAft>
                <a:spcPts val="272"/>
              </a:spcAft>
              <a:defRPr sz="907"/>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8" name="Text Placeholder 25"/>
          <p:cNvSpPr>
            <a:spLocks noGrp="1"/>
          </p:cNvSpPr>
          <p:nvPr>
            <p:ph type="body" sz="quarter" idx="20" hasCustomPrompt="1"/>
          </p:nvPr>
        </p:nvSpPr>
        <p:spPr>
          <a:xfrm>
            <a:off x="6248222" y="2562875"/>
            <a:ext cx="2461568" cy="1142809"/>
          </a:xfrm>
        </p:spPr>
        <p:txBody>
          <a:bodyPr>
            <a:noAutofit/>
          </a:bodyPr>
          <a:lstStyle>
            <a:lvl1pPr>
              <a:lnSpc>
                <a:spcPct val="100000"/>
              </a:lnSpc>
              <a:spcAft>
                <a:spcPts val="272"/>
              </a:spcAft>
              <a:defRPr sz="907">
                <a:solidFill>
                  <a:schemeClr val="accent1"/>
                </a:solidFill>
              </a:defRPr>
            </a:lvl1pPr>
            <a:lvl2pPr>
              <a:lnSpc>
                <a:spcPct val="100000"/>
              </a:lnSpc>
              <a:spcAft>
                <a:spcPts val="272"/>
              </a:spcAft>
              <a:defRPr sz="907"/>
            </a:lvl2pPr>
            <a:lvl3pPr>
              <a:lnSpc>
                <a:spcPct val="100000"/>
              </a:lnSpc>
              <a:spcAft>
                <a:spcPts val="272"/>
              </a:spcAft>
              <a:defRPr sz="907"/>
            </a:lvl3pPr>
            <a:lvl4pPr>
              <a:lnSpc>
                <a:spcPct val="100000"/>
              </a:lnSpc>
              <a:spcAft>
                <a:spcPts val="272"/>
              </a:spcAft>
              <a:defRPr sz="907"/>
            </a:lvl4pPr>
            <a:lvl5pPr>
              <a:lnSpc>
                <a:spcPct val="100000"/>
              </a:lnSpc>
              <a:spcAft>
                <a:spcPts val="272"/>
              </a:spcAft>
              <a:defRPr sz="907"/>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9" name="Text Placeholder 25"/>
          <p:cNvSpPr>
            <a:spLocks noGrp="1"/>
          </p:cNvSpPr>
          <p:nvPr>
            <p:ph type="body" sz="quarter" idx="21" hasCustomPrompt="1"/>
          </p:nvPr>
        </p:nvSpPr>
        <p:spPr>
          <a:xfrm>
            <a:off x="9012081" y="2562875"/>
            <a:ext cx="2461568" cy="1142809"/>
          </a:xfrm>
        </p:spPr>
        <p:txBody>
          <a:bodyPr>
            <a:noAutofit/>
          </a:bodyPr>
          <a:lstStyle>
            <a:lvl1pPr>
              <a:lnSpc>
                <a:spcPct val="100000"/>
              </a:lnSpc>
              <a:spcAft>
                <a:spcPts val="272"/>
              </a:spcAft>
              <a:defRPr sz="907">
                <a:solidFill>
                  <a:schemeClr val="accent1"/>
                </a:solidFill>
              </a:defRPr>
            </a:lvl1pPr>
            <a:lvl2pPr>
              <a:lnSpc>
                <a:spcPct val="100000"/>
              </a:lnSpc>
              <a:spcAft>
                <a:spcPts val="272"/>
              </a:spcAft>
              <a:defRPr sz="907"/>
            </a:lvl2pPr>
            <a:lvl3pPr>
              <a:lnSpc>
                <a:spcPct val="100000"/>
              </a:lnSpc>
              <a:spcAft>
                <a:spcPts val="272"/>
              </a:spcAft>
              <a:defRPr sz="907"/>
            </a:lvl3pPr>
            <a:lvl4pPr>
              <a:lnSpc>
                <a:spcPct val="100000"/>
              </a:lnSpc>
              <a:spcAft>
                <a:spcPts val="272"/>
              </a:spcAft>
              <a:defRPr sz="907"/>
            </a:lvl4pPr>
            <a:lvl5pPr>
              <a:lnSpc>
                <a:spcPct val="100000"/>
              </a:lnSpc>
              <a:spcAft>
                <a:spcPts val="272"/>
              </a:spcAft>
              <a:defRPr sz="907"/>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2" name="Picture Placeholder 15"/>
          <p:cNvSpPr>
            <a:spLocks noGrp="1"/>
          </p:cNvSpPr>
          <p:nvPr>
            <p:ph type="pic" sz="quarter" idx="22" hasCustomPrompt="1"/>
          </p:nvPr>
        </p:nvSpPr>
        <p:spPr>
          <a:xfrm>
            <a:off x="720501" y="4016795"/>
            <a:ext cx="2463378" cy="951740"/>
          </a:xfrm>
          <a:solidFill>
            <a:schemeClr val="bg1">
              <a:lumMod val="95000"/>
            </a:schemeClr>
          </a:solidFill>
          <a:ln w="6350">
            <a:solidFill>
              <a:schemeClr val="bg1"/>
            </a:solidFill>
          </a:ln>
        </p:spPr>
        <p:txBody>
          <a:bodyPr anchor="ctr" anchorCtr="1">
            <a:noAutofit/>
          </a:bodyPr>
          <a:lstStyle>
            <a:lvl1pPr>
              <a:defRPr sz="907" b="0"/>
            </a:lvl1pPr>
          </a:lstStyle>
          <a:p>
            <a:r>
              <a:rPr lang="en-US" dirty="0"/>
              <a:t>Click to insert picture</a:t>
            </a:r>
            <a:endParaRPr lang="en-GB" dirty="0"/>
          </a:p>
        </p:txBody>
      </p:sp>
      <p:sp>
        <p:nvSpPr>
          <p:cNvPr id="43" name="Picture Placeholder 15"/>
          <p:cNvSpPr>
            <a:spLocks noGrp="1"/>
          </p:cNvSpPr>
          <p:nvPr>
            <p:ph type="pic" sz="quarter" idx="23" hasCustomPrompt="1"/>
          </p:nvPr>
        </p:nvSpPr>
        <p:spPr>
          <a:xfrm>
            <a:off x="3483758" y="4016795"/>
            <a:ext cx="2463378" cy="951740"/>
          </a:xfrm>
          <a:solidFill>
            <a:schemeClr val="bg1">
              <a:lumMod val="95000"/>
            </a:schemeClr>
          </a:solidFill>
          <a:ln w="6350">
            <a:solidFill>
              <a:schemeClr val="bg1"/>
            </a:solidFill>
          </a:ln>
        </p:spPr>
        <p:txBody>
          <a:bodyPr anchor="ctr" anchorCtr="1">
            <a:noAutofit/>
          </a:bodyPr>
          <a:lstStyle>
            <a:lvl1pPr>
              <a:defRPr sz="907" b="0"/>
            </a:lvl1pPr>
          </a:lstStyle>
          <a:p>
            <a:r>
              <a:rPr lang="en-US" dirty="0"/>
              <a:t>Click to insert picture</a:t>
            </a:r>
            <a:endParaRPr lang="en-GB" dirty="0"/>
          </a:p>
        </p:txBody>
      </p:sp>
      <p:sp>
        <p:nvSpPr>
          <p:cNvPr id="44" name="Picture Placeholder 15"/>
          <p:cNvSpPr>
            <a:spLocks noGrp="1"/>
          </p:cNvSpPr>
          <p:nvPr>
            <p:ph type="pic" sz="quarter" idx="24" hasCustomPrompt="1"/>
          </p:nvPr>
        </p:nvSpPr>
        <p:spPr>
          <a:xfrm>
            <a:off x="6247015" y="4016795"/>
            <a:ext cx="2463378" cy="951740"/>
          </a:xfrm>
          <a:solidFill>
            <a:schemeClr val="bg1">
              <a:lumMod val="95000"/>
            </a:schemeClr>
          </a:solidFill>
          <a:ln w="6350">
            <a:solidFill>
              <a:schemeClr val="bg1"/>
            </a:solidFill>
          </a:ln>
        </p:spPr>
        <p:txBody>
          <a:bodyPr anchor="ctr" anchorCtr="1">
            <a:noAutofit/>
          </a:bodyPr>
          <a:lstStyle>
            <a:lvl1pPr>
              <a:defRPr sz="907" b="0"/>
            </a:lvl1pPr>
          </a:lstStyle>
          <a:p>
            <a:r>
              <a:rPr lang="en-US" dirty="0"/>
              <a:t>Click to insert picture</a:t>
            </a:r>
            <a:endParaRPr lang="en-GB" dirty="0"/>
          </a:p>
        </p:txBody>
      </p:sp>
      <p:sp>
        <p:nvSpPr>
          <p:cNvPr id="45" name="Picture Placeholder 15"/>
          <p:cNvSpPr>
            <a:spLocks noGrp="1"/>
          </p:cNvSpPr>
          <p:nvPr>
            <p:ph type="pic" sz="quarter" idx="25" hasCustomPrompt="1"/>
          </p:nvPr>
        </p:nvSpPr>
        <p:spPr>
          <a:xfrm>
            <a:off x="9010272" y="4016795"/>
            <a:ext cx="2463378" cy="951740"/>
          </a:xfrm>
          <a:solidFill>
            <a:schemeClr val="bg1">
              <a:lumMod val="95000"/>
            </a:schemeClr>
          </a:solidFill>
          <a:ln w="6350">
            <a:solidFill>
              <a:schemeClr val="bg1"/>
            </a:solidFill>
          </a:ln>
        </p:spPr>
        <p:txBody>
          <a:bodyPr anchor="ctr" anchorCtr="1">
            <a:noAutofit/>
          </a:bodyPr>
          <a:lstStyle>
            <a:lvl1pPr>
              <a:defRPr sz="907" b="0"/>
            </a:lvl1pPr>
          </a:lstStyle>
          <a:p>
            <a:r>
              <a:rPr lang="en-US" dirty="0"/>
              <a:t>Click to insert picture</a:t>
            </a:r>
            <a:endParaRPr lang="en-GB" dirty="0"/>
          </a:p>
        </p:txBody>
      </p:sp>
      <p:sp>
        <p:nvSpPr>
          <p:cNvPr id="46" name="Text Placeholder 25"/>
          <p:cNvSpPr>
            <a:spLocks noGrp="1"/>
          </p:cNvSpPr>
          <p:nvPr>
            <p:ph type="body" sz="quarter" idx="26" hasCustomPrompt="1"/>
          </p:nvPr>
        </p:nvSpPr>
        <p:spPr>
          <a:xfrm>
            <a:off x="720501" y="5034123"/>
            <a:ext cx="2461568" cy="1141279"/>
          </a:xfrm>
        </p:spPr>
        <p:txBody>
          <a:bodyPr>
            <a:noAutofit/>
          </a:bodyPr>
          <a:lstStyle>
            <a:lvl1pPr>
              <a:lnSpc>
                <a:spcPct val="100000"/>
              </a:lnSpc>
              <a:spcAft>
                <a:spcPts val="272"/>
              </a:spcAft>
              <a:defRPr sz="907">
                <a:solidFill>
                  <a:schemeClr val="accent1"/>
                </a:solidFill>
              </a:defRPr>
            </a:lvl1pPr>
            <a:lvl2pPr>
              <a:lnSpc>
                <a:spcPct val="100000"/>
              </a:lnSpc>
              <a:spcAft>
                <a:spcPts val="272"/>
              </a:spcAft>
              <a:defRPr sz="907"/>
            </a:lvl2pPr>
            <a:lvl3pPr>
              <a:lnSpc>
                <a:spcPct val="100000"/>
              </a:lnSpc>
              <a:spcAft>
                <a:spcPts val="272"/>
              </a:spcAft>
              <a:defRPr sz="907"/>
            </a:lvl3pPr>
            <a:lvl4pPr>
              <a:lnSpc>
                <a:spcPct val="100000"/>
              </a:lnSpc>
              <a:spcAft>
                <a:spcPts val="272"/>
              </a:spcAft>
              <a:defRPr sz="907"/>
            </a:lvl4pPr>
            <a:lvl5pPr>
              <a:lnSpc>
                <a:spcPct val="100000"/>
              </a:lnSpc>
              <a:spcAft>
                <a:spcPts val="272"/>
              </a:spcAft>
              <a:defRPr sz="907"/>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7" name="Text Placeholder 25"/>
          <p:cNvSpPr>
            <a:spLocks noGrp="1"/>
          </p:cNvSpPr>
          <p:nvPr>
            <p:ph type="body" sz="quarter" idx="27" hasCustomPrompt="1"/>
          </p:nvPr>
        </p:nvSpPr>
        <p:spPr>
          <a:xfrm>
            <a:off x="3484361" y="5034123"/>
            <a:ext cx="2461568" cy="1141279"/>
          </a:xfrm>
        </p:spPr>
        <p:txBody>
          <a:bodyPr>
            <a:noAutofit/>
          </a:bodyPr>
          <a:lstStyle>
            <a:lvl1pPr>
              <a:lnSpc>
                <a:spcPct val="100000"/>
              </a:lnSpc>
              <a:spcAft>
                <a:spcPts val="272"/>
              </a:spcAft>
              <a:defRPr sz="907">
                <a:solidFill>
                  <a:schemeClr val="accent1"/>
                </a:solidFill>
              </a:defRPr>
            </a:lvl1pPr>
            <a:lvl2pPr>
              <a:lnSpc>
                <a:spcPct val="100000"/>
              </a:lnSpc>
              <a:spcAft>
                <a:spcPts val="272"/>
              </a:spcAft>
              <a:defRPr sz="907"/>
            </a:lvl2pPr>
            <a:lvl3pPr>
              <a:lnSpc>
                <a:spcPct val="100000"/>
              </a:lnSpc>
              <a:spcAft>
                <a:spcPts val="272"/>
              </a:spcAft>
              <a:defRPr sz="907"/>
            </a:lvl3pPr>
            <a:lvl4pPr>
              <a:lnSpc>
                <a:spcPct val="100000"/>
              </a:lnSpc>
              <a:spcAft>
                <a:spcPts val="272"/>
              </a:spcAft>
              <a:defRPr sz="907"/>
            </a:lvl4pPr>
            <a:lvl5pPr>
              <a:lnSpc>
                <a:spcPct val="100000"/>
              </a:lnSpc>
              <a:spcAft>
                <a:spcPts val="272"/>
              </a:spcAft>
              <a:defRPr sz="907"/>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8" name="Text Placeholder 25"/>
          <p:cNvSpPr>
            <a:spLocks noGrp="1"/>
          </p:cNvSpPr>
          <p:nvPr>
            <p:ph type="body" sz="quarter" idx="28" hasCustomPrompt="1"/>
          </p:nvPr>
        </p:nvSpPr>
        <p:spPr>
          <a:xfrm>
            <a:off x="6248222" y="5034123"/>
            <a:ext cx="2461568" cy="1141279"/>
          </a:xfrm>
        </p:spPr>
        <p:txBody>
          <a:bodyPr>
            <a:noAutofit/>
          </a:bodyPr>
          <a:lstStyle>
            <a:lvl1pPr>
              <a:lnSpc>
                <a:spcPct val="100000"/>
              </a:lnSpc>
              <a:spcAft>
                <a:spcPts val="272"/>
              </a:spcAft>
              <a:defRPr sz="907">
                <a:solidFill>
                  <a:schemeClr val="accent1"/>
                </a:solidFill>
              </a:defRPr>
            </a:lvl1pPr>
            <a:lvl2pPr>
              <a:lnSpc>
                <a:spcPct val="100000"/>
              </a:lnSpc>
              <a:spcAft>
                <a:spcPts val="272"/>
              </a:spcAft>
              <a:defRPr sz="907"/>
            </a:lvl2pPr>
            <a:lvl3pPr>
              <a:lnSpc>
                <a:spcPct val="100000"/>
              </a:lnSpc>
              <a:spcAft>
                <a:spcPts val="272"/>
              </a:spcAft>
              <a:defRPr sz="907"/>
            </a:lvl3pPr>
            <a:lvl4pPr>
              <a:lnSpc>
                <a:spcPct val="100000"/>
              </a:lnSpc>
              <a:spcAft>
                <a:spcPts val="272"/>
              </a:spcAft>
              <a:defRPr sz="907"/>
            </a:lvl4pPr>
            <a:lvl5pPr>
              <a:lnSpc>
                <a:spcPct val="100000"/>
              </a:lnSpc>
              <a:spcAft>
                <a:spcPts val="272"/>
              </a:spcAft>
              <a:defRPr sz="907"/>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9" name="Text Placeholder 25"/>
          <p:cNvSpPr>
            <a:spLocks noGrp="1"/>
          </p:cNvSpPr>
          <p:nvPr>
            <p:ph type="body" sz="quarter" idx="29" hasCustomPrompt="1"/>
          </p:nvPr>
        </p:nvSpPr>
        <p:spPr>
          <a:xfrm>
            <a:off x="9012081" y="5034123"/>
            <a:ext cx="2461568" cy="1141279"/>
          </a:xfrm>
        </p:spPr>
        <p:txBody>
          <a:bodyPr>
            <a:noAutofit/>
          </a:bodyPr>
          <a:lstStyle>
            <a:lvl1pPr>
              <a:lnSpc>
                <a:spcPct val="100000"/>
              </a:lnSpc>
              <a:spcAft>
                <a:spcPts val="272"/>
              </a:spcAft>
              <a:defRPr sz="907">
                <a:solidFill>
                  <a:schemeClr val="accent1"/>
                </a:solidFill>
              </a:defRPr>
            </a:lvl1pPr>
            <a:lvl2pPr>
              <a:lnSpc>
                <a:spcPct val="100000"/>
              </a:lnSpc>
              <a:spcAft>
                <a:spcPts val="272"/>
              </a:spcAft>
              <a:defRPr sz="907"/>
            </a:lvl2pPr>
            <a:lvl3pPr>
              <a:lnSpc>
                <a:spcPct val="100000"/>
              </a:lnSpc>
              <a:spcAft>
                <a:spcPts val="272"/>
              </a:spcAft>
              <a:defRPr sz="907"/>
            </a:lvl3pPr>
            <a:lvl4pPr>
              <a:lnSpc>
                <a:spcPct val="100000"/>
              </a:lnSpc>
              <a:spcAft>
                <a:spcPts val="272"/>
              </a:spcAft>
              <a:defRPr sz="907"/>
            </a:lvl4pPr>
            <a:lvl5pPr>
              <a:lnSpc>
                <a:spcPct val="100000"/>
              </a:lnSpc>
              <a:spcAft>
                <a:spcPts val="272"/>
              </a:spcAft>
              <a:defRPr sz="907"/>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3" name="Group 22">
            <a:extLst>
              <a:ext uri="{FF2B5EF4-FFF2-40B4-BE49-F238E27FC236}">
                <a16:creationId xmlns:a16="http://schemas.microsoft.com/office/drawing/2014/main" id="{3F24ABFA-33BC-4BC6-BAF6-E67A406B0AC2}"/>
              </a:ext>
            </a:extLst>
          </p:cNvPr>
          <p:cNvGrpSpPr/>
          <p:nvPr userDrawn="1"/>
        </p:nvGrpSpPr>
        <p:grpSpPr>
          <a:xfrm>
            <a:off x="12417653" y="2"/>
            <a:ext cx="2873478" cy="1120169"/>
            <a:chOff x="10891316" y="0"/>
            <a:chExt cx="2520280" cy="1235038"/>
          </a:xfrm>
        </p:grpSpPr>
        <p:sp>
          <p:nvSpPr>
            <p:cNvPr id="24" name="TextBox 23">
              <a:extLst>
                <a:ext uri="{FF2B5EF4-FFF2-40B4-BE49-F238E27FC236}">
                  <a16:creationId xmlns:a16="http://schemas.microsoft.com/office/drawing/2014/main" id="{9B9D0833-2181-431B-A6C4-8BE4161C76C6}"/>
                </a:ext>
              </a:extLst>
            </p:cNvPr>
            <p:cNvSpPr txBox="1"/>
            <p:nvPr/>
          </p:nvSpPr>
          <p:spPr>
            <a:xfrm>
              <a:off x="10891316" y="0"/>
              <a:ext cx="2520280" cy="1235038"/>
            </a:xfrm>
            <a:prstGeom prst="rect">
              <a:avLst/>
            </a:prstGeom>
            <a:solidFill>
              <a:schemeClr val="bg1">
                <a:lumMod val="85000"/>
              </a:schemeClr>
            </a:solidFill>
            <a:ln w="9525">
              <a:noFill/>
              <a:miter lim="800000"/>
              <a:headEnd/>
              <a:tailEnd/>
            </a:ln>
            <a:effectLst/>
          </p:spPr>
          <p:txBody>
            <a:bodyPr lIns="36000" tIns="36000" rIns="36000" bIns="36000">
              <a:spAutoFit/>
            </a:bodyPr>
            <a:lstStyle/>
            <a:p>
              <a:pPr>
                <a:spcAft>
                  <a:spcPts val="272"/>
                </a:spcAft>
              </a:pPr>
              <a:r>
                <a:rPr lang="en-GB" sz="726" dirty="0"/>
                <a:t>To add an image:</a:t>
              </a:r>
            </a:p>
            <a:p>
              <a:pPr marL="137886" indent="-137886">
                <a:spcAft>
                  <a:spcPts val="272"/>
                </a:spcAft>
                <a:buFont typeface="Arial" pitchFamily="34" charset="0"/>
                <a:buChar char="•"/>
              </a:pPr>
              <a:r>
                <a:rPr lang="en-GB" sz="726" dirty="0"/>
                <a:t>click on the picture placeholder icon</a:t>
              </a:r>
            </a:p>
            <a:p>
              <a:pPr marL="137886" indent="-137886">
                <a:spcAft>
                  <a:spcPts val="272"/>
                </a:spcAft>
                <a:buFont typeface="Arial" pitchFamily="34" charset="0"/>
                <a:buChar char="•"/>
              </a:pPr>
              <a:r>
                <a:rPr lang="en-GB" sz="726" dirty="0"/>
                <a:t>Windows Explorer will open, find your required image and click ‘Insert’</a:t>
              </a:r>
            </a:p>
            <a:p>
              <a:pPr marL="137886" indent="-137886">
                <a:spcAft>
                  <a:spcPts val="272"/>
                </a:spcAft>
                <a:buFont typeface="Arial" pitchFamily="34" charset="0"/>
                <a:buChar char="•"/>
              </a:pPr>
              <a:r>
                <a:rPr lang="en-GB" sz="726" dirty="0"/>
                <a:t>select the image, right-click and select ‘Send to </a:t>
              </a:r>
              <a:r>
                <a:rPr lang="en-GB" sz="726" b="0" dirty="0"/>
                <a:t>B</a:t>
              </a:r>
              <a:r>
                <a:rPr lang="en-GB" sz="726" dirty="0"/>
                <a:t>ack’</a:t>
              </a:r>
            </a:p>
            <a:p>
              <a:pPr marL="137886" indent="-137886">
                <a:spcAft>
                  <a:spcPts val="272"/>
                </a:spcAft>
                <a:buFont typeface="Arial" pitchFamily="34" charset="0"/>
                <a:buChar char="•"/>
              </a:pPr>
              <a:r>
                <a:rPr lang="en-GB" sz="726" dirty="0"/>
                <a:t>to change the image, select it, right-click and select ‘Change Picture’, navigate to the required image file, select and click ‘Insert’.</a:t>
              </a:r>
            </a:p>
          </p:txBody>
        </p:sp>
        <p:pic>
          <p:nvPicPr>
            <p:cNvPr id="25" name="Picture 24">
              <a:extLst>
                <a:ext uri="{FF2B5EF4-FFF2-40B4-BE49-F238E27FC236}">
                  <a16:creationId xmlns:a16="http://schemas.microsoft.com/office/drawing/2014/main" id="{71252BBA-5417-4D6F-901C-BFD1277C4D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3025615" y="68609"/>
              <a:ext cx="323810" cy="323810"/>
            </a:xfrm>
            <a:prstGeom prst="rect">
              <a:avLst/>
            </a:prstGeom>
          </p:spPr>
        </p:pic>
      </p:grpSp>
    </p:spTree>
    <p:extLst>
      <p:ext uri="{BB962C8B-B14F-4D97-AF65-F5344CB8AC3E}">
        <p14:creationId xmlns:p14="http://schemas.microsoft.com/office/powerpoint/2010/main" val="6097232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ase study + image">
    <p:spTree>
      <p:nvGrpSpPr>
        <p:cNvPr id="1" name=""/>
        <p:cNvGrpSpPr/>
        <p:nvPr/>
      </p:nvGrpSpPr>
      <p:grpSpPr>
        <a:xfrm>
          <a:off x="0" y="0"/>
          <a:ext cx="0" cy="0"/>
          <a:chOff x="0" y="0"/>
          <a:chExt cx="0" cy="0"/>
        </a:xfrm>
      </p:grpSpPr>
      <p:sp>
        <p:nvSpPr>
          <p:cNvPr id="6" name="Text Placeholder 3"/>
          <p:cNvSpPr>
            <a:spLocks noGrp="1"/>
          </p:cNvSpPr>
          <p:nvPr>
            <p:ph type="body" sz="quarter" idx="16" hasCustomPrompt="1"/>
          </p:nvPr>
        </p:nvSpPr>
        <p:spPr>
          <a:xfrm>
            <a:off x="6272417" y="4963159"/>
            <a:ext cx="5201024" cy="1202562"/>
          </a:xfrm>
          <a:solidFill>
            <a:schemeClr val="accent1"/>
          </a:solidFill>
        </p:spPr>
        <p:txBody>
          <a:bodyPr wrap="square" lIns="72000" tIns="72000" rIns="72000" bIns="72000">
            <a:noAutofit/>
          </a:bodyPr>
          <a:lstStyle>
            <a:lvl1pPr>
              <a:defRPr sz="1088">
                <a:solidFill>
                  <a:schemeClr val="bg1"/>
                </a:solidFill>
              </a:defRPr>
            </a:lvl1pPr>
            <a:lvl2pPr>
              <a:defRPr sz="907">
                <a:solidFill>
                  <a:schemeClr val="bg1"/>
                </a:solidFill>
              </a:defRPr>
            </a:lvl2pPr>
            <a:lvl3pPr>
              <a:buClr>
                <a:schemeClr val="bg1"/>
              </a:buClr>
              <a:defRPr sz="907">
                <a:solidFill>
                  <a:schemeClr val="bg1"/>
                </a:solidFill>
              </a:defRPr>
            </a:lvl3pPr>
            <a:lvl4pPr>
              <a:buClr>
                <a:schemeClr val="bg1"/>
              </a:buClr>
              <a:defRPr sz="907">
                <a:solidFill>
                  <a:schemeClr val="bg1"/>
                </a:solidFill>
              </a:defRPr>
            </a:lvl4pPr>
            <a:lvl5pPr>
              <a:buClr>
                <a:schemeClr val="bg1"/>
              </a:buClr>
              <a:defRPr sz="907">
                <a:solidFill>
                  <a:schemeClr val="bg1"/>
                </a:solidFill>
              </a:defRPr>
            </a:lvl5pPr>
            <a:lvl7pPr>
              <a:defRPr sz="998"/>
            </a:lvl7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Picture Placeholder 15"/>
          <p:cNvSpPr>
            <a:spLocks noGrp="1"/>
          </p:cNvSpPr>
          <p:nvPr>
            <p:ph type="pic" sz="quarter" idx="18" hasCustomPrompt="1"/>
          </p:nvPr>
        </p:nvSpPr>
        <p:spPr>
          <a:xfrm>
            <a:off x="6272417" y="1543521"/>
            <a:ext cx="5201024" cy="3419641"/>
          </a:xfrm>
          <a:solidFill>
            <a:schemeClr val="bg1">
              <a:lumMod val="95000"/>
            </a:schemeClr>
          </a:solidFill>
          <a:ln>
            <a:noFill/>
          </a:ln>
        </p:spPr>
        <p:txBody>
          <a:bodyPr anchor="ctr" anchorCtr="1">
            <a:noAutofit/>
          </a:bodyPr>
          <a:lstStyle>
            <a:lvl1pPr>
              <a:defRPr sz="726" b="0">
                <a:solidFill>
                  <a:schemeClr val="tx1"/>
                </a:solidFill>
              </a:defRPr>
            </a:lvl1pPr>
          </a:lstStyle>
          <a:p>
            <a:r>
              <a:rPr lang="en-NZ" dirty="0"/>
              <a:t>Click to insert picture</a:t>
            </a:r>
          </a:p>
        </p:txBody>
      </p:sp>
      <p:sp>
        <p:nvSpPr>
          <p:cNvPr id="2" name="Title 1"/>
          <p:cNvSpPr>
            <a:spLocks noGrp="1"/>
          </p:cNvSpPr>
          <p:nvPr>
            <p:ph type="title" hasCustomPrompt="1"/>
          </p:nvPr>
        </p:nvSpPr>
        <p:spPr/>
        <p:txBody>
          <a:bodyPr/>
          <a:lstStyle>
            <a:lvl1pPr>
              <a:defRPr/>
            </a:lvl1pPr>
          </a:lstStyle>
          <a:p>
            <a:r>
              <a:rPr lang="en-US" dirty="0"/>
              <a:t>Click to edit page title</a:t>
            </a:r>
            <a:endParaRPr lang="en-GB" dirty="0"/>
          </a:p>
        </p:txBody>
      </p:sp>
      <p:sp>
        <p:nvSpPr>
          <p:cNvPr id="14" name="Text Placeholder 3"/>
          <p:cNvSpPr>
            <a:spLocks noGrp="1"/>
          </p:cNvSpPr>
          <p:nvPr>
            <p:ph type="body" sz="quarter" idx="15" hasCustomPrompt="1"/>
          </p:nvPr>
        </p:nvSpPr>
        <p:spPr>
          <a:xfrm>
            <a:off x="720500" y="1538974"/>
            <a:ext cx="5210793" cy="1067868"/>
          </a:xfrm>
        </p:spPr>
        <p:txBody>
          <a:bodyPr wrap="square">
            <a:sp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3" name="Group 7"/>
          <p:cNvGrpSpPr/>
          <p:nvPr userDrawn="1"/>
        </p:nvGrpSpPr>
        <p:grpSpPr>
          <a:xfrm>
            <a:off x="12417653" y="2"/>
            <a:ext cx="2873478" cy="1120169"/>
            <a:chOff x="10891316" y="0"/>
            <a:chExt cx="2520280" cy="1235038"/>
          </a:xfrm>
        </p:grpSpPr>
        <p:sp>
          <p:nvSpPr>
            <p:cNvPr id="11" name="TextBox 10"/>
            <p:cNvSpPr txBox="1"/>
            <p:nvPr/>
          </p:nvSpPr>
          <p:spPr>
            <a:xfrm>
              <a:off x="10891316" y="0"/>
              <a:ext cx="2520280" cy="1235038"/>
            </a:xfrm>
            <a:prstGeom prst="rect">
              <a:avLst/>
            </a:prstGeom>
            <a:solidFill>
              <a:schemeClr val="bg1">
                <a:lumMod val="85000"/>
              </a:schemeClr>
            </a:solidFill>
            <a:ln w="9525">
              <a:noFill/>
              <a:miter lim="800000"/>
              <a:headEnd/>
              <a:tailEnd/>
            </a:ln>
            <a:effectLst/>
          </p:spPr>
          <p:txBody>
            <a:bodyPr lIns="36000" tIns="36000" rIns="36000" bIns="36000">
              <a:spAutoFit/>
            </a:bodyPr>
            <a:lstStyle/>
            <a:p>
              <a:pPr>
                <a:spcAft>
                  <a:spcPts val="272"/>
                </a:spcAft>
              </a:pPr>
              <a:r>
                <a:rPr lang="en-GB" sz="726" dirty="0"/>
                <a:t>To add an image:</a:t>
              </a:r>
            </a:p>
            <a:p>
              <a:pPr marL="137886" indent="-137886">
                <a:spcAft>
                  <a:spcPts val="272"/>
                </a:spcAft>
                <a:buFont typeface="Arial" pitchFamily="34" charset="0"/>
                <a:buChar char="•"/>
              </a:pPr>
              <a:r>
                <a:rPr lang="en-GB" sz="726" dirty="0"/>
                <a:t>click on the picture placeholder icon</a:t>
              </a:r>
            </a:p>
            <a:p>
              <a:pPr marL="137886" indent="-137886">
                <a:spcAft>
                  <a:spcPts val="272"/>
                </a:spcAft>
                <a:buFont typeface="Arial" pitchFamily="34" charset="0"/>
                <a:buChar char="•"/>
              </a:pPr>
              <a:r>
                <a:rPr lang="en-GB" sz="726" dirty="0"/>
                <a:t>Windows Explorer will open, find your required image and click ‘Insert’</a:t>
              </a:r>
            </a:p>
            <a:p>
              <a:pPr marL="137886" indent="-137886">
                <a:spcAft>
                  <a:spcPts val="272"/>
                </a:spcAft>
                <a:buFont typeface="Arial" pitchFamily="34" charset="0"/>
                <a:buChar char="•"/>
              </a:pPr>
              <a:r>
                <a:rPr lang="en-GB" sz="726" dirty="0"/>
                <a:t>select the image, right-click and select ‘Send to </a:t>
              </a:r>
              <a:r>
                <a:rPr lang="en-GB" sz="726" b="0" dirty="0"/>
                <a:t>B</a:t>
              </a:r>
              <a:r>
                <a:rPr lang="en-GB" sz="726" dirty="0"/>
                <a:t>ack’</a:t>
              </a:r>
            </a:p>
            <a:p>
              <a:pPr marL="137886" indent="-137886">
                <a:spcAft>
                  <a:spcPts val="272"/>
                </a:spcAft>
                <a:buFont typeface="Arial" pitchFamily="34" charset="0"/>
                <a:buChar char="•"/>
              </a:pPr>
              <a:r>
                <a:rPr lang="en-GB" sz="726" dirty="0"/>
                <a:t>to change the image, select it, right-click and select ‘Change Picture’, navigate to the required image file, select and click ‘Insert’.</a:t>
              </a:r>
            </a:p>
          </p:txBody>
        </p:sp>
        <p:pic>
          <p:nvPicPr>
            <p:cNvPr id="13" name="Picture 1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3025615" y="68609"/>
              <a:ext cx="323810" cy="323810"/>
            </a:xfrm>
            <a:prstGeom prst="rect">
              <a:avLst/>
            </a:prstGeom>
          </p:spPr>
        </p:pic>
      </p:grpSp>
    </p:spTree>
    <p:extLst>
      <p:ext uri="{BB962C8B-B14F-4D97-AF65-F5344CB8AC3E}">
        <p14:creationId xmlns:p14="http://schemas.microsoft.com/office/powerpoint/2010/main" val="200456590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Offices">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720501" y="562126"/>
            <a:ext cx="10752315" cy="351729"/>
          </a:xfrm>
        </p:spPr>
        <p:txBody>
          <a:bodyPr/>
          <a:lstStyle>
            <a:lvl1pPr>
              <a:defRPr/>
            </a:lvl1pPr>
          </a:lstStyle>
          <a:p>
            <a:r>
              <a:rPr lang="en-US" dirty="0"/>
              <a:t>Click to edit page title</a:t>
            </a:r>
            <a:endParaRPr lang="en-GB" dirty="0"/>
          </a:p>
        </p:txBody>
      </p:sp>
      <p:sp>
        <p:nvSpPr>
          <p:cNvPr id="7" name="TextBox 6">
            <a:extLst>
              <a:ext uri="{FF2B5EF4-FFF2-40B4-BE49-F238E27FC236}">
                <a16:creationId xmlns:a16="http://schemas.microsoft.com/office/drawing/2014/main" id="{282D3EBB-2254-401F-B8B7-63F7F577F980}"/>
              </a:ext>
            </a:extLst>
          </p:cNvPr>
          <p:cNvSpPr txBox="1"/>
          <p:nvPr/>
        </p:nvSpPr>
        <p:spPr>
          <a:xfrm>
            <a:off x="12417653" y="2"/>
            <a:ext cx="2873478" cy="177635"/>
          </a:xfrm>
          <a:prstGeom prst="rect">
            <a:avLst/>
          </a:prstGeom>
          <a:solidFill>
            <a:srgbClr val="E6E6E6"/>
          </a:solidFill>
          <a:ln w="9525">
            <a:noFill/>
            <a:miter lim="800000"/>
            <a:headEnd/>
            <a:tailEnd/>
          </a:ln>
          <a:effectLst/>
        </p:spPr>
        <p:txBody>
          <a:bodyPr lIns="32650" tIns="32650" rIns="32650" bIns="32650">
            <a:spAutoFit/>
          </a:bodyPr>
          <a:lstStyle/>
          <a:p>
            <a:pPr>
              <a:spcAft>
                <a:spcPts val="544"/>
              </a:spcAft>
            </a:pPr>
            <a:endParaRPr lang="en-GB" sz="726" dirty="0"/>
          </a:p>
        </p:txBody>
      </p:sp>
      <p:sp>
        <p:nvSpPr>
          <p:cNvPr id="3" name="Text Placeholder 2">
            <a:extLst>
              <a:ext uri="{FF2B5EF4-FFF2-40B4-BE49-F238E27FC236}">
                <a16:creationId xmlns:a16="http://schemas.microsoft.com/office/drawing/2014/main" id="{32D60F32-6ECE-4B81-A928-FCA260B740BA}"/>
              </a:ext>
            </a:extLst>
          </p:cNvPr>
          <p:cNvSpPr>
            <a:spLocks noGrp="1"/>
          </p:cNvSpPr>
          <p:nvPr>
            <p:ph type="body" sz="quarter" idx="16"/>
          </p:nvPr>
        </p:nvSpPr>
        <p:spPr>
          <a:xfrm>
            <a:off x="720501" y="1534882"/>
            <a:ext cx="2093302" cy="615527"/>
          </a:xfrm>
        </p:spPr>
        <p:txBody>
          <a:bodyPr/>
          <a:lstStyle>
            <a:lvl1pPr>
              <a:spcBef>
                <a:spcPts val="544"/>
              </a:spcBef>
              <a:spcAft>
                <a:spcPts val="0"/>
              </a:spcAft>
              <a:defRPr sz="998"/>
            </a:lvl1pPr>
            <a:lvl2pPr>
              <a:lnSpc>
                <a:spcPct val="100000"/>
              </a:lnSpc>
              <a:spcAft>
                <a:spcPts val="0"/>
              </a:spcAft>
              <a:defRPr sz="726">
                <a:solidFill>
                  <a:schemeClr val="accent1"/>
                </a:solidFill>
              </a:defRPr>
            </a:lvl2pPr>
            <a:lvl3pPr marL="0" indent="0">
              <a:lnSpc>
                <a:spcPct val="100000"/>
              </a:lnSpc>
              <a:spcAft>
                <a:spcPts val="0"/>
              </a:spcAft>
              <a:buNone/>
              <a:defRPr sz="726"/>
            </a:lvl3pPr>
            <a:lvl4pPr>
              <a:lnSpc>
                <a:spcPct val="100000"/>
              </a:lnSpc>
              <a:spcAft>
                <a:spcPts val="0"/>
              </a:spcAft>
              <a:defRPr sz="726"/>
            </a:lvl4pPr>
            <a:lvl5pPr>
              <a:lnSpc>
                <a:spcPct val="100000"/>
              </a:lnSpc>
              <a:spcAft>
                <a:spcPts val="0"/>
              </a:spcAft>
              <a:defRPr sz="726"/>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2">
            <a:extLst>
              <a:ext uri="{FF2B5EF4-FFF2-40B4-BE49-F238E27FC236}">
                <a16:creationId xmlns:a16="http://schemas.microsoft.com/office/drawing/2014/main" id="{6050BE06-1C2B-47FA-A970-737D6C2EEB6C}"/>
              </a:ext>
            </a:extLst>
          </p:cNvPr>
          <p:cNvSpPr>
            <a:spLocks noGrp="1"/>
          </p:cNvSpPr>
          <p:nvPr>
            <p:ph type="body" sz="quarter" idx="17"/>
          </p:nvPr>
        </p:nvSpPr>
        <p:spPr>
          <a:xfrm>
            <a:off x="2889910" y="1534882"/>
            <a:ext cx="2093302" cy="615527"/>
          </a:xfrm>
        </p:spPr>
        <p:txBody>
          <a:bodyPr/>
          <a:lstStyle>
            <a:lvl1pPr>
              <a:spcBef>
                <a:spcPts val="544"/>
              </a:spcBef>
              <a:spcAft>
                <a:spcPts val="0"/>
              </a:spcAft>
              <a:defRPr sz="998"/>
            </a:lvl1pPr>
            <a:lvl2pPr>
              <a:lnSpc>
                <a:spcPct val="100000"/>
              </a:lnSpc>
              <a:spcAft>
                <a:spcPts val="0"/>
              </a:spcAft>
              <a:defRPr sz="726">
                <a:solidFill>
                  <a:schemeClr val="accent1"/>
                </a:solidFill>
              </a:defRPr>
            </a:lvl2pPr>
            <a:lvl3pPr marL="0" indent="0">
              <a:lnSpc>
                <a:spcPct val="100000"/>
              </a:lnSpc>
              <a:spcAft>
                <a:spcPts val="0"/>
              </a:spcAft>
              <a:buNone/>
              <a:defRPr sz="726"/>
            </a:lvl3pPr>
            <a:lvl4pPr>
              <a:lnSpc>
                <a:spcPct val="100000"/>
              </a:lnSpc>
              <a:spcAft>
                <a:spcPts val="0"/>
              </a:spcAft>
              <a:defRPr sz="726"/>
            </a:lvl4pPr>
            <a:lvl5pPr>
              <a:lnSpc>
                <a:spcPct val="100000"/>
              </a:lnSpc>
              <a:spcAft>
                <a:spcPts val="0"/>
              </a:spcAft>
              <a:defRPr sz="726"/>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14">
            <a:extLst>
              <a:ext uri="{FF2B5EF4-FFF2-40B4-BE49-F238E27FC236}">
                <a16:creationId xmlns:a16="http://schemas.microsoft.com/office/drawing/2014/main" id="{9CCABBC4-4D38-4500-A613-1BC6DA73E368}"/>
              </a:ext>
            </a:extLst>
          </p:cNvPr>
          <p:cNvSpPr>
            <a:spLocks noGrp="1"/>
          </p:cNvSpPr>
          <p:nvPr>
            <p:ph type="body" sz="quarter" idx="18"/>
          </p:nvPr>
        </p:nvSpPr>
        <p:spPr>
          <a:xfrm>
            <a:off x="5059320" y="1534882"/>
            <a:ext cx="2093302" cy="615527"/>
          </a:xfrm>
        </p:spPr>
        <p:txBody>
          <a:bodyPr/>
          <a:lstStyle>
            <a:lvl1pPr>
              <a:spcBef>
                <a:spcPts val="544"/>
              </a:spcBef>
              <a:spcAft>
                <a:spcPts val="0"/>
              </a:spcAft>
              <a:defRPr sz="998"/>
            </a:lvl1pPr>
            <a:lvl2pPr>
              <a:lnSpc>
                <a:spcPct val="100000"/>
              </a:lnSpc>
              <a:spcAft>
                <a:spcPts val="0"/>
              </a:spcAft>
              <a:defRPr sz="726">
                <a:solidFill>
                  <a:schemeClr val="accent1"/>
                </a:solidFill>
              </a:defRPr>
            </a:lvl2pPr>
            <a:lvl3pPr marL="0" indent="0">
              <a:lnSpc>
                <a:spcPct val="100000"/>
              </a:lnSpc>
              <a:spcAft>
                <a:spcPts val="0"/>
              </a:spcAft>
              <a:buNone/>
              <a:defRPr sz="726"/>
            </a:lvl3pPr>
            <a:lvl4pPr>
              <a:lnSpc>
                <a:spcPct val="100000"/>
              </a:lnSpc>
              <a:spcAft>
                <a:spcPts val="0"/>
              </a:spcAft>
              <a:defRPr sz="726"/>
            </a:lvl4pPr>
            <a:lvl5pPr>
              <a:lnSpc>
                <a:spcPct val="100000"/>
              </a:lnSpc>
              <a:spcAft>
                <a:spcPts val="0"/>
              </a:spcAft>
              <a:defRPr sz="726"/>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6">
            <a:extLst>
              <a:ext uri="{FF2B5EF4-FFF2-40B4-BE49-F238E27FC236}">
                <a16:creationId xmlns:a16="http://schemas.microsoft.com/office/drawing/2014/main" id="{DBD42E83-020A-47F8-B1FA-03737C01EF7D}"/>
              </a:ext>
            </a:extLst>
          </p:cNvPr>
          <p:cNvSpPr>
            <a:spLocks noGrp="1"/>
          </p:cNvSpPr>
          <p:nvPr>
            <p:ph type="body" sz="quarter" idx="19"/>
          </p:nvPr>
        </p:nvSpPr>
        <p:spPr>
          <a:xfrm>
            <a:off x="7228729" y="1534882"/>
            <a:ext cx="2093302" cy="615527"/>
          </a:xfrm>
        </p:spPr>
        <p:txBody>
          <a:bodyPr/>
          <a:lstStyle>
            <a:lvl1pPr>
              <a:spcBef>
                <a:spcPts val="544"/>
              </a:spcBef>
              <a:spcAft>
                <a:spcPts val="0"/>
              </a:spcAft>
              <a:defRPr sz="998"/>
            </a:lvl1pPr>
            <a:lvl2pPr>
              <a:lnSpc>
                <a:spcPct val="100000"/>
              </a:lnSpc>
              <a:spcAft>
                <a:spcPts val="0"/>
              </a:spcAft>
              <a:defRPr sz="726">
                <a:solidFill>
                  <a:schemeClr val="accent1"/>
                </a:solidFill>
              </a:defRPr>
            </a:lvl2pPr>
            <a:lvl3pPr marL="0" indent="0">
              <a:lnSpc>
                <a:spcPct val="100000"/>
              </a:lnSpc>
              <a:spcAft>
                <a:spcPts val="0"/>
              </a:spcAft>
              <a:buNone/>
              <a:defRPr sz="726"/>
            </a:lvl3pPr>
            <a:lvl4pPr>
              <a:lnSpc>
                <a:spcPct val="100000"/>
              </a:lnSpc>
              <a:spcAft>
                <a:spcPts val="0"/>
              </a:spcAft>
              <a:defRPr sz="726"/>
            </a:lvl4pPr>
            <a:lvl5pPr>
              <a:lnSpc>
                <a:spcPct val="100000"/>
              </a:lnSpc>
              <a:spcAft>
                <a:spcPts val="0"/>
              </a:spcAft>
              <a:defRPr sz="726"/>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18">
            <a:extLst>
              <a:ext uri="{FF2B5EF4-FFF2-40B4-BE49-F238E27FC236}">
                <a16:creationId xmlns:a16="http://schemas.microsoft.com/office/drawing/2014/main" id="{1688E8D2-954F-4505-B002-4873CF39C466}"/>
              </a:ext>
            </a:extLst>
          </p:cNvPr>
          <p:cNvSpPr>
            <a:spLocks noGrp="1"/>
          </p:cNvSpPr>
          <p:nvPr>
            <p:ph type="body" sz="quarter" idx="20"/>
          </p:nvPr>
        </p:nvSpPr>
        <p:spPr>
          <a:xfrm>
            <a:off x="9398138" y="1534882"/>
            <a:ext cx="2093302" cy="615527"/>
          </a:xfrm>
        </p:spPr>
        <p:txBody>
          <a:bodyPr/>
          <a:lstStyle>
            <a:lvl1pPr>
              <a:spcBef>
                <a:spcPts val="544"/>
              </a:spcBef>
              <a:spcAft>
                <a:spcPts val="0"/>
              </a:spcAft>
              <a:defRPr sz="998"/>
            </a:lvl1pPr>
            <a:lvl2pPr>
              <a:lnSpc>
                <a:spcPct val="100000"/>
              </a:lnSpc>
              <a:spcAft>
                <a:spcPts val="0"/>
              </a:spcAft>
              <a:defRPr sz="726">
                <a:solidFill>
                  <a:schemeClr val="accent1"/>
                </a:solidFill>
              </a:defRPr>
            </a:lvl2pPr>
            <a:lvl3pPr marL="0" indent="0">
              <a:lnSpc>
                <a:spcPct val="100000"/>
              </a:lnSpc>
              <a:spcAft>
                <a:spcPts val="0"/>
              </a:spcAft>
              <a:buNone/>
              <a:defRPr sz="726"/>
            </a:lvl3pPr>
            <a:lvl4pPr>
              <a:lnSpc>
                <a:spcPct val="100000"/>
              </a:lnSpc>
              <a:spcAft>
                <a:spcPts val="0"/>
              </a:spcAft>
              <a:defRPr sz="726"/>
            </a:lvl4pPr>
            <a:lvl5pPr>
              <a:lnSpc>
                <a:spcPct val="100000"/>
              </a:lnSpc>
              <a:spcAft>
                <a:spcPts val="0"/>
              </a:spcAft>
              <a:defRPr sz="726"/>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0583637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over_image / fill">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E4CB2FF-8941-4576-93AE-72C964A31C72}"/>
              </a:ext>
            </a:extLst>
          </p:cNvPr>
          <p:cNvSpPr/>
          <p:nvPr userDrawn="1"/>
        </p:nvSpPr>
        <p:spPr>
          <a:xfrm>
            <a:off x="0" y="3"/>
            <a:ext cx="12192000" cy="6858000"/>
          </a:xfrm>
          <a:prstGeom prst="rect">
            <a:avLst/>
          </a:prstGeom>
          <a:solidFill>
            <a:schemeClr val="bg1"/>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48975" tIns="48975" rIns="48975" bIns="48975" rtlCol="0" anchor="ctr"/>
          <a:lstStyle/>
          <a:p>
            <a:pPr algn="ctr"/>
            <a:endParaRPr lang="en-GB" sz="1814"/>
          </a:p>
        </p:txBody>
      </p:sp>
      <p:sp>
        <p:nvSpPr>
          <p:cNvPr id="9" name="Picture Placeholder 2">
            <a:extLst>
              <a:ext uri="{FF2B5EF4-FFF2-40B4-BE49-F238E27FC236}">
                <a16:creationId xmlns:a16="http://schemas.microsoft.com/office/drawing/2014/main" id="{6F6EE1B6-1F38-48C8-AB38-588332E3D685}"/>
              </a:ext>
            </a:extLst>
          </p:cNvPr>
          <p:cNvSpPr>
            <a:spLocks noGrp="1"/>
          </p:cNvSpPr>
          <p:nvPr>
            <p:ph type="pic" sz="quarter" idx="18" hasCustomPrompt="1"/>
          </p:nvPr>
        </p:nvSpPr>
        <p:spPr>
          <a:xfrm>
            <a:off x="349683" y="273571"/>
            <a:ext cx="11492637" cy="6138517"/>
          </a:xfrm>
          <a:solidFill>
            <a:schemeClr val="accent1"/>
          </a:solidFill>
        </p:spPr>
        <p:txBody>
          <a:bodyPr anchor="ctr" anchorCtr="1">
            <a:noAutofit/>
          </a:bodyPr>
          <a:lstStyle>
            <a:lvl1pPr>
              <a:defRPr/>
            </a:lvl1pPr>
          </a:lstStyle>
          <a:p>
            <a:r>
              <a:rPr lang="en-GB" dirty="0"/>
              <a:t> </a:t>
            </a:r>
          </a:p>
        </p:txBody>
      </p:sp>
      <p:sp>
        <p:nvSpPr>
          <p:cNvPr id="8" name="Cover date">
            <a:extLst>
              <a:ext uri="{FF2B5EF4-FFF2-40B4-BE49-F238E27FC236}">
                <a16:creationId xmlns:a16="http://schemas.microsoft.com/office/drawing/2014/main" id="{B380E27B-0967-404C-A560-BD28A2FC0B49}"/>
              </a:ext>
            </a:extLst>
          </p:cNvPr>
          <p:cNvSpPr>
            <a:spLocks noGrp="1"/>
          </p:cNvSpPr>
          <p:nvPr>
            <p:ph type="body" sz="quarter" idx="17" hasCustomPrompt="1"/>
            <p:custDataLst>
              <p:tags r:id="rId1"/>
            </p:custDataLst>
          </p:nvPr>
        </p:nvSpPr>
        <p:spPr>
          <a:xfrm>
            <a:off x="718561" y="1546619"/>
            <a:ext cx="10754879" cy="167490"/>
          </a:xfrm>
        </p:spPr>
        <p:txBody>
          <a:bodyPr/>
          <a:lstStyle>
            <a:lvl1pPr>
              <a:lnSpc>
                <a:spcPct val="100000"/>
              </a:lnSpc>
              <a:spcAft>
                <a:spcPts val="544"/>
              </a:spcAft>
              <a:defRPr sz="1088" b="0" cap="none" baseline="0">
                <a:solidFill>
                  <a:schemeClr val="bg1"/>
                </a:solidFill>
                <a:latin typeface="+mn-lt"/>
              </a:defRPr>
            </a:lvl1pPr>
            <a:lvl2pPr>
              <a:lnSpc>
                <a:spcPct val="100000"/>
              </a:lnSpc>
              <a:spcAft>
                <a:spcPts val="544"/>
              </a:spcAft>
              <a:defRPr sz="2721" b="1" cap="all" spc="-18" baseline="0">
                <a:solidFill>
                  <a:schemeClr val="bg1"/>
                </a:solidFill>
                <a:latin typeface="+mj-lt"/>
              </a:defRPr>
            </a:lvl2pPr>
            <a:lvl3pPr marL="0" indent="0">
              <a:lnSpc>
                <a:spcPct val="100000"/>
              </a:lnSpc>
              <a:spcAft>
                <a:spcPts val="0"/>
              </a:spcAft>
              <a:buNone/>
              <a:defRPr sz="1814">
                <a:solidFill>
                  <a:schemeClr val="bg1"/>
                </a:solidFill>
                <a:latin typeface="+mj-lt"/>
              </a:defRPr>
            </a:lvl3pPr>
          </a:lstStyle>
          <a:p>
            <a:pPr lvl="0"/>
            <a:r>
              <a:rPr lang="en-US" dirty="0"/>
              <a:t>00 Month Year</a:t>
            </a:r>
          </a:p>
        </p:txBody>
      </p:sp>
      <p:sp>
        <p:nvSpPr>
          <p:cNvPr id="10" name="Cover subtitle">
            <a:extLst>
              <a:ext uri="{FF2B5EF4-FFF2-40B4-BE49-F238E27FC236}">
                <a16:creationId xmlns:a16="http://schemas.microsoft.com/office/drawing/2014/main" id="{62C566C3-C695-446E-94F5-837CFAED0B44}"/>
              </a:ext>
            </a:extLst>
          </p:cNvPr>
          <p:cNvSpPr>
            <a:spLocks noGrp="1"/>
          </p:cNvSpPr>
          <p:nvPr>
            <p:ph type="body" sz="quarter" idx="20"/>
          </p:nvPr>
        </p:nvSpPr>
        <p:spPr>
          <a:xfrm>
            <a:off x="718561" y="2663221"/>
            <a:ext cx="10754879" cy="287758"/>
          </a:xfrm>
        </p:spPr>
        <p:txBody>
          <a:bodyPr/>
          <a:lstStyle>
            <a:lvl1pPr>
              <a:defRPr sz="1814" cap="none" baseline="0">
                <a:solidFill>
                  <a:schemeClr val="bg1"/>
                </a:solidFill>
                <a:latin typeface="+mn-lt"/>
              </a:defRPr>
            </a:lvl1pPr>
          </a:lstStyle>
          <a:p>
            <a:pPr lvl="0"/>
            <a:r>
              <a:rPr lang="en-US" dirty="0"/>
              <a:t>Edit Master text styles</a:t>
            </a:r>
          </a:p>
        </p:txBody>
      </p:sp>
      <p:sp>
        <p:nvSpPr>
          <p:cNvPr id="11" name="Cover title">
            <a:extLst>
              <a:ext uri="{FF2B5EF4-FFF2-40B4-BE49-F238E27FC236}">
                <a16:creationId xmlns:a16="http://schemas.microsoft.com/office/drawing/2014/main" id="{7A666553-8A8F-484C-B900-C49AE04DA434}"/>
              </a:ext>
            </a:extLst>
          </p:cNvPr>
          <p:cNvSpPr>
            <a:spLocks noGrp="1"/>
          </p:cNvSpPr>
          <p:nvPr>
            <p:ph type="body" sz="quarter" idx="19"/>
          </p:nvPr>
        </p:nvSpPr>
        <p:spPr>
          <a:xfrm>
            <a:off x="718561" y="1773181"/>
            <a:ext cx="10754879" cy="418726"/>
          </a:xfrm>
        </p:spPr>
        <p:txBody>
          <a:bodyPr/>
          <a:lstStyle>
            <a:lvl1pPr>
              <a:lnSpc>
                <a:spcPct val="100000"/>
              </a:lnSpc>
              <a:defRPr sz="2721" cap="all" baseline="0">
                <a:solidFill>
                  <a:schemeClr val="bg1"/>
                </a:solidFill>
              </a:defRPr>
            </a:lvl1pPr>
          </a:lstStyle>
          <a:p>
            <a:pPr lvl="0"/>
            <a:r>
              <a:rPr lang="en-US" dirty="0"/>
              <a:t>Edit Master text styles</a:t>
            </a:r>
          </a:p>
        </p:txBody>
      </p:sp>
    </p:spTree>
    <p:extLst>
      <p:ext uri="{BB962C8B-B14F-4D97-AF65-F5344CB8AC3E}">
        <p14:creationId xmlns:p14="http://schemas.microsoft.com/office/powerpoint/2010/main" val="1984211961"/>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Optional Cover_image / fill">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E0677568-BC21-4089-92EE-067B02B6007D}"/>
              </a:ext>
            </a:extLst>
          </p:cNvPr>
          <p:cNvSpPr/>
          <p:nvPr userDrawn="1"/>
        </p:nvSpPr>
        <p:spPr>
          <a:xfrm>
            <a:off x="0" y="3"/>
            <a:ext cx="12192000" cy="6858000"/>
          </a:xfrm>
          <a:prstGeom prst="rect">
            <a:avLst/>
          </a:prstGeom>
          <a:solidFill>
            <a:schemeClr val="bg1"/>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48975" tIns="48975" rIns="48975" bIns="48975" rtlCol="0" anchor="ctr"/>
          <a:lstStyle/>
          <a:p>
            <a:pPr algn="ctr"/>
            <a:endParaRPr lang="en-GB" sz="1814"/>
          </a:p>
        </p:txBody>
      </p:sp>
      <p:sp>
        <p:nvSpPr>
          <p:cNvPr id="4" name="Cover date">
            <a:extLst>
              <a:ext uri="{FF2B5EF4-FFF2-40B4-BE49-F238E27FC236}">
                <a16:creationId xmlns:a16="http://schemas.microsoft.com/office/drawing/2014/main" id="{F1EDF63E-15EF-4EAC-9BF3-E68DECBFB7E3}"/>
              </a:ext>
            </a:extLst>
          </p:cNvPr>
          <p:cNvSpPr>
            <a:spLocks noGrp="1"/>
          </p:cNvSpPr>
          <p:nvPr>
            <p:ph type="body" sz="quarter" idx="17" hasCustomPrompt="1"/>
            <p:custDataLst>
              <p:tags r:id="rId1"/>
            </p:custDataLst>
          </p:nvPr>
        </p:nvSpPr>
        <p:spPr>
          <a:xfrm>
            <a:off x="718561" y="1546619"/>
            <a:ext cx="10754879" cy="167490"/>
          </a:xfrm>
        </p:spPr>
        <p:txBody>
          <a:bodyPr/>
          <a:lstStyle>
            <a:lvl1pPr>
              <a:lnSpc>
                <a:spcPct val="100000"/>
              </a:lnSpc>
              <a:spcAft>
                <a:spcPts val="544"/>
              </a:spcAft>
              <a:defRPr sz="1088" b="0" cap="none" baseline="0">
                <a:solidFill>
                  <a:schemeClr val="accent1"/>
                </a:solidFill>
                <a:latin typeface="+mn-lt"/>
              </a:defRPr>
            </a:lvl1pPr>
            <a:lvl2pPr>
              <a:lnSpc>
                <a:spcPct val="100000"/>
              </a:lnSpc>
              <a:spcAft>
                <a:spcPts val="544"/>
              </a:spcAft>
              <a:defRPr sz="2721" b="1" cap="all" spc="-18" baseline="0">
                <a:solidFill>
                  <a:schemeClr val="bg1"/>
                </a:solidFill>
                <a:latin typeface="+mj-lt"/>
              </a:defRPr>
            </a:lvl2pPr>
            <a:lvl3pPr marL="0" indent="0">
              <a:lnSpc>
                <a:spcPct val="100000"/>
              </a:lnSpc>
              <a:spcAft>
                <a:spcPts val="0"/>
              </a:spcAft>
              <a:buNone/>
              <a:defRPr sz="1814">
                <a:solidFill>
                  <a:schemeClr val="bg1"/>
                </a:solidFill>
                <a:latin typeface="+mj-lt"/>
              </a:defRPr>
            </a:lvl3pPr>
          </a:lstStyle>
          <a:p>
            <a:pPr lvl="0"/>
            <a:r>
              <a:rPr lang="en-US" dirty="0"/>
              <a:t>00 Month Year</a:t>
            </a:r>
          </a:p>
        </p:txBody>
      </p:sp>
      <p:sp>
        <p:nvSpPr>
          <p:cNvPr id="5" name="Cover subtitle">
            <a:extLst>
              <a:ext uri="{FF2B5EF4-FFF2-40B4-BE49-F238E27FC236}">
                <a16:creationId xmlns:a16="http://schemas.microsoft.com/office/drawing/2014/main" id="{B8EF9334-80DC-415C-80A0-EF6640C8911B}"/>
              </a:ext>
            </a:extLst>
          </p:cNvPr>
          <p:cNvSpPr>
            <a:spLocks noGrp="1"/>
          </p:cNvSpPr>
          <p:nvPr>
            <p:ph type="body" sz="quarter" idx="20"/>
          </p:nvPr>
        </p:nvSpPr>
        <p:spPr>
          <a:xfrm>
            <a:off x="718561" y="2663221"/>
            <a:ext cx="10754879" cy="287758"/>
          </a:xfrm>
        </p:spPr>
        <p:txBody>
          <a:bodyPr/>
          <a:lstStyle>
            <a:lvl1pPr>
              <a:defRPr sz="1814" cap="none" baseline="0">
                <a:solidFill>
                  <a:schemeClr val="accent1"/>
                </a:solidFill>
                <a:latin typeface="+mn-lt"/>
              </a:defRPr>
            </a:lvl1pPr>
          </a:lstStyle>
          <a:p>
            <a:pPr lvl="0"/>
            <a:r>
              <a:rPr lang="en-US" dirty="0"/>
              <a:t>Edit Master text styles</a:t>
            </a:r>
          </a:p>
        </p:txBody>
      </p:sp>
      <p:sp>
        <p:nvSpPr>
          <p:cNvPr id="6" name="Cover title">
            <a:extLst>
              <a:ext uri="{FF2B5EF4-FFF2-40B4-BE49-F238E27FC236}">
                <a16:creationId xmlns:a16="http://schemas.microsoft.com/office/drawing/2014/main" id="{3ACF3BDF-FA1F-4962-ADB9-236F69E0A37A}"/>
              </a:ext>
            </a:extLst>
          </p:cNvPr>
          <p:cNvSpPr>
            <a:spLocks noGrp="1"/>
          </p:cNvSpPr>
          <p:nvPr>
            <p:ph type="body" sz="quarter" idx="19"/>
          </p:nvPr>
        </p:nvSpPr>
        <p:spPr>
          <a:xfrm>
            <a:off x="718561" y="1773181"/>
            <a:ext cx="10754879" cy="418726"/>
          </a:xfrm>
        </p:spPr>
        <p:txBody>
          <a:bodyPr/>
          <a:lstStyle>
            <a:lvl1pPr>
              <a:lnSpc>
                <a:spcPct val="100000"/>
              </a:lnSpc>
              <a:defRPr sz="2721" cap="all" baseline="0">
                <a:solidFill>
                  <a:schemeClr val="accent1"/>
                </a:solidFill>
              </a:defRPr>
            </a:lvl1pPr>
          </a:lstStyle>
          <a:p>
            <a:pPr lvl="0"/>
            <a:r>
              <a:rPr lang="en-US" dirty="0"/>
              <a:t>Edit Master text styles</a:t>
            </a:r>
          </a:p>
        </p:txBody>
      </p:sp>
    </p:spTree>
    <p:extLst>
      <p:ext uri="{BB962C8B-B14F-4D97-AF65-F5344CB8AC3E}">
        <p14:creationId xmlns:p14="http://schemas.microsoft.com/office/powerpoint/2010/main" val="264340537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page title</a:t>
            </a:r>
            <a:endParaRPr lang="en-GB" dirty="0"/>
          </a:p>
        </p:txBody>
      </p:sp>
      <p:sp>
        <p:nvSpPr>
          <p:cNvPr id="3" name="TextBox 2">
            <a:extLst>
              <a:ext uri="{FF2B5EF4-FFF2-40B4-BE49-F238E27FC236}">
                <a16:creationId xmlns:a16="http://schemas.microsoft.com/office/drawing/2014/main" id="{77D8CAB4-7B8A-4C57-B013-04552E72956F}"/>
              </a:ext>
            </a:extLst>
          </p:cNvPr>
          <p:cNvSpPr txBox="1"/>
          <p:nvPr userDrawn="1"/>
        </p:nvSpPr>
        <p:spPr>
          <a:xfrm>
            <a:off x="12417653" y="2"/>
            <a:ext cx="2873478" cy="177635"/>
          </a:xfrm>
          <a:prstGeom prst="rect">
            <a:avLst/>
          </a:prstGeom>
          <a:solidFill>
            <a:srgbClr val="E6E6E6"/>
          </a:solidFill>
          <a:ln w="9525">
            <a:noFill/>
            <a:miter lim="800000"/>
            <a:headEnd/>
            <a:tailEnd/>
          </a:ln>
          <a:effectLst/>
        </p:spPr>
        <p:txBody>
          <a:bodyPr lIns="32650" tIns="32650" rIns="32650" bIns="32650">
            <a:spAutoFit/>
          </a:bodyPr>
          <a:lstStyle/>
          <a:p>
            <a:pPr>
              <a:spcAft>
                <a:spcPts val="544"/>
              </a:spcAft>
            </a:pPr>
            <a:endParaRPr lang="en-GB" sz="726" dirty="0"/>
          </a:p>
        </p:txBody>
      </p:sp>
      <p:sp>
        <p:nvSpPr>
          <p:cNvPr id="4" name="TextBox 3">
            <a:extLst>
              <a:ext uri="{FF2B5EF4-FFF2-40B4-BE49-F238E27FC236}">
                <a16:creationId xmlns:a16="http://schemas.microsoft.com/office/drawing/2014/main" id="{FB6803B0-F722-4476-93A2-4F9B9627CEC1}"/>
              </a:ext>
            </a:extLst>
          </p:cNvPr>
          <p:cNvSpPr txBox="1"/>
          <p:nvPr userDrawn="1"/>
        </p:nvSpPr>
        <p:spPr>
          <a:xfrm>
            <a:off x="12388693" y="1"/>
            <a:ext cx="2873478" cy="628143"/>
          </a:xfrm>
          <a:prstGeom prst="rect">
            <a:avLst/>
          </a:prstGeom>
          <a:solidFill>
            <a:schemeClr val="bg1">
              <a:lumMod val="85000"/>
            </a:schemeClr>
          </a:solidFill>
          <a:ln w="9525">
            <a:noFill/>
            <a:miter lim="800000"/>
            <a:headEnd/>
            <a:tailEnd/>
          </a:ln>
          <a:effectLst/>
        </p:spPr>
        <p:txBody>
          <a:bodyPr lIns="32650" tIns="32650" rIns="32650" bIns="32650">
            <a:spAutoFit/>
          </a:bodyPr>
          <a:lstStyle/>
          <a:p>
            <a:pPr>
              <a:spcAft>
                <a:spcPts val="272"/>
              </a:spcAft>
            </a:pPr>
            <a:r>
              <a:rPr lang="en-GB" sz="726" dirty="0"/>
              <a:t>To add an image:</a:t>
            </a:r>
          </a:p>
          <a:p>
            <a:pPr marL="137886" indent="-137886">
              <a:spcAft>
                <a:spcPts val="272"/>
              </a:spcAft>
              <a:buFont typeface="Arial" pitchFamily="34" charset="0"/>
              <a:buChar char="•"/>
            </a:pPr>
            <a:r>
              <a:rPr lang="en-GB" sz="726" dirty="0"/>
              <a:t>Right click on the picture and select ‘Change Picture’</a:t>
            </a:r>
          </a:p>
          <a:p>
            <a:pPr marL="137886" indent="-137886">
              <a:spcAft>
                <a:spcPts val="272"/>
              </a:spcAft>
              <a:buFont typeface="Arial" pitchFamily="34" charset="0"/>
              <a:buChar char="•"/>
            </a:pPr>
            <a:r>
              <a:rPr lang="en-GB" sz="726" dirty="0"/>
              <a:t>Navigate to the required image file</a:t>
            </a:r>
          </a:p>
          <a:p>
            <a:pPr marL="137886" indent="-137886">
              <a:spcAft>
                <a:spcPts val="272"/>
              </a:spcAft>
              <a:buFont typeface="Arial" pitchFamily="34" charset="0"/>
              <a:buChar char="•"/>
            </a:pPr>
            <a:r>
              <a:rPr lang="en-GB" sz="726" dirty="0"/>
              <a:t>Select and click ‘Insert’.</a:t>
            </a:r>
          </a:p>
        </p:txBody>
      </p:sp>
    </p:spTree>
    <p:extLst>
      <p:ext uri="{BB962C8B-B14F-4D97-AF65-F5344CB8AC3E}">
        <p14:creationId xmlns:p14="http://schemas.microsoft.com/office/powerpoint/2010/main" val="171032441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with 2 Profile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261A4C7-E98D-3660-5C37-C13B3A230A80}"/>
              </a:ext>
            </a:extLst>
          </p:cNvPr>
          <p:cNvSpPr/>
          <p:nvPr userDrawn="1"/>
        </p:nvSpPr>
        <p:spPr>
          <a:xfrm>
            <a:off x="8126413" y="0"/>
            <a:ext cx="40655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Footer Placeholder 4"/>
          <p:cNvSpPr>
            <a:spLocks noGrp="1"/>
          </p:cNvSpPr>
          <p:nvPr>
            <p:ph type="ftr" sz="quarter" idx="11"/>
          </p:nvPr>
        </p:nvSpPr>
        <p:spPr/>
        <p:txBody>
          <a:bodyPr/>
          <a:lstStyle/>
          <a:p>
            <a:r>
              <a:rPr lang="en-GB" dirty="0"/>
              <a:t>INSERT FOOTER HERE</a:t>
            </a:r>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8CFE0557-AA98-4E6C-B0C3-581794696B68}" type="slidenum">
              <a:rPr lang="en-GB" smtClean="0"/>
              <a:pPr/>
              <a:t>‹#›</a:t>
            </a:fld>
            <a:endParaRPr lang="en-GB" dirty="0"/>
          </a:p>
        </p:txBody>
      </p:sp>
      <p:sp>
        <p:nvSpPr>
          <p:cNvPr id="9" name="Content Placeholder 2">
            <a:extLst>
              <a:ext uri="{FF2B5EF4-FFF2-40B4-BE49-F238E27FC236}">
                <a16:creationId xmlns:a16="http://schemas.microsoft.com/office/drawing/2014/main" id="{F7D10F14-7BE2-8A09-1803-2E4B2FCAD5F0}"/>
              </a:ext>
            </a:extLst>
          </p:cNvPr>
          <p:cNvSpPr>
            <a:spLocks noGrp="1"/>
          </p:cNvSpPr>
          <p:nvPr>
            <p:ph idx="1" hasCustomPrompt="1"/>
          </p:nvPr>
        </p:nvSpPr>
        <p:spPr>
          <a:xfrm>
            <a:off x="508000" y="1971039"/>
            <a:ext cx="7134225" cy="365761"/>
          </a:xfrm>
        </p:spPr>
        <p:txBody>
          <a:bodyPr/>
          <a:lstStyle>
            <a:lvl1pPr>
              <a:defRPr cap="all" baseline="0"/>
            </a:lvl1pPr>
          </a:lstStyle>
          <a:p>
            <a:pPr lvl="0"/>
            <a:r>
              <a:rPr lang="en-US" dirty="0"/>
              <a:t>subhead</a:t>
            </a:r>
          </a:p>
        </p:txBody>
      </p:sp>
      <p:sp>
        <p:nvSpPr>
          <p:cNvPr id="15" name="Picture Placeholder 14">
            <a:extLst>
              <a:ext uri="{FF2B5EF4-FFF2-40B4-BE49-F238E27FC236}">
                <a16:creationId xmlns:a16="http://schemas.microsoft.com/office/drawing/2014/main" id="{BB1C9D16-E1E9-792C-AE10-77DE9B549928}"/>
              </a:ext>
            </a:extLst>
          </p:cNvPr>
          <p:cNvSpPr>
            <a:spLocks noGrp="1"/>
          </p:cNvSpPr>
          <p:nvPr>
            <p:ph type="pic" sz="quarter" idx="15" hasCustomPrompt="1"/>
          </p:nvPr>
        </p:nvSpPr>
        <p:spPr>
          <a:xfrm>
            <a:off x="8737601" y="1291427"/>
            <a:ext cx="876299" cy="876299"/>
          </a:xfrm>
          <a:solidFill>
            <a:schemeClr val="bg1"/>
          </a:solidFill>
        </p:spPr>
        <p:txBody>
          <a:bodyPr anchor="ctr">
            <a:normAutofit/>
          </a:bodyPr>
          <a:lstStyle>
            <a:lvl1pPr algn="ctr">
              <a:defRPr sz="1000">
                <a:latin typeface="+mn-lt"/>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GB" dirty="0"/>
              <a:t>Picture</a:t>
            </a:r>
          </a:p>
        </p:txBody>
      </p:sp>
      <p:sp>
        <p:nvSpPr>
          <p:cNvPr id="11" name="Picture Placeholder 14">
            <a:extLst>
              <a:ext uri="{FF2B5EF4-FFF2-40B4-BE49-F238E27FC236}">
                <a16:creationId xmlns:a16="http://schemas.microsoft.com/office/drawing/2014/main" id="{59C5A47F-5B97-B203-E135-14D3817E0424}"/>
              </a:ext>
            </a:extLst>
          </p:cNvPr>
          <p:cNvSpPr>
            <a:spLocks noGrp="1"/>
          </p:cNvSpPr>
          <p:nvPr>
            <p:ph type="pic" sz="quarter" idx="17" hasCustomPrompt="1"/>
          </p:nvPr>
        </p:nvSpPr>
        <p:spPr>
          <a:xfrm>
            <a:off x="8737601" y="3483610"/>
            <a:ext cx="876299" cy="876299"/>
          </a:xfrm>
          <a:solidFill>
            <a:schemeClr val="bg1"/>
          </a:solidFill>
        </p:spPr>
        <p:txBody>
          <a:bodyPr anchor="ctr">
            <a:normAutofit/>
          </a:bodyPr>
          <a:lstStyle>
            <a:lvl1pPr algn="ctr">
              <a:defRPr sz="1000">
                <a:latin typeface="+mn-lt"/>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GB" dirty="0"/>
              <a:t>Picture</a:t>
            </a:r>
          </a:p>
        </p:txBody>
      </p:sp>
      <p:sp>
        <p:nvSpPr>
          <p:cNvPr id="3" name="TextBox 4">
            <a:extLst>
              <a:ext uri="{FF2B5EF4-FFF2-40B4-BE49-F238E27FC236}">
                <a16:creationId xmlns:a16="http://schemas.microsoft.com/office/drawing/2014/main" id="{059D8B5A-9275-E70C-ABEF-408099EE7215}"/>
              </a:ext>
            </a:extLst>
          </p:cNvPr>
          <p:cNvSpPr txBox="1"/>
          <p:nvPr userDrawn="1"/>
        </p:nvSpPr>
        <p:spPr>
          <a:xfrm>
            <a:off x="12346713" y="109538"/>
            <a:ext cx="2253207" cy="498085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INSERTING IMAGES:</a:t>
            </a:r>
          </a:p>
          <a:p>
            <a:pPr marL="179388" indent="-179388">
              <a:spcBef>
                <a:spcPts val="200"/>
              </a:spcBef>
              <a:spcAft>
                <a:spcPts val="200"/>
              </a:spcAft>
              <a:buFont typeface="+mj-lt"/>
              <a:buAutoNum type="arabicPeriod"/>
            </a:pPr>
            <a:r>
              <a:rPr lang="en-US" sz="900" dirty="0">
                <a:solidFill>
                  <a:schemeClr val="tx1"/>
                </a:solidFill>
                <a:latin typeface="+mn-lt"/>
              </a:rPr>
              <a:t>Simply click the image placeholder and select your image.</a:t>
            </a:r>
          </a:p>
          <a:p>
            <a:pPr marL="179388" indent="-179388">
              <a:spcBef>
                <a:spcPts val="200"/>
              </a:spcBef>
              <a:spcAft>
                <a:spcPts val="200"/>
              </a:spcAft>
              <a:buFont typeface="+mj-lt"/>
              <a:buAutoNum type="arabicPeriod"/>
            </a:pPr>
            <a:r>
              <a:rPr lang="en-US" sz="900" dirty="0">
                <a:solidFill>
                  <a:schemeClr val="tx1"/>
                </a:solidFill>
                <a:latin typeface="+mn-lt"/>
              </a:rPr>
              <a:t>Once your image is inserted into the shape it may be distorted. (Stretched or Squashed)</a:t>
            </a:r>
          </a:p>
          <a:p>
            <a:pPr marL="179388" indent="-179388">
              <a:spcBef>
                <a:spcPts val="200"/>
              </a:spcBef>
              <a:spcAft>
                <a:spcPts val="200"/>
              </a:spcAft>
              <a:buFont typeface="+mj-lt"/>
              <a:buAutoNum type="arabicPeriod"/>
            </a:pPr>
            <a:endParaRPr lang="en-US" sz="900" dirty="0">
              <a:solidFill>
                <a:schemeClr val="tx1"/>
              </a:solidFill>
              <a:latin typeface="+mn-lt"/>
            </a:endParaRPr>
          </a:p>
          <a:p>
            <a:pPr>
              <a:spcBef>
                <a:spcPts val="200"/>
              </a:spcBef>
              <a:spcAft>
                <a:spcPts val="200"/>
              </a:spcAft>
            </a:pPr>
            <a:r>
              <a:rPr lang="en-US" sz="900" b="1" dirty="0">
                <a:solidFill>
                  <a:schemeClr val="tx1"/>
                </a:solidFill>
                <a:latin typeface="+mn-lt"/>
              </a:rPr>
              <a:t>To fix this:</a:t>
            </a:r>
          </a:p>
          <a:p>
            <a:pPr marL="179388" indent="-179388">
              <a:spcBef>
                <a:spcPts val="200"/>
              </a:spcBef>
              <a:spcAft>
                <a:spcPts val="200"/>
              </a:spcAft>
              <a:buFont typeface="+mj-lt"/>
              <a:buAutoNum type="arabicPeriod"/>
            </a:pPr>
            <a:r>
              <a:rPr lang="en-US" sz="900" dirty="0">
                <a:solidFill>
                  <a:schemeClr val="tx1"/>
                </a:solidFill>
                <a:latin typeface="+mn-lt"/>
              </a:rPr>
              <a:t>Click on the image and from the top menu under </a:t>
            </a:r>
            <a:r>
              <a:rPr lang="en-US" sz="900" b="1" dirty="0">
                <a:solidFill>
                  <a:schemeClr val="tx1"/>
                </a:solidFill>
                <a:latin typeface="+mn-lt"/>
              </a:rPr>
              <a:t>PICTURE FORMAT </a:t>
            </a:r>
            <a:r>
              <a:rPr lang="en-US" sz="900" dirty="0">
                <a:solidFill>
                  <a:schemeClr val="tx1"/>
                </a:solidFill>
                <a:latin typeface="+mn-lt"/>
              </a:rPr>
              <a:t>select the </a:t>
            </a:r>
            <a:r>
              <a:rPr lang="en-US" sz="900" b="1" dirty="0">
                <a:solidFill>
                  <a:schemeClr val="tx1"/>
                </a:solidFill>
                <a:latin typeface="+mn-lt"/>
              </a:rPr>
              <a:t>CROP</a:t>
            </a:r>
            <a:r>
              <a:rPr lang="en-US" sz="900" dirty="0">
                <a:solidFill>
                  <a:schemeClr val="tx1"/>
                </a:solidFill>
                <a:latin typeface="+mn-lt"/>
              </a:rPr>
              <a:t> on the right and from the drop down menu select </a:t>
            </a:r>
            <a:r>
              <a:rPr lang="en-US" sz="900" b="1" kern="1200" dirty="0">
                <a:solidFill>
                  <a:schemeClr val="tx1"/>
                </a:solidFill>
                <a:latin typeface="+mn-lt"/>
                <a:ea typeface="+mn-ea"/>
                <a:cs typeface="+mn-cs"/>
              </a:rPr>
              <a:t>FILL</a:t>
            </a:r>
          </a:p>
          <a:p>
            <a:pPr marL="179388" indent="-179388">
              <a:spcBef>
                <a:spcPts val="200"/>
              </a:spcBef>
              <a:spcAft>
                <a:spcPts val="200"/>
              </a:spcAft>
              <a:buFont typeface="+mj-lt"/>
              <a:buAutoNum type="arabicPeriod"/>
            </a:pPr>
            <a:r>
              <a:rPr lang="en-US" sz="900" b="0" kern="1200" dirty="0">
                <a:solidFill>
                  <a:schemeClr val="tx1"/>
                </a:solidFill>
                <a:latin typeface="+mn-lt"/>
                <a:ea typeface="+mn-ea"/>
                <a:cs typeface="+mn-cs"/>
              </a:rPr>
              <a:t>From here you can move the image within the shape for best visual appearance</a:t>
            </a:r>
          </a:p>
          <a:p>
            <a:pPr marL="179388" indent="-179388">
              <a:spcBef>
                <a:spcPts val="200"/>
              </a:spcBef>
              <a:spcAft>
                <a:spcPts val="200"/>
              </a:spcAft>
              <a:buFont typeface="+mj-lt"/>
              <a:buAutoNum type="arabicPeriod"/>
            </a:pPr>
            <a:endParaRPr lang="en-US" sz="900" b="0" i="0" kern="1200" dirty="0">
              <a:solidFill>
                <a:schemeClr val="tx1"/>
              </a:solidFill>
              <a:latin typeface="+mn-lt"/>
              <a:ea typeface="+mn-ea"/>
              <a:cs typeface="+mn-cs"/>
            </a:endParaRPr>
          </a:p>
          <a:p>
            <a:pPr marL="0" marR="0" lvl="0" indent="0" algn="l" defTabSz="914400" rtl="0" eaLnBrk="1" fontAlgn="auto" latinLnBrk="0" hangingPunct="1">
              <a:lnSpc>
                <a:spcPct val="100000"/>
              </a:lnSpc>
              <a:spcBef>
                <a:spcPts val="200"/>
              </a:spcBef>
              <a:spcAft>
                <a:spcPts val="200"/>
              </a:spcAft>
              <a:buClrTx/>
              <a:buSzTx/>
              <a:buFont typeface="+mj-lt"/>
              <a:buNone/>
              <a:tabLst/>
              <a:defRPr/>
            </a:pPr>
            <a:r>
              <a:rPr lang="en-GB" sz="1000" b="1" i="0" dirty="0">
                <a:effectLst/>
                <a:latin typeface="Arial" panose="020B0604020202020204" pitchFamily="34" charset="0"/>
                <a:ea typeface="Calibri" panose="020F0502020204030204" pitchFamily="34" charset="0"/>
              </a:rPr>
              <a:t>When inserting staff photos, </a:t>
            </a:r>
            <a:r>
              <a:rPr lang="en-GB" sz="1000" i="0" dirty="0">
                <a:effectLst/>
                <a:latin typeface="Arial" panose="020B0604020202020204" pitchFamily="34" charset="0"/>
                <a:ea typeface="Calibri" panose="020F0502020204030204" pitchFamily="34" charset="0"/>
              </a:rPr>
              <a:t>please use the same method as suggested above. To ensure you are using staff photos that are optimised for use in this Pitch Template, please insert them from the “Staff Photos 40x40 BW” folder, located in the Staff photos section of the HFW Pitch Template folder.</a:t>
            </a:r>
            <a:endParaRPr lang="en-GB" sz="1000" i="0" dirty="0">
              <a:effectLst/>
              <a:latin typeface="Calibri" panose="020F0502020204030204" pitchFamily="34" charset="0"/>
              <a:ea typeface="Calibri" panose="020F0502020204030204" pitchFamily="34" charset="0"/>
            </a:endParaRPr>
          </a:p>
          <a:p>
            <a:pPr marL="179388" indent="-179388">
              <a:spcBef>
                <a:spcPts val="200"/>
              </a:spcBef>
              <a:spcAft>
                <a:spcPts val="200"/>
              </a:spcAft>
              <a:buFont typeface="+mj-lt"/>
              <a:buAutoNum type="arabicPeriod"/>
            </a:pPr>
            <a:endParaRPr lang="en-US" sz="900" b="0" kern="1200" dirty="0">
              <a:solidFill>
                <a:schemeClr val="tx1"/>
              </a:solidFill>
              <a:latin typeface="+mn-lt"/>
              <a:ea typeface="+mn-ea"/>
              <a:cs typeface="+mn-cs"/>
            </a:endParaRPr>
          </a:p>
          <a:p>
            <a:pPr marL="179388" indent="-179388">
              <a:spcBef>
                <a:spcPts val="200"/>
              </a:spcBef>
              <a:spcAft>
                <a:spcPts val="200"/>
              </a:spcAft>
              <a:buFont typeface="+mj-lt"/>
              <a:buAutoNum type="arabicPeriod"/>
            </a:pPr>
            <a:endParaRPr lang="en-US" sz="900" b="0" kern="1200" dirty="0">
              <a:solidFill>
                <a:schemeClr val="tx1"/>
              </a:solidFill>
              <a:latin typeface="+mn-lt"/>
              <a:ea typeface="+mn-ea"/>
              <a:cs typeface="+mn-cs"/>
            </a:endParaRPr>
          </a:p>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SAMPLE CONTACT LAYOUT</a:t>
            </a:r>
          </a:p>
        </p:txBody>
      </p:sp>
      <p:sp>
        <p:nvSpPr>
          <p:cNvPr id="14" name="Content Placeholder 2">
            <a:extLst>
              <a:ext uri="{FF2B5EF4-FFF2-40B4-BE49-F238E27FC236}">
                <a16:creationId xmlns:a16="http://schemas.microsoft.com/office/drawing/2014/main" id="{E72CD05C-B4F0-E849-8BE5-946F20E9023A}"/>
              </a:ext>
            </a:extLst>
          </p:cNvPr>
          <p:cNvSpPr>
            <a:spLocks noGrp="1"/>
          </p:cNvSpPr>
          <p:nvPr>
            <p:ph idx="19" hasCustomPrompt="1"/>
          </p:nvPr>
        </p:nvSpPr>
        <p:spPr>
          <a:xfrm>
            <a:off x="508000" y="1208877"/>
            <a:ext cx="7134225" cy="626992"/>
          </a:xfrm>
        </p:spPr>
        <p:txBody>
          <a:bodyPr vert="horz" lIns="0" tIns="0" rIns="0" bIns="0" numCol="1" spcCol="216000" rtlCol="0">
            <a:noAutofit/>
          </a:bodyPr>
          <a:lstStyle>
            <a:lvl1pPr>
              <a:lnSpc>
                <a:spcPct val="110000"/>
              </a:lnSpc>
              <a:defRPr lang="en-US" sz="1800" dirty="0">
                <a:solidFill>
                  <a:schemeClr val="accent2"/>
                </a:solidFill>
              </a:defRPr>
            </a:lvl1pPr>
            <a:lvl2pPr>
              <a:defRPr lang="en-US" sz="900" dirty="0">
                <a:solidFill>
                  <a:schemeClr val="tx1"/>
                </a:solidFill>
              </a:defRPr>
            </a:lvl2pPr>
            <a:lvl3pPr>
              <a:defRPr lang="en-US" sz="800" dirty="0">
                <a:solidFill>
                  <a:schemeClr val="tx1"/>
                </a:solidFill>
              </a:defRPr>
            </a:lvl3pPr>
            <a:lvl4pPr>
              <a:defRPr lang="en-US" sz="700" dirty="0">
                <a:solidFill>
                  <a:schemeClr val="tx1"/>
                </a:solidFill>
              </a:defRPr>
            </a:lvl4pPr>
            <a:lvl5pPr>
              <a:defRPr lang="en-US" sz="700" dirty="0">
                <a:solidFill>
                  <a:schemeClr val="tx1"/>
                </a:solidFill>
              </a:defRPr>
            </a:lvl5pPr>
          </a:lstStyle>
          <a:p>
            <a:pPr lvl="0"/>
            <a:r>
              <a:rPr lang="en-US" dirty="0"/>
              <a:t>Intro paragraph text goes here, spans the columns. </a:t>
            </a:r>
            <a:r>
              <a:rPr lang="en-US" dirty="0" err="1"/>
              <a:t>sintum</a:t>
            </a:r>
            <a:r>
              <a:rPr lang="en-US" dirty="0"/>
              <a:t> </a:t>
            </a:r>
            <a:r>
              <a:rPr lang="en-US" dirty="0" err="1"/>
              <a:t>fuga</a:t>
            </a:r>
            <a:r>
              <a:rPr lang="en-US" dirty="0"/>
              <a:t>. Nam </a:t>
            </a:r>
            <a:r>
              <a:rPr lang="en-US" dirty="0" err="1"/>
              <a:t>reperis</a:t>
            </a:r>
            <a:r>
              <a:rPr lang="en-US" dirty="0"/>
              <a:t> et </a:t>
            </a:r>
            <a:r>
              <a:rPr lang="en-US" dirty="0" err="1"/>
              <a:t>offici</a:t>
            </a:r>
            <a:r>
              <a:rPr lang="en-US" dirty="0"/>
              <a:t> rat.</a:t>
            </a:r>
          </a:p>
        </p:txBody>
      </p:sp>
      <p:sp>
        <p:nvSpPr>
          <p:cNvPr id="19" name="Content Placeholder 2">
            <a:extLst>
              <a:ext uri="{FF2B5EF4-FFF2-40B4-BE49-F238E27FC236}">
                <a16:creationId xmlns:a16="http://schemas.microsoft.com/office/drawing/2014/main" id="{C0E0C3DE-23B8-688A-FFA9-104670A26887}"/>
              </a:ext>
            </a:extLst>
          </p:cNvPr>
          <p:cNvSpPr>
            <a:spLocks noGrp="1"/>
          </p:cNvSpPr>
          <p:nvPr>
            <p:ph idx="21" hasCustomPrompt="1"/>
          </p:nvPr>
        </p:nvSpPr>
        <p:spPr>
          <a:xfrm>
            <a:off x="504826" y="2412999"/>
            <a:ext cx="3403599" cy="3806825"/>
          </a:xfrm>
        </p:spPr>
        <p:txBody>
          <a:bodyPr/>
          <a:lstStyle>
            <a:lvl1pPr>
              <a:defRPr sz="1100">
                <a:solidFill>
                  <a:schemeClr val="tx1"/>
                </a:solidFill>
                <a:latin typeface="+mn-lt"/>
              </a:defRPr>
            </a:lvl1pPr>
            <a:lvl2pPr marL="171450" indent="-171450">
              <a:buFont typeface="Arial" panose="020B0604020202020204" pitchFamily="34" charset="0"/>
              <a:buChar char="•"/>
              <a:defRPr lang="en-US" sz="1100" kern="1200" dirty="0">
                <a:solidFill>
                  <a:schemeClr val="tx1"/>
                </a:solidFill>
                <a:latin typeface="+mn-lt"/>
                <a:ea typeface="+mn-ea"/>
                <a:cs typeface="+mn-cs"/>
              </a:defRPr>
            </a:lvl2pPr>
            <a:lvl3pPr marL="360363" indent="-182563">
              <a:defRPr/>
            </a:lvl3pPr>
            <a:lvl5pPr marL="808038" indent="-182563">
              <a:defRPr/>
            </a:lvl5pPr>
          </a:lstStyle>
          <a:p>
            <a:pPr marL="0" lvl="0" indent="0" algn="l" defTabSz="914400" rtl="0" eaLnBrk="1" latinLnBrk="0" hangingPunct="1">
              <a:lnSpc>
                <a:spcPct val="130000"/>
              </a:lnSpc>
              <a:spcBef>
                <a:spcPts val="300"/>
              </a:spcBef>
              <a:spcAft>
                <a:spcPts val="300"/>
              </a:spcAft>
              <a:buFont typeface="Arial" panose="020B0604020202020204" pitchFamily="34" charset="0"/>
              <a:buNone/>
            </a:pPr>
            <a:r>
              <a:rPr lang="en-US" dirty="0"/>
              <a:t>Body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Content Placeholder 2">
            <a:extLst>
              <a:ext uri="{FF2B5EF4-FFF2-40B4-BE49-F238E27FC236}">
                <a16:creationId xmlns:a16="http://schemas.microsoft.com/office/drawing/2014/main" id="{9ED6CF3F-00EB-45B7-DF26-D4DE5E1987F6}"/>
              </a:ext>
            </a:extLst>
          </p:cNvPr>
          <p:cNvSpPr>
            <a:spLocks noGrp="1"/>
          </p:cNvSpPr>
          <p:nvPr>
            <p:ph idx="22" hasCustomPrompt="1"/>
          </p:nvPr>
        </p:nvSpPr>
        <p:spPr>
          <a:xfrm>
            <a:off x="4238626" y="2412999"/>
            <a:ext cx="3403599" cy="3806825"/>
          </a:xfrm>
        </p:spPr>
        <p:txBody>
          <a:bodyPr vert="horz" lIns="0" tIns="45720" rIns="0" bIns="4572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marL="0" lvl="0" indent="0" algn="l" defTabSz="914400" rtl="0" eaLnBrk="1" latinLnBrk="0" hangingPunct="1">
              <a:lnSpc>
                <a:spcPct val="130000"/>
              </a:lnSpc>
              <a:spcBef>
                <a:spcPts val="300"/>
              </a:spcBef>
              <a:spcAft>
                <a:spcPts val="300"/>
              </a:spcAft>
              <a:buFont typeface="Arial" panose="020B0604020202020204" pitchFamily="34" charset="0"/>
              <a:buNone/>
            </a:pPr>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2" name="Title 1">
            <a:extLst>
              <a:ext uri="{FF2B5EF4-FFF2-40B4-BE49-F238E27FC236}">
                <a16:creationId xmlns:a16="http://schemas.microsoft.com/office/drawing/2014/main" id="{17267681-5D6B-9FCA-FDFF-83DB14A15683}"/>
              </a:ext>
            </a:extLst>
          </p:cNvPr>
          <p:cNvSpPr>
            <a:spLocks noGrp="1"/>
          </p:cNvSpPr>
          <p:nvPr>
            <p:ph type="title" hasCustomPrompt="1"/>
          </p:nvPr>
        </p:nvSpPr>
        <p:spPr>
          <a:xfrm>
            <a:off x="508000" y="454014"/>
            <a:ext cx="7134225" cy="754864"/>
          </a:xfrm>
        </p:spPr>
        <p:txBody>
          <a:bodyPr/>
          <a:lstStyle>
            <a:lvl1pPr>
              <a:defRPr>
                <a:solidFill>
                  <a:schemeClr val="tx2"/>
                </a:solidFill>
              </a:defRPr>
            </a:lvl1pPr>
          </a:lstStyle>
          <a:p>
            <a:r>
              <a:rPr lang="en-US" dirty="0"/>
              <a:t>TITLE: subtitle</a:t>
            </a:r>
            <a:endParaRPr lang="en-GB" dirty="0"/>
          </a:p>
        </p:txBody>
      </p:sp>
      <p:sp>
        <p:nvSpPr>
          <p:cNvPr id="4" name="Text Placeholder 16">
            <a:extLst>
              <a:ext uri="{FF2B5EF4-FFF2-40B4-BE49-F238E27FC236}">
                <a16:creationId xmlns:a16="http://schemas.microsoft.com/office/drawing/2014/main" id="{F3C6F23F-CE66-C7AF-1265-922E8E70E6AE}"/>
              </a:ext>
            </a:extLst>
          </p:cNvPr>
          <p:cNvSpPr>
            <a:spLocks noGrp="1"/>
          </p:cNvSpPr>
          <p:nvPr>
            <p:ph type="body" sz="quarter" idx="23" hasCustomPrompt="1"/>
          </p:nvPr>
        </p:nvSpPr>
        <p:spPr>
          <a:xfrm>
            <a:off x="8739981" y="2526481"/>
            <a:ext cx="2815432"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US" dirty="0"/>
              <a:t>Position, Location</a:t>
            </a:r>
          </a:p>
        </p:txBody>
      </p:sp>
      <p:sp>
        <p:nvSpPr>
          <p:cNvPr id="7" name="Text Placeholder 16">
            <a:extLst>
              <a:ext uri="{FF2B5EF4-FFF2-40B4-BE49-F238E27FC236}">
                <a16:creationId xmlns:a16="http://schemas.microsoft.com/office/drawing/2014/main" id="{A69A952D-566A-410D-B4DE-2ECBE9B4F982}"/>
              </a:ext>
            </a:extLst>
          </p:cNvPr>
          <p:cNvSpPr>
            <a:spLocks noGrp="1"/>
          </p:cNvSpPr>
          <p:nvPr>
            <p:ph type="body" sz="quarter" idx="24" hasCustomPrompt="1"/>
          </p:nvPr>
        </p:nvSpPr>
        <p:spPr>
          <a:xfrm>
            <a:off x="8739981" y="2309311"/>
            <a:ext cx="2815432" cy="169277"/>
          </a:xfrm>
        </p:spPr>
        <p:txBody>
          <a:bodyPr tIns="0" bIns="0">
            <a:noAutofit/>
          </a:bodyPr>
          <a:lstStyle>
            <a:lvl1pPr algn="l">
              <a:lnSpc>
                <a:spcPct val="100000"/>
              </a:lnSpc>
              <a:spcBef>
                <a:spcPts val="0"/>
              </a:spcBef>
              <a:spcAft>
                <a:spcPts val="0"/>
              </a:spcAft>
              <a:defRPr sz="1100" cap="all" baseline="0">
                <a:solidFill>
                  <a:schemeClr val="tx2"/>
                </a:solidFill>
                <a:latin typeface="+mj-lt"/>
              </a:defRPr>
            </a:lvl1pPr>
            <a:lvl2pPr algn="l">
              <a:lnSpc>
                <a:spcPct val="100000"/>
              </a:lnSpc>
              <a:spcBef>
                <a:spcPts val="200"/>
              </a:spcBef>
              <a:spcAft>
                <a:spcPts val="200"/>
              </a:spcAft>
              <a:defRPr sz="1100">
                <a:solidFill>
                  <a:schemeClr val="tx1"/>
                </a:solidFill>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0"/>
            <a:r>
              <a:rPr lang="en-US" dirty="0"/>
              <a:t>NAME SURNAME</a:t>
            </a:r>
          </a:p>
        </p:txBody>
      </p:sp>
      <p:sp>
        <p:nvSpPr>
          <p:cNvPr id="13" name="Text Placeholder 16">
            <a:extLst>
              <a:ext uri="{FF2B5EF4-FFF2-40B4-BE49-F238E27FC236}">
                <a16:creationId xmlns:a16="http://schemas.microsoft.com/office/drawing/2014/main" id="{E8CEBF66-0D3A-B8D4-69E6-1AA9B15277B0}"/>
              </a:ext>
            </a:extLst>
          </p:cNvPr>
          <p:cNvSpPr>
            <a:spLocks noGrp="1"/>
          </p:cNvSpPr>
          <p:nvPr>
            <p:ph type="body" sz="quarter" idx="27" hasCustomPrompt="1"/>
          </p:nvPr>
        </p:nvSpPr>
        <p:spPr>
          <a:xfrm>
            <a:off x="8915664" y="2743713"/>
            <a:ext cx="263974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21" name="Text Placeholder 16">
            <a:extLst>
              <a:ext uri="{FF2B5EF4-FFF2-40B4-BE49-F238E27FC236}">
                <a16:creationId xmlns:a16="http://schemas.microsoft.com/office/drawing/2014/main" id="{AA5E908F-90A9-1C4A-245C-9274F631123D}"/>
              </a:ext>
            </a:extLst>
          </p:cNvPr>
          <p:cNvSpPr>
            <a:spLocks noGrp="1"/>
          </p:cNvSpPr>
          <p:nvPr>
            <p:ph type="body" sz="quarter" idx="29" hasCustomPrompt="1"/>
          </p:nvPr>
        </p:nvSpPr>
        <p:spPr>
          <a:xfrm>
            <a:off x="8915664" y="2960945"/>
            <a:ext cx="263974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name.surname@hfw.com</a:t>
            </a:r>
            <a:endParaRPr lang="en-US" dirty="0"/>
          </a:p>
        </p:txBody>
      </p:sp>
      <p:sp>
        <p:nvSpPr>
          <p:cNvPr id="23" name="TextBox 22">
            <a:extLst>
              <a:ext uri="{FF2B5EF4-FFF2-40B4-BE49-F238E27FC236}">
                <a16:creationId xmlns:a16="http://schemas.microsoft.com/office/drawing/2014/main" id="{8C9B2E49-6CD4-1010-A6EB-726EBCF3C67B}"/>
              </a:ext>
            </a:extLst>
          </p:cNvPr>
          <p:cNvSpPr txBox="1"/>
          <p:nvPr userDrawn="1"/>
        </p:nvSpPr>
        <p:spPr>
          <a:xfrm flipH="1">
            <a:off x="8741500" y="2743713"/>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24" name="TextBox 23">
            <a:extLst>
              <a:ext uri="{FF2B5EF4-FFF2-40B4-BE49-F238E27FC236}">
                <a16:creationId xmlns:a16="http://schemas.microsoft.com/office/drawing/2014/main" id="{89273EE0-17AE-098F-9BD3-7E2A4B6A13B5}"/>
              </a:ext>
            </a:extLst>
          </p:cNvPr>
          <p:cNvSpPr txBox="1"/>
          <p:nvPr userDrawn="1"/>
        </p:nvSpPr>
        <p:spPr>
          <a:xfrm flipH="1">
            <a:off x="8741500" y="2960945"/>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E</a:t>
            </a:r>
          </a:p>
        </p:txBody>
      </p:sp>
      <p:sp>
        <p:nvSpPr>
          <p:cNvPr id="25" name="Text Placeholder 16">
            <a:extLst>
              <a:ext uri="{FF2B5EF4-FFF2-40B4-BE49-F238E27FC236}">
                <a16:creationId xmlns:a16="http://schemas.microsoft.com/office/drawing/2014/main" id="{7B9E2872-5B11-F39C-4AEC-B809361098FB}"/>
              </a:ext>
            </a:extLst>
          </p:cNvPr>
          <p:cNvSpPr>
            <a:spLocks noGrp="1"/>
          </p:cNvSpPr>
          <p:nvPr>
            <p:ph type="body" sz="quarter" idx="30" hasCustomPrompt="1"/>
          </p:nvPr>
        </p:nvSpPr>
        <p:spPr>
          <a:xfrm>
            <a:off x="8739981" y="4751521"/>
            <a:ext cx="2815432"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US" dirty="0"/>
              <a:t>Position, Location</a:t>
            </a:r>
          </a:p>
        </p:txBody>
      </p:sp>
      <p:sp>
        <p:nvSpPr>
          <p:cNvPr id="26" name="Text Placeholder 16">
            <a:extLst>
              <a:ext uri="{FF2B5EF4-FFF2-40B4-BE49-F238E27FC236}">
                <a16:creationId xmlns:a16="http://schemas.microsoft.com/office/drawing/2014/main" id="{A197D9ED-CD07-7A45-8ECC-527D87545D8B}"/>
              </a:ext>
            </a:extLst>
          </p:cNvPr>
          <p:cNvSpPr>
            <a:spLocks noGrp="1"/>
          </p:cNvSpPr>
          <p:nvPr>
            <p:ph type="body" sz="quarter" idx="31" hasCustomPrompt="1"/>
          </p:nvPr>
        </p:nvSpPr>
        <p:spPr>
          <a:xfrm>
            <a:off x="8739981" y="4534351"/>
            <a:ext cx="2815432" cy="169277"/>
          </a:xfrm>
        </p:spPr>
        <p:txBody>
          <a:bodyPr tIns="0" bIns="0">
            <a:noAutofit/>
          </a:bodyPr>
          <a:lstStyle>
            <a:lvl1pPr algn="l">
              <a:lnSpc>
                <a:spcPct val="100000"/>
              </a:lnSpc>
              <a:spcBef>
                <a:spcPts val="0"/>
              </a:spcBef>
              <a:spcAft>
                <a:spcPts val="0"/>
              </a:spcAft>
              <a:defRPr sz="1100" cap="all" baseline="0">
                <a:solidFill>
                  <a:schemeClr val="tx2"/>
                </a:solidFill>
                <a:latin typeface="+mj-lt"/>
              </a:defRPr>
            </a:lvl1pPr>
            <a:lvl2pPr algn="l">
              <a:lnSpc>
                <a:spcPct val="100000"/>
              </a:lnSpc>
              <a:spcBef>
                <a:spcPts val="200"/>
              </a:spcBef>
              <a:spcAft>
                <a:spcPts val="200"/>
              </a:spcAft>
              <a:defRPr sz="1100">
                <a:solidFill>
                  <a:schemeClr val="tx1"/>
                </a:solidFill>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0"/>
            <a:r>
              <a:rPr lang="en-US" dirty="0"/>
              <a:t>NAME SURNAME</a:t>
            </a:r>
          </a:p>
        </p:txBody>
      </p:sp>
      <p:sp>
        <p:nvSpPr>
          <p:cNvPr id="27" name="Text Placeholder 16">
            <a:extLst>
              <a:ext uri="{FF2B5EF4-FFF2-40B4-BE49-F238E27FC236}">
                <a16:creationId xmlns:a16="http://schemas.microsoft.com/office/drawing/2014/main" id="{16D3FDDE-0FE7-CDAE-2B58-387A9FFC83AB}"/>
              </a:ext>
            </a:extLst>
          </p:cNvPr>
          <p:cNvSpPr>
            <a:spLocks noGrp="1"/>
          </p:cNvSpPr>
          <p:nvPr>
            <p:ph type="body" sz="quarter" idx="32" hasCustomPrompt="1"/>
          </p:nvPr>
        </p:nvSpPr>
        <p:spPr>
          <a:xfrm>
            <a:off x="8915664" y="4968753"/>
            <a:ext cx="263974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28" name="Text Placeholder 16">
            <a:extLst>
              <a:ext uri="{FF2B5EF4-FFF2-40B4-BE49-F238E27FC236}">
                <a16:creationId xmlns:a16="http://schemas.microsoft.com/office/drawing/2014/main" id="{45930608-034F-4DC6-C1F0-2437432D66A2}"/>
              </a:ext>
            </a:extLst>
          </p:cNvPr>
          <p:cNvSpPr>
            <a:spLocks noGrp="1"/>
          </p:cNvSpPr>
          <p:nvPr>
            <p:ph type="body" sz="quarter" idx="33" hasCustomPrompt="1"/>
          </p:nvPr>
        </p:nvSpPr>
        <p:spPr>
          <a:xfrm>
            <a:off x="8915664" y="5185985"/>
            <a:ext cx="263974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name.surname@hfw.com</a:t>
            </a:r>
            <a:endParaRPr lang="en-US" dirty="0"/>
          </a:p>
        </p:txBody>
      </p:sp>
      <p:sp>
        <p:nvSpPr>
          <p:cNvPr id="29" name="TextBox 28">
            <a:extLst>
              <a:ext uri="{FF2B5EF4-FFF2-40B4-BE49-F238E27FC236}">
                <a16:creationId xmlns:a16="http://schemas.microsoft.com/office/drawing/2014/main" id="{C2EE0372-2912-3EA0-A1F1-6890E47D0A1A}"/>
              </a:ext>
            </a:extLst>
          </p:cNvPr>
          <p:cNvSpPr txBox="1"/>
          <p:nvPr userDrawn="1"/>
        </p:nvSpPr>
        <p:spPr>
          <a:xfrm flipH="1">
            <a:off x="8741500" y="4968753"/>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30" name="TextBox 29">
            <a:extLst>
              <a:ext uri="{FF2B5EF4-FFF2-40B4-BE49-F238E27FC236}">
                <a16:creationId xmlns:a16="http://schemas.microsoft.com/office/drawing/2014/main" id="{0CC86D38-4550-44AC-F0A1-D239B26E5B0F}"/>
              </a:ext>
            </a:extLst>
          </p:cNvPr>
          <p:cNvSpPr txBox="1"/>
          <p:nvPr userDrawn="1"/>
        </p:nvSpPr>
        <p:spPr>
          <a:xfrm flipH="1">
            <a:off x="8741500" y="5185985"/>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E</a:t>
            </a:r>
          </a:p>
        </p:txBody>
      </p:sp>
      <p:grpSp>
        <p:nvGrpSpPr>
          <p:cNvPr id="42" name="Group 41">
            <a:extLst>
              <a:ext uri="{FF2B5EF4-FFF2-40B4-BE49-F238E27FC236}">
                <a16:creationId xmlns:a16="http://schemas.microsoft.com/office/drawing/2014/main" id="{17DB7305-994E-790A-87C2-DBAF58E7B5D2}"/>
              </a:ext>
            </a:extLst>
          </p:cNvPr>
          <p:cNvGrpSpPr/>
          <p:nvPr userDrawn="1"/>
        </p:nvGrpSpPr>
        <p:grpSpPr>
          <a:xfrm>
            <a:off x="12437199" y="5138030"/>
            <a:ext cx="2813913" cy="819975"/>
            <a:chOff x="12399099" y="4230487"/>
            <a:chExt cx="2813913" cy="819975"/>
          </a:xfrm>
        </p:grpSpPr>
        <p:sp>
          <p:nvSpPr>
            <p:cNvPr id="37" name="TextBox 36">
              <a:extLst>
                <a:ext uri="{FF2B5EF4-FFF2-40B4-BE49-F238E27FC236}">
                  <a16:creationId xmlns:a16="http://schemas.microsoft.com/office/drawing/2014/main" id="{58BCCC45-F383-DC81-A86C-8A22652B88CA}"/>
                </a:ext>
              </a:extLst>
            </p:cNvPr>
            <p:cNvSpPr txBox="1"/>
            <p:nvPr userDrawn="1"/>
          </p:nvSpPr>
          <p:spPr>
            <a:xfrm flipH="1">
              <a:off x="12573262" y="4663953"/>
              <a:ext cx="2639750"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grpSp>
          <p:nvGrpSpPr>
            <p:cNvPr id="41" name="Group 40">
              <a:extLst>
                <a:ext uri="{FF2B5EF4-FFF2-40B4-BE49-F238E27FC236}">
                  <a16:creationId xmlns:a16="http://schemas.microsoft.com/office/drawing/2014/main" id="{1BB33349-8690-8013-6F87-1258DDEF5B1A}"/>
                </a:ext>
              </a:extLst>
            </p:cNvPr>
            <p:cNvGrpSpPr/>
            <p:nvPr userDrawn="1"/>
          </p:nvGrpSpPr>
          <p:grpSpPr>
            <a:xfrm>
              <a:off x="12399099" y="4230487"/>
              <a:ext cx="2326813" cy="819975"/>
              <a:chOff x="12399099" y="4230487"/>
              <a:chExt cx="2326813" cy="819975"/>
            </a:xfrm>
          </p:grpSpPr>
          <p:sp>
            <p:nvSpPr>
              <p:cNvPr id="35" name="TextBox 34">
                <a:extLst>
                  <a:ext uri="{FF2B5EF4-FFF2-40B4-BE49-F238E27FC236}">
                    <a16:creationId xmlns:a16="http://schemas.microsoft.com/office/drawing/2014/main" id="{C20CE6E1-A066-53BB-DBEF-0A6DA68A4D3A}"/>
                  </a:ext>
                </a:extLst>
              </p:cNvPr>
              <p:cNvSpPr txBox="1"/>
              <p:nvPr userDrawn="1"/>
            </p:nvSpPr>
            <p:spPr>
              <a:xfrm flipH="1">
                <a:off x="12399100" y="4663953"/>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36" name="TextBox 35">
                <a:extLst>
                  <a:ext uri="{FF2B5EF4-FFF2-40B4-BE49-F238E27FC236}">
                    <a16:creationId xmlns:a16="http://schemas.microsoft.com/office/drawing/2014/main" id="{B13F7703-DC5B-8C8E-30E2-431A11F27263}"/>
                  </a:ext>
                </a:extLst>
              </p:cNvPr>
              <p:cNvSpPr txBox="1"/>
              <p:nvPr userDrawn="1"/>
            </p:nvSpPr>
            <p:spPr>
              <a:xfrm flipH="1">
                <a:off x="12399100" y="4881185"/>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E</a:t>
                </a:r>
              </a:p>
            </p:txBody>
          </p:sp>
          <p:sp>
            <p:nvSpPr>
              <p:cNvPr id="38" name="TextBox 37">
                <a:extLst>
                  <a:ext uri="{FF2B5EF4-FFF2-40B4-BE49-F238E27FC236}">
                    <a16:creationId xmlns:a16="http://schemas.microsoft.com/office/drawing/2014/main" id="{0691D8A7-5B42-3F57-A885-08775462759F}"/>
                  </a:ext>
                </a:extLst>
              </p:cNvPr>
              <p:cNvSpPr txBox="1"/>
              <p:nvPr userDrawn="1"/>
            </p:nvSpPr>
            <p:spPr>
              <a:xfrm flipH="1">
                <a:off x="12573262" y="4881185"/>
                <a:ext cx="2152650"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name.surname@hfw.com</a:t>
                </a:r>
                <a:endParaRPr lang="en-US" dirty="0"/>
              </a:p>
            </p:txBody>
          </p:sp>
          <p:sp>
            <p:nvSpPr>
              <p:cNvPr id="39" name="TextBox 38">
                <a:extLst>
                  <a:ext uri="{FF2B5EF4-FFF2-40B4-BE49-F238E27FC236}">
                    <a16:creationId xmlns:a16="http://schemas.microsoft.com/office/drawing/2014/main" id="{E4BF4C4E-606A-D2F9-07F2-69954BA7DCB7}"/>
                  </a:ext>
                </a:extLst>
              </p:cNvPr>
              <p:cNvSpPr txBox="1"/>
              <p:nvPr userDrawn="1"/>
            </p:nvSpPr>
            <p:spPr>
              <a:xfrm flipH="1">
                <a:off x="12399099" y="4230487"/>
                <a:ext cx="1968833"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solidFill>
                      <a:schemeClr val="tx2"/>
                    </a:solidFill>
                    <a:latin typeface="+mj-lt"/>
                  </a:rPr>
                  <a:t>NAME SURNAME</a:t>
                </a:r>
              </a:p>
            </p:txBody>
          </p:sp>
          <p:sp>
            <p:nvSpPr>
              <p:cNvPr id="40" name="TextBox 39">
                <a:extLst>
                  <a:ext uri="{FF2B5EF4-FFF2-40B4-BE49-F238E27FC236}">
                    <a16:creationId xmlns:a16="http://schemas.microsoft.com/office/drawing/2014/main" id="{5B7F22CA-42D9-B311-E68E-F7746660020F}"/>
                  </a:ext>
                </a:extLst>
              </p:cNvPr>
              <p:cNvSpPr txBox="1"/>
              <p:nvPr userDrawn="1"/>
            </p:nvSpPr>
            <p:spPr>
              <a:xfrm flipH="1">
                <a:off x="12399099" y="4445785"/>
                <a:ext cx="1968833"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US" dirty="0"/>
                  <a:t>Position, Location</a:t>
                </a:r>
              </a:p>
            </p:txBody>
          </p:sp>
        </p:grpSp>
      </p:grpSp>
    </p:spTree>
    <p:extLst>
      <p:ext uri="{BB962C8B-B14F-4D97-AF65-F5344CB8AC3E}">
        <p14:creationId xmlns:p14="http://schemas.microsoft.com/office/powerpoint/2010/main" val="4277030774"/>
      </p:ext>
    </p:extLst>
  </p:cSld>
  <p:clrMapOvr>
    <a:masterClrMapping/>
  </p:clrMapOvr>
  <p:transition spd="med">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Divider_image or fill">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77585206-FD4D-423A-9A8C-A253CE94D174}"/>
              </a:ext>
            </a:extLst>
          </p:cNvPr>
          <p:cNvSpPr/>
          <p:nvPr userDrawn="1"/>
        </p:nvSpPr>
        <p:spPr>
          <a:xfrm>
            <a:off x="0" y="3"/>
            <a:ext cx="12192000" cy="6858000"/>
          </a:xfrm>
          <a:prstGeom prst="rect">
            <a:avLst/>
          </a:prstGeom>
          <a:solidFill>
            <a:schemeClr val="bg1"/>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48975" tIns="48975" rIns="48975" bIns="48975" rtlCol="0" anchor="ctr"/>
          <a:lstStyle/>
          <a:p>
            <a:pPr algn="ctr"/>
            <a:endParaRPr lang="en-GB" sz="1814"/>
          </a:p>
        </p:txBody>
      </p:sp>
      <p:sp>
        <p:nvSpPr>
          <p:cNvPr id="9" name="Picture Placeholder 2"/>
          <p:cNvSpPr>
            <a:spLocks noGrp="1"/>
          </p:cNvSpPr>
          <p:nvPr>
            <p:ph type="pic" sz="quarter" idx="18" hasCustomPrompt="1"/>
          </p:nvPr>
        </p:nvSpPr>
        <p:spPr>
          <a:xfrm>
            <a:off x="349683" y="273571"/>
            <a:ext cx="11492637" cy="6138517"/>
          </a:xfrm>
          <a:solidFill>
            <a:schemeClr val="accent1"/>
          </a:solidFill>
        </p:spPr>
        <p:txBody>
          <a:bodyPr anchor="ctr" anchorCtr="1">
            <a:noAutofit/>
          </a:bodyPr>
          <a:lstStyle>
            <a:lvl1pPr>
              <a:defRPr/>
            </a:lvl1pPr>
          </a:lstStyle>
          <a:p>
            <a:r>
              <a:rPr lang="en-GB" dirty="0"/>
              <a:t> </a:t>
            </a:r>
          </a:p>
        </p:txBody>
      </p:sp>
      <p:sp>
        <p:nvSpPr>
          <p:cNvPr id="28" name="Text Placeholder 6">
            <a:extLst>
              <a:ext uri="{FF2B5EF4-FFF2-40B4-BE49-F238E27FC236}">
                <a16:creationId xmlns:a16="http://schemas.microsoft.com/office/drawing/2014/main" id="{944B78BD-3198-4EC5-8B00-3619636251FC}"/>
              </a:ext>
            </a:extLst>
          </p:cNvPr>
          <p:cNvSpPr>
            <a:spLocks noGrp="1"/>
          </p:cNvSpPr>
          <p:nvPr>
            <p:ph type="body" sz="quarter" idx="17" hasCustomPrompt="1"/>
            <p:custDataLst>
              <p:tags r:id="rId1"/>
            </p:custDataLst>
          </p:nvPr>
        </p:nvSpPr>
        <p:spPr>
          <a:xfrm>
            <a:off x="718563" y="1534881"/>
            <a:ext cx="1559817" cy="167490"/>
          </a:xfrm>
        </p:spPr>
        <p:txBody>
          <a:bodyPr/>
          <a:lstStyle>
            <a:lvl1pPr>
              <a:lnSpc>
                <a:spcPct val="100000"/>
              </a:lnSpc>
              <a:spcAft>
                <a:spcPts val="544"/>
              </a:spcAft>
              <a:defRPr sz="1088" b="0" cap="none" baseline="0">
                <a:solidFill>
                  <a:schemeClr val="bg1"/>
                </a:solidFill>
                <a:latin typeface="+mn-lt"/>
              </a:defRPr>
            </a:lvl1pPr>
            <a:lvl2pPr>
              <a:lnSpc>
                <a:spcPct val="100000"/>
              </a:lnSpc>
              <a:spcAft>
                <a:spcPts val="544"/>
              </a:spcAft>
              <a:defRPr sz="2721" b="1" cap="all" spc="-18" baseline="0">
                <a:solidFill>
                  <a:schemeClr val="bg1"/>
                </a:solidFill>
                <a:latin typeface="+mj-lt"/>
              </a:defRPr>
            </a:lvl2pPr>
            <a:lvl3pPr marL="0" indent="0">
              <a:lnSpc>
                <a:spcPct val="100000"/>
              </a:lnSpc>
              <a:spcAft>
                <a:spcPts val="0"/>
              </a:spcAft>
              <a:buNone/>
              <a:defRPr sz="1814">
                <a:solidFill>
                  <a:schemeClr val="bg1"/>
                </a:solidFill>
                <a:latin typeface="+mj-lt"/>
              </a:defRPr>
            </a:lvl3pPr>
          </a:lstStyle>
          <a:p>
            <a:pPr lvl="0"/>
            <a:r>
              <a:rPr lang="en-US" dirty="0"/>
              <a:t>Section Number</a:t>
            </a:r>
          </a:p>
        </p:txBody>
      </p:sp>
      <p:sp>
        <p:nvSpPr>
          <p:cNvPr id="29" name="Title 3">
            <a:extLst>
              <a:ext uri="{FF2B5EF4-FFF2-40B4-BE49-F238E27FC236}">
                <a16:creationId xmlns:a16="http://schemas.microsoft.com/office/drawing/2014/main" id="{95281F3F-7B6C-4876-96DC-004CE917D4B9}"/>
              </a:ext>
            </a:extLst>
          </p:cNvPr>
          <p:cNvSpPr>
            <a:spLocks noGrp="1"/>
          </p:cNvSpPr>
          <p:nvPr>
            <p:ph type="body" sz="quarter" idx="19" hasCustomPrompt="1"/>
            <p:custDataLst>
              <p:tags r:id="rId2"/>
            </p:custDataLst>
          </p:nvPr>
        </p:nvSpPr>
        <p:spPr>
          <a:xfrm>
            <a:off x="718561" y="1757294"/>
            <a:ext cx="10754879" cy="418726"/>
          </a:xfrm>
        </p:spPr>
        <p:txBody>
          <a:bodyPr/>
          <a:lstStyle>
            <a:lvl1pPr>
              <a:lnSpc>
                <a:spcPct val="100000"/>
              </a:lnSpc>
              <a:spcAft>
                <a:spcPts val="544"/>
              </a:spcAft>
              <a:defRPr sz="2721" b="0" cap="all" baseline="0">
                <a:solidFill>
                  <a:schemeClr val="bg1"/>
                </a:solidFill>
                <a:latin typeface="+mj-lt"/>
              </a:defRPr>
            </a:lvl1pPr>
            <a:lvl2pPr>
              <a:lnSpc>
                <a:spcPct val="100000"/>
              </a:lnSpc>
              <a:spcAft>
                <a:spcPts val="544"/>
              </a:spcAft>
              <a:defRPr sz="2721" b="1" cap="all" spc="-18" baseline="0">
                <a:solidFill>
                  <a:schemeClr val="bg1"/>
                </a:solidFill>
                <a:latin typeface="+mj-lt"/>
              </a:defRPr>
            </a:lvl2pPr>
            <a:lvl3pPr marL="0" indent="0">
              <a:lnSpc>
                <a:spcPct val="100000"/>
              </a:lnSpc>
              <a:spcAft>
                <a:spcPts val="0"/>
              </a:spcAft>
              <a:buNone/>
              <a:defRPr sz="1814">
                <a:solidFill>
                  <a:schemeClr val="bg1"/>
                </a:solidFill>
                <a:latin typeface="+mj-lt"/>
              </a:defRPr>
            </a:lvl3pPr>
          </a:lstStyle>
          <a:p>
            <a:pPr lvl="0"/>
            <a:r>
              <a:rPr lang="en-US" dirty="0"/>
              <a:t>SECTION TITLE</a:t>
            </a:r>
          </a:p>
        </p:txBody>
      </p:sp>
      <p:sp>
        <p:nvSpPr>
          <p:cNvPr id="6" name="TextBox 5">
            <a:extLst>
              <a:ext uri="{FF2B5EF4-FFF2-40B4-BE49-F238E27FC236}">
                <a16:creationId xmlns:a16="http://schemas.microsoft.com/office/drawing/2014/main" id="{B73A7BED-F012-4BD1-97EF-925EA271EE96}"/>
              </a:ext>
            </a:extLst>
          </p:cNvPr>
          <p:cNvSpPr txBox="1"/>
          <p:nvPr userDrawn="1"/>
        </p:nvSpPr>
        <p:spPr>
          <a:xfrm>
            <a:off x="12343029" y="4357007"/>
            <a:ext cx="2873478" cy="1483249"/>
          </a:xfrm>
          <a:prstGeom prst="rect">
            <a:avLst/>
          </a:prstGeom>
          <a:solidFill>
            <a:schemeClr val="bg1">
              <a:lumMod val="85000"/>
            </a:schemeClr>
          </a:solidFill>
          <a:ln w="9525">
            <a:noFill/>
            <a:miter lim="800000"/>
            <a:headEnd/>
            <a:tailEnd/>
          </a:ln>
          <a:effectLst/>
        </p:spPr>
        <p:txBody>
          <a:bodyPr lIns="32650" tIns="32650" rIns="32650" bIns="32650">
            <a:spAutoFit/>
          </a:bodyPr>
          <a:lstStyle/>
          <a:p>
            <a:pPr>
              <a:spcAft>
                <a:spcPts val="272"/>
              </a:spcAft>
            </a:pPr>
            <a:r>
              <a:rPr lang="en-GB" sz="726" dirty="0"/>
              <a:t>Please remember when selecting imagery that the right type should be used either emotive or functional imagery.</a:t>
            </a:r>
          </a:p>
          <a:p>
            <a:pPr>
              <a:spcAft>
                <a:spcPts val="272"/>
              </a:spcAft>
            </a:pPr>
            <a:r>
              <a:rPr lang="en-GB" sz="726" dirty="0"/>
              <a:t>Emotive - </a:t>
            </a:r>
            <a:r>
              <a:rPr lang="en-US" sz="726" dirty="0"/>
              <a:t>As part of our new visual identity, we’re reappraising the role of photography within the brand. Imagery will be selected with its destination in mind, and whether the image required should be more colorful and emotive, or more abstract and functional.</a:t>
            </a:r>
            <a:endParaRPr lang="en-GB" sz="726" dirty="0"/>
          </a:p>
          <a:p>
            <a:pPr>
              <a:spcAft>
                <a:spcPts val="272"/>
              </a:spcAft>
            </a:pPr>
            <a:r>
              <a:rPr lang="en-GB" sz="726" dirty="0"/>
              <a:t>Functional imagery - </a:t>
            </a:r>
            <a:r>
              <a:rPr lang="en-US" sz="726" dirty="0"/>
              <a:t>News and fact-based communications, and as such should be restricted to beautifully shot black and white images. However, in applications where colour and dynamism are required, but space restrictions and/or text legibility must be considered, colorful abstracts may be used.</a:t>
            </a:r>
            <a:endParaRPr lang="en-GB" sz="726" dirty="0"/>
          </a:p>
        </p:txBody>
      </p:sp>
      <p:sp>
        <p:nvSpPr>
          <p:cNvPr id="7" name="TextBox 6">
            <a:extLst>
              <a:ext uri="{FF2B5EF4-FFF2-40B4-BE49-F238E27FC236}">
                <a16:creationId xmlns:a16="http://schemas.microsoft.com/office/drawing/2014/main" id="{FB3D02B8-0FD5-42A7-88AA-4CC44942F5AD}"/>
              </a:ext>
            </a:extLst>
          </p:cNvPr>
          <p:cNvSpPr txBox="1"/>
          <p:nvPr userDrawn="1"/>
        </p:nvSpPr>
        <p:spPr>
          <a:xfrm>
            <a:off x="12343029" y="12306"/>
            <a:ext cx="2873478" cy="4105633"/>
          </a:xfrm>
          <a:prstGeom prst="rect">
            <a:avLst/>
          </a:prstGeom>
          <a:solidFill>
            <a:schemeClr val="bg1">
              <a:lumMod val="85000"/>
            </a:schemeClr>
          </a:solidFill>
          <a:ln w="9525">
            <a:noFill/>
            <a:miter lim="800000"/>
            <a:headEnd/>
            <a:tailEnd/>
          </a:ln>
          <a:effectLst/>
        </p:spPr>
        <p:txBody>
          <a:bodyPr lIns="32650" tIns="32650" rIns="32650" bIns="32650">
            <a:spAutoFit/>
          </a:bodyPr>
          <a:lstStyle/>
          <a:p>
            <a:pPr marL="0" indent="0">
              <a:spcAft>
                <a:spcPts val="272"/>
              </a:spcAft>
              <a:buFont typeface="Arial" pitchFamily="34" charset="0"/>
              <a:buNone/>
            </a:pPr>
            <a:r>
              <a:rPr lang="en-GB" sz="726" b="1" dirty="0"/>
              <a:t>NOTES FOR UPDATING THE IMAGE</a:t>
            </a:r>
          </a:p>
          <a:p>
            <a:pPr marL="0" indent="0">
              <a:spcAft>
                <a:spcPts val="272"/>
              </a:spcAft>
              <a:buFont typeface="Arial" pitchFamily="34" charset="0"/>
              <a:buNone/>
            </a:pPr>
            <a:r>
              <a:rPr lang="en-GB" sz="726" b="1" dirty="0"/>
              <a:t>Inserting an image</a:t>
            </a:r>
          </a:p>
          <a:p>
            <a:pPr marL="0" indent="0">
              <a:spcAft>
                <a:spcPts val="272"/>
              </a:spcAft>
              <a:buFont typeface="Arial" pitchFamily="34" charset="0"/>
              <a:buNone/>
            </a:pPr>
            <a:r>
              <a:rPr lang="en-GB" sz="726" dirty="0"/>
              <a:t>The section divider is set up as a picture placeholder. </a:t>
            </a:r>
          </a:p>
          <a:p>
            <a:pPr>
              <a:spcAft>
                <a:spcPts val="272"/>
              </a:spcAft>
            </a:pPr>
            <a:r>
              <a:rPr lang="en-GB" sz="726" dirty="0"/>
              <a:t>To insert an image click on </a:t>
            </a:r>
            <a:br>
              <a:rPr lang="en-GB" sz="726" dirty="0"/>
            </a:br>
            <a:r>
              <a:rPr lang="en-GB" sz="726" dirty="0"/>
              <a:t>the ‘image placeholder’ and </a:t>
            </a:r>
            <a:br>
              <a:rPr lang="en-GB" sz="726" dirty="0"/>
            </a:br>
            <a:r>
              <a:rPr lang="en-GB" sz="726" dirty="0"/>
              <a:t>navigate to the file and insert.</a:t>
            </a:r>
          </a:p>
          <a:p>
            <a:pPr marL="0" indent="0">
              <a:spcAft>
                <a:spcPts val="272"/>
              </a:spcAft>
              <a:buFont typeface="Arial" pitchFamily="34" charset="0"/>
              <a:buNone/>
            </a:pPr>
            <a:r>
              <a:rPr lang="en-GB" sz="726" dirty="0"/>
              <a:t>The image should update and size automatically. If this does not happen, then right click on the slide and select ‘reset slide’. </a:t>
            </a:r>
          </a:p>
          <a:p>
            <a:pPr marL="0" indent="0">
              <a:spcAft>
                <a:spcPts val="272"/>
              </a:spcAft>
              <a:buFont typeface="Arial" pitchFamily="34" charset="0"/>
              <a:buNone/>
            </a:pPr>
            <a:r>
              <a:rPr lang="en-GB" sz="726" b="1" dirty="0"/>
              <a:t>Updating the image </a:t>
            </a:r>
          </a:p>
          <a:p>
            <a:pPr>
              <a:spcAft>
                <a:spcPts val="272"/>
              </a:spcAft>
            </a:pPr>
            <a:r>
              <a:rPr lang="en-GB" sz="726" dirty="0"/>
              <a:t>To change the image, select it, right-click and select ‘Change Picture’, navigate to the required image file, select and click ‘Insert’.</a:t>
            </a:r>
          </a:p>
          <a:p>
            <a:pPr>
              <a:spcAft>
                <a:spcPts val="272"/>
              </a:spcAft>
            </a:pPr>
            <a:r>
              <a:rPr lang="en-GB" sz="726" dirty="0"/>
              <a:t>or</a:t>
            </a:r>
          </a:p>
          <a:p>
            <a:pPr marL="0" indent="0">
              <a:spcAft>
                <a:spcPts val="272"/>
              </a:spcAft>
              <a:buFont typeface="Arial" pitchFamily="34" charset="0"/>
              <a:buNone/>
            </a:pPr>
            <a:r>
              <a:rPr lang="en-GB" sz="726" dirty="0"/>
              <a:t>Click on the image and ‘delete. Then follow the steps above to insert a new image.</a:t>
            </a:r>
          </a:p>
          <a:p>
            <a:pPr marL="0" indent="0">
              <a:spcAft>
                <a:spcPts val="272"/>
              </a:spcAft>
              <a:buFont typeface="Arial" pitchFamily="34" charset="0"/>
              <a:buNone/>
            </a:pPr>
            <a:r>
              <a:rPr lang="en-GB" sz="726" b="1" dirty="0"/>
              <a:t>Updating colour of divider</a:t>
            </a:r>
          </a:p>
          <a:p>
            <a:pPr>
              <a:spcAft>
                <a:spcPts val="272"/>
              </a:spcAft>
            </a:pPr>
            <a:r>
              <a:rPr lang="en-GB" sz="726" dirty="0"/>
              <a:t>If you change the colour of the report through the ‘Template options’ or ‘Finalise’ buttons, then the divider will automatically change colour if an image is not in the placeholder.</a:t>
            </a:r>
          </a:p>
          <a:p>
            <a:pPr>
              <a:spcAft>
                <a:spcPts val="272"/>
              </a:spcAft>
            </a:pPr>
            <a:r>
              <a:rPr lang="en-GB" sz="726" dirty="0"/>
              <a:t>If the colour does not change then right click on the slide and select ‘reset slide’. </a:t>
            </a:r>
          </a:p>
          <a:p>
            <a:pPr>
              <a:spcAft>
                <a:spcPts val="272"/>
              </a:spcAft>
            </a:pPr>
            <a:r>
              <a:rPr lang="en-GB" sz="726" b="1" dirty="0"/>
              <a:t>HFW logo</a:t>
            </a:r>
          </a:p>
          <a:p>
            <a:pPr marL="0" indent="0">
              <a:spcAft>
                <a:spcPts val="272"/>
              </a:spcAft>
              <a:buFont typeface="Arial" pitchFamily="34" charset="0"/>
              <a:buNone/>
            </a:pPr>
            <a:r>
              <a:rPr lang="en-GB" sz="726" dirty="0"/>
              <a:t>‘The</a:t>
            </a:r>
            <a:r>
              <a:rPr lang="en-GB" sz="726" baseline="0" dirty="0"/>
              <a:t> logo is placed on top of the slide (top-left).</a:t>
            </a:r>
            <a:r>
              <a:rPr lang="en-GB" sz="726" dirty="0"/>
              <a:t> </a:t>
            </a:r>
          </a:p>
          <a:p>
            <a:pPr marL="0" indent="0">
              <a:spcAft>
                <a:spcPts val="272"/>
              </a:spcAft>
              <a:buFont typeface="Arial" pitchFamily="34" charset="0"/>
              <a:buNone/>
            </a:pPr>
            <a:r>
              <a:rPr lang="en-GB" sz="726" dirty="0"/>
              <a:t>I</a:t>
            </a:r>
            <a:r>
              <a:rPr lang="en-GB" sz="726" baseline="0" dirty="0"/>
              <a:t>f the logo is not visible click on the image and select ‘Send to Back’.</a:t>
            </a:r>
          </a:p>
          <a:p>
            <a:pPr>
              <a:spcAft>
                <a:spcPts val="272"/>
              </a:spcAft>
            </a:pPr>
            <a:r>
              <a:rPr lang="en-GB" sz="726" dirty="0"/>
              <a:t>If you wish to change the colour of the logo to match your report then go to ‘Insert’ and ‘Graphics’. Click on ‘Brand logos’ and select the colour you require and this will update the logo accordingly.</a:t>
            </a:r>
          </a:p>
        </p:txBody>
      </p:sp>
      <p:pic>
        <p:nvPicPr>
          <p:cNvPr id="8" name="Picture 7">
            <a:extLst>
              <a:ext uri="{FF2B5EF4-FFF2-40B4-BE49-F238E27FC236}">
                <a16:creationId xmlns:a16="http://schemas.microsoft.com/office/drawing/2014/main" id="{6C1A31D4-3C25-42D9-B16F-FAC15550E948}"/>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l="16989" t="20957" r="15058" b="23557"/>
          <a:stretch/>
        </p:blipFill>
        <p:spPr>
          <a:xfrm>
            <a:off x="14231315" y="562959"/>
            <a:ext cx="410497" cy="326553"/>
          </a:xfrm>
          <a:prstGeom prst="rect">
            <a:avLst/>
          </a:prstGeom>
        </p:spPr>
      </p:pic>
    </p:spTree>
    <p:extLst>
      <p:ext uri="{BB962C8B-B14F-4D97-AF65-F5344CB8AC3E}">
        <p14:creationId xmlns:p14="http://schemas.microsoft.com/office/powerpoint/2010/main" val="2748563423"/>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ack cov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9A7592E-A926-4D1A-8F98-B3D6080C3939}"/>
              </a:ext>
            </a:extLst>
          </p:cNvPr>
          <p:cNvSpPr/>
          <p:nvPr userDrawn="1"/>
        </p:nvSpPr>
        <p:spPr>
          <a:xfrm>
            <a:off x="0" y="3"/>
            <a:ext cx="12192000" cy="6858000"/>
          </a:xfrm>
          <a:prstGeom prst="rect">
            <a:avLst/>
          </a:prstGeom>
          <a:solidFill>
            <a:schemeClr val="bg1"/>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48975" tIns="48975" rIns="48975" bIns="48975" rtlCol="0" anchor="ctr"/>
          <a:lstStyle/>
          <a:p>
            <a:pPr algn="ctr"/>
            <a:endParaRPr lang="en-GB" sz="1814"/>
          </a:p>
        </p:txBody>
      </p:sp>
      <p:sp>
        <p:nvSpPr>
          <p:cNvPr id="3" name="Rectangle 2">
            <a:extLst>
              <a:ext uri="{FF2B5EF4-FFF2-40B4-BE49-F238E27FC236}">
                <a16:creationId xmlns:a16="http://schemas.microsoft.com/office/drawing/2014/main" id="{2B353FF0-D365-4650-B885-A9A81EC63860}"/>
              </a:ext>
            </a:extLst>
          </p:cNvPr>
          <p:cNvSpPr/>
          <p:nvPr userDrawn="1"/>
        </p:nvSpPr>
        <p:spPr>
          <a:xfrm>
            <a:off x="349045" y="262116"/>
            <a:ext cx="11493914" cy="6138517"/>
          </a:xfrm>
          <a:prstGeom prst="rect">
            <a:avLst/>
          </a:prstGeom>
          <a:solidFill>
            <a:srgbClr val="FC4C02"/>
          </a:solidFill>
          <a:ln>
            <a:noFill/>
          </a:ln>
        </p:spPr>
        <p:style>
          <a:lnRef idx="2">
            <a:schemeClr val="accent1">
              <a:shade val="50000"/>
            </a:schemeClr>
          </a:lnRef>
          <a:fillRef idx="1">
            <a:schemeClr val="accent1"/>
          </a:fillRef>
          <a:effectRef idx="0">
            <a:schemeClr val="accent1"/>
          </a:effectRef>
          <a:fontRef idx="minor">
            <a:schemeClr val="lt1"/>
          </a:fontRef>
        </p:style>
        <p:txBody>
          <a:bodyPr lIns="48975" tIns="48975" rIns="48975" bIns="48975" rtlCol="0" anchor="ctr"/>
          <a:lstStyle/>
          <a:p>
            <a:pPr algn="ctr"/>
            <a:endParaRPr lang="en-US" sz="1814"/>
          </a:p>
        </p:txBody>
      </p:sp>
      <p:sp>
        <p:nvSpPr>
          <p:cNvPr id="12" name="TextBox 11">
            <a:extLst>
              <a:ext uri="{FF2B5EF4-FFF2-40B4-BE49-F238E27FC236}">
                <a16:creationId xmlns:a16="http://schemas.microsoft.com/office/drawing/2014/main" id="{1FCD0CCC-5EE5-4F62-87C4-848EC007EAE2}"/>
              </a:ext>
            </a:extLst>
          </p:cNvPr>
          <p:cNvSpPr txBox="1"/>
          <p:nvPr userDrawn="1"/>
        </p:nvSpPr>
        <p:spPr>
          <a:xfrm>
            <a:off x="12417653" y="2"/>
            <a:ext cx="2873478" cy="177635"/>
          </a:xfrm>
          <a:prstGeom prst="rect">
            <a:avLst/>
          </a:prstGeom>
          <a:solidFill>
            <a:srgbClr val="E6E6E6"/>
          </a:solidFill>
          <a:ln w="9525">
            <a:noFill/>
            <a:miter lim="800000"/>
            <a:headEnd/>
            <a:tailEnd/>
          </a:ln>
          <a:effectLst/>
        </p:spPr>
        <p:txBody>
          <a:bodyPr lIns="32650" tIns="32650" rIns="32650" bIns="32650">
            <a:spAutoFit/>
          </a:bodyPr>
          <a:lstStyle/>
          <a:p>
            <a:pPr>
              <a:spcAft>
                <a:spcPts val="544"/>
              </a:spcAft>
            </a:pPr>
            <a:endParaRPr lang="en-GB" sz="726" dirty="0"/>
          </a:p>
        </p:txBody>
      </p:sp>
      <p:sp>
        <p:nvSpPr>
          <p:cNvPr id="8" name="TextBox 7">
            <a:extLst>
              <a:ext uri="{FF2B5EF4-FFF2-40B4-BE49-F238E27FC236}">
                <a16:creationId xmlns:a16="http://schemas.microsoft.com/office/drawing/2014/main" id="{867DEDA3-1931-455A-AAF4-273067202061}"/>
              </a:ext>
            </a:extLst>
          </p:cNvPr>
          <p:cNvSpPr txBox="1"/>
          <p:nvPr userDrawn="1"/>
        </p:nvSpPr>
        <p:spPr>
          <a:xfrm>
            <a:off x="12359733" y="12306"/>
            <a:ext cx="2873478" cy="2311039"/>
          </a:xfrm>
          <a:prstGeom prst="rect">
            <a:avLst/>
          </a:prstGeom>
          <a:solidFill>
            <a:schemeClr val="bg1">
              <a:lumMod val="85000"/>
            </a:schemeClr>
          </a:solidFill>
          <a:ln w="9525">
            <a:noFill/>
            <a:miter lim="800000"/>
            <a:headEnd/>
            <a:tailEnd/>
          </a:ln>
          <a:effectLst/>
        </p:spPr>
        <p:txBody>
          <a:bodyPr lIns="32650" tIns="32650" rIns="32650" bIns="32650">
            <a:spAutoFit/>
          </a:bodyPr>
          <a:lstStyle/>
          <a:p>
            <a:pPr marL="0" indent="0">
              <a:spcAft>
                <a:spcPts val="272"/>
              </a:spcAft>
              <a:buFont typeface="Arial" pitchFamily="34" charset="0"/>
              <a:buNone/>
            </a:pPr>
            <a:r>
              <a:rPr lang="en-GB" sz="726" b="1" dirty="0"/>
              <a:t>NOTES FOR UPDATING THE COLOUR</a:t>
            </a:r>
          </a:p>
          <a:p>
            <a:pPr marL="0" indent="0">
              <a:spcAft>
                <a:spcPts val="272"/>
              </a:spcAft>
              <a:buFont typeface="Arial" pitchFamily="34" charset="0"/>
              <a:buNone/>
            </a:pPr>
            <a:r>
              <a:rPr lang="en-GB" sz="726" b="1" dirty="0"/>
              <a:t>Updating colour of back cover</a:t>
            </a:r>
          </a:p>
          <a:p>
            <a:pPr>
              <a:spcAft>
                <a:spcPts val="272"/>
              </a:spcAft>
            </a:pPr>
            <a:r>
              <a:rPr lang="en-GB" sz="726" dirty="0"/>
              <a:t>If you change the colour of the report through the ‘Template options’ or ‘Finalise’ buttons, then the back cover will automatically change colour. </a:t>
            </a:r>
          </a:p>
          <a:p>
            <a:pPr>
              <a:spcAft>
                <a:spcPts val="272"/>
              </a:spcAft>
            </a:pPr>
            <a:r>
              <a:rPr lang="en-GB" sz="726" dirty="0"/>
              <a:t>If the colour does not change then right click on the slide and select ‘reset slide’. </a:t>
            </a:r>
          </a:p>
          <a:p>
            <a:pPr>
              <a:spcAft>
                <a:spcPts val="272"/>
              </a:spcAft>
            </a:pPr>
            <a:r>
              <a:rPr lang="en-GB" sz="726" b="1" dirty="0"/>
              <a:t>HFW logo</a:t>
            </a:r>
          </a:p>
          <a:p>
            <a:pPr marL="0" indent="0">
              <a:spcAft>
                <a:spcPts val="272"/>
              </a:spcAft>
              <a:buFont typeface="Arial" pitchFamily="34" charset="0"/>
              <a:buNone/>
            </a:pPr>
            <a:r>
              <a:rPr lang="en-GB" sz="726" dirty="0"/>
              <a:t>‘The</a:t>
            </a:r>
            <a:r>
              <a:rPr lang="en-GB" sz="726" baseline="0" dirty="0"/>
              <a:t> logo is placed on top of the slide (top-left).</a:t>
            </a:r>
            <a:r>
              <a:rPr lang="en-GB" sz="726" dirty="0"/>
              <a:t> </a:t>
            </a:r>
          </a:p>
          <a:p>
            <a:pPr marL="0" indent="0">
              <a:spcAft>
                <a:spcPts val="272"/>
              </a:spcAft>
              <a:buFont typeface="Arial" pitchFamily="34" charset="0"/>
              <a:buNone/>
            </a:pPr>
            <a:r>
              <a:rPr lang="en-GB" sz="726" dirty="0"/>
              <a:t>I</a:t>
            </a:r>
            <a:r>
              <a:rPr lang="en-GB" sz="726" baseline="0" dirty="0"/>
              <a:t>f the logo is not visible click on the image and select ‘Send to Back’.</a:t>
            </a:r>
          </a:p>
          <a:p>
            <a:pPr>
              <a:spcAft>
                <a:spcPts val="272"/>
              </a:spcAft>
            </a:pPr>
            <a:r>
              <a:rPr lang="en-GB" sz="726" dirty="0"/>
              <a:t>If you wish to change the colour of the logo to match your report then go to ‘Insert’ and ‘Graphics’. Click on ‘Brand logos’ and select the colour you require and this will update the logo accordingly.</a:t>
            </a:r>
          </a:p>
          <a:p>
            <a:pPr>
              <a:spcAft>
                <a:spcPts val="272"/>
              </a:spcAft>
            </a:pPr>
            <a:r>
              <a:rPr lang="en-GB" sz="726" b="1" dirty="0"/>
              <a:t>Copyright date</a:t>
            </a:r>
          </a:p>
          <a:p>
            <a:pPr>
              <a:spcAft>
                <a:spcPts val="272"/>
              </a:spcAft>
            </a:pPr>
            <a:r>
              <a:rPr lang="en-GB" sz="726" dirty="0"/>
              <a:t>CHECK the date is set to the current year.</a:t>
            </a:r>
          </a:p>
        </p:txBody>
      </p:sp>
      <p:sp>
        <p:nvSpPr>
          <p:cNvPr id="9" name="Rectangle 8">
            <a:extLst>
              <a:ext uri="{FF2B5EF4-FFF2-40B4-BE49-F238E27FC236}">
                <a16:creationId xmlns:a16="http://schemas.microsoft.com/office/drawing/2014/main" id="{FB158318-AAA5-48AF-898C-9CCFE52CBCE4}"/>
              </a:ext>
            </a:extLst>
          </p:cNvPr>
          <p:cNvSpPr/>
          <p:nvPr userDrawn="1"/>
        </p:nvSpPr>
        <p:spPr>
          <a:xfrm>
            <a:off x="841639" y="5584253"/>
            <a:ext cx="7049052" cy="446789"/>
          </a:xfrm>
          <a:prstGeom prst="rect">
            <a:avLst/>
          </a:prstGeom>
          <a:noFill/>
        </p:spPr>
        <p:txBody>
          <a:bodyPr wrap="square" lIns="0" tIns="0" rIns="0" bIns="0" numCol="1" rtlCol="0" anchor="t">
            <a:spAutoFit/>
          </a:bodyPr>
          <a:lstStyle/>
          <a:p>
            <a:pPr lvl="0" indent="0" algn="just">
              <a:lnSpc>
                <a:spcPct val="100000"/>
              </a:lnSpc>
              <a:spcBef>
                <a:spcPts val="0"/>
              </a:spcBef>
              <a:spcAft>
                <a:spcPts val="0"/>
              </a:spcAft>
              <a:buFont typeface="Arial" panose="020B0604020202020204" pitchFamily="34" charset="0"/>
              <a:buNone/>
            </a:pPr>
            <a:r>
              <a:rPr lang="en-US" sz="726" b="0" dirty="0">
                <a:solidFill>
                  <a:schemeClr val="bg1"/>
                </a:solidFill>
              </a:rPr>
              <a:t>© 2019 Holman Fenwick </a:t>
            </a:r>
            <a:r>
              <a:rPr lang="en-US" sz="726" b="0" dirty="0" err="1">
                <a:solidFill>
                  <a:schemeClr val="bg1"/>
                </a:solidFill>
              </a:rPr>
              <a:t>Willan</a:t>
            </a:r>
            <a:r>
              <a:rPr lang="en-US" sz="726" b="0" dirty="0">
                <a:solidFill>
                  <a:schemeClr val="bg1"/>
                </a:solidFill>
              </a:rPr>
              <a:t> LLP</a:t>
            </a:r>
          </a:p>
          <a:p>
            <a:pPr lvl="0" indent="0" algn="just">
              <a:lnSpc>
                <a:spcPct val="100000"/>
              </a:lnSpc>
              <a:spcBef>
                <a:spcPts val="0"/>
              </a:spcBef>
              <a:spcAft>
                <a:spcPts val="0"/>
              </a:spcAft>
              <a:buFont typeface="Arial" panose="020B0604020202020204" pitchFamily="34" charset="0"/>
              <a:buNone/>
            </a:pPr>
            <a:endParaRPr lang="en-US" sz="726" b="0" dirty="0">
              <a:solidFill>
                <a:schemeClr val="bg1"/>
              </a:solidFill>
            </a:endParaRPr>
          </a:p>
          <a:p>
            <a:pPr lvl="0" indent="0" algn="just">
              <a:lnSpc>
                <a:spcPct val="100000"/>
              </a:lnSpc>
              <a:spcBef>
                <a:spcPts val="0"/>
              </a:spcBef>
              <a:spcAft>
                <a:spcPts val="0"/>
              </a:spcAft>
              <a:buFont typeface="Arial" panose="020B0604020202020204" pitchFamily="34" charset="0"/>
              <a:buNone/>
            </a:pPr>
            <a:r>
              <a:rPr lang="en-US" sz="726" b="0" dirty="0">
                <a:solidFill>
                  <a:schemeClr val="bg1"/>
                </a:solidFill>
              </a:rPr>
              <a:t>Americas | Europe | Middle East | Asia Pacific</a:t>
            </a:r>
          </a:p>
          <a:p>
            <a:pPr lvl="0" indent="0" algn="just">
              <a:lnSpc>
                <a:spcPct val="100000"/>
              </a:lnSpc>
              <a:spcBef>
                <a:spcPts val="0"/>
              </a:spcBef>
              <a:spcAft>
                <a:spcPts val="0"/>
              </a:spcAft>
              <a:buFont typeface="Arial" panose="020B0604020202020204" pitchFamily="34" charset="0"/>
              <a:buNone/>
            </a:pPr>
            <a:endParaRPr lang="en-US" sz="726" b="0" dirty="0">
              <a:solidFill>
                <a:schemeClr val="bg1"/>
              </a:solidFill>
            </a:endParaRPr>
          </a:p>
        </p:txBody>
      </p:sp>
    </p:spTree>
    <p:extLst>
      <p:ext uri="{BB962C8B-B14F-4D97-AF65-F5344CB8AC3E}">
        <p14:creationId xmlns:p14="http://schemas.microsoft.com/office/powerpoint/2010/main" val="2482526335"/>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283101-1B9F-47BC-B669-18C562CA267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44695058"/>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56BB4A-B23E-4751-AAB1-6F1456055F6D}"/>
              </a:ext>
            </a:extLst>
          </p:cNvPr>
          <p:cNvSpPr>
            <a:spLocks noGrp="1"/>
          </p:cNvSpPr>
          <p:nvPr>
            <p:ph type="title" hasCustomPrompt="1"/>
          </p:nvPr>
        </p:nvSpPr>
        <p:spPr>
          <a:xfrm>
            <a:off x="476944" y="2276874"/>
            <a:ext cx="10515600" cy="1183877"/>
          </a:xfrm>
        </p:spPr>
        <p:txBody>
          <a:bodyPr anchor="t" anchorCtr="0"/>
          <a:lstStyle>
            <a:lvl1pPr algn="l">
              <a:defRPr sz="4000" baseline="0">
                <a:solidFill>
                  <a:schemeClr val="bg1"/>
                </a:solidFill>
              </a:defRPr>
            </a:lvl1pPr>
          </a:lstStyle>
          <a:p>
            <a:r>
              <a:rPr lang="en-US" dirty="0"/>
              <a:t>Click to add title</a:t>
            </a:r>
            <a:endParaRPr lang="en-GB" dirty="0"/>
          </a:p>
        </p:txBody>
      </p:sp>
      <p:sp>
        <p:nvSpPr>
          <p:cNvPr id="3" name="Text Placeholder 2">
            <a:extLst>
              <a:ext uri="{FF2B5EF4-FFF2-40B4-BE49-F238E27FC236}">
                <a16:creationId xmlns:a16="http://schemas.microsoft.com/office/drawing/2014/main" id="{7AFD2456-E026-4E64-8183-EC1BA33A2C34}"/>
              </a:ext>
            </a:extLst>
          </p:cNvPr>
          <p:cNvSpPr>
            <a:spLocks noGrp="1"/>
          </p:cNvSpPr>
          <p:nvPr>
            <p:ph type="body" idx="1"/>
          </p:nvPr>
        </p:nvSpPr>
        <p:spPr>
          <a:xfrm>
            <a:off x="476944" y="3460752"/>
            <a:ext cx="10515600" cy="351705"/>
          </a:xfrm>
        </p:spPr>
        <p:txBody>
          <a:bodyPr/>
          <a:lstStyle>
            <a:lvl1pPr marL="0" indent="0">
              <a:buNone/>
              <a:defRPr sz="2000" b="1">
                <a:solidFill>
                  <a:schemeClr val="bg1"/>
                </a:solidFill>
              </a:defRPr>
            </a:lvl1pPr>
            <a:lvl2pPr marL="457189" indent="0">
              <a:buNone/>
              <a:defRPr sz="2000">
                <a:solidFill>
                  <a:schemeClr val="tx1">
                    <a:tint val="75000"/>
                  </a:schemeClr>
                </a:solidFill>
              </a:defRPr>
            </a:lvl2pPr>
            <a:lvl3pPr marL="914377" indent="0">
              <a:buNone/>
              <a:defRPr sz="1867">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dirty="0"/>
              <a:t>Edit Master text styles</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79426" y="440668"/>
            <a:ext cx="1202393" cy="728592"/>
          </a:xfrm>
          <a:prstGeom prst="rect">
            <a:avLst/>
          </a:prstGeom>
        </p:spPr>
      </p:pic>
      <p:cxnSp>
        <p:nvCxnSpPr>
          <p:cNvPr id="11" name="Straight Connector 10"/>
          <p:cNvCxnSpPr/>
          <p:nvPr userDrawn="1"/>
        </p:nvCxnSpPr>
        <p:spPr>
          <a:xfrm>
            <a:off x="479426" y="6300000"/>
            <a:ext cx="1123315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70933356"/>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tandard One col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FC845F55-9628-45C8-A772-2C98236649B5}"/>
              </a:ext>
            </a:extLst>
          </p:cNvPr>
          <p:cNvSpPr>
            <a:spLocks noGrp="1"/>
          </p:cNvSpPr>
          <p:nvPr>
            <p:ph type="sldNum" sz="quarter" idx="12"/>
          </p:nvPr>
        </p:nvSpPr>
        <p:spPr/>
        <p:txBody>
          <a:bodyPr/>
          <a:lstStyle/>
          <a:p>
            <a:fld id="{7DAB47CC-2047-4FFE-9F3B-6C9AB62C3816}" type="slidenum">
              <a:rPr lang="en-GB" smtClean="0"/>
              <a:pPr/>
              <a:t>‹#›</a:t>
            </a:fld>
            <a:endParaRPr lang="en-GB"/>
          </a:p>
        </p:txBody>
      </p:sp>
      <p:sp>
        <p:nvSpPr>
          <p:cNvPr id="14" name="Text Placeholder 13"/>
          <p:cNvSpPr>
            <a:spLocks noGrp="1"/>
          </p:cNvSpPr>
          <p:nvPr>
            <p:ph type="body" sz="quarter" idx="13" hasCustomPrompt="1"/>
          </p:nvPr>
        </p:nvSpPr>
        <p:spPr>
          <a:xfrm>
            <a:off x="7010273" y="765175"/>
            <a:ext cx="4680000" cy="288000"/>
          </a:xfrm>
        </p:spPr>
        <p:txBody>
          <a:bodyPr>
            <a:noAutofit/>
          </a:bodyPr>
          <a:lstStyle>
            <a:lvl1pPr marL="0" indent="0" algn="r">
              <a:lnSpc>
                <a:spcPct val="100000"/>
              </a:lnSpc>
              <a:spcBef>
                <a:spcPts val="0"/>
              </a:spcBef>
              <a:buNone/>
              <a:defRPr sz="2000" b="1" cap="all" baseline="0"/>
            </a:lvl1pPr>
            <a:lvl2pPr marL="0" indent="0" algn="r">
              <a:lnSpc>
                <a:spcPct val="100000"/>
              </a:lnSpc>
              <a:spcBef>
                <a:spcPts val="0"/>
              </a:spcBef>
              <a:buNone/>
              <a:defRPr sz="2000" b="1" cap="all" baseline="0"/>
            </a:lvl2pPr>
            <a:lvl3pPr marL="0" indent="0" algn="r">
              <a:lnSpc>
                <a:spcPct val="100000"/>
              </a:lnSpc>
              <a:spcBef>
                <a:spcPts val="0"/>
              </a:spcBef>
              <a:buNone/>
              <a:defRPr sz="2000" b="1" cap="all" baseline="0"/>
            </a:lvl3pPr>
            <a:lvl4pPr marL="0" indent="0" algn="r">
              <a:lnSpc>
                <a:spcPct val="100000"/>
              </a:lnSpc>
              <a:spcBef>
                <a:spcPts val="0"/>
              </a:spcBef>
              <a:buNone/>
              <a:defRPr sz="2000" b="1" cap="all" baseline="0"/>
            </a:lvl4pPr>
            <a:lvl5pPr marL="0" indent="0" algn="r">
              <a:lnSpc>
                <a:spcPct val="100000"/>
              </a:lnSpc>
              <a:spcBef>
                <a:spcPts val="0"/>
              </a:spcBef>
              <a:buNone/>
              <a:defRPr sz="2000" b="1" cap="all" baseline="0"/>
            </a:lvl5pPr>
          </a:lstStyle>
          <a:p>
            <a:pPr lvl="0"/>
            <a:r>
              <a:rPr lang="en-US" dirty="0"/>
              <a:t>Click to add sub title</a:t>
            </a:r>
            <a:endParaRPr lang="en-GB" dirty="0"/>
          </a:p>
        </p:txBody>
      </p:sp>
      <p:sp>
        <p:nvSpPr>
          <p:cNvPr id="17" name="Title 16"/>
          <p:cNvSpPr>
            <a:spLocks noGrp="1"/>
          </p:cNvSpPr>
          <p:nvPr>
            <p:ph type="title" hasCustomPrompt="1"/>
          </p:nvPr>
        </p:nvSpPr>
        <p:spPr>
          <a:xfrm>
            <a:off x="7009123" y="450679"/>
            <a:ext cx="4681151" cy="288000"/>
          </a:xfrm>
        </p:spPr>
        <p:txBody>
          <a:bodyPr/>
          <a:lstStyle>
            <a:lvl1pPr>
              <a:defRPr lang="en-GB" dirty="0"/>
            </a:lvl1pPr>
          </a:lstStyle>
          <a:p>
            <a:r>
              <a:rPr lang="en-US" dirty="0"/>
              <a:t>Click to add title</a:t>
            </a:r>
            <a:endParaRPr lang="en-GB" dirty="0"/>
          </a:p>
        </p:txBody>
      </p:sp>
      <p:sp>
        <p:nvSpPr>
          <p:cNvPr id="7" name="Content Placeholder 6">
            <a:extLst>
              <a:ext uri="{FF2B5EF4-FFF2-40B4-BE49-F238E27FC236}">
                <a16:creationId xmlns:a16="http://schemas.microsoft.com/office/drawing/2014/main" id="{A78BD5D8-39FC-4CB0-A499-C2C8D723C4FE}"/>
              </a:ext>
            </a:extLst>
          </p:cNvPr>
          <p:cNvSpPr>
            <a:spLocks noGrp="1"/>
          </p:cNvSpPr>
          <p:nvPr>
            <p:ph sz="quarter" idx="14" hasCustomPrompt="1"/>
          </p:nvPr>
        </p:nvSpPr>
        <p:spPr>
          <a:xfrm>
            <a:off x="458273" y="1341439"/>
            <a:ext cx="11232000" cy="4788000"/>
          </a:xfrm>
        </p:spPr>
        <p:txBody>
          <a:bodyPr/>
          <a:lstStyle>
            <a:lvl1pPr>
              <a:spcBef>
                <a:spcPts val="400"/>
              </a:spcBef>
              <a:spcAft>
                <a:spcPts val="800"/>
              </a:spcAft>
              <a:defRPr/>
            </a:lvl1pPr>
            <a:lvl5pP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4903440"/>
      </p:ext>
    </p:extLst>
  </p:cSld>
  <p:clrMapOvr>
    <a:masterClrMapping/>
  </p:clrMapOvr>
  <p:extLst>
    <p:ext uri="{DCECCB84-F9BA-43D5-87BE-67443E8EF086}">
      <p15:sldGuideLst xmlns:p15="http://schemas.microsoft.com/office/powerpoint/2012/main">
        <p15:guide id="1" orient="horz" pos="845">
          <p15:clr>
            <a:srgbClr val="FBAE40"/>
          </p15:clr>
        </p15:guide>
        <p15:guide id="2" pos="7378">
          <p15:clr>
            <a:srgbClr val="FBAE40"/>
          </p15:clr>
        </p15:guide>
        <p15:guide id="3" orient="horz" pos="3861">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Large One col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FC845F55-9628-45C8-A772-2C98236649B5}"/>
              </a:ext>
            </a:extLst>
          </p:cNvPr>
          <p:cNvSpPr>
            <a:spLocks noGrp="1"/>
          </p:cNvSpPr>
          <p:nvPr>
            <p:ph type="sldNum" sz="quarter" idx="12"/>
          </p:nvPr>
        </p:nvSpPr>
        <p:spPr/>
        <p:txBody>
          <a:bodyPr/>
          <a:lstStyle/>
          <a:p>
            <a:fld id="{7DAB47CC-2047-4FFE-9F3B-6C9AB62C3816}" type="slidenum">
              <a:rPr lang="en-GB" smtClean="0"/>
              <a:pPr/>
              <a:t>‹#›</a:t>
            </a:fld>
            <a:endParaRPr lang="en-GB"/>
          </a:p>
        </p:txBody>
      </p:sp>
      <p:sp>
        <p:nvSpPr>
          <p:cNvPr id="14" name="Text Placeholder 13"/>
          <p:cNvSpPr>
            <a:spLocks noGrp="1"/>
          </p:cNvSpPr>
          <p:nvPr>
            <p:ph type="body" sz="quarter" idx="13" hasCustomPrompt="1"/>
          </p:nvPr>
        </p:nvSpPr>
        <p:spPr>
          <a:xfrm>
            <a:off x="7010273" y="765175"/>
            <a:ext cx="4680000" cy="288000"/>
          </a:xfrm>
        </p:spPr>
        <p:txBody>
          <a:bodyPr>
            <a:noAutofit/>
          </a:bodyPr>
          <a:lstStyle>
            <a:lvl1pPr marL="0" indent="0" algn="r">
              <a:lnSpc>
                <a:spcPct val="100000"/>
              </a:lnSpc>
              <a:spcBef>
                <a:spcPts val="0"/>
              </a:spcBef>
              <a:buNone/>
              <a:defRPr sz="2000" b="1" cap="all" baseline="0"/>
            </a:lvl1pPr>
            <a:lvl2pPr marL="0" indent="0" algn="r">
              <a:lnSpc>
                <a:spcPct val="100000"/>
              </a:lnSpc>
              <a:spcBef>
                <a:spcPts val="0"/>
              </a:spcBef>
              <a:buNone/>
              <a:defRPr sz="2000" b="1" cap="all" baseline="0"/>
            </a:lvl2pPr>
            <a:lvl3pPr marL="0" indent="0" algn="r">
              <a:lnSpc>
                <a:spcPct val="100000"/>
              </a:lnSpc>
              <a:spcBef>
                <a:spcPts val="0"/>
              </a:spcBef>
              <a:buNone/>
              <a:defRPr sz="2000" b="1" cap="all" baseline="0"/>
            </a:lvl3pPr>
            <a:lvl4pPr marL="0" indent="0" algn="r">
              <a:lnSpc>
                <a:spcPct val="100000"/>
              </a:lnSpc>
              <a:spcBef>
                <a:spcPts val="0"/>
              </a:spcBef>
              <a:buNone/>
              <a:defRPr sz="2000" b="1" cap="all" baseline="0"/>
            </a:lvl4pPr>
            <a:lvl5pPr marL="0" indent="0" algn="r">
              <a:lnSpc>
                <a:spcPct val="100000"/>
              </a:lnSpc>
              <a:spcBef>
                <a:spcPts val="0"/>
              </a:spcBef>
              <a:buNone/>
              <a:defRPr sz="2000" b="1" cap="all" baseline="0"/>
            </a:lvl5pPr>
          </a:lstStyle>
          <a:p>
            <a:pPr lvl="0"/>
            <a:r>
              <a:rPr lang="en-US" dirty="0"/>
              <a:t>Click to add sub title</a:t>
            </a:r>
            <a:endParaRPr lang="en-GB" dirty="0"/>
          </a:p>
        </p:txBody>
      </p:sp>
      <p:sp>
        <p:nvSpPr>
          <p:cNvPr id="17" name="Title 16"/>
          <p:cNvSpPr>
            <a:spLocks noGrp="1"/>
          </p:cNvSpPr>
          <p:nvPr>
            <p:ph type="title" hasCustomPrompt="1"/>
          </p:nvPr>
        </p:nvSpPr>
        <p:spPr>
          <a:xfrm>
            <a:off x="7009123" y="450679"/>
            <a:ext cx="4681151" cy="288000"/>
          </a:xfrm>
        </p:spPr>
        <p:txBody>
          <a:bodyPr/>
          <a:lstStyle>
            <a:lvl1pPr>
              <a:defRPr lang="en-GB" dirty="0"/>
            </a:lvl1pPr>
          </a:lstStyle>
          <a:p>
            <a:r>
              <a:rPr lang="en-US" dirty="0"/>
              <a:t>Click to add title</a:t>
            </a:r>
            <a:endParaRPr lang="en-GB" dirty="0"/>
          </a:p>
        </p:txBody>
      </p:sp>
      <p:sp>
        <p:nvSpPr>
          <p:cNvPr id="7" name="Content Placeholder 6">
            <a:extLst>
              <a:ext uri="{FF2B5EF4-FFF2-40B4-BE49-F238E27FC236}">
                <a16:creationId xmlns:a16="http://schemas.microsoft.com/office/drawing/2014/main" id="{A78BD5D8-39FC-4CB0-A499-C2C8D723C4FE}"/>
              </a:ext>
            </a:extLst>
          </p:cNvPr>
          <p:cNvSpPr>
            <a:spLocks noGrp="1"/>
          </p:cNvSpPr>
          <p:nvPr>
            <p:ph sz="quarter" idx="14" hasCustomPrompt="1"/>
          </p:nvPr>
        </p:nvSpPr>
        <p:spPr>
          <a:xfrm>
            <a:off x="458273" y="1341439"/>
            <a:ext cx="11232000" cy="4788000"/>
          </a:xfrm>
        </p:spPr>
        <p:txBody>
          <a:bodyPr>
            <a:normAutofit/>
          </a:bodyPr>
          <a:lstStyle>
            <a:lvl1pPr>
              <a:spcBef>
                <a:spcPts val="400"/>
              </a:spcBef>
              <a:spcAft>
                <a:spcPts val="1200"/>
              </a:spcAft>
              <a:defRPr sz="2667"/>
            </a:lvl1pPr>
            <a:lvl2pPr>
              <a:spcBef>
                <a:spcPts val="0"/>
              </a:spcBef>
              <a:spcAft>
                <a:spcPts val="1200"/>
              </a:spcAft>
              <a:defRPr sz="2667"/>
            </a:lvl2pPr>
            <a:lvl3pPr>
              <a:spcAft>
                <a:spcPts val="1200"/>
              </a:spcAft>
              <a:defRPr sz="2667"/>
            </a:lvl3pPr>
            <a:lvl4pPr>
              <a:spcAft>
                <a:spcPts val="1200"/>
              </a:spcAft>
              <a:defRPr sz="2667"/>
            </a:lvl4pPr>
            <a:lvl5pPr>
              <a:spcAft>
                <a:spcPts val="1200"/>
              </a:spcAft>
              <a:defRPr sz="2667"/>
            </a:lvl5pPr>
            <a:lvl6pPr>
              <a:defRPr sz="2133"/>
            </a:lvl6pPr>
            <a:lvl7pPr>
              <a:defRPr sz="1600"/>
            </a:lvl7pPr>
            <a:lvl8pPr>
              <a:defRPr sz="1600"/>
            </a:lvl8pPr>
            <a:lvl9pPr>
              <a:defRPr sz="16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05234175"/>
      </p:ext>
    </p:extLst>
  </p:cSld>
  <p:clrMapOvr>
    <a:masterClrMapping/>
  </p:clrMapOvr>
  <p:extLst>
    <p:ext uri="{DCECCB84-F9BA-43D5-87BE-67443E8EF086}">
      <p15:sldGuideLst xmlns:p15="http://schemas.microsoft.com/office/powerpoint/2012/main">
        <p15:guide id="1" orient="horz" pos="845">
          <p15:clr>
            <a:srgbClr val="FBAE40"/>
          </p15:clr>
        </p15:guide>
        <p15:guide id="2" pos="7378">
          <p15:clr>
            <a:srgbClr val="FBAE40"/>
          </p15:clr>
        </p15:guide>
        <p15:guide id="3" orient="horz" pos="3861">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mall One col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FC845F55-9628-45C8-A772-2C98236649B5}"/>
              </a:ext>
            </a:extLst>
          </p:cNvPr>
          <p:cNvSpPr>
            <a:spLocks noGrp="1"/>
          </p:cNvSpPr>
          <p:nvPr>
            <p:ph type="sldNum" sz="quarter" idx="12"/>
          </p:nvPr>
        </p:nvSpPr>
        <p:spPr/>
        <p:txBody>
          <a:bodyPr/>
          <a:lstStyle/>
          <a:p>
            <a:fld id="{7DAB47CC-2047-4FFE-9F3B-6C9AB62C3816}" type="slidenum">
              <a:rPr lang="en-GB" smtClean="0"/>
              <a:pPr/>
              <a:t>‹#›</a:t>
            </a:fld>
            <a:endParaRPr lang="en-GB"/>
          </a:p>
        </p:txBody>
      </p:sp>
      <p:sp>
        <p:nvSpPr>
          <p:cNvPr id="14" name="Text Placeholder 13"/>
          <p:cNvSpPr>
            <a:spLocks noGrp="1"/>
          </p:cNvSpPr>
          <p:nvPr>
            <p:ph type="body" sz="quarter" idx="13" hasCustomPrompt="1"/>
          </p:nvPr>
        </p:nvSpPr>
        <p:spPr>
          <a:xfrm>
            <a:off x="7010273" y="765175"/>
            <a:ext cx="4680000" cy="288000"/>
          </a:xfrm>
        </p:spPr>
        <p:txBody>
          <a:bodyPr>
            <a:noAutofit/>
          </a:bodyPr>
          <a:lstStyle>
            <a:lvl1pPr marL="0" indent="0" algn="r">
              <a:lnSpc>
                <a:spcPct val="100000"/>
              </a:lnSpc>
              <a:spcBef>
                <a:spcPts val="0"/>
              </a:spcBef>
              <a:buNone/>
              <a:defRPr sz="2000" b="1" cap="all" baseline="0"/>
            </a:lvl1pPr>
            <a:lvl2pPr marL="0" indent="0" algn="r">
              <a:lnSpc>
                <a:spcPct val="100000"/>
              </a:lnSpc>
              <a:spcBef>
                <a:spcPts val="0"/>
              </a:spcBef>
              <a:buNone/>
              <a:defRPr sz="2000" b="1" cap="all" baseline="0"/>
            </a:lvl2pPr>
            <a:lvl3pPr marL="0" indent="0" algn="r">
              <a:lnSpc>
                <a:spcPct val="100000"/>
              </a:lnSpc>
              <a:spcBef>
                <a:spcPts val="0"/>
              </a:spcBef>
              <a:buNone/>
              <a:defRPr sz="2000" b="1" cap="all" baseline="0"/>
            </a:lvl3pPr>
            <a:lvl4pPr marL="0" indent="0" algn="r">
              <a:lnSpc>
                <a:spcPct val="100000"/>
              </a:lnSpc>
              <a:spcBef>
                <a:spcPts val="0"/>
              </a:spcBef>
              <a:buNone/>
              <a:defRPr sz="2000" b="1" cap="all" baseline="0"/>
            </a:lvl4pPr>
            <a:lvl5pPr marL="0" indent="0" algn="r">
              <a:lnSpc>
                <a:spcPct val="100000"/>
              </a:lnSpc>
              <a:spcBef>
                <a:spcPts val="0"/>
              </a:spcBef>
              <a:buNone/>
              <a:defRPr sz="2000" b="1" cap="all" baseline="0"/>
            </a:lvl5pPr>
          </a:lstStyle>
          <a:p>
            <a:pPr lvl="0"/>
            <a:r>
              <a:rPr lang="en-US" dirty="0"/>
              <a:t>Click to add sub title</a:t>
            </a:r>
            <a:endParaRPr lang="en-GB" dirty="0"/>
          </a:p>
        </p:txBody>
      </p:sp>
      <p:sp>
        <p:nvSpPr>
          <p:cNvPr id="17" name="Title 16"/>
          <p:cNvSpPr>
            <a:spLocks noGrp="1"/>
          </p:cNvSpPr>
          <p:nvPr>
            <p:ph type="title" hasCustomPrompt="1"/>
          </p:nvPr>
        </p:nvSpPr>
        <p:spPr>
          <a:xfrm>
            <a:off x="7009123" y="450679"/>
            <a:ext cx="4681151" cy="288000"/>
          </a:xfrm>
        </p:spPr>
        <p:txBody>
          <a:bodyPr/>
          <a:lstStyle>
            <a:lvl1pPr>
              <a:defRPr lang="en-GB" dirty="0"/>
            </a:lvl1pPr>
          </a:lstStyle>
          <a:p>
            <a:r>
              <a:rPr lang="en-US" dirty="0"/>
              <a:t>Click to add title</a:t>
            </a:r>
            <a:endParaRPr lang="en-GB" dirty="0"/>
          </a:p>
        </p:txBody>
      </p:sp>
      <p:sp>
        <p:nvSpPr>
          <p:cNvPr id="7" name="Content Placeholder 6">
            <a:extLst>
              <a:ext uri="{FF2B5EF4-FFF2-40B4-BE49-F238E27FC236}">
                <a16:creationId xmlns:a16="http://schemas.microsoft.com/office/drawing/2014/main" id="{A78BD5D8-39FC-4CB0-A499-C2C8D723C4FE}"/>
              </a:ext>
            </a:extLst>
          </p:cNvPr>
          <p:cNvSpPr>
            <a:spLocks noGrp="1"/>
          </p:cNvSpPr>
          <p:nvPr>
            <p:ph sz="quarter" idx="14" hasCustomPrompt="1"/>
          </p:nvPr>
        </p:nvSpPr>
        <p:spPr>
          <a:xfrm>
            <a:off x="458273" y="1341439"/>
            <a:ext cx="11232000" cy="4788000"/>
          </a:xfrm>
        </p:spPr>
        <p:txBody>
          <a:bodyPr>
            <a:normAutofit/>
          </a:bodyPr>
          <a:lstStyle>
            <a:lvl1pPr>
              <a:spcBef>
                <a:spcPts val="267"/>
              </a:spcBef>
              <a:spcAft>
                <a:spcPts val="600"/>
              </a:spcAft>
              <a:defRPr sz="1600"/>
            </a:lvl1pPr>
            <a:lvl2pPr>
              <a:spcBef>
                <a:spcPts val="0"/>
              </a:spcBef>
              <a:spcAft>
                <a:spcPts val="600"/>
              </a:spcAft>
              <a:defRPr sz="1600"/>
            </a:lvl2pPr>
            <a:lvl3pPr>
              <a:spcAft>
                <a:spcPts val="600"/>
              </a:spcAft>
              <a:defRPr sz="1600"/>
            </a:lvl3pPr>
            <a:lvl4pPr>
              <a:spcAft>
                <a:spcPts val="600"/>
              </a:spcAft>
              <a:defRPr sz="1600"/>
            </a:lvl4pPr>
            <a:lvl5pPr>
              <a:spcAft>
                <a:spcPts val="600"/>
              </a:spcAft>
              <a:defRPr lang="en-US" sz="1600" kern="1200" dirty="0" smtClean="0">
                <a:solidFill>
                  <a:schemeClr val="tx1"/>
                </a:solidFill>
                <a:latin typeface="+mn-lt"/>
                <a:ea typeface="+mn-ea"/>
                <a:cs typeface="+mn-cs"/>
              </a:defRPr>
            </a:lvl5pPr>
            <a:lvl6pPr marL="479988" indent="-239994">
              <a:defRPr lang="en-US" sz="1200" kern="1200" dirty="0" smtClean="0">
                <a:solidFill>
                  <a:schemeClr val="tx1"/>
                </a:solidFill>
                <a:latin typeface="+mn-lt"/>
                <a:ea typeface="+mn-ea"/>
                <a:cs typeface="+mn-cs"/>
              </a:defRPr>
            </a:lvl6pPr>
            <a:lvl7pPr marL="479988" indent="-239994">
              <a:defRPr lang="en-US" sz="1200" kern="1200" dirty="0" smtClean="0">
                <a:solidFill>
                  <a:schemeClr val="tx1"/>
                </a:solidFill>
                <a:latin typeface="+mn-lt"/>
                <a:ea typeface="+mn-ea"/>
                <a:cs typeface="+mn-cs"/>
              </a:defRPr>
            </a:lvl7pPr>
            <a:lvl8pPr marL="479988" indent="-239994">
              <a:defRPr lang="en-US" sz="1200" kern="1200" dirty="0" smtClean="0">
                <a:solidFill>
                  <a:schemeClr val="tx1"/>
                </a:solidFill>
                <a:latin typeface="+mn-lt"/>
                <a:ea typeface="+mn-ea"/>
                <a:cs typeface="+mn-cs"/>
              </a:defRPr>
            </a:lvl8pPr>
            <a:lvl9pPr marL="479988" indent="-239994">
              <a:defRPr lang="en-US" sz="1200" kern="1200" dirty="0" smtClean="0">
                <a:solidFill>
                  <a:schemeClr val="tx1"/>
                </a:solidFill>
                <a:latin typeface="+mn-lt"/>
                <a:ea typeface="+mn-ea"/>
                <a:cs typeface="+mn-cs"/>
              </a:defRPr>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55985909"/>
      </p:ext>
    </p:extLst>
  </p:cSld>
  <p:clrMapOvr>
    <a:masterClrMapping/>
  </p:clrMapOvr>
  <p:extLst>
    <p:ext uri="{DCECCB84-F9BA-43D5-87BE-67443E8EF086}">
      <p15:sldGuideLst xmlns:p15="http://schemas.microsoft.com/office/powerpoint/2012/main">
        <p15:guide id="1" orient="horz" pos="845">
          <p15:clr>
            <a:srgbClr val="FBAE40"/>
          </p15:clr>
        </p15:guide>
        <p15:guide id="2" pos="7378">
          <p15:clr>
            <a:srgbClr val="FBAE40"/>
          </p15:clr>
        </p15:guide>
        <p15:guide id="3" orient="horz" pos="3861">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One col imag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FC845F55-9628-45C8-A772-2C98236649B5}"/>
              </a:ext>
            </a:extLst>
          </p:cNvPr>
          <p:cNvSpPr>
            <a:spLocks noGrp="1"/>
          </p:cNvSpPr>
          <p:nvPr>
            <p:ph type="sldNum" sz="quarter" idx="12"/>
          </p:nvPr>
        </p:nvSpPr>
        <p:spPr/>
        <p:txBody>
          <a:bodyPr/>
          <a:lstStyle/>
          <a:p>
            <a:fld id="{7DAB47CC-2047-4FFE-9F3B-6C9AB62C3816}" type="slidenum">
              <a:rPr lang="en-GB" smtClean="0"/>
              <a:pPr/>
              <a:t>‹#›</a:t>
            </a:fld>
            <a:endParaRPr lang="en-GB"/>
          </a:p>
        </p:txBody>
      </p:sp>
      <p:sp>
        <p:nvSpPr>
          <p:cNvPr id="14" name="Text Placeholder 13"/>
          <p:cNvSpPr>
            <a:spLocks noGrp="1"/>
          </p:cNvSpPr>
          <p:nvPr>
            <p:ph type="body" sz="quarter" idx="13" hasCustomPrompt="1"/>
          </p:nvPr>
        </p:nvSpPr>
        <p:spPr>
          <a:xfrm>
            <a:off x="7010273" y="765175"/>
            <a:ext cx="4680000" cy="288000"/>
          </a:xfrm>
        </p:spPr>
        <p:txBody>
          <a:bodyPr>
            <a:noAutofit/>
          </a:bodyPr>
          <a:lstStyle>
            <a:lvl1pPr marL="0" indent="0" algn="r">
              <a:lnSpc>
                <a:spcPct val="100000"/>
              </a:lnSpc>
              <a:spcBef>
                <a:spcPts val="0"/>
              </a:spcBef>
              <a:buNone/>
              <a:defRPr sz="2000" b="1" cap="all" baseline="0"/>
            </a:lvl1pPr>
            <a:lvl2pPr marL="0" indent="0" algn="r">
              <a:lnSpc>
                <a:spcPct val="100000"/>
              </a:lnSpc>
              <a:spcBef>
                <a:spcPts val="0"/>
              </a:spcBef>
              <a:buNone/>
              <a:defRPr sz="2000" b="1" cap="all" baseline="0"/>
            </a:lvl2pPr>
            <a:lvl3pPr marL="0" indent="0" algn="r">
              <a:lnSpc>
                <a:spcPct val="100000"/>
              </a:lnSpc>
              <a:spcBef>
                <a:spcPts val="0"/>
              </a:spcBef>
              <a:buNone/>
              <a:defRPr sz="2000" b="1" cap="all" baseline="0"/>
            </a:lvl3pPr>
            <a:lvl4pPr marL="0" indent="0" algn="r">
              <a:lnSpc>
                <a:spcPct val="100000"/>
              </a:lnSpc>
              <a:spcBef>
                <a:spcPts val="0"/>
              </a:spcBef>
              <a:buNone/>
              <a:defRPr sz="2000" b="1" cap="all" baseline="0"/>
            </a:lvl4pPr>
            <a:lvl5pPr marL="0" indent="0" algn="r">
              <a:lnSpc>
                <a:spcPct val="100000"/>
              </a:lnSpc>
              <a:spcBef>
                <a:spcPts val="0"/>
              </a:spcBef>
              <a:buNone/>
              <a:defRPr sz="2000" b="1" cap="all" baseline="0"/>
            </a:lvl5pPr>
          </a:lstStyle>
          <a:p>
            <a:pPr lvl="0"/>
            <a:r>
              <a:rPr lang="en-US" dirty="0"/>
              <a:t>Click to add sub title</a:t>
            </a:r>
            <a:endParaRPr lang="en-GB" dirty="0"/>
          </a:p>
        </p:txBody>
      </p:sp>
      <p:sp>
        <p:nvSpPr>
          <p:cNvPr id="17" name="Title 16"/>
          <p:cNvSpPr>
            <a:spLocks noGrp="1"/>
          </p:cNvSpPr>
          <p:nvPr>
            <p:ph type="title" hasCustomPrompt="1"/>
          </p:nvPr>
        </p:nvSpPr>
        <p:spPr>
          <a:xfrm>
            <a:off x="7009123" y="450679"/>
            <a:ext cx="4681151" cy="288000"/>
          </a:xfrm>
        </p:spPr>
        <p:txBody>
          <a:bodyPr/>
          <a:lstStyle>
            <a:lvl1pPr>
              <a:defRPr lang="en-GB" dirty="0"/>
            </a:lvl1pPr>
          </a:lstStyle>
          <a:p>
            <a:r>
              <a:rPr lang="en-US" dirty="0"/>
              <a:t>Click to add title</a:t>
            </a:r>
            <a:endParaRPr lang="en-GB" dirty="0"/>
          </a:p>
        </p:txBody>
      </p:sp>
      <p:sp>
        <p:nvSpPr>
          <p:cNvPr id="3" name="Picture Placeholder 2"/>
          <p:cNvSpPr>
            <a:spLocks noGrp="1"/>
          </p:cNvSpPr>
          <p:nvPr>
            <p:ph type="pic" sz="quarter" idx="14"/>
          </p:nvPr>
        </p:nvSpPr>
        <p:spPr>
          <a:xfrm>
            <a:off x="460800" y="1344000"/>
            <a:ext cx="11232000" cy="4790400"/>
          </a:xfrm>
        </p:spPr>
        <p:txBody>
          <a:bodyPr/>
          <a:lstStyle/>
          <a:p>
            <a:endParaRPr lang="en-GB" dirty="0"/>
          </a:p>
        </p:txBody>
      </p:sp>
    </p:spTree>
    <p:extLst>
      <p:ext uri="{BB962C8B-B14F-4D97-AF65-F5344CB8AC3E}">
        <p14:creationId xmlns:p14="http://schemas.microsoft.com/office/powerpoint/2010/main" val="1802928177"/>
      </p:ext>
    </p:extLst>
  </p:cSld>
  <p:clrMapOvr>
    <a:masterClrMapping/>
  </p:clrMapOvr>
  <p:extLst>
    <p:ext uri="{DCECCB84-F9BA-43D5-87BE-67443E8EF086}">
      <p15:sldGuideLst xmlns:p15="http://schemas.microsoft.com/office/powerpoint/2012/main">
        <p15:guide id="1" orient="horz" pos="845">
          <p15:clr>
            <a:srgbClr val="FBAE40"/>
          </p15:clr>
        </p15:guide>
        <p15:guide id="2" pos="7378">
          <p15:clr>
            <a:srgbClr val="FBAE40"/>
          </p15:clr>
        </p15:guide>
        <p15:guide id="3" orient="horz" pos="3861">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wo col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7355A2E-0C24-4BF0-A392-C0768E5B90F4}"/>
              </a:ext>
            </a:extLst>
          </p:cNvPr>
          <p:cNvSpPr>
            <a:spLocks noGrp="1"/>
          </p:cNvSpPr>
          <p:nvPr>
            <p:ph idx="1"/>
          </p:nvPr>
        </p:nvSpPr>
        <p:spPr>
          <a:xfrm>
            <a:off x="479972" y="1341439"/>
            <a:ext cx="5364000" cy="478790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 Placeholder 13"/>
          <p:cNvSpPr>
            <a:spLocks noGrp="1"/>
          </p:cNvSpPr>
          <p:nvPr>
            <p:ph type="body" sz="quarter" idx="13" hasCustomPrompt="1"/>
          </p:nvPr>
        </p:nvSpPr>
        <p:spPr>
          <a:xfrm>
            <a:off x="7010273" y="765175"/>
            <a:ext cx="4680000" cy="288000"/>
          </a:xfrm>
        </p:spPr>
        <p:txBody>
          <a:bodyPr>
            <a:noAutofit/>
          </a:bodyPr>
          <a:lstStyle>
            <a:lvl1pPr marL="0" indent="0" algn="r">
              <a:lnSpc>
                <a:spcPct val="100000"/>
              </a:lnSpc>
              <a:spcBef>
                <a:spcPts val="0"/>
              </a:spcBef>
              <a:buNone/>
              <a:defRPr sz="2000" b="1" cap="all" baseline="0"/>
            </a:lvl1pPr>
            <a:lvl2pPr marL="0" indent="0" algn="r">
              <a:lnSpc>
                <a:spcPct val="100000"/>
              </a:lnSpc>
              <a:spcBef>
                <a:spcPts val="0"/>
              </a:spcBef>
              <a:buNone/>
              <a:defRPr sz="2000" b="1" cap="all" baseline="0"/>
            </a:lvl2pPr>
            <a:lvl3pPr marL="0" indent="0" algn="r">
              <a:lnSpc>
                <a:spcPct val="100000"/>
              </a:lnSpc>
              <a:spcBef>
                <a:spcPts val="0"/>
              </a:spcBef>
              <a:buNone/>
              <a:defRPr sz="2000" b="1" cap="all" baseline="0"/>
            </a:lvl3pPr>
            <a:lvl4pPr marL="0" indent="0" algn="r">
              <a:lnSpc>
                <a:spcPct val="100000"/>
              </a:lnSpc>
              <a:spcBef>
                <a:spcPts val="0"/>
              </a:spcBef>
              <a:buNone/>
              <a:defRPr sz="2000" b="1" cap="all" baseline="0"/>
            </a:lvl4pPr>
            <a:lvl5pPr marL="0" indent="0" algn="r">
              <a:lnSpc>
                <a:spcPct val="100000"/>
              </a:lnSpc>
              <a:spcBef>
                <a:spcPts val="0"/>
              </a:spcBef>
              <a:buNone/>
              <a:defRPr sz="2000" b="1" cap="all" baseline="0"/>
            </a:lvl5pPr>
          </a:lstStyle>
          <a:p>
            <a:pPr lvl="0"/>
            <a:r>
              <a:rPr lang="en-US" dirty="0"/>
              <a:t>Click to add sub title</a:t>
            </a:r>
            <a:endParaRPr lang="en-GB" dirty="0"/>
          </a:p>
        </p:txBody>
      </p:sp>
      <p:sp>
        <p:nvSpPr>
          <p:cNvPr id="17" name="Title 16"/>
          <p:cNvSpPr>
            <a:spLocks noGrp="1"/>
          </p:cNvSpPr>
          <p:nvPr>
            <p:ph type="title" hasCustomPrompt="1"/>
          </p:nvPr>
        </p:nvSpPr>
        <p:spPr>
          <a:xfrm>
            <a:off x="7009123" y="450679"/>
            <a:ext cx="4681151" cy="288000"/>
          </a:xfrm>
        </p:spPr>
        <p:txBody>
          <a:bodyPr/>
          <a:lstStyle>
            <a:lvl1pPr>
              <a:defRPr>
                <a:solidFill>
                  <a:schemeClr val="accent3"/>
                </a:solidFill>
              </a:defRPr>
            </a:lvl1pPr>
          </a:lstStyle>
          <a:p>
            <a:r>
              <a:rPr lang="en-US" dirty="0"/>
              <a:t>Click to add title</a:t>
            </a:r>
            <a:endParaRPr lang="en-GB" dirty="0"/>
          </a:p>
        </p:txBody>
      </p:sp>
      <p:sp>
        <p:nvSpPr>
          <p:cNvPr id="8" name="Content Placeholder 2">
            <a:extLst>
              <a:ext uri="{FF2B5EF4-FFF2-40B4-BE49-F238E27FC236}">
                <a16:creationId xmlns:a16="http://schemas.microsoft.com/office/drawing/2014/main" id="{F7355A2E-0C24-4BF0-A392-C0768E5B90F4}"/>
              </a:ext>
            </a:extLst>
          </p:cNvPr>
          <p:cNvSpPr>
            <a:spLocks noGrp="1"/>
          </p:cNvSpPr>
          <p:nvPr>
            <p:ph idx="14"/>
          </p:nvPr>
        </p:nvSpPr>
        <p:spPr>
          <a:xfrm>
            <a:off x="6312024" y="1341439"/>
            <a:ext cx="5364000" cy="478790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Slide Number Placeholder 11"/>
          <p:cNvSpPr>
            <a:spLocks noGrp="1"/>
          </p:cNvSpPr>
          <p:nvPr>
            <p:ph type="sldNum" sz="quarter" idx="17"/>
          </p:nvPr>
        </p:nvSpPr>
        <p:spPr/>
        <p:txBody>
          <a:bodyPr/>
          <a:lstStyle/>
          <a:p>
            <a:fld id="{7DAB47CC-2047-4FFE-9F3B-6C9AB62C3816}" type="slidenum">
              <a:rPr lang="en-GB" smtClean="0"/>
              <a:pPr/>
              <a:t>‹#›</a:t>
            </a:fld>
            <a:endParaRPr lang="en-GB"/>
          </a:p>
        </p:txBody>
      </p:sp>
    </p:spTree>
    <p:extLst>
      <p:ext uri="{BB962C8B-B14F-4D97-AF65-F5344CB8AC3E}">
        <p14:creationId xmlns:p14="http://schemas.microsoft.com/office/powerpoint/2010/main" val="162805871"/>
      </p:ext>
    </p:extLst>
  </p:cSld>
  <p:clrMapOvr>
    <a:masterClrMapping/>
  </p:clrMapOvr>
  <p:extLst>
    <p:ext uri="{DCECCB84-F9BA-43D5-87BE-67443E8EF086}">
      <p15:sldGuideLst xmlns:p15="http://schemas.microsoft.com/office/powerpoint/2012/main">
        <p15:guide id="1" orient="horz" pos="845">
          <p15:clr>
            <a:srgbClr val="FBAE40"/>
          </p15:clr>
        </p15:guide>
        <p15:guide id="2" pos="7378">
          <p15:clr>
            <a:srgbClr val="FBAE40"/>
          </p15:clr>
        </p15:guide>
        <p15:guide id="3" orient="horz" pos="3861">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wo col content with imag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7355A2E-0C24-4BF0-A392-C0768E5B90F4}"/>
              </a:ext>
            </a:extLst>
          </p:cNvPr>
          <p:cNvSpPr>
            <a:spLocks noGrp="1"/>
          </p:cNvSpPr>
          <p:nvPr>
            <p:ph idx="1"/>
          </p:nvPr>
        </p:nvSpPr>
        <p:spPr>
          <a:xfrm>
            <a:off x="479972" y="1341439"/>
            <a:ext cx="5364000" cy="478790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 Placeholder 13"/>
          <p:cNvSpPr>
            <a:spLocks noGrp="1"/>
          </p:cNvSpPr>
          <p:nvPr>
            <p:ph type="body" sz="quarter" idx="13" hasCustomPrompt="1"/>
          </p:nvPr>
        </p:nvSpPr>
        <p:spPr>
          <a:xfrm>
            <a:off x="7010273" y="765175"/>
            <a:ext cx="4680000" cy="288000"/>
          </a:xfrm>
        </p:spPr>
        <p:txBody>
          <a:bodyPr>
            <a:noAutofit/>
          </a:bodyPr>
          <a:lstStyle>
            <a:lvl1pPr marL="0" indent="0" algn="r">
              <a:lnSpc>
                <a:spcPct val="100000"/>
              </a:lnSpc>
              <a:spcBef>
                <a:spcPts val="0"/>
              </a:spcBef>
              <a:buNone/>
              <a:defRPr sz="2000" b="1" cap="all" baseline="0"/>
            </a:lvl1pPr>
            <a:lvl2pPr marL="0" indent="0" algn="r">
              <a:lnSpc>
                <a:spcPct val="100000"/>
              </a:lnSpc>
              <a:spcBef>
                <a:spcPts val="0"/>
              </a:spcBef>
              <a:buNone/>
              <a:defRPr sz="2000" b="1" cap="all" baseline="0"/>
            </a:lvl2pPr>
            <a:lvl3pPr marL="0" indent="0" algn="r">
              <a:lnSpc>
                <a:spcPct val="100000"/>
              </a:lnSpc>
              <a:spcBef>
                <a:spcPts val="0"/>
              </a:spcBef>
              <a:buNone/>
              <a:defRPr sz="2000" b="1" cap="all" baseline="0"/>
            </a:lvl3pPr>
            <a:lvl4pPr marL="0" indent="0" algn="r">
              <a:lnSpc>
                <a:spcPct val="100000"/>
              </a:lnSpc>
              <a:spcBef>
                <a:spcPts val="0"/>
              </a:spcBef>
              <a:buNone/>
              <a:defRPr sz="2000" b="1" cap="all" baseline="0"/>
            </a:lvl4pPr>
            <a:lvl5pPr marL="0" indent="0" algn="r">
              <a:lnSpc>
                <a:spcPct val="100000"/>
              </a:lnSpc>
              <a:spcBef>
                <a:spcPts val="0"/>
              </a:spcBef>
              <a:buNone/>
              <a:defRPr sz="2000" b="1" cap="all" baseline="0"/>
            </a:lvl5pPr>
          </a:lstStyle>
          <a:p>
            <a:pPr lvl="0"/>
            <a:r>
              <a:rPr lang="en-US" dirty="0"/>
              <a:t>Click to add sub title</a:t>
            </a:r>
            <a:endParaRPr lang="en-GB" dirty="0"/>
          </a:p>
        </p:txBody>
      </p:sp>
      <p:sp>
        <p:nvSpPr>
          <p:cNvPr id="17" name="Title 16"/>
          <p:cNvSpPr>
            <a:spLocks noGrp="1"/>
          </p:cNvSpPr>
          <p:nvPr>
            <p:ph type="title" hasCustomPrompt="1"/>
          </p:nvPr>
        </p:nvSpPr>
        <p:spPr>
          <a:xfrm>
            <a:off x="7009123" y="450679"/>
            <a:ext cx="4681151" cy="288000"/>
          </a:xfrm>
        </p:spPr>
        <p:txBody>
          <a:bodyPr/>
          <a:lstStyle>
            <a:lvl1pPr>
              <a:defRPr>
                <a:solidFill>
                  <a:schemeClr val="accent3"/>
                </a:solidFill>
              </a:defRPr>
            </a:lvl1pPr>
          </a:lstStyle>
          <a:p>
            <a:r>
              <a:rPr lang="en-US" dirty="0"/>
              <a:t>Click to add title</a:t>
            </a:r>
            <a:endParaRPr lang="en-GB" dirty="0"/>
          </a:p>
        </p:txBody>
      </p:sp>
      <p:sp>
        <p:nvSpPr>
          <p:cNvPr id="12" name="Slide Number Placeholder 11"/>
          <p:cNvSpPr>
            <a:spLocks noGrp="1"/>
          </p:cNvSpPr>
          <p:nvPr>
            <p:ph type="sldNum" sz="quarter" idx="17"/>
          </p:nvPr>
        </p:nvSpPr>
        <p:spPr/>
        <p:txBody>
          <a:bodyPr/>
          <a:lstStyle/>
          <a:p>
            <a:fld id="{7DAB47CC-2047-4FFE-9F3B-6C9AB62C3816}" type="slidenum">
              <a:rPr lang="en-GB" smtClean="0"/>
              <a:pPr/>
              <a:t>‹#›</a:t>
            </a:fld>
            <a:endParaRPr lang="en-GB"/>
          </a:p>
        </p:txBody>
      </p:sp>
      <p:sp>
        <p:nvSpPr>
          <p:cNvPr id="4" name="Picture Placeholder 3"/>
          <p:cNvSpPr>
            <a:spLocks noGrp="1"/>
          </p:cNvSpPr>
          <p:nvPr>
            <p:ph type="pic" sz="quarter" idx="18"/>
          </p:nvPr>
        </p:nvSpPr>
        <p:spPr>
          <a:xfrm>
            <a:off x="6312000" y="1341967"/>
            <a:ext cx="5366400" cy="4790400"/>
          </a:xfrm>
        </p:spPr>
        <p:txBody>
          <a:bodyPr/>
          <a:lstStyle/>
          <a:p>
            <a:endParaRPr lang="en-GB"/>
          </a:p>
        </p:txBody>
      </p:sp>
    </p:spTree>
    <p:extLst>
      <p:ext uri="{BB962C8B-B14F-4D97-AF65-F5344CB8AC3E}">
        <p14:creationId xmlns:p14="http://schemas.microsoft.com/office/powerpoint/2010/main" val="386810808"/>
      </p:ext>
    </p:extLst>
  </p:cSld>
  <p:clrMapOvr>
    <a:masterClrMapping/>
  </p:clrMapOvr>
  <p:extLst>
    <p:ext uri="{DCECCB84-F9BA-43D5-87BE-67443E8EF086}">
      <p15:sldGuideLst xmlns:p15="http://schemas.microsoft.com/office/powerpoint/2012/main">
        <p15:guide id="1" orient="horz" pos="845">
          <p15:clr>
            <a:srgbClr val="FBAE40"/>
          </p15:clr>
        </p15:guide>
        <p15:guide id="2" pos="7378">
          <p15:clr>
            <a:srgbClr val="FBAE40"/>
          </p15:clr>
        </p15:guide>
        <p15:guide id="3" orient="horz" pos="386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with 1 Profile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261A4C7-E98D-3660-5C37-C13B3A230A80}"/>
              </a:ext>
            </a:extLst>
          </p:cNvPr>
          <p:cNvSpPr/>
          <p:nvPr userDrawn="1"/>
        </p:nvSpPr>
        <p:spPr>
          <a:xfrm>
            <a:off x="8126413" y="0"/>
            <a:ext cx="40655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Footer Placeholder 4"/>
          <p:cNvSpPr>
            <a:spLocks noGrp="1"/>
          </p:cNvSpPr>
          <p:nvPr>
            <p:ph type="ftr" sz="quarter" idx="11"/>
          </p:nvPr>
        </p:nvSpPr>
        <p:spPr/>
        <p:txBody>
          <a:bodyPr/>
          <a:lstStyle/>
          <a:p>
            <a:r>
              <a:rPr lang="en-GB"/>
              <a:t>INSERT FOOTER HERE</a:t>
            </a:r>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8CFE0557-AA98-4E6C-B0C3-581794696B68}" type="slidenum">
              <a:rPr lang="en-GB" smtClean="0"/>
              <a:pPr/>
              <a:t>‹#›</a:t>
            </a:fld>
            <a:endParaRPr lang="en-GB" dirty="0"/>
          </a:p>
        </p:txBody>
      </p:sp>
      <p:sp>
        <p:nvSpPr>
          <p:cNvPr id="9" name="Content Placeholder 2">
            <a:extLst>
              <a:ext uri="{FF2B5EF4-FFF2-40B4-BE49-F238E27FC236}">
                <a16:creationId xmlns:a16="http://schemas.microsoft.com/office/drawing/2014/main" id="{F7D10F14-7BE2-8A09-1803-2E4B2FCAD5F0}"/>
              </a:ext>
            </a:extLst>
          </p:cNvPr>
          <p:cNvSpPr>
            <a:spLocks noGrp="1"/>
          </p:cNvSpPr>
          <p:nvPr>
            <p:ph idx="1" hasCustomPrompt="1"/>
          </p:nvPr>
        </p:nvSpPr>
        <p:spPr>
          <a:xfrm>
            <a:off x="508000" y="1971039"/>
            <a:ext cx="7134225" cy="365761"/>
          </a:xfrm>
        </p:spPr>
        <p:txBody>
          <a:bodyPr/>
          <a:lstStyle>
            <a:lvl1pPr>
              <a:defRPr cap="all" baseline="0"/>
            </a:lvl1pPr>
          </a:lstStyle>
          <a:p>
            <a:pPr lvl="0"/>
            <a:r>
              <a:rPr lang="en-US" dirty="0"/>
              <a:t>subhead</a:t>
            </a:r>
          </a:p>
        </p:txBody>
      </p:sp>
      <p:sp>
        <p:nvSpPr>
          <p:cNvPr id="15" name="Picture Placeholder 14">
            <a:extLst>
              <a:ext uri="{FF2B5EF4-FFF2-40B4-BE49-F238E27FC236}">
                <a16:creationId xmlns:a16="http://schemas.microsoft.com/office/drawing/2014/main" id="{BB1C9D16-E1E9-792C-AE10-77DE9B549928}"/>
              </a:ext>
            </a:extLst>
          </p:cNvPr>
          <p:cNvSpPr>
            <a:spLocks noGrp="1"/>
          </p:cNvSpPr>
          <p:nvPr>
            <p:ph type="pic" sz="quarter" idx="15" hasCustomPrompt="1"/>
          </p:nvPr>
        </p:nvSpPr>
        <p:spPr>
          <a:xfrm>
            <a:off x="8737601" y="1291427"/>
            <a:ext cx="876299" cy="876299"/>
          </a:xfrm>
          <a:solidFill>
            <a:schemeClr val="bg1"/>
          </a:solidFill>
        </p:spPr>
        <p:txBody>
          <a:bodyPr anchor="ctr">
            <a:normAutofit/>
          </a:bodyPr>
          <a:lstStyle>
            <a:lvl1pPr algn="ctr">
              <a:defRPr sz="1000">
                <a:latin typeface="+mn-lt"/>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GB" dirty="0"/>
              <a:t>Picture</a:t>
            </a:r>
          </a:p>
        </p:txBody>
      </p:sp>
      <p:sp>
        <p:nvSpPr>
          <p:cNvPr id="14" name="Content Placeholder 2">
            <a:extLst>
              <a:ext uri="{FF2B5EF4-FFF2-40B4-BE49-F238E27FC236}">
                <a16:creationId xmlns:a16="http://schemas.microsoft.com/office/drawing/2014/main" id="{E72CD05C-B4F0-E849-8BE5-946F20E9023A}"/>
              </a:ext>
            </a:extLst>
          </p:cNvPr>
          <p:cNvSpPr>
            <a:spLocks noGrp="1"/>
          </p:cNvSpPr>
          <p:nvPr>
            <p:ph idx="19" hasCustomPrompt="1"/>
          </p:nvPr>
        </p:nvSpPr>
        <p:spPr>
          <a:xfrm>
            <a:off x="508000" y="1208877"/>
            <a:ext cx="7134225" cy="626992"/>
          </a:xfrm>
        </p:spPr>
        <p:txBody>
          <a:bodyPr vert="horz" lIns="0" tIns="0" rIns="0" bIns="0" numCol="1" spcCol="216000" rtlCol="0">
            <a:noAutofit/>
          </a:bodyPr>
          <a:lstStyle>
            <a:lvl1pPr>
              <a:lnSpc>
                <a:spcPct val="110000"/>
              </a:lnSpc>
              <a:defRPr lang="en-US" sz="1800" dirty="0">
                <a:solidFill>
                  <a:schemeClr val="accent2"/>
                </a:solidFill>
              </a:defRPr>
            </a:lvl1pPr>
            <a:lvl2pPr>
              <a:defRPr lang="en-US" sz="900" dirty="0">
                <a:solidFill>
                  <a:schemeClr val="tx1"/>
                </a:solidFill>
              </a:defRPr>
            </a:lvl2pPr>
            <a:lvl3pPr>
              <a:defRPr lang="en-US" sz="800" dirty="0">
                <a:solidFill>
                  <a:schemeClr val="tx1"/>
                </a:solidFill>
              </a:defRPr>
            </a:lvl3pPr>
            <a:lvl4pPr>
              <a:defRPr lang="en-US" sz="700" dirty="0">
                <a:solidFill>
                  <a:schemeClr val="tx1"/>
                </a:solidFill>
              </a:defRPr>
            </a:lvl4pPr>
            <a:lvl5pPr>
              <a:defRPr lang="en-US" sz="700" dirty="0">
                <a:solidFill>
                  <a:schemeClr val="tx1"/>
                </a:solidFill>
              </a:defRPr>
            </a:lvl5pPr>
          </a:lstStyle>
          <a:p>
            <a:pPr lvl="0"/>
            <a:r>
              <a:rPr lang="en-US" dirty="0"/>
              <a:t>Intro paragraph text goes here, spans the columns. </a:t>
            </a:r>
            <a:r>
              <a:rPr lang="en-US" dirty="0" err="1"/>
              <a:t>sintum</a:t>
            </a:r>
            <a:r>
              <a:rPr lang="en-US" dirty="0"/>
              <a:t> </a:t>
            </a:r>
            <a:r>
              <a:rPr lang="en-US" dirty="0" err="1"/>
              <a:t>fuga</a:t>
            </a:r>
            <a:r>
              <a:rPr lang="en-US" dirty="0"/>
              <a:t>. Nam </a:t>
            </a:r>
            <a:r>
              <a:rPr lang="en-US" dirty="0" err="1"/>
              <a:t>reperis</a:t>
            </a:r>
            <a:r>
              <a:rPr lang="en-US" dirty="0"/>
              <a:t> et </a:t>
            </a:r>
            <a:r>
              <a:rPr lang="en-US" dirty="0" err="1"/>
              <a:t>offici</a:t>
            </a:r>
            <a:r>
              <a:rPr lang="en-US" dirty="0"/>
              <a:t> rat.</a:t>
            </a:r>
          </a:p>
        </p:txBody>
      </p:sp>
      <p:sp>
        <p:nvSpPr>
          <p:cNvPr id="19" name="Content Placeholder 2">
            <a:extLst>
              <a:ext uri="{FF2B5EF4-FFF2-40B4-BE49-F238E27FC236}">
                <a16:creationId xmlns:a16="http://schemas.microsoft.com/office/drawing/2014/main" id="{C0E0C3DE-23B8-688A-FFA9-104670A26887}"/>
              </a:ext>
            </a:extLst>
          </p:cNvPr>
          <p:cNvSpPr>
            <a:spLocks noGrp="1"/>
          </p:cNvSpPr>
          <p:nvPr>
            <p:ph idx="21" hasCustomPrompt="1"/>
          </p:nvPr>
        </p:nvSpPr>
        <p:spPr>
          <a:xfrm>
            <a:off x="504826" y="2412999"/>
            <a:ext cx="3403599" cy="3806825"/>
          </a:xfrm>
        </p:spPr>
        <p:txBody>
          <a:bodyPr vert="horz" lIns="0" tIns="45720" rIns="0" bIns="4572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marL="0" lvl="0" indent="0" algn="l" defTabSz="914400" rtl="0" eaLnBrk="1" latinLnBrk="0" hangingPunct="1">
              <a:lnSpc>
                <a:spcPct val="130000"/>
              </a:lnSpc>
              <a:spcBef>
                <a:spcPts val="300"/>
              </a:spcBef>
              <a:spcAft>
                <a:spcPts val="300"/>
              </a:spcAft>
              <a:buFont typeface="Arial" panose="020B0604020202020204" pitchFamily="34" charset="0"/>
              <a:buNone/>
            </a:pPr>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20" name="Content Placeholder 2">
            <a:extLst>
              <a:ext uri="{FF2B5EF4-FFF2-40B4-BE49-F238E27FC236}">
                <a16:creationId xmlns:a16="http://schemas.microsoft.com/office/drawing/2014/main" id="{9ED6CF3F-00EB-45B7-DF26-D4DE5E1987F6}"/>
              </a:ext>
            </a:extLst>
          </p:cNvPr>
          <p:cNvSpPr>
            <a:spLocks noGrp="1"/>
          </p:cNvSpPr>
          <p:nvPr>
            <p:ph idx="22" hasCustomPrompt="1"/>
          </p:nvPr>
        </p:nvSpPr>
        <p:spPr>
          <a:xfrm>
            <a:off x="4238626" y="2412999"/>
            <a:ext cx="3403599" cy="3806825"/>
          </a:xfrm>
        </p:spPr>
        <p:txBody>
          <a:bodyPr vert="horz" lIns="0" tIns="45720" rIns="0" bIns="4572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marL="0" lvl="0" indent="0" algn="l" defTabSz="914400" rtl="0" eaLnBrk="1" latinLnBrk="0" hangingPunct="1">
              <a:lnSpc>
                <a:spcPct val="130000"/>
              </a:lnSpc>
              <a:spcBef>
                <a:spcPts val="300"/>
              </a:spcBef>
              <a:spcAft>
                <a:spcPts val="300"/>
              </a:spcAft>
              <a:buFont typeface="Arial" panose="020B0604020202020204" pitchFamily="34" charset="0"/>
              <a:buNone/>
            </a:pPr>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2" name="Title 1">
            <a:extLst>
              <a:ext uri="{FF2B5EF4-FFF2-40B4-BE49-F238E27FC236}">
                <a16:creationId xmlns:a16="http://schemas.microsoft.com/office/drawing/2014/main" id="{8B73AE0C-61B2-36FA-FADC-893087641282}"/>
              </a:ext>
            </a:extLst>
          </p:cNvPr>
          <p:cNvSpPr>
            <a:spLocks noGrp="1"/>
          </p:cNvSpPr>
          <p:nvPr>
            <p:ph type="title" hasCustomPrompt="1"/>
          </p:nvPr>
        </p:nvSpPr>
        <p:spPr>
          <a:xfrm>
            <a:off x="508000" y="454014"/>
            <a:ext cx="7134225" cy="754864"/>
          </a:xfrm>
        </p:spPr>
        <p:txBody>
          <a:bodyPr/>
          <a:lstStyle>
            <a:lvl1pPr>
              <a:defRPr>
                <a:solidFill>
                  <a:schemeClr val="tx2"/>
                </a:solidFill>
              </a:defRPr>
            </a:lvl1pPr>
          </a:lstStyle>
          <a:p>
            <a:r>
              <a:rPr lang="en-US" dirty="0"/>
              <a:t>TITLE: subtitle</a:t>
            </a:r>
            <a:endParaRPr lang="en-GB" dirty="0"/>
          </a:p>
        </p:txBody>
      </p:sp>
      <p:sp>
        <p:nvSpPr>
          <p:cNvPr id="7" name="Text Placeholder 16">
            <a:extLst>
              <a:ext uri="{FF2B5EF4-FFF2-40B4-BE49-F238E27FC236}">
                <a16:creationId xmlns:a16="http://schemas.microsoft.com/office/drawing/2014/main" id="{3098E651-55D5-E35B-B8BF-3E3E4C304884}"/>
              </a:ext>
            </a:extLst>
          </p:cNvPr>
          <p:cNvSpPr>
            <a:spLocks noGrp="1"/>
          </p:cNvSpPr>
          <p:nvPr>
            <p:ph type="body" sz="quarter" idx="23" hasCustomPrompt="1"/>
          </p:nvPr>
        </p:nvSpPr>
        <p:spPr>
          <a:xfrm>
            <a:off x="8739981" y="2526481"/>
            <a:ext cx="2815432"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US" dirty="0"/>
              <a:t>Position, Location</a:t>
            </a:r>
          </a:p>
        </p:txBody>
      </p:sp>
      <p:sp>
        <p:nvSpPr>
          <p:cNvPr id="10" name="Text Placeholder 16">
            <a:extLst>
              <a:ext uri="{FF2B5EF4-FFF2-40B4-BE49-F238E27FC236}">
                <a16:creationId xmlns:a16="http://schemas.microsoft.com/office/drawing/2014/main" id="{F0F169C7-3D19-964C-2AFF-96645437A17A}"/>
              </a:ext>
            </a:extLst>
          </p:cNvPr>
          <p:cNvSpPr>
            <a:spLocks noGrp="1"/>
          </p:cNvSpPr>
          <p:nvPr>
            <p:ph type="body" sz="quarter" idx="24" hasCustomPrompt="1"/>
          </p:nvPr>
        </p:nvSpPr>
        <p:spPr>
          <a:xfrm>
            <a:off x="8739981" y="2309311"/>
            <a:ext cx="2815432" cy="169277"/>
          </a:xfrm>
        </p:spPr>
        <p:txBody>
          <a:bodyPr tIns="0" bIns="0">
            <a:noAutofit/>
          </a:bodyPr>
          <a:lstStyle>
            <a:lvl1pPr algn="l">
              <a:lnSpc>
                <a:spcPct val="100000"/>
              </a:lnSpc>
              <a:spcBef>
                <a:spcPts val="0"/>
              </a:spcBef>
              <a:spcAft>
                <a:spcPts val="0"/>
              </a:spcAft>
              <a:defRPr sz="1100" cap="all" baseline="0">
                <a:solidFill>
                  <a:schemeClr val="tx2"/>
                </a:solidFill>
                <a:latin typeface="+mj-lt"/>
              </a:defRPr>
            </a:lvl1pPr>
            <a:lvl2pPr algn="l">
              <a:lnSpc>
                <a:spcPct val="100000"/>
              </a:lnSpc>
              <a:spcBef>
                <a:spcPts val="200"/>
              </a:spcBef>
              <a:spcAft>
                <a:spcPts val="200"/>
              </a:spcAft>
              <a:defRPr sz="1100">
                <a:solidFill>
                  <a:schemeClr val="tx1"/>
                </a:solidFill>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0"/>
            <a:r>
              <a:rPr lang="en-US" dirty="0"/>
              <a:t>NAME SURNAME</a:t>
            </a:r>
          </a:p>
        </p:txBody>
      </p:sp>
      <p:sp>
        <p:nvSpPr>
          <p:cNvPr id="11" name="Text Placeholder 16">
            <a:extLst>
              <a:ext uri="{FF2B5EF4-FFF2-40B4-BE49-F238E27FC236}">
                <a16:creationId xmlns:a16="http://schemas.microsoft.com/office/drawing/2014/main" id="{7B698049-F1B6-1B5C-62F3-6FE62275F0E2}"/>
              </a:ext>
            </a:extLst>
          </p:cNvPr>
          <p:cNvSpPr>
            <a:spLocks noGrp="1"/>
          </p:cNvSpPr>
          <p:nvPr>
            <p:ph type="body" sz="quarter" idx="27" hasCustomPrompt="1"/>
          </p:nvPr>
        </p:nvSpPr>
        <p:spPr>
          <a:xfrm>
            <a:off x="8915664" y="2743713"/>
            <a:ext cx="263974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12" name="Text Placeholder 16">
            <a:extLst>
              <a:ext uri="{FF2B5EF4-FFF2-40B4-BE49-F238E27FC236}">
                <a16:creationId xmlns:a16="http://schemas.microsoft.com/office/drawing/2014/main" id="{C03DA567-29A7-F47F-BF59-312B80B2C318}"/>
              </a:ext>
            </a:extLst>
          </p:cNvPr>
          <p:cNvSpPr>
            <a:spLocks noGrp="1"/>
          </p:cNvSpPr>
          <p:nvPr>
            <p:ph type="body" sz="quarter" idx="29" hasCustomPrompt="1"/>
          </p:nvPr>
        </p:nvSpPr>
        <p:spPr>
          <a:xfrm>
            <a:off x="8915664" y="2960945"/>
            <a:ext cx="263974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name.surname@hfw.com</a:t>
            </a:r>
            <a:endParaRPr lang="en-US" dirty="0"/>
          </a:p>
        </p:txBody>
      </p:sp>
      <p:sp>
        <p:nvSpPr>
          <p:cNvPr id="13" name="TextBox 12">
            <a:extLst>
              <a:ext uri="{FF2B5EF4-FFF2-40B4-BE49-F238E27FC236}">
                <a16:creationId xmlns:a16="http://schemas.microsoft.com/office/drawing/2014/main" id="{7E08277B-FA8B-91B5-2A17-A49928D16F27}"/>
              </a:ext>
            </a:extLst>
          </p:cNvPr>
          <p:cNvSpPr txBox="1"/>
          <p:nvPr userDrawn="1"/>
        </p:nvSpPr>
        <p:spPr>
          <a:xfrm flipH="1">
            <a:off x="8741500" y="2743713"/>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16" name="TextBox 15">
            <a:extLst>
              <a:ext uri="{FF2B5EF4-FFF2-40B4-BE49-F238E27FC236}">
                <a16:creationId xmlns:a16="http://schemas.microsoft.com/office/drawing/2014/main" id="{D6FCF74B-F2EA-6D18-9B2D-28C8C58D5B6F}"/>
              </a:ext>
            </a:extLst>
          </p:cNvPr>
          <p:cNvSpPr txBox="1"/>
          <p:nvPr userDrawn="1"/>
        </p:nvSpPr>
        <p:spPr>
          <a:xfrm flipH="1">
            <a:off x="8741500" y="2960945"/>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E</a:t>
            </a:r>
          </a:p>
        </p:txBody>
      </p:sp>
      <p:sp>
        <p:nvSpPr>
          <p:cNvPr id="3" name="TextBox 4">
            <a:extLst>
              <a:ext uri="{FF2B5EF4-FFF2-40B4-BE49-F238E27FC236}">
                <a16:creationId xmlns:a16="http://schemas.microsoft.com/office/drawing/2014/main" id="{14F3E476-2287-6EA4-B649-B4182F1EA744}"/>
              </a:ext>
            </a:extLst>
          </p:cNvPr>
          <p:cNvSpPr txBox="1"/>
          <p:nvPr userDrawn="1"/>
        </p:nvSpPr>
        <p:spPr>
          <a:xfrm>
            <a:off x="12346713" y="109538"/>
            <a:ext cx="2253207" cy="498085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INSERTING IMAGES:</a:t>
            </a:r>
          </a:p>
          <a:p>
            <a:pPr marL="179388" indent="-179388">
              <a:spcBef>
                <a:spcPts val="200"/>
              </a:spcBef>
              <a:spcAft>
                <a:spcPts val="200"/>
              </a:spcAft>
              <a:buFont typeface="+mj-lt"/>
              <a:buAutoNum type="arabicPeriod"/>
            </a:pPr>
            <a:r>
              <a:rPr lang="en-US" sz="900" dirty="0">
                <a:solidFill>
                  <a:schemeClr val="tx1"/>
                </a:solidFill>
                <a:latin typeface="+mn-lt"/>
              </a:rPr>
              <a:t>Simply click the image placeholder and select your image.</a:t>
            </a:r>
          </a:p>
          <a:p>
            <a:pPr marL="179388" indent="-179388">
              <a:spcBef>
                <a:spcPts val="200"/>
              </a:spcBef>
              <a:spcAft>
                <a:spcPts val="200"/>
              </a:spcAft>
              <a:buFont typeface="+mj-lt"/>
              <a:buAutoNum type="arabicPeriod"/>
            </a:pPr>
            <a:r>
              <a:rPr lang="en-US" sz="900" dirty="0">
                <a:solidFill>
                  <a:schemeClr val="tx1"/>
                </a:solidFill>
                <a:latin typeface="+mn-lt"/>
              </a:rPr>
              <a:t>Once your image is inserted into the shape it may be distorted. (Stretched or Squashed)</a:t>
            </a:r>
          </a:p>
          <a:p>
            <a:pPr marL="179388" indent="-179388">
              <a:spcBef>
                <a:spcPts val="200"/>
              </a:spcBef>
              <a:spcAft>
                <a:spcPts val="200"/>
              </a:spcAft>
              <a:buFont typeface="+mj-lt"/>
              <a:buAutoNum type="arabicPeriod"/>
            </a:pPr>
            <a:endParaRPr lang="en-US" sz="900" dirty="0">
              <a:solidFill>
                <a:schemeClr val="tx1"/>
              </a:solidFill>
              <a:latin typeface="+mn-lt"/>
            </a:endParaRPr>
          </a:p>
          <a:p>
            <a:pPr>
              <a:spcBef>
                <a:spcPts val="200"/>
              </a:spcBef>
              <a:spcAft>
                <a:spcPts val="200"/>
              </a:spcAft>
            </a:pPr>
            <a:r>
              <a:rPr lang="en-US" sz="900" b="1" dirty="0">
                <a:solidFill>
                  <a:schemeClr val="tx1"/>
                </a:solidFill>
                <a:latin typeface="+mn-lt"/>
              </a:rPr>
              <a:t>To fix this:</a:t>
            </a:r>
          </a:p>
          <a:p>
            <a:pPr marL="179388" indent="-179388">
              <a:spcBef>
                <a:spcPts val="200"/>
              </a:spcBef>
              <a:spcAft>
                <a:spcPts val="200"/>
              </a:spcAft>
              <a:buFont typeface="+mj-lt"/>
              <a:buAutoNum type="arabicPeriod"/>
            </a:pPr>
            <a:r>
              <a:rPr lang="en-US" sz="900" dirty="0">
                <a:solidFill>
                  <a:schemeClr val="tx1"/>
                </a:solidFill>
                <a:latin typeface="+mn-lt"/>
              </a:rPr>
              <a:t>Click on the image and from the top menu under </a:t>
            </a:r>
            <a:r>
              <a:rPr lang="en-US" sz="900" b="1" dirty="0">
                <a:solidFill>
                  <a:schemeClr val="tx1"/>
                </a:solidFill>
                <a:latin typeface="+mn-lt"/>
              </a:rPr>
              <a:t>PICTURE FORMAT </a:t>
            </a:r>
            <a:r>
              <a:rPr lang="en-US" sz="900" dirty="0">
                <a:solidFill>
                  <a:schemeClr val="tx1"/>
                </a:solidFill>
                <a:latin typeface="+mn-lt"/>
              </a:rPr>
              <a:t>select the </a:t>
            </a:r>
            <a:r>
              <a:rPr lang="en-US" sz="900" b="1" dirty="0">
                <a:solidFill>
                  <a:schemeClr val="tx1"/>
                </a:solidFill>
                <a:latin typeface="+mn-lt"/>
              </a:rPr>
              <a:t>CROP</a:t>
            </a:r>
            <a:r>
              <a:rPr lang="en-US" sz="900" dirty="0">
                <a:solidFill>
                  <a:schemeClr val="tx1"/>
                </a:solidFill>
                <a:latin typeface="+mn-lt"/>
              </a:rPr>
              <a:t> on the right and from the drop down menu select </a:t>
            </a:r>
            <a:r>
              <a:rPr lang="en-US" sz="900" b="1" kern="1200" dirty="0">
                <a:solidFill>
                  <a:schemeClr val="tx1"/>
                </a:solidFill>
                <a:latin typeface="+mn-lt"/>
                <a:ea typeface="+mn-ea"/>
                <a:cs typeface="+mn-cs"/>
              </a:rPr>
              <a:t>FILL</a:t>
            </a:r>
          </a:p>
          <a:p>
            <a:pPr marL="179388" indent="-179388">
              <a:spcBef>
                <a:spcPts val="200"/>
              </a:spcBef>
              <a:spcAft>
                <a:spcPts val="200"/>
              </a:spcAft>
              <a:buFont typeface="+mj-lt"/>
              <a:buAutoNum type="arabicPeriod"/>
            </a:pPr>
            <a:r>
              <a:rPr lang="en-US" sz="900" b="0" kern="1200" dirty="0">
                <a:solidFill>
                  <a:schemeClr val="tx1"/>
                </a:solidFill>
                <a:latin typeface="+mn-lt"/>
                <a:ea typeface="+mn-ea"/>
                <a:cs typeface="+mn-cs"/>
              </a:rPr>
              <a:t>From here you can move the image within the shape for best visual appearance</a:t>
            </a:r>
          </a:p>
          <a:p>
            <a:pPr marL="179388" indent="-179388">
              <a:spcBef>
                <a:spcPts val="200"/>
              </a:spcBef>
              <a:spcAft>
                <a:spcPts val="200"/>
              </a:spcAft>
              <a:buFont typeface="+mj-lt"/>
              <a:buAutoNum type="arabicPeriod"/>
            </a:pPr>
            <a:endParaRPr lang="en-US" sz="900" b="0" i="0" kern="1200" dirty="0">
              <a:solidFill>
                <a:schemeClr val="tx1"/>
              </a:solidFill>
              <a:latin typeface="+mn-lt"/>
              <a:ea typeface="+mn-ea"/>
              <a:cs typeface="+mn-cs"/>
            </a:endParaRPr>
          </a:p>
          <a:p>
            <a:pPr marL="0" marR="0" lvl="0" indent="0" algn="l" defTabSz="914400" rtl="0" eaLnBrk="1" fontAlgn="auto" latinLnBrk="0" hangingPunct="1">
              <a:lnSpc>
                <a:spcPct val="100000"/>
              </a:lnSpc>
              <a:spcBef>
                <a:spcPts val="200"/>
              </a:spcBef>
              <a:spcAft>
                <a:spcPts val="200"/>
              </a:spcAft>
              <a:buClrTx/>
              <a:buSzTx/>
              <a:buFont typeface="+mj-lt"/>
              <a:buNone/>
              <a:tabLst/>
              <a:defRPr/>
            </a:pPr>
            <a:r>
              <a:rPr lang="en-GB" sz="1000" b="1" i="0" dirty="0">
                <a:effectLst/>
                <a:latin typeface="Arial" panose="020B0604020202020204" pitchFamily="34" charset="0"/>
                <a:ea typeface="Calibri" panose="020F0502020204030204" pitchFamily="34" charset="0"/>
              </a:rPr>
              <a:t>When inserting staff photos, </a:t>
            </a:r>
            <a:r>
              <a:rPr lang="en-GB" sz="1000" i="0" dirty="0">
                <a:effectLst/>
                <a:latin typeface="Arial" panose="020B0604020202020204" pitchFamily="34" charset="0"/>
                <a:ea typeface="Calibri" panose="020F0502020204030204" pitchFamily="34" charset="0"/>
              </a:rPr>
              <a:t>please use the same method as suggested above. To ensure you are using staff photos that are optimised for use in this Pitch Template, please insert them from the “Staff Photos 40x40 BW” folder, located in the Staff photos section of the HFW Pitch Template folder.</a:t>
            </a:r>
            <a:endParaRPr lang="en-GB" sz="1000" i="0" dirty="0">
              <a:effectLst/>
              <a:latin typeface="Calibri" panose="020F0502020204030204" pitchFamily="34" charset="0"/>
              <a:ea typeface="Calibri" panose="020F0502020204030204" pitchFamily="34" charset="0"/>
            </a:endParaRPr>
          </a:p>
          <a:p>
            <a:pPr marL="179388" indent="-179388">
              <a:spcBef>
                <a:spcPts val="200"/>
              </a:spcBef>
              <a:spcAft>
                <a:spcPts val="200"/>
              </a:spcAft>
              <a:buFont typeface="+mj-lt"/>
              <a:buAutoNum type="arabicPeriod"/>
            </a:pPr>
            <a:endParaRPr lang="en-US" sz="900" b="0" kern="1200" dirty="0">
              <a:solidFill>
                <a:schemeClr val="tx1"/>
              </a:solidFill>
              <a:latin typeface="+mn-lt"/>
              <a:ea typeface="+mn-ea"/>
              <a:cs typeface="+mn-cs"/>
            </a:endParaRPr>
          </a:p>
          <a:p>
            <a:pPr marL="179388" indent="-179388">
              <a:spcBef>
                <a:spcPts val="200"/>
              </a:spcBef>
              <a:spcAft>
                <a:spcPts val="200"/>
              </a:spcAft>
              <a:buFont typeface="+mj-lt"/>
              <a:buAutoNum type="arabicPeriod"/>
            </a:pPr>
            <a:endParaRPr lang="en-US" sz="900" b="0" kern="1200" dirty="0">
              <a:solidFill>
                <a:schemeClr val="tx1"/>
              </a:solidFill>
              <a:latin typeface="+mn-lt"/>
              <a:ea typeface="+mn-ea"/>
              <a:cs typeface="+mn-cs"/>
            </a:endParaRPr>
          </a:p>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SAMPLE CONTACT LAYOUT</a:t>
            </a:r>
          </a:p>
        </p:txBody>
      </p:sp>
      <p:grpSp>
        <p:nvGrpSpPr>
          <p:cNvPr id="17" name="Group 16">
            <a:extLst>
              <a:ext uri="{FF2B5EF4-FFF2-40B4-BE49-F238E27FC236}">
                <a16:creationId xmlns:a16="http://schemas.microsoft.com/office/drawing/2014/main" id="{4C5E72C1-3BF6-A70A-FBAF-77197068EFCE}"/>
              </a:ext>
            </a:extLst>
          </p:cNvPr>
          <p:cNvGrpSpPr/>
          <p:nvPr userDrawn="1"/>
        </p:nvGrpSpPr>
        <p:grpSpPr>
          <a:xfrm>
            <a:off x="12437199" y="5138030"/>
            <a:ext cx="2813913" cy="819975"/>
            <a:chOff x="12399099" y="4230487"/>
            <a:chExt cx="2813913" cy="819975"/>
          </a:xfrm>
        </p:grpSpPr>
        <p:sp>
          <p:nvSpPr>
            <p:cNvPr id="28" name="TextBox 27">
              <a:extLst>
                <a:ext uri="{FF2B5EF4-FFF2-40B4-BE49-F238E27FC236}">
                  <a16:creationId xmlns:a16="http://schemas.microsoft.com/office/drawing/2014/main" id="{9022FA6B-3E01-DA85-9A06-CA0A23131D3F}"/>
                </a:ext>
              </a:extLst>
            </p:cNvPr>
            <p:cNvSpPr txBox="1"/>
            <p:nvPr userDrawn="1"/>
          </p:nvSpPr>
          <p:spPr>
            <a:xfrm flipH="1">
              <a:off x="12573262" y="4663953"/>
              <a:ext cx="2639750"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grpSp>
          <p:nvGrpSpPr>
            <p:cNvPr id="29" name="Group 28">
              <a:extLst>
                <a:ext uri="{FF2B5EF4-FFF2-40B4-BE49-F238E27FC236}">
                  <a16:creationId xmlns:a16="http://schemas.microsoft.com/office/drawing/2014/main" id="{697DAB5F-0E11-D03A-9509-F228122C048F}"/>
                </a:ext>
              </a:extLst>
            </p:cNvPr>
            <p:cNvGrpSpPr/>
            <p:nvPr userDrawn="1"/>
          </p:nvGrpSpPr>
          <p:grpSpPr>
            <a:xfrm>
              <a:off x="12399099" y="4230487"/>
              <a:ext cx="2326813" cy="819975"/>
              <a:chOff x="12399099" y="4230487"/>
              <a:chExt cx="2326813" cy="819975"/>
            </a:xfrm>
          </p:grpSpPr>
          <p:sp>
            <p:nvSpPr>
              <p:cNvPr id="30" name="TextBox 29">
                <a:extLst>
                  <a:ext uri="{FF2B5EF4-FFF2-40B4-BE49-F238E27FC236}">
                    <a16:creationId xmlns:a16="http://schemas.microsoft.com/office/drawing/2014/main" id="{26E173BD-A419-5098-2F5D-9FB35391C17C}"/>
                  </a:ext>
                </a:extLst>
              </p:cNvPr>
              <p:cNvSpPr txBox="1"/>
              <p:nvPr userDrawn="1"/>
            </p:nvSpPr>
            <p:spPr>
              <a:xfrm flipH="1">
                <a:off x="12399100" y="4663953"/>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31" name="TextBox 30">
                <a:extLst>
                  <a:ext uri="{FF2B5EF4-FFF2-40B4-BE49-F238E27FC236}">
                    <a16:creationId xmlns:a16="http://schemas.microsoft.com/office/drawing/2014/main" id="{726CD54A-6D6A-E464-1579-C1316CCD6BB7}"/>
                  </a:ext>
                </a:extLst>
              </p:cNvPr>
              <p:cNvSpPr txBox="1"/>
              <p:nvPr userDrawn="1"/>
            </p:nvSpPr>
            <p:spPr>
              <a:xfrm flipH="1">
                <a:off x="12399100" y="4881185"/>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E</a:t>
                </a:r>
              </a:p>
            </p:txBody>
          </p:sp>
          <p:sp>
            <p:nvSpPr>
              <p:cNvPr id="32" name="TextBox 31">
                <a:extLst>
                  <a:ext uri="{FF2B5EF4-FFF2-40B4-BE49-F238E27FC236}">
                    <a16:creationId xmlns:a16="http://schemas.microsoft.com/office/drawing/2014/main" id="{603188E2-9B73-1109-6A3A-23227B5E6841}"/>
                  </a:ext>
                </a:extLst>
              </p:cNvPr>
              <p:cNvSpPr txBox="1"/>
              <p:nvPr userDrawn="1"/>
            </p:nvSpPr>
            <p:spPr>
              <a:xfrm flipH="1">
                <a:off x="12573262" y="4881185"/>
                <a:ext cx="2152650"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name.surname@hfw.com</a:t>
                </a:r>
                <a:endParaRPr lang="en-US" dirty="0"/>
              </a:p>
            </p:txBody>
          </p:sp>
          <p:sp>
            <p:nvSpPr>
              <p:cNvPr id="33" name="TextBox 32">
                <a:extLst>
                  <a:ext uri="{FF2B5EF4-FFF2-40B4-BE49-F238E27FC236}">
                    <a16:creationId xmlns:a16="http://schemas.microsoft.com/office/drawing/2014/main" id="{3A6BCFB1-A8A4-833C-C713-9210D97AC324}"/>
                  </a:ext>
                </a:extLst>
              </p:cNvPr>
              <p:cNvSpPr txBox="1"/>
              <p:nvPr userDrawn="1"/>
            </p:nvSpPr>
            <p:spPr>
              <a:xfrm flipH="1">
                <a:off x="12399099" y="4230487"/>
                <a:ext cx="1968833"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solidFill>
                      <a:schemeClr val="tx2"/>
                    </a:solidFill>
                    <a:latin typeface="+mj-lt"/>
                  </a:rPr>
                  <a:t>NAME SURNAME</a:t>
                </a:r>
              </a:p>
            </p:txBody>
          </p:sp>
          <p:sp>
            <p:nvSpPr>
              <p:cNvPr id="34" name="TextBox 33">
                <a:extLst>
                  <a:ext uri="{FF2B5EF4-FFF2-40B4-BE49-F238E27FC236}">
                    <a16:creationId xmlns:a16="http://schemas.microsoft.com/office/drawing/2014/main" id="{36BFC5D7-69B1-A4B8-8EAA-05F128EDBC25}"/>
                  </a:ext>
                </a:extLst>
              </p:cNvPr>
              <p:cNvSpPr txBox="1"/>
              <p:nvPr userDrawn="1"/>
            </p:nvSpPr>
            <p:spPr>
              <a:xfrm flipH="1">
                <a:off x="12399099" y="4445785"/>
                <a:ext cx="1968833"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US" dirty="0"/>
                  <a:t>Position, Location</a:t>
                </a:r>
              </a:p>
            </p:txBody>
          </p:sp>
        </p:grpSp>
      </p:grpSp>
    </p:spTree>
    <p:extLst>
      <p:ext uri="{BB962C8B-B14F-4D97-AF65-F5344CB8AC3E}">
        <p14:creationId xmlns:p14="http://schemas.microsoft.com/office/powerpoint/2010/main" val="4088854039"/>
      </p:ext>
    </p:extLst>
  </p:cSld>
  <p:clrMapOvr>
    <a:masterClrMapping/>
  </p:clrMapOvr>
  <p:transition spd="med">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hree col ">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7355A2E-0C24-4BF0-A392-C0768E5B90F4}"/>
              </a:ext>
            </a:extLst>
          </p:cNvPr>
          <p:cNvSpPr>
            <a:spLocks noGrp="1"/>
          </p:cNvSpPr>
          <p:nvPr>
            <p:ph idx="1"/>
          </p:nvPr>
        </p:nvSpPr>
        <p:spPr>
          <a:xfrm>
            <a:off x="479425" y="1341439"/>
            <a:ext cx="3600000" cy="478790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 Placeholder 13"/>
          <p:cNvSpPr>
            <a:spLocks noGrp="1"/>
          </p:cNvSpPr>
          <p:nvPr>
            <p:ph type="body" sz="quarter" idx="13" hasCustomPrompt="1"/>
          </p:nvPr>
        </p:nvSpPr>
        <p:spPr>
          <a:xfrm>
            <a:off x="7010273" y="765175"/>
            <a:ext cx="4680000" cy="288000"/>
          </a:xfrm>
        </p:spPr>
        <p:txBody>
          <a:bodyPr>
            <a:noAutofit/>
          </a:bodyPr>
          <a:lstStyle>
            <a:lvl1pPr marL="0" indent="0" algn="r">
              <a:lnSpc>
                <a:spcPct val="100000"/>
              </a:lnSpc>
              <a:spcBef>
                <a:spcPts val="0"/>
              </a:spcBef>
              <a:buNone/>
              <a:defRPr sz="2000" b="1" cap="all" baseline="0"/>
            </a:lvl1pPr>
            <a:lvl2pPr marL="0" indent="0" algn="r">
              <a:lnSpc>
                <a:spcPct val="100000"/>
              </a:lnSpc>
              <a:spcBef>
                <a:spcPts val="0"/>
              </a:spcBef>
              <a:buNone/>
              <a:defRPr sz="2000" b="1" cap="all" baseline="0"/>
            </a:lvl2pPr>
            <a:lvl3pPr marL="0" indent="0" algn="r">
              <a:lnSpc>
                <a:spcPct val="100000"/>
              </a:lnSpc>
              <a:spcBef>
                <a:spcPts val="0"/>
              </a:spcBef>
              <a:buNone/>
              <a:defRPr sz="2000" b="1" cap="all" baseline="0"/>
            </a:lvl3pPr>
            <a:lvl4pPr marL="0" indent="0" algn="r">
              <a:lnSpc>
                <a:spcPct val="100000"/>
              </a:lnSpc>
              <a:spcBef>
                <a:spcPts val="0"/>
              </a:spcBef>
              <a:buNone/>
              <a:defRPr sz="2000" b="1" cap="all" baseline="0"/>
            </a:lvl4pPr>
            <a:lvl5pPr marL="0" indent="0" algn="r">
              <a:lnSpc>
                <a:spcPct val="100000"/>
              </a:lnSpc>
              <a:spcBef>
                <a:spcPts val="0"/>
              </a:spcBef>
              <a:buNone/>
              <a:defRPr sz="2000" b="1" cap="all" baseline="0"/>
            </a:lvl5pPr>
          </a:lstStyle>
          <a:p>
            <a:pPr lvl="0"/>
            <a:r>
              <a:rPr lang="en-US" dirty="0"/>
              <a:t>Click to add sub title</a:t>
            </a:r>
            <a:endParaRPr lang="en-GB" dirty="0"/>
          </a:p>
        </p:txBody>
      </p:sp>
      <p:sp>
        <p:nvSpPr>
          <p:cNvPr id="17" name="Title 16"/>
          <p:cNvSpPr>
            <a:spLocks noGrp="1"/>
          </p:cNvSpPr>
          <p:nvPr>
            <p:ph type="title" hasCustomPrompt="1"/>
          </p:nvPr>
        </p:nvSpPr>
        <p:spPr>
          <a:xfrm>
            <a:off x="7009123" y="450679"/>
            <a:ext cx="4681151" cy="288000"/>
          </a:xfrm>
        </p:spPr>
        <p:txBody>
          <a:bodyPr/>
          <a:lstStyle>
            <a:lvl1pPr>
              <a:defRPr>
                <a:solidFill>
                  <a:schemeClr val="accent3"/>
                </a:solidFill>
              </a:defRPr>
            </a:lvl1pPr>
          </a:lstStyle>
          <a:p>
            <a:r>
              <a:rPr lang="en-US" dirty="0"/>
              <a:t>Click to add title</a:t>
            </a:r>
            <a:endParaRPr lang="en-GB" dirty="0"/>
          </a:p>
        </p:txBody>
      </p:sp>
      <p:sp>
        <p:nvSpPr>
          <p:cNvPr id="11" name="Content Placeholder 2">
            <a:extLst>
              <a:ext uri="{FF2B5EF4-FFF2-40B4-BE49-F238E27FC236}">
                <a16:creationId xmlns:a16="http://schemas.microsoft.com/office/drawing/2014/main" id="{F7355A2E-0C24-4BF0-A392-C0768E5B90F4}"/>
              </a:ext>
            </a:extLst>
          </p:cNvPr>
          <p:cNvSpPr>
            <a:spLocks noGrp="1"/>
          </p:cNvSpPr>
          <p:nvPr>
            <p:ph idx="14"/>
          </p:nvPr>
        </p:nvSpPr>
        <p:spPr>
          <a:xfrm>
            <a:off x="4284849" y="1341439"/>
            <a:ext cx="3600000" cy="478790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Content Placeholder 2">
            <a:extLst>
              <a:ext uri="{FF2B5EF4-FFF2-40B4-BE49-F238E27FC236}">
                <a16:creationId xmlns:a16="http://schemas.microsoft.com/office/drawing/2014/main" id="{F7355A2E-0C24-4BF0-A392-C0768E5B90F4}"/>
              </a:ext>
            </a:extLst>
          </p:cNvPr>
          <p:cNvSpPr>
            <a:spLocks noGrp="1"/>
          </p:cNvSpPr>
          <p:nvPr>
            <p:ph idx="15"/>
          </p:nvPr>
        </p:nvSpPr>
        <p:spPr>
          <a:xfrm>
            <a:off x="8090273" y="1341439"/>
            <a:ext cx="3600000" cy="478790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7" name="Straight Connector 6"/>
          <p:cNvCxnSpPr/>
          <p:nvPr userDrawn="1"/>
        </p:nvCxnSpPr>
        <p:spPr>
          <a:xfrm>
            <a:off x="479426" y="6300000"/>
            <a:ext cx="11233151" cy="0"/>
          </a:xfrm>
          <a:prstGeom prst="line">
            <a:avLst/>
          </a:prstGeom>
          <a:ln>
            <a:solidFill>
              <a:srgbClr val="9EA9B2"/>
            </a:solidFill>
          </a:ln>
        </p:spPr>
        <p:style>
          <a:lnRef idx="1">
            <a:schemeClr val="accent1"/>
          </a:lnRef>
          <a:fillRef idx="0">
            <a:schemeClr val="accent1"/>
          </a:fillRef>
          <a:effectRef idx="0">
            <a:schemeClr val="accent1"/>
          </a:effectRef>
          <a:fontRef idx="minor">
            <a:schemeClr val="tx1"/>
          </a:fontRef>
        </p:style>
      </p:cxnSp>
      <p:sp>
        <p:nvSpPr>
          <p:cNvPr id="9" name="Slide Number Placeholder 8"/>
          <p:cNvSpPr>
            <a:spLocks noGrp="1"/>
          </p:cNvSpPr>
          <p:nvPr>
            <p:ph type="sldNum" sz="quarter" idx="21"/>
          </p:nvPr>
        </p:nvSpPr>
        <p:spPr/>
        <p:txBody>
          <a:bodyPr/>
          <a:lstStyle/>
          <a:p>
            <a:fld id="{7DAB47CC-2047-4FFE-9F3B-6C9AB62C3816}" type="slidenum">
              <a:rPr lang="en-GB" smtClean="0"/>
              <a:pPr/>
              <a:t>‹#›</a:t>
            </a:fld>
            <a:endParaRPr lang="en-GB"/>
          </a:p>
        </p:txBody>
      </p:sp>
    </p:spTree>
    <p:extLst>
      <p:ext uri="{BB962C8B-B14F-4D97-AF65-F5344CB8AC3E}">
        <p14:creationId xmlns:p14="http://schemas.microsoft.com/office/powerpoint/2010/main" val="662452529"/>
      </p:ext>
    </p:extLst>
  </p:cSld>
  <p:clrMapOvr>
    <a:masterClrMapping/>
  </p:clrMapOvr>
  <p:extLst>
    <p:ext uri="{DCECCB84-F9BA-43D5-87BE-67443E8EF086}">
      <p15:sldGuideLst xmlns:p15="http://schemas.microsoft.com/office/powerpoint/2012/main">
        <p15:guide id="1" orient="horz" pos="845">
          <p15:clr>
            <a:srgbClr val="FBAE40"/>
          </p15:clr>
        </p15:guide>
        <p15:guide id="2" pos="7378">
          <p15:clr>
            <a:srgbClr val="FBAE40"/>
          </p15:clr>
        </p15:guide>
        <p15:guide id="3" orient="horz" pos="3861">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hree col with imag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7355A2E-0C24-4BF0-A392-C0768E5B90F4}"/>
              </a:ext>
            </a:extLst>
          </p:cNvPr>
          <p:cNvSpPr>
            <a:spLocks noGrp="1"/>
          </p:cNvSpPr>
          <p:nvPr>
            <p:ph idx="1"/>
          </p:nvPr>
        </p:nvSpPr>
        <p:spPr>
          <a:xfrm>
            <a:off x="479425" y="1341439"/>
            <a:ext cx="3600000" cy="478790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 Placeholder 13"/>
          <p:cNvSpPr>
            <a:spLocks noGrp="1"/>
          </p:cNvSpPr>
          <p:nvPr>
            <p:ph type="body" sz="quarter" idx="13" hasCustomPrompt="1"/>
          </p:nvPr>
        </p:nvSpPr>
        <p:spPr>
          <a:xfrm>
            <a:off x="7010273" y="765175"/>
            <a:ext cx="4680000" cy="288000"/>
          </a:xfrm>
        </p:spPr>
        <p:txBody>
          <a:bodyPr>
            <a:noAutofit/>
          </a:bodyPr>
          <a:lstStyle>
            <a:lvl1pPr marL="0" indent="0" algn="r">
              <a:lnSpc>
                <a:spcPct val="100000"/>
              </a:lnSpc>
              <a:spcBef>
                <a:spcPts val="0"/>
              </a:spcBef>
              <a:buNone/>
              <a:defRPr sz="2000" b="1" cap="all" baseline="0"/>
            </a:lvl1pPr>
            <a:lvl2pPr marL="0" indent="0" algn="r">
              <a:lnSpc>
                <a:spcPct val="100000"/>
              </a:lnSpc>
              <a:spcBef>
                <a:spcPts val="0"/>
              </a:spcBef>
              <a:buNone/>
              <a:defRPr sz="2000" b="1" cap="all" baseline="0"/>
            </a:lvl2pPr>
            <a:lvl3pPr marL="0" indent="0" algn="r">
              <a:lnSpc>
                <a:spcPct val="100000"/>
              </a:lnSpc>
              <a:spcBef>
                <a:spcPts val="0"/>
              </a:spcBef>
              <a:buNone/>
              <a:defRPr sz="2000" b="1" cap="all" baseline="0"/>
            </a:lvl3pPr>
            <a:lvl4pPr marL="0" indent="0" algn="r">
              <a:lnSpc>
                <a:spcPct val="100000"/>
              </a:lnSpc>
              <a:spcBef>
                <a:spcPts val="0"/>
              </a:spcBef>
              <a:buNone/>
              <a:defRPr sz="2000" b="1" cap="all" baseline="0"/>
            </a:lvl4pPr>
            <a:lvl5pPr marL="0" indent="0" algn="r">
              <a:lnSpc>
                <a:spcPct val="100000"/>
              </a:lnSpc>
              <a:spcBef>
                <a:spcPts val="0"/>
              </a:spcBef>
              <a:buNone/>
              <a:defRPr sz="2000" b="1" cap="all" baseline="0"/>
            </a:lvl5pPr>
          </a:lstStyle>
          <a:p>
            <a:pPr lvl="0"/>
            <a:r>
              <a:rPr lang="en-US" dirty="0"/>
              <a:t>Click to add sub title</a:t>
            </a:r>
            <a:endParaRPr lang="en-GB" dirty="0"/>
          </a:p>
        </p:txBody>
      </p:sp>
      <p:sp>
        <p:nvSpPr>
          <p:cNvPr id="17" name="Title 16"/>
          <p:cNvSpPr>
            <a:spLocks noGrp="1"/>
          </p:cNvSpPr>
          <p:nvPr>
            <p:ph type="title" hasCustomPrompt="1"/>
          </p:nvPr>
        </p:nvSpPr>
        <p:spPr>
          <a:xfrm>
            <a:off x="7009123" y="450679"/>
            <a:ext cx="4681151" cy="288000"/>
          </a:xfrm>
        </p:spPr>
        <p:txBody>
          <a:bodyPr/>
          <a:lstStyle>
            <a:lvl1pPr>
              <a:defRPr>
                <a:solidFill>
                  <a:schemeClr val="accent3"/>
                </a:solidFill>
              </a:defRPr>
            </a:lvl1pPr>
          </a:lstStyle>
          <a:p>
            <a:r>
              <a:rPr lang="en-US" dirty="0"/>
              <a:t>Click to add title</a:t>
            </a:r>
            <a:endParaRPr lang="en-GB" dirty="0"/>
          </a:p>
        </p:txBody>
      </p:sp>
      <p:sp>
        <p:nvSpPr>
          <p:cNvPr id="11" name="Content Placeholder 2">
            <a:extLst>
              <a:ext uri="{FF2B5EF4-FFF2-40B4-BE49-F238E27FC236}">
                <a16:creationId xmlns:a16="http://schemas.microsoft.com/office/drawing/2014/main" id="{F7355A2E-0C24-4BF0-A392-C0768E5B90F4}"/>
              </a:ext>
            </a:extLst>
          </p:cNvPr>
          <p:cNvSpPr>
            <a:spLocks noGrp="1"/>
          </p:cNvSpPr>
          <p:nvPr>
            <p:ph idx="14"/>
          </p:nvPr>
        </p:nvSpPr>
        <p:spPr>
          <a:xfrm>
            <a:off x="4284849" y="1341439"/>
            <a:ext cx="3600000" cy="478790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7" name="Straight Connector 6"/>
          <p:cNvCxnSpPr/>
          <p:nvPr userDrawn="1"/>
        </p:nvCxnSpPr>
        <p:spPr>
          <a:xfrm>
            <a:off x="479426" y="6300000"/>
            <a:ext cx="11233151" cy="0"/>
          </a:xfrm>
          <a:prstGeom prst="line">
            <a:avLst/>
          </a:prstGeom>
          <a:ln>
            <a:solidFill>
              <a:srgbClr val="9EA9B2"/>
            </a:solidFill>
          </a:ln>
        </p:spPr>
        <p:style>
          <a:lnRef idx="1">
            <a:schemeClr val="accent1"/>
          </a:lnRef>
          <a:fillRef idx="0">
            <a:schemeClr val="accent1"/>
          </a:fillRef>
          <a:effectRef idx="0">
            <a:schemeClr val="accent1"/>
          </a:effectRef>
          <a:fontRef idx="minor">
            <a:schemeClr val="tx1"/>
          </a:fontRef>
        </p:style>
      </p:cxnSp>
      <p:sp>
        <p:nvSpPr>
          <p:cNvPr id="9" name="Slide Number Placeholder 8"/>
          <p:cNvSpPr>
            <a:spLocks noGrp="1"/>
          </p:cNvSpPr>
          <p:nvPr>
            <p:ph type="sldNum" sz="quarter" idx="21"/>
          </p:nvPr>
        </p:nvSpPr>
        <p:spPr/>
        <p:txBody>
          <a:bodyPr/>
          <a:lstStyle/>
          <a:p>
            <a:fld id="{7DAB47CC-2047-4FFE-9F3B-6C9AB62C3816}" type="slidenum">
              <a:rPr lang="en-GB" smtClean="0"/>
              <a:pPr/>
              <a:t>‹#›</a:t>
            </a:fld>
            <a:endParaRPr lang="en-GB"/>
          </a:p>
        </p:txBody>
      </p:sp>
      <p:sp>
        <p:nvSpPr>
          <p:cNvPr id="4" name="Picture Placeholder 3"/>
          <p:cNvSpPr>
            <a:spLocks noGrp="1"/>
          </p:cNvSpPr>
          <p:nvPr>
            <p:ph type="pic" sz="quarter" idx="22"/>
          </p:nvPr>
        </p:nvSpPr>
        <p:spPr>
          <a:xfrm>
            <a:off x="8092800" y="1341965"/>
            <a:ext cx="3600000" cy="4790400"/>
          </a:xfrm>
        </p:spPr>
        <p:txBody>
          <a:bodyPr/>
          <a:lstStyle/>
          <a:p>
            <a:endParaRPr lang="en-GB" dirty="0"/>
          </a:p>
        </p:txBody>
      </p:sp>
    </p:spTree>
    <p:extLst>
      <p:ext uri="{BB962C8B-B14F-4D97-AF65-F5344CB8AC3E}">
        <p14:creationId xmlns:p14="http://schemas.microsoft.com/office/powerpoint/2010/main" val="2217147714"/>
      </p:ext>
    </p:extLst>
  </p:cSld>
  <p:clrMapOvr>
    <a:masterClrMapping/>
  </p:clrMapOvr>
  <p:extLst>
    <p:ext uri="{DCECCB84-F9BA-43D5-87BE-67443E8EF086}">
      <p15:sldGuideLst xmlns:p15="http://schemas.microsoft.com/office/powerpoint/2012/main">
        <p15:guide id="1" orient="horz" pos="845">
          <p15:clr>
            <a:srgbClr val="FBAE40"/>
          </p15:clr>
        </p15:guide>
        <p15:guide id="2" pos="7378">
          <p15:clr>
            <a:srgbClr val="FBAE40"/>
          </p15:clr>
        </p15:guide>
        <p15:guide id="3" orient="horz" pos="3861">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Three col reverse colour">
    <p:bg>
      <p:bgPr>
        <a:solidFill>
          <a:schemeClr val="accent3"/>
        </a:solidFill>
        <a:effectLst/>
      </p:bgPr>
    </p:bg>
    <p:spTree>
      <p:nvGrpSpPr>
        <p:cNvPr id="1" name=""/>
        <p:cNvGrpSpPr/>
        <p:nvPr/>
      </p:nvGrpSpPr>
      <p:grpSpPr>
        <a:xfrm>
          <a:off x="0" y="0"/>
          <a:ext cx="0" cy="0"/>
          <a:chOff x="0" y="0"/>
          <a:chExt cx="0" cy="0"/>
        </a:xfrm>
      </p:grpSpPr>
      <p:sp>
        <p:nvSpPr>
          <p:cNvPr id="14" name="Text Placeholder 13"/>
          <p:cNvSpPr>
            <a:spLocks noGrp="1"/>
          </p:cNvSpPr>
          <p:nvPr>
            <p:ph type="body" sz="quarter" idx="13" hasCustomPrompt="1"/>
          </p:nvPr>
        </p:nvSpPr>
        <p:spPr>
          <a:xfrm>
            <a:off x="7010273" y="765175"/>
            <a:ext cx="4680000" cy="288000"/>
          </a:xfrm>
        </p:spPr>
        <p:txBody>
          <a:bodyPr>
            <a:noAutofit/>
          </a:bodyPr>
          <a:lstStyle>
            <a:lvl1pPr marL="0" indent="0" algn="r">
              <a:lnSpc>
                <a:spcPct val="100000"/>
              </a:lnSpc>
              <a:spcBef>
                <a:spcPts val="0"/>
              </a:spcBef>
              <a:buNone/>
              <a:defRPr sz="2000" b="1" cap="all" baseline="0">
                <a:solidFill>
                  <a:schemeClr val="bg1"/>
                </a:solidFill>
              </a:defRPr>
            </a:lvl1pPr>
            <a:lvl2pPr marL="0" indent="0" algn="r">
              <a:lnSpc>
                <a:spcPct val="100000"/>
              </a:lnSpc>
              <a:spcBef>
                <a:spcPts val="0"/>
              </a:spcBef>
              <a:buNone/>
              <a:defRPr sz="2000" b="1" cap="all" baseline="0"/>
            </a:lvl2pPr>
            <a:lvl3pPr marL="0" indent="0" algn="r">
              <a:lnSpc>
                <a:spcPct val="100000"/>
              </a:lnSpc>
              <a:spcBef>
                <a:spcPts val="0"/>
              </a:spcBef>
              <a:buNone/>
              <a:defRPr sz="2000" b="1" cap="all" baseline="0"/>
            </a:lvl3pPr>
            <a:lvl4pPr marL="0" indent="0" algn="r">
              <a:lnSpc>
                <a:spcPct val="100000"/>
              </a:lnSpc>
              <a:spcBef>
                <a:spcPts val="0"/>
              </a:spcBef>
              <a:buNone/>
              <a:defRPr sz="2000" b="1" cap="all" baseline="0"/>
            </a:lvl4pPr>
            <a:lvl5pPr marL="0" indent="0" algn="r">
              <a:lnSpc>
                <a:spcPct val="100000"/>
              </a:lnSpc>
              <a:spcBef>
                <a:spcPts val="0"/>
              </a:spcBef>
              <a:buNone/>
              <a:defRPr sz="2000" b="1" cap="all" baseline="0"/>
            </a:lvl5pPr>
          </a:lstStyle>
          <a:p>
            <a:pPr lvl="0"/>
            <a:r>
              <a:rPr lang="en-US" dirty="0"/>
              <a:t>Click to add sub title</a:t>
            </a:r>
            <a:endParaRPr lang="en-GB" dirty="0"/>
          </a:p>
        </p:txBody>
      </p:sp>
      <p:sp>
        <p:nvSpPr>
          <p:cNvPr id="17" name="Title 16"/>
          <p:cNvSpPr>
            <a:spLocks noGrp="1"/>
          </p:cNvSpPr>
          <p:nvPr>
            <p:ph type="title" hasCustomPrompt="1"/>
          </p:nvPr>
        </p:nvSpPr>
        <p:spPr>
          <a:xfrm>
            <a:off x="7009123" y="450679"/>
            <a:ext cx="4681151" cy="288000"/>
          </a:xfrm>
        </p:spPr>
        <p:txBody>
          <a:bodyPr/>
          <a:lstStyle>
            <a:lvl1pPr>
              <a:defRPr>
                <a:solidFill>
                  <a:schemeClr val="bg1"/>
                </a:solidFill>
              </a:defRPr>
            </a:lvl1pPr>
          </a:lstStyle>
          <a:p>
            <a:r>
              <a:rPr lang="en-US" dirty="0"/>
              <a:t>Click to add title</a:t>
            </a:r>
            <a:endParaRPr lang="en-GB" dirty="0"/>
          </a:p>
        </p:txBody>
      </p:sp>
      <p:cxnSp>
        <p:nvCxnSpPr>
          <p:cNvPr id="7" name="Straight Connector 6"/>
          <p:cNvCxnSpPr/>
          <p:nvPr userDrawn="1"/>
        </p:nvCxnSpPr>
        <p:spPr>
          <a:xfrm>
            <a:off x="479426" y="6300000"/>
            <a:ext cx="1123315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9" name="Slide Number Placeholder 8"/>
          <p:cNvSpPr>
            <a:spLocks noGrp="1"/>
          </p:cNvSpPr>
          <p:nvPr>
            <p:ph type="sldNum" sz="quarter" idx="21"/>
          </p:nvPr>
        </p:nvSpPr>
        <p:spPr/>
        <p:txBody>
          <a:bodyPr/>
          <a:lstStyle>
            <a:lvl1pPr>
              <a:defRPr>
                <a:solidFill>
                  <a:schemeClr val="bg1"/>
                </a:solidFill>
              </a:defRPr>
            </a:lvl1pPr>
          </a:lstStyle>
          <a:p>
            <a:fld id="{7DAB47CC-2047-4FFE-9F3B-6C9AB62C3816}" type="slidenum">
              <a:rPr lang="en-GB" smtClean="0"/>
              <a:pPr/>
              <a:t>‹#›</a:t>
            </a:fld>
            <a:endParaRPr lang="en-GB"/>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79426" y="432156"/>
            <a:ext cx="1202393" cy="728592"/>
          </a:xfrm>
          <a:prstGeom prst="rect">
            <a:avLst/>
          </a:prstGeom>
        </p:spPr>
      </p:pic>
      <p:sp>
        <p:nvSpPr>
          <p:cNvPr id="15" name="Content Placeholder 2">
            <a:extLst>
              <a:ext uri="{FF2B5EF4-FFF2-40B4-BE49-F238E27FC236}">
                <a16:creationId xmlns:a16="http://schemas.microsoft.com/office/drawing/2014/main" id="{F7355A2E-0C24-4BF0-A392-C0768E5B90F4}"/>
              </a:ext>
            </a:extLst>
          </p:cNvPr>
          <p:cNvSpPr>
            <a:spLocks noGrp="1"/>
          </p:cNvSpPr>
          <p:nvPr>
            <p:ph idx="22" hasCustomPrompt="1"/>
          </p:nvPr>
        </p:nvSpPr>
        <p:spPr>
          <a:xfrm>
            <a:off x="480000" y="1344001"/>
            <a:ext cx="3600000" cy="4787900"/>
          </a:xfrm>
        </p:spPr>
        <p:txBody>
          <a:bodyPr/>
          <a:lstStyle>
            <a:lvl1pPr>
              <a:defRPr>
                <a:solidFill>
                  <a:schemeClr val="bg1"/>
                </a:solidFill>
              </a:defRPr>
            </a:lvl1pPr>
            <a:lvl2pPr>
              <a:defRPr b="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a:t>
            </a:r>
          </a:p>
          <a:p>
            <a:pPr lvl="6"/>
            <a:r>
              <a:rPr lang="en-US" dirty="0"/>
              <a:t>Seven</a:t>
            </a:r>
          </a:p>
          <a:p>
            <a:pPr lvl="7"/>
            <a:r>
              <a:rPr lang="en-US" dirty="0"/>
              <a:t>Eight</a:t>
            </a:r>
          </a:p>
          <a:p>
            <a:pPr lvl="8"/>
            <a:r>
              <a:rPr lang="en-US" dirty="0"/>
              <a:t>Nine</a:t>
            </a:r>
          </a:p>
        </p:txBody>
      </p:sp>
      <p:sp>
        <p:nvSpPr>
          <p:cNvPr id="20" name="Content Placeholder 2">
            <a:extLst>
              <a:ext uri="{FF2B5EF4-FFF2-40B4-BE49-F238E27FC236}">
                <a16:creationId xmlns:a16="http://schemas.microsoft.com/office/drawing/2014/main" id="{F7355A2E-0C24-4BF0-A392-C0768E5B90F4}"/>
              </a:ext>
            </a:extLst>
          </p:cNvPr>
          <p:cNvSpPr>
            <a:spLocks noGrp="1"/>
          </p:cNvSpPr>
          <p:nvPr>
            <p:ph idx="23" hasCustomPrompt="1"/>
          </p:nvPr>
        </p:nvSpPr>
        <p:spPr>
          <a:xfrm>
            <a:off x="4286400" y="1344001"/>
            <a:ext cx="3600000" cy="4787900"/>
          </a:xfrm>
        </p:spPr>
        <p:txBody>
          <a:bodyPr/>
          <a:lstStyle>
            <a:lvl1pPr>
              <a:defRPr>
                <a:solidFill>
                  <a:schemeClr val="bg1"/>
                </a:solidFill>
              </a:defRPr>
            </a:lvl1pPr>
            <a:lvl2pPr>
              <a:defRPr b="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a:t>
            </a:r>
          </a:p>
          <a:p>
            <a:pPr lvl="6"/>
            <a:r>
              <a:rPr lang="en-US" dirty="0"/>
              <a:t>Seven</a:t>
            </a:r>
          </a:p>
          <a:p>
            <a:pPr lvl="7"/>
            <a:r>
              <a:rPr lang="en-US" dirty="0"/>
              <a:t>Eight</a:t>
            </a:r>
          </a:p>
          <a:p>
            <a:pPr lvl="8"/>
            <a:r>
              <a:rPr lang="en-US" dirty="0"/>
              <a:t>Nine</a:t>
            </a:r>
          </a:p>
        </p:txBody>
      </p:sp>
      <p:sp>
        <p:nvSpPr>
          <p:cNvPr id="10" name="Content Placeholder 2">
            <a:extLst>
              <a:ext uri="{FF2B5EF4-FFF2-40B4-BE49-F238E27FC236}">
                <a16:creationId xmlns:a16="http://schemas.microsoft.com/office/drawing/2014/main" id="{F7355A2E-0C24-4BF0-A392-C0768E5B90F4}"/>
              </a:ext>
            </a:extLst>
          </p:cNvPr>
          <p:cNvSpPr>
            <a:spLocks noGrp="1"/>
          </p:cNvSpPr>
          <p:nvPr>
            <p:ph idx="24" hasCustomPrompt="1"/>
          </p:nvPr>
        </p:nvSpPr>
        <p:spPr>
          <a:xfrm>
            <a:off x="8090273" y="1344001"/>
            <a:ext cx="3600000" cy="4787900"/>
          </a:xfrm>
        </p:spPr>
        <p:txBody>
          <a:bodyPr/>
          <a:lstStyle>
            <a:lvl1pPr>
              <a:defRPr>
                <a:solidFill>
                  <a:schemeClr val="bg1"/>
                </a:solidFill>
              </a:defRPr>
            </a:lvl1pPr>
            <a:lvl2pPr>
              <a:defRPr b="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a:t>
            </a:r>
          </a:p>
          <a:p>
            <a:pPr lvl="6"/>
            <a:r>
              <a:rPr lang="en-US" dirty="0"/>
              <a:t>Seven</a:t>
            </a:r>
          </a:p>
          <a:p>
            <a:pPr lvl="7"/>
            <a:r>
              <a:rPr lang="en-US" dirty="0"/>
              <a:t>Eight</a:t>
            </a:r>
          </a:p>
          <a:p>
            <a:pPr lvl="8"/>
            <a:r>
              <a:rPr lang="en-US" dirty="0"/>
              <a:t>Nine</a:t>
            </a:r>
          </a:p>
        </p:txBody>
      </p:sp>
    </p:spTree>
    <p:extLst>
      <p:ext uri="{BB962C8B-B14F-4D97-AF65-F5344CB8AC3E}">
        <p14:creationId xmlns:p14="http://schemas.microsoft.com/office/powerpoint/2010/main" val="3281005574"/>
      </p:ext>
    </p:extLst>
  </p:cSld>
  <p:clrMapOvr>
    <a:masterClrMapping/>
  </p:clrMapOvr>
  <p:extLst>
    <p:ext uri="{DCECCB84-F9BA-43D5-87BE-67443E8EF086}">
      <p15:sldGuideLst xmlns:p15="http://schemas.microsoft.com/office/powerpoint/2012/main">
        <p15:guide id="1" orient="horz" pos="845">
          <p15:clr>
            <a:srgbClr val="FBAE40"/>
          </p15:clr>
        </p15:guide>
        <p15:guide id="2" pos="7378">
          <p15:clr>
            <a:srgbClr val="FBAE40"/>
          </p15:clr>
        </p15:guide>
        <p15:guide id="3" orient="horz" pos="3861">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Three col reverse colour with image">
    <p:bg>
      <p:bgPr>
        <a:solidFill>
          <a:schemeClr val="accent3"/>
        </a:solidFill>
        <a:effectLst/>
      </p:bgPr>
    </p:bg>
    <p:spTree>
      <p:nvGrpSpPr>
        <p:cNvPr id="1" name=""/>
        <p:cNvGrpSpPr/>
        <p:nvPr/>
      </p:nvGrpSpPr>
      <p:grpSpPr>
        <a:xfrm>
          <a:off x="0" y="0"/>
          <a:ext cx="0" cy="0"/>
          <a:chOff x="0" y="0"/>
          <a:chExt cx="0" cy="0"/>
        </a:xfrm>
      </p:grpSpPr>
      <p:sp>
        <p:nvSpPr>
          <p:cNvPr id="14" name="Text Placeholder 13"/>
          <p:cNvSpPr>
            <a:spLocks noGrp="1"/>
          </p:cNvSpPr>
          <p:nvPr>
            <p:ph type="body" sz="quarter" idx="13" hasCustomPrompt="1"/>
          </p:nvPr>
        </p:nvSpPr>
        <p:spPr>
          <a:xfrm>
            <a:off x="7010273" y="765175"/>
            <a:ext cx="4680000" cy="288000"/>
          </a:xfrm>
        </p:spPr>
        <p:txBody>
          <a:bodyPr>
            <a:noAutofit/>
          </a:bodyPr>
          <a:lstStyle>
            <a:lvl1pPr marL="0" indent="0" algn="r">
              <a:lnSpc>
                <a:spcPct val="100000"/>
              </a:lnSpc>
              <a:spcBef>
                <a:spcPts val="0"/>
              </a:spcBef>
              <a:buNone/>
              <a:defRPr sz="2000" b="1" cap="all" baseline="0">
                <a:solidFill>
                  <a:schemeClr val="bg1"/>
                </a:solidFill>
              </a:defRPr>
            </a:lvl1pPr>
            <a:lvl2pPr marL="0" indent="0" algn="r">
              <a:lnSpc>
                <a:spcPct val="100000"/>
              </a:lnSpc>
              <a:spcBef>
                <a:spcPts val="0"/>
              </a:spcBef>
              <a:buNone/>
              <a:defRPr sz="2000" b="1" cap="all" baseline="0"/>
            </a:lvl2pPr>
            <a:lvl3pPr marL="0" indent="0" algn="r">
              <a:lnSpc>
                <a:spcPct val="100000"/>
              </a:lnSpc>
              <a:spcBef>
                <a:spcPts val="0"/>
              </a:spcBef>
              <a:buNone/>
              <a:defRPr sz="2000" b="1" cap="all" baseline="0"/>
            </a:lvl3pPr>
            <a:lvl4pPr marL="0" indent="0" algn="r">
              <a:lnSpc>
                <a:spcPct val="100000"/>
              </a:lnSpc>
              <a:spcBef>
                <a:spcPts val="0"/>
              </a:spcBef>
              <a:buNone/>
              <a:defRPr sz="2000" b="1" cap="all" baseline="0"/>
            </a:lvl4pPr>
            <a:lvl5pPr marL="0" indent="0" algn="r">
              <a:lnSpc>
                <a:spcPct val="100000"/>
              </a:lnSpc>
              <a:spcBef>
                <a:spcPts val="0"/>
              </a:spcBef>
              <a:buNone/>
              <a:defRPr sz="2000" b="1" cap="all" baseline="0"/>
            </a:lvl5pPr>
          </a:lstStyle>
          <a:p>
            <a:pPr lvl="0"/>
            <a:r>
              <a:rPr lang="en-US" dirty="0"/>
              <a:t>Click to add sub title</a:t>
            </a:r>
            <a:endParaRPr lang="en-GB" dirty="0"/>
          </a:p>
        </p:txBody>
      </p:sp>
      <p:sp>
        <p:nvSpPr>
          <p:cNvPr id="17" name="Title 16"/>
          <p:cNvSpPr>
            <a:spLocks noGrp="1"/>
          </p:cNvSpPr>
          <p:nvPr>
            <p:ph type="title" hasCustomPrompt="1"/>
          </p:nvPr>
        </p:nvSpPr>
        <p:spPr>
          <a:xfrm>
            <a:off x="7009123" y="450679"/>
            <a:ext cx="4681151" cy="288000"/>
          </a:xfrm>
        </p:spPr>
        <p:txBody>
          <a:bodyPr/>
          <a:lstStyle>
            <a:lvl1pPr>
              <a:defRPr>
                <a:solidFill>
                  <a:schemeClr val="bg1"/>
                </a:solidFill>
              </a:defRPr>
            </a:lvl1pPr>
          </a:lstStyle>
          <a:p>
            <a:r>
              <a:rPr lang="en-US" dirty="0"/>
              <a:t>Click to add title</a:t>
            </a:r>
            <a:endParaRPr lang="en-GB" dirty="0"/>
          </a:p>
        </p:txBody>
      </p:sp>
      <p:cxnSp>
        <p:nvCxnSpPr>
          <p:cNvPr id="7" name="Straight Connector 6"/>
          <p:cNvCxnSpPr/>
          <p:nvPr userDrawn="1"/>
        </p:nvCxnSpPr>
        <p:spPr>
          <a:xfrm>
            <a:off x="479426" y="6300000"/>
            <a:ext cx="1123315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9" name="Slide Number Placeholder 8"/>
          <p:cNvSpPr>
            <a:spLocks noGrp="1"/>
          </p:cNvSpPr>
          <p:nvPr>
            <p:ph type="sldNum" sz="quarter" idx="21"/>
          </p:nvPr>
        </p:nvSpPr>
        <p:spPr/>
        <p:txBody>
          <a:bodyPr/>
          <a:lstStyle>
            <a:lvl1pPr>
              <a:defRPr>
                <a:solidFill>
                  <a:schemeClr val="bg1"/>
                </a:solidFill>
              </a:defRPr>
            </a:lvl1pPr>
          </a:lstStyle>
          <a:p>
            <a:fld id="{7DAB47CC-2047-4FFE-9F3B-6C9AB62C3816}" type="slidenum">
              <a:rPr lang="en-GB" smtClean="0"/>
              <a:pPr/>
              <a:t>‹#›</a:t>
            </a:fld>
            <a:endParaRPr lang="en-GB"/>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79426" y="432156"/>
            <a:ext cx="1202393" cy="728592"/>
          </a:xfrm>
          <a:prstGeom prst="rect">
            <a:avLst/>
          </a:prstGeom>
        </p:spPr>
      </p:pic>
      <p:sp>
        <p:nvSpPr>
          <p:cNvPr id="15" name="Content Placeholder 2">
            <a:extLst>
              <a:ext uri="{FF2B5EF4-FFF2-40B4-BE49-F238E27FC236}">
                <a16:creationId xmlns:a16="http://schemas.microsoft.com/office/drawing/2014/main" id="{F7355A2E-0C24-4BF0-A392-C0768E5B90F4}"/>
              </a:ext>
            </a:extLst>
          </p:cNvPr>
          <p:cNvSpPr>
            <a:spLocks noGrp="1"/>
          </p:cNvSpPr>
          <p:nvPr>
            <p:ph idx="22" hasCustomPrompt="1"/>
          </p:nvPr>
        </p:nvSpPr>
        <p:spPr>
          <a:xfrm>
            <a:off x="480000" y="1341965"/>
            <a:ext cx="3600000" cy="4790400"/>
          </a:xfrm>
        </p:spPr>
        <p:txBody>
          <a:bodyPr/>
          <a:lstStyle>
            <a:lvl1pPr>
              <a:defRPr>
                <a:solidFill>
                  <a:schemeClr val="bg1"/>
                </a:solidFill>
              </a:defRPr>
            </a:lvl1pPr>
            <a:lvl2pPr>
              <a:defRPr b="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a:t>
            </a:r>
          </a:p>
          <a:p>
            <a:pPr lvl="6"/>
            <a:r>
              <a:rPr lang="en-US" dirty="0"/>
              <a:t>Seven</a:t>
            </a:r>
          </a:p>
          <a:p>
            <a:pPr lvl="7"/>
            <a:r>
              <a:rPr lang="en-US" dirty="0"/>
              <a:t>Eight</a:t>
            </a:r>
          </a:p>
          <a:p>
            <a:pPr lvl="8"/>
            <a:r>
              <a:rPr lang="en-US" dirty="0"/>
              <a:t>Nine</a:t>
            </a:r>
          </a:p>
        </p:txBody>
      </p:sp>
      <p:sp>
        <p:nvSpPr>
          <p:cNvPr id="10" name="Picture Placeholder 3"/>
          <p:cNvSpPr>
            <a:spLocks noGrp="1"/>
          </p:cNvSpPr>
          <p:nvPr>
            <p:ph type="pic" sz="quarter" idx="23"/>
          </p:nvPr>
        </p:nvSpPr>
        <p:spPr>
          <a:xfrm>
            <a:off x="8092800" y="1341965"/>
            <a:ext cx="3600000" cy="4790400"/>
          </a:xfrm>
        </p:spPr>
        <p:txBody>
          <a:bodyPr/>
          <a:lstStyle>
            <a:lvl1pPr>
              <a:defRPr>
                <a:solidFill>
                  <a:schemeClr val="bg1"/>
                </a:solidFill>
              </a:defRPr>
            </a:lvl1pPr>
          </a:lstStyle>
          <a:p>
            <a:endParaRPr lang="en-GB" dirty="0"/>
          </a:p>
        </p:txBody>
      </p:sp>
      <p:sp>
        <p:nvSpPr>
          <p:cNvPr id="11" name="Content Placeholder 2">
            <a:extLst>
              <a:ext uri="{FF2B5EF4-FFF2-40B4-BE49-F238E27FC236}">
                <a16:creationId xmlns:a16="http://schemas.microsoft.com/office/drawing/2014/main" id="{F7355A2E-0C24-4BF0-A392-C0768E5B90F4}"/>
              </a:ext>
            </a:extLst>
          </p:cNvPr>
          <p:cNvSpPr>
            <a:spLocks noGrp="1"/>
          </p:cNvSpPr>
          <p:nvPr>
            <p:ph idx="24" hasCustomPrompt="1"/>
          </p:nvPr>
        </p:nvSpPr>
        <p:spPr>
          <a:xfrm>
            <a:off x="4286400" y="1341966"/>
            <a:ext cx="3600000" cy="4787900"/>
          </a:xfrm>
        </p:spPr>
        <p:txBody>
          <a:bodyPr/>
          <a:lstStyle>
            <a:lvl1pPr>
              <a:defRPr>
                <a:solidFill>
                  <a:schemeClr val="bg1"/>
                </a:solidFill>
              </a:defRPr>
            </a:lvl1pPr>
            <a:lvl2pPr>
              <a:defRPr b="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a:t>
            </a:r>
          </a:p>
          <a:p>
            <a:pPr lvl="6"/>
            <a:r>
              <a:rPr lang="en-US" dirty="0"/>
              <a:t>Seven</a:t>
            </a:r>
          </a:p>
          <a:p>
            <a:pPr lvl="7"/>
            <a:r>
              <a:rPr lang="en-US" dirty="0"/>
              <a:t>Eight</a:t>
            </a:r>
          </a:p>
          <a:p>
            <a:pPr lvl="8"/>
            <a:r>
              <a:rPr lang="en-US" dirty="0"/>
              <a:t>Nine</a:t>
            </a:r>
          </a:p>
        </p:txBody>
      </p:sp>
    </p:spTree>
    <p:extLst>
      <p:ext uri="{BB962C8B-B14F-4D97-AF65-F5344CB8AC3E}">
        <p14:creationId xmlns:p14="http://schemas.microsoft.com/office/powerpoint/2010/main" val="810416284"/>
      </p:ext>
    </p:extLst>
  </p:cSld>
  <p:clrMapOvr>
    <a:masterClrMapping/>
  </p:clrMapOvr>
  <p:extLst>
    <p:ext uri="{DCECCB84-F9BA-43D5-87BE-67443E8EF086}">
      <p15:sldGuideLst xmlns:p15="http://schemas.microsoft.com/office/powerpoint/2012/main">
        <p15:guide id="1" orient="horz" pos="845">
          <p15:clr>
            <a:srgbClr val="FBAE40"/>
          </p15:clr>
        </p15:guide>
        <p15:guide id="2" pos="7378">
          <p15:clr>
            <a:srgbClr val="FBAE40"/>
          </p15:clr>
        </p15:guide>
        <p15:guide id="3" orient="horz" pos="3861">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harts and comment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7355A2E-0C24-4BF0-A392-C0768E5B90F4}"/>
              </a:ext>
            </a:extLst>
          </p:cNvPr>
          <p:cNvSpPr>
            <a:spLocks noGrp="1"/>
          </p:cNvSpPr>
          <p:nvPr>
            <p:ph idx="1"/>
          </p:nvPr>
        </p:nvSpPr>
        <p:spPr>
          <a:xfrm>
            <a:off x="479425" y="4509339"/>
            <a:ext cx="3600000" cy="162000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 Placeholder 13"/>
          <p:cNvSpPr>
            <a:spLocks noGrp="1"/>
          </p:cNvSpPr>
          <p:nvPr>
            <p:ph type="body" sz="quarter" idx="13" hasCustomPrompt="1"/>
          </p:nvPr>
        </p:nvSpPr>
        <p:spPr>
          <a:xfrm>
            <a:off x="7010273" y="765175"/>
            <a:ext cx="4680000" cy="288000"/>
          </a:xfrm>
        </p:spPr>
        <p:txBody>
          <a:bodyPr>
            <a:noAutofit/>
          </a:bodyPr>
          <a:lstStyle>
            <a:lvl1pPr marL="0" indent="0" algn="r">
              <a:lnSpc>
                <a:spcPct val="100000"/>
              </a:lnSpc>
              <a:spcBef>
                <a:spcPts val="0"/>
              </a:spcBef>
              <a:buNone/>
              <a:defRPr sz="2000" b="1" cap="all" baseline="0"/>
            </a:lvl1pPr>
            <a:lvl2pPr marL="0" indent="0" algn="r">
              <a:lnSpc>
                <a:spcPct val="100000"/>
              </a:lnSpc>
              <a:spcBef>
                <a:spcPts val="0"/>
              </a:spcBef>
              <a:buNone/>
              <a:defRPr sz="2000" b="1" cap="all" baseline="0"/>
            </a:lvl2pPr>
            <a:lvl3pPr marL="0" indent="0" algn="r">
              <a:lnSpc>
                <a:spcPct val="100000"/>
              </a:lnSpc>
              <a:spcBef>
                <a:spcPts val="0"/>
              </a:spcBef>
              <a:buNone/>
              <a:defRPr sz="2000" b="1" cap="all" baseline="0"/>
            </a:lvl3pPr>
            <a:lvl4pPr marL="0" indent="0" algn="r">
              <a:lnSpc>
                <a:spcPct val="100000"/>
              </a:lnSpc>
              <a:spcBef>
                <a:spcPts val="0"/>
              </a:spcBef>
              <a:buNone/>
              <a:defRPr sz="2000" b="1" cap="all" baseline="0"/>
            </a:lvl4pPr>
            <a:lvl5pPr marL="0" indent="0" algn="r">
              <a:lnSpc>
                <a:spcPct val="100000"/>
              </a:lnSpc>
              <a:spcBef>
                <a:spcPts val="0"/>
              </a:spcBef>
              <a:buNone/>
              <a:defRPr sz="2000" b="1" cap="all" baseline="0"/>
            </a:lvl5pPr>
          </a:lstStyle>
          <a:p>
            <a:pPr lvl="0"/>
            <a:r>
              <a:rPr lang="en-US" dirty="0"/>
              <a:t>Click to add sub title</a:t>
            </a:r>
            <a:endParaRPr lang="en-GB" dirty="0"/>
          </a:p>
        </p:txBody>
      </p:sp>
      <p:sp>
        <p:nvSpPr>
          <p:cNvPr id="17" name="Title 16"/>
          <p:cNvSpPr>
            <a:spLocks noGrp="1"/>
          </p:cNvSpPr>
          <p:nvPr>
            <p:ph type="title" hasCustomPrompt="1"/>
          </p:nvPr>
        </p:nvSpPr>
        <p:spPr>
          <a:xfrm>
            <a:off x="7009123" y="450679"/>
            <a:ext cx="4681151" cy="288000"/>
          </a:xfrm>
        </p:spPr>
        <p:txBody>
          <a:bodyPr/>
          <a:lstStyle>
            <a:lvl1pPr>
              <a:defRPr>
                <a:solidFill>
                  <a:schemeClr val="accent3"/>
                </a:solidFill>
              </a:defRPr>
            </a:lvl1pPr>
          </a:lstStyle>
          <a:p>
            <a:r>
              <a:rPr lang="en-US" dirty="0"/>
              <a:t>Click to add title</a:t>
            </a:r>
            <a:endParaRPr lang="en-GB" dirty="0"/>
          </a:p>
        </p:txBody>
      </p:sp>
      <p:sp>
        <p:nvSpPr>
          <p:cNvPr id="11" name="Content Placeholder 2">
            <a:extLst>
              <a:ext uri="{FF2B5EF4-FFF2-40B4-BE49-F238E27FC236}">
                <a16:creationId xmlns:a16="http://schemas.microsoft.com/office/drawing/2014/main" id="{F7355A2E-0C24-4BF0-A392-C0768E5B90F4}"/>
              </a:ext>
            </a:extLst>
          </p:cNvPr>
          <p:cNvSpPr>
            <a:spLocks noGrp="1"/>
          </p:cNvSpPr>
          <p:nvPr>
            <p:ph idx="14"/>
          </p:nvPr>
        </p:nvSpPr>
        <p:spPr>
          <a:xfrm>
            <a:off x="4284849" y="4509339"/>
            <a:ext cx="3600000" cy="162000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Content Placeholder 2">
            <a:extLst>
              <a:ext uri="{FF2B5EF4-FFF2-40B4-BE49-F238E27FC236}">
                <a16:creationId xmlns:a16="http://schemas.microsoft.com/office/drawing/2014/main" id="{F7355A2E-0C24-4BF0-A392-C0768E5B90F4}"/>
              </a:ext>
            </a:extLst>
          </p:cNvPr>
          <p:cNvSpPr>
            <a:spLocks noGrp="1"/>
          </p:cNvSpPr>
          <p:nvPr>
            <p:ph idx="15"/>
          </p:nvPr>
        </p:nvSpPr>
        <p:spPr>
          <a:xfrm>
            <a:off x="8090273" y="4509339"/>
            <a:ext cx="3600000" cy="162000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7" name="Straight Connector 6"/>
          <p:cNvCxnSpPr/>
          <p:nvPr userDrawn="1"/>
        </p:nvCxnSpPr>
        <p:spPr>
          <a:xfrm>
            <a:off x="479426" y="6300000"/>
            <a:ext cx="11233151" cy="0"/>
          </a:xfrm>
          <a:prstGeom prst="line">
            <a:avLst/>
          </a:prstGeom>
          <a:ln>
            <a:solidFill>
              <a:srgbClr val="9EA9B2"/>
            </a:solidFill>
          </a:ln>
        </p:spPr>
        <p:style>
          <a:lnRef idx="1">
            <a:schemeClr val="accent1"/>
          </a:lnRef>
          <a:fillRef idx="0">
            <a:schemeClr val="accent1"/>
          </a:fillRef>
          <a:effectRef idx="0">
            <a:schemeClr val="accent1"/>
          </a:effectRef>
          <a:fontRef idx="minor">
            <a:schemeClr val="tx1"/>
          </a:fontRef>
        </p:style>
      </p:cxnSp>
      <p:sp>
        <p:nvSpPr>
          <p:cNvPr id="16" name="Chart Placeholder 15"/>
          <p:cNvSpPr>
            <a:spLocks noGrp="1"/>
          </p:cNvSpPr>
          <p:nvPr>
            <p:ph type="chart" sz="quarter" idx="16"/>
          </p:nvPr>
        </p:nvSpPr>
        <p:spPr>
          <a:xfrm>
            <a:off x="479425" y="1341439"/>
            <a:ext cx="3600451" cy="2879725"/>
          </a:xfrm>
        </p:spPr>
        <p:txBody>
          <a:bodyPr/>
          <a:lstStyle/>
          <a:p>
            <a:endParaRPr lang="en-GB"/>
          </a:p>
        </p:txBody>
      </p:sp>
      <p:sp>
        <p:nvSpPr>
          <p:cNvPr id="18" name="Chart Placeholder 15"/>
          <p:cNvSpPr>
            <a:spLocks noGrp="1"/>
          </p:cNvSpPr>
          <p:nvPr>
            <p:ph type="chart" sz="quarter" idx="17"/>
          </p:nvPr>
        </p:nvSpPr>
        <p:spPr>
          <a:xfrm>
            <a:off x="4295775" y="1341439"/>
            <a:ext cx="3600451" cy="2879725"/>
          </a:xfrm>
        </p:spPr>
        <p:txBody>
          <a:bodyPr/>
          <a:lstStyle/>
          <a:p>
            <a:endParaRPr lang="en-GB"/>
          </a:p>
        </p:txBody>
      </p:sp>
      <p:sp>
        <p:nvSpPr>
          <p:cNvPr id="19" name="Chart Placeholder 15"/>
          <p:cNvSpPr>
            <a:spLocks noGrp="1"/>
          </p:cNvSpPr>
          <p:nvPr>
            <p:ph type="chart" sz="quarter" idx="18"/>
          </p:nvPr>
        </p:nvSpPr>
        <p:spPr>
          <a:xfrm>
            <a:off x="8112125" y="1341439"/>
            <a:ext cx="3600451" cy="2879725"/>
          </a:xfrm>
        </p:spPr>
        <p:txBody>
          <a:bodyPr/>
          <a:lstStyle/>
          <a:p>
            <a:endParaRPr lang="en-GB"/>
          </a:p>
        </p:txBody>
      </p:sp>
      <p:sp>
        <p:nvSpPr>
          <p:cNvPr id="9" name="Slide Number Placeholder 8"/>
          <p:cNvSpPr>
            <a:spLocks noGrp="1"/>
          </p:cNvSpPr>
          <p:nvPr>
            <p:ph type="sldNum" sz="quarter" idx="21"/>
          </p:nvPr>
        </p:nvSpPr>
        <p:spPr/>
        <p:txBody>
          <a:bodyPr/>
          <a:lstStyle/>
          <a:p>
            <a:fld id="{7DAB47CC-2047-4FFE-9F3B-6C9AB62C3816}" type="slidenum">
              <a:rPr lang="en-GB" smtClean="0"/>
              <a:pPr/>
              <a:t>‹#›</a:t>
            </a:fld>
            <a:endParaRPr lang="en-GB"/>
          </a:p>
        </p:txBody>
      </p:sp>
    </p:spTree>
    <p:extLst>
      <p:ext uri="{BB962C8B-B14F-4D97-AF65-F5344CB8AC3E}">
        <p14:creationId xmlns:p14="http://schemas.microsoft.com/office/powerpoint/2010/main" val="3971370439"/>
      </p:ext>
    </p:extLst>
  </p:cSld>
  <p:clrMapOvr>
    <a:masterClrMapping/>
  </p:clrMapOvr>
  <p:extLst>
    <p:ext uri="{DCECCB84-F9BA-43D5-87BE-67443E8EF086}">
      <p15:sldGuideLst xmlns:p15="http://schemas.microsoft.com/office/powerpoint/2012/main">
        <p15:guide id="1" orient="horz" pos="845">
          <p15:clr>
            <a:srgbClr val="FBAE40"/>
          </p15:clr>
        </p15:guide>
        <p15:guide id="2" pos="7378">
          <p15:clr>
            <a:srgbClr val="FBAE40"/>
          </p15:clr>
        </p15:guide>
        <p15:guide id="3" orient="horz" pos="3861">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Five flowing 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7355A2E-0C24-4BF0-A392-C0768E5B90F4}"/>
              </a:ext>
            </a:extLst>
          </p:cNvPr>
          <p:cNvSpPr>
            <a:spLocks noGrp="1"/>
          </p:cNvSpPr>
          <p:nvPr>
            <p:ph idx="1" hasCustomPrompt="1"/>
          </p:nvPr>
        </p:nvSpPr>
        <p:spPr>
          <a:xfrm>
            <a:off x="479151" y="1341439"/>
            <a:ext cx="11232000" cy="4787900"/>
          </a:xfrm>
        </p:spPr>
        <p:txBody>
          <a:bodyPr numCol="5" spcCol="81000">
            <a:normAutofit/>
          </a:bodyPr>
          <a:lstStyle>
            <a:lvl1pPr>
              <a:lnSpc>
                <a:spcPct val="100000"/>
              </a:lnSpc>
              <a:spcBef>
                <a:spcPts val="200"/>
              </a:spcBef>
              <a:spcAft>
                <a:spcPts val="400"/>
              </a:spcAft>
              <a:defRPr lang="en-GB" sz="1067" dirty="0"/>
            </a:lvl1pPr>
            <a:lvl2pPr marL="0" indent="0">
              <a:lnSpc>
                <a:spcPct val="100000"/>
              </a:lnSpc>
              <a:spcBef>
                <a:spcPts val="0"/>
              </a:spcBef>
              <a:spcAft>
                <a:spcPts val="400"/>
              </a:spcAft>
              <a:buNone/>
              <a:defRPr sz="1067">
                <a:solidFill>
                  <a:schemeClr val="accent3"/>
                </a:solidFill>
              </a:defRPr>
            </a:lvl2pPr>
            <a:lvl3pPr marL="0" indent="0">
              <a:lnSpc>
                <a:spcPct val="100000"/>
              </a:lnSpc>
              <a:spcBef>
                <a:spcPts val="0"/>
              </a:spcBef>
              <a:spcAft>
                <a:spcPts val="400"/>
              </a:spcAft>
              <a:buNone/>
              <a:defRPr sz="1067"/>
            </a:lvl3pPr>
            <a:lvl4pPr marL="176209" indent="-176209">
              <a:lnSpc>
                <a:spcPct val="100000"/>
              </a:lnSpc>
              <a:spcBef>
                <a:spcPts val="0"/>
              </a:spcBef>
              <a:spcAft>
                <a:spcPts val="400"/>
              </a:spcAft>
              <a:defRPr sz="1067">
                <a:solidFill>
                  <a:schemeClr val="tx1"/>
                </a:solidFill>
              </a:defRPr>
            </a:lvl4pPr>
            <a:lvl5pPr marL="176209" indent="4763">
              <a:lnSpc>
                <a:spcPct val="100000"/>
              </a:lnSpc>
              <a:spcBef>
                <a:spcPts val="0"/>
              </a:spcBef>
              <a:spcAft>
                <a:spcPts val="400"/>
              </a:spcAft>
              <a:defRPr sz="1067">
                <a:solidFill>
                  <a:schemeClr val="tx1"/>
                </a:solidFill>
              </a:defRPr>
            </a:lvl5pPr>
            <a:lvl6pPr marL="361942" indent="-180970">
              <a:lnSpc>
                <a:spcPct val="100000"/>
              </a:lnSpc>
              <a:spcBef>
                <a:spcPts val="0"/>
              </a:spcBef>
              <a:spcAft>
                <a:spcPts val="400"/>
              </a:spcAft>
              <a:defRPr lang="en-US" sz="1067" kern="1200" dirty="0" smtClean="0">
                <a:solidFill>
                  <a:schemeClr val="tx1"/>
                </a:solidFill>
                <a:latin typeface="+mn-lt"/>
                <a:ea typeface="+mn-ea"/>
                <a:cs typeface="+mn-cs"/>
              </a:defRPr>
            </a:lvl6pPr>
            <a:lvl7pPr marL="361942" indent="0">
              <a:lnSpc>
                <a:spcPct val="100000"/>
              </a:lnSpc>
              <a:spcBef>
                <a:spcPts val="0"/>
              </a:spcBef>
              <a:spcAft>
                <a:spcPts val="400"/>
              </a:spcAft>
              <a:defRPr lang="en-US" sz="1067" kern="1200" dirty="0" smtClean="0">
                <a:solidFill>
                  <a:schemeClr val="tx1"/>
                </a:solidFill>
                <a:latin typeface="+mn-lt"/>
                <a:ea typeface="+mn-ea"/>
                <a:cs typeface="+mn-cs"/>
              </a:defRPr>
            </a:lvl7pPr>
            <a:lvl8pPr marL="361942" indent="0">
              <a:lnSpc>
                <a:spcPct val="100000"/>
              </a:lnSpc>
              <a:spcBef>
                <a:spcPts val="0"/>
              </a:spcBef>
              <a:spcAft>
                <a:spcPts val="400"/>
              </a:spcAft>
              <a:buNone/>
              <a:defRPr lang="en-US" sz="1067" kern="1200" dirty="0" smtClean="0">
                <a:solidFill>
                  <a:schemeClr val="tx1"/>
                </a:solidFill>
                <a:latin typeface="+mn-lt"/>
                <a:ea typeface="+mn-ea"/>
                <a:cs typeface="+mn-cs"/>
              </a:defRPr>
            </a:lvl8pPr>
            <a:lvl9pPr marL="361942" indent="0">
              <a:lnSpc>
                <a:spcPct val="100000"/>
              </a:lnSpc>
              <a:spcBef>
                <a:spcPts val="0"/>
              </a:spcBef>
              <a:spcAft>
                <a:spcPts val="400"/>
              </a:spcAft>
              <a:buNone/>
              <a:defRPr lang="en-GB" sz="1067" kern="1200" dirty="0">
                <a:solidFill>
                  <a:schemeClr val="tx1"/>
                </a:solidFill>
                <a:latin typeface="+mn-lt"/>
                <a:ea typeface="+mn-ea"/>
                <a:cs typeface="+mn-cs"/>
              </a:defRPr>
            </a:lvl9pPr>
          </a:lstStyle>
          <a:p>
            <a:pPr lvl="0"/>
            <a:r>
              <a:rPr lang="en-GB" dirty="0"/>
              <a:t>Level 1 text used as Heading 1</a:t>
            </a:r>
          </a:p>
          <a:p>
            <a:pPr lvl="1"/>
            <a:r>
              <a:rPr lang="en-GB" dirty="0"/>
              <a:t>Level 2 text used as Heading 2</a:t>
            </a:r>
          </a:p>
          <a:p>
            <a:pPr lvl="2"/>
            <a:r>
              <a:rPr lang="en-GB" dirty="0"/>
              <a:t>Level 3 Regular text</a:t>
            </a:r>
          </a:p>
          <a:p>
            <a:pPr lvl="3"/>
            <a:r>
              <a:rPr lang="en-GB" dirty="0"/>
              <a:t>Level 4 Bullet 1</a:t>
            </a:r>
          </a:p>
          <a:p>
            <a:pPr lvl="4"/>
            <a:r>
              <a:rPr lang="en-GB" dirty="0"/>
              <a:t>Level 5 Bullet 2</a:t>
            </a:r>
          </a:p>
          <a:p>
            <a:pPr lvl="5"/>
            <a:r>
              <a:rPr lang="en-GB" dirty="0"/>
              <a:t>Level 6 Small Heading 1</a:t>
            </a:r>
          </a:p>
          <a:p>
            <a:pPr lvl="6"/>
            <a:r>
              <a:rPr lang="en-GB" dirty="0"/>
              <a:t>Lever 7 Small heading 2</a:t>
            </a:r>
          </a:p>
          <a:p>
            <a:pPr lvl="7"/>
            <a:r>
              <a:rPr lang="en-GB" dirty="0"/>
              <a:t>Level 8 Small text </a:t>
            </a:r>
          </a:p>
          <a:p>
            <a:pPr lvl="8"/>
            <a:r>
              <a:rPr lang="en-GB" dirty="0"/>
              <a:t>Level 9 Small bullet</a:t>
            </a:r>
          </a:p>
        </p:txBody>
      </p:sp>
      <p:sp>
        <p:nvSpPr>
          <p:cNvPr id="6" name="Slide Number Placeholder 5">
            <a:extLst>
              <a:ext uri="{FF2B5EF4-FFF2-40B4-BE49-F238E27FC236}">
                <a16:creationId xmlns:a16="http://schemas.microsoft.com/office/drawing/2014/main" id="{FC845F55-9628-45C8-A772-2C98236649B5}"/>
              </a:ext>
            </a:extLst>
          </p:cNvPr>
          <p:cNvSpPr>
            <a:spLocks noGrp="1"/>
          </p:cNvSpPr>
          <p:nvPr>
            <p:ph type="sldNum" sz="quarter" idx="12"/>
          </p:nvPr>
        </p:nvSpPr>
        <p:spPr/>
        <p:txBody>
          <a:bodyPr/>
          <a:lstStyle/>
          <a:p>
            <a:fld id="{7DAB47CC-2047-4FFE-9F3B-6C9AB62C3816}" type="slidenum">
              <a:rPr lang="en-GB" smtClean="0"/>
              <a:pPr/>
              <a:t>‹#›</a:t>
            </a:fld>
            <a:endParaRPr lang="en-GB"/>
          </a:p>
        </p:txBody>
      </p:sp>
      <p:sp>
        <p:nvSpPr>
          <p:cNvPr id="14" name="Text Placeholder 13"/>
          <p:cNvSpPr>
            <a:spLocks noGrp="1"/>
          </p:cNvSpPr>
          <p:nvPr>
            <p:ph type="body" sz="quarter" idx="13" hasCustomPrompt="1"/>
          </p:nvPr>
        </p:nvSpPr>
        <p:spPr>
          <a:xfrm>
            <a:off x="7010273" y="765175"/>
            <a:ext cx="4680000" cy="288000"/>
          </a:xfrm>
        </p:spPr>
        <p:txBody>
          <a:bodyPr>
            <a:noAutofit/>
          </a:bodyPr>
          <a:lstStyle>
            <a:lvl1pPr marL="0" indent="0" algn="r">
              <a:lnSpc>
                <a:spcPct val="100000"/>
              </a:lnSpc>
              <a:spcBef>
                <a:spcPts val="0"/>
              </a:spcBef>
              <a:buNone/>
              <a:defRPr sz="2000" b="1" cap="all" baseline="0"/>
            </a:lvl1pPr>
            <a:lvl2pPr marL="0" indent="0" algn="r">
              <a:lnSpc>
                <a:spcPct val="100000"/>
              </a:lnSpc>
              <a:spcBef>
                <a:spcPts val="0"/>
              </a:spcBef>
              <a:buNone/>
              <a:defRPr sz="2000" b="1" cap="all" baseline="0"/>
            </a:lvl2pPr>
            <a:lvl3pPr marL="0" indent="0" algn="r">
              <a:lnSpc>
                <a:spcPct val="100000"/>
              </a:lnSpc>
              <a:spcBef>
                <a:spcPts val="0"/>
              </a:spcBef>
              <a:buNone/>
              <a:defRPr sz="2000" b="1" cap="all" baseline="0"/>
            </a:lvl3pPr>
            <a:lvl4pPr marL="0" indent="0" algn="r">
              <a:lnSpc>
                <a:spcPct val="100000"/>
              </a:lnSpc>
              <a:spcBef>
                <a:spcPts val="0"/>
              </a:spcBef>
              <a:buNone/>
              <a:defRPr sz="2000" b="1" cap="all" baseline="0"/>
            </a:lvl4pPr>
            <a:lvl5pPr marL="0" indent="0" algn="r">
              <a:lnSpc>
                <a:spcPct val="100000"/>
              </a:lnSpc>
              <a:spcBef>
                <a:spcPts val="0"/>
              </a:spcBef>
              <a:buNone/>
              <a:defRPr sz="2000" b="1" cap="all" baseline="0"/>
            </a:lvl5pPr>
          </a:lstStyle>
          <a:p>
            <a:pPr lvl="0"/>
            <a:r>
              <a:rPr lang="en-US" dirty="0"/>
              <a:t>Click to add sub title</a:t>
            </a:r>
            <a:endParaRPr lang="en-GB" dirty="0"/>
          </a:p>
        </p:txBody>
      </p:sp>
      <p:sp>
        <p:nvSpPr>
          <p:cNvPr id="17" name="Title 16"/>
          <p:cNvSpPr>
            <a:spLocks noGrp="1"/>
          </p:cNvSpPr>
          <p:nvPr>
            <p:ph type="title" hasCustomPrompt="1"/>
          </p:nvPr>
        </p:nvSpPr>
        <p:spPr>
          <a:xfrm>
            <a:off x="7009123" y="450679"/>
            <a:ext cx="4681151" cy="288000"/>
          </a:xfrm>
        </p:spPr>
        <p:txBody>
          <a:bodyPr/>
          <a:lstStyle>
            <a:lvl1pPr>
              <a:defRPr>
                <a:solidFill>
                  <a:schemeClr val="accent3"/>
                </a:solidFill>
              </a:defRPr>
            </a:lvl1pPr>
          </a:lstStyle>
          <a:p>
            <a:r>
              <a:rPr lang="en-US" dirty="0"/>
              <a:t>Click to add title</a:t>
            </a:r>
            <a:endParaRPr lang="en-GB" dirty="0"/>
          </a:p>
        </p:txBody>
      </p:sp>
    </p:spTree>
    <p:extLst>
      <p:ext uri="{BB962C8B-B14F-4D97-AF65-F5344CB8AC3E}">
        <p14:creationId xmlns:p14="http://schemas.microsoft.com/office/powerpoint/2010/main" val="770424141"/>
      </p:ext>
    </p:extLst>
  </p:cSld>
  <p:clrMapOvr>
    <a:masterClrMapping/>
  </p:clrMapOvr>
  <p:extLst>
    <p:ext uri="{DCECCB84-F9BA-43D5-87BE-67443E8EF086}">
      <p15:sldGuideLst xmlns:p15="http://schemas.microsoft.com/office/powerpoint/2012/main">
        <p15:guide id="1" orient="horz" pos="845">
          <p15:clr>
            <a:srgbClr val="FBAE40"/>
          </p15:clr>
        </p15:guide>
        <p15:guide id="2" pos="7378">
          <p15:clr>
            <a:srgbClr val="FBAE40"/>
          </p15:clr>
        </p15:guide>
        <p15:guide id="3" orient="horz" pos="3861">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FC845F55-9628-45C8-A772-2C98236649B5}"/>
              </a:ext>
            </a:extLst>
          </p:cNvPr>
          <p:cNvSpPr>
            <a:spLocks noGrp="1"/>
          </p:cNvSpPr>
          <p:nvPr>
            <p:ph type="sldNum" sz="quarter" idx="12"/>
          </p:nvPr>
        </p:nvSpPr>
        <p:spPr/>
        <p:txBody>
          <a:bodyPr/>
          <a:lstStyle/>
          <a:p>
            <a:fld id="{7DAB47CC-2047-4FFE-9F3B-6C9AB62C3816}" type="slidenum">
              <a:rPr lang="en-GB" smtClean="0"/>
              <a:pPr/>
              <a:t>‹#›</a:t>
            </a:fld>
            <a:endParaRPr lang="en-GB"/>
          </a:p>
        </p:txBody>
      </p:sp>
      <p:sp>
        <p:nvSpPr>
          <p:cNvPr id="14" name="Text Placeholder 13"/>
          <p:cNvSpPr>
            <a:spLocks noGrp="1"/>
          </p:cNvSpPr>
          <p:nvPr>
            <p:ph type="body" sz="quarter" idx="13" hasCustomPrompt="1"/>
          </p:nvPr>
        </p:nvSpPr>
        <p:spPr>
          <a:xfrm>
            <a:off x="7010273" y="765175"/>
            <a:ext cx="4680000" cy="288000"/>
          </a:xfrm>
        </p:spPr>
        <p:txBody>
          <a:bodyPr>
            <a:noAutofit/>
          </a:bodyPr>
          <a:lstStyle>
            <a:lvl1pPr marL="0" indent="0" algn="r">
              <a:lnSpc>
                <a:spcPct val="100000"/>
              </a:lnSpc>
              <a:spcBef>
                <a:spcPts val="0"/>
              </a:spcBef>
              <a:buNone/>
              <a:defRPr sz="2000" b="1" cap="all" baseline="0"/>
            </a:lvl1pPr>
            <a:lvl2pPr marL="0" indent="0" algn="r">
              <a:lnSpc>
                <a:spcPct val="100000"/>
              </a:lnSpc>
              <a:spcBef>
                <a:spcPts val="0"/>
              </a:spcBef>
              <a:buNone/>
              <a:defRPr sz="2000" b="1" cap="all" baseline="0"/>
            </a:lvl2pPr>
            <a:lvl3pPr marL="0" indent="0" algn="r">
              <a:lnSpc>
                <a:spcPct val="100000"/>
              </a:lnSpc>
              <a:spcBef>
                <a:spcPts val="0"/>
              </a:spcBef>
              <a:buNone/>
              <a:defRPr sz="2000" b="1" cap="all" baseline="0"/>
            </a:lvl3pPr>
            <a:lvl4pPr marL="0" indent="0" algn="r">
              <a:lnSpc>
                <a:spcPct val="100000"/>
              </a:lnSpc>
              <a:spcBef>
                <a:spcPts val="0"/>
              </a:spcBef>
              <a:buNone/>
              <a:defRPr sz="2000" b="1" cap="all" baseline="0"/>
            </a:lvl4pPr>
            <a:lvl5pPr marL="0" indent="0" algn="r">
              <a:lnSpc>
                <a:spcPct val="100000"/>
              </a:lnSpc>
              <a:spcBef>
                <a:spcPts val="0"/>
              </a:spcBef>
              <a:buNone/>
              <a:defRPr sz="2000" b="1" cap="all" baseline="0"/>
            </a:lvl5pPr>
          </a:lstStyle>
          <a:p>
            <a:pPr lvl="0"/>
            <a:r>
              <a:rPr lang="en-US" dirty="0"/>
              <a:t>Click to add sub title</a:t>
            </a:r>
            <a:endParaRPr lang="en-GB" dirty="0"/>
          </a:p>
        </p:txBody>
      </p:sp>
      <p:sp>
        <p:nvSpPr>
          <p:cNvPr id="17" name="Title 16"/>
          <p:cNvSpPr>
            <a:spLocks noGrp="1"/>
          </p:cNvSpPr>
          <p:nvPr>
            <p:ph type="title" hasCustomPrompt="1"/>
          </p:nvPr>
        </p:nvSpPr>
        <p:spPr>
          <a:xfrm>
            <a:off x="7009123" y="450679"/>
            <a:ext cx="4681151" cy="288000"/>
          </a:xfrm>
        </p:spPr>
        <p:txBody>
          <a:bodyPr/>
          <a:lstStyle>
            <a:lvl1pPr>
              <a:defRPr>
                <a:solidFill>
                  <a:schemeClr val="accent3"/>
                </a:solidFill>
              </a:defRPr>
            </a:lvl1pPr>
          </a:lstStyle>
          <a:p>
            <a:r>
              <a:rPr lang="en-US" dirty="0"/>
              <a:t>Click to add title</a:t>
            </a:r>
            <a:endParaRPr lang="en-GB" dirty="0"/>
          </a:p>
        </p:txBody>
      </p:sp>
    </p:spTree>
    <p:extLst>
      <p:ext uri="{BB962C8B-B14F-4D97-AF65-F5344CB8AC3E}">
        <p14:creationId xmlns:p14="http://schemas.microsoft.com/office/powerpoint/2010/main" val="4248563232"/>
      </p:ext>
    </p:extLst>
  </p:cSld>
  <p:clrMapOvr>
    <a:masterClrMapping/>
  </p:clrMapOvr>
  <p:extLst>
    <p:ext uri="{DCECCB84-F9BA-43D5-87BE-67443E8EF086}">
      <p15:sldGuideLst xmlns:p15="http://schemas.microsoft.com/office/powerpoint/2012/main">
        <p15:guide id="1" orient="horz" pos="845">
          <p15:clr>
            <a:srgbClr val="FBAE40"/>
          </p15:clr>
        </p15:guide>
        <p15:guide id="2" pos="7378">
          <p15:clr>
            <a:srgbClr val="FBAE40"/>
          </p15:clr>
        </p15:guide>
        <p15:guide id="3" orient="horz" pos="3861">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FC845F55-9628-45C8-A772-2C98236649B5}"/>
              </a:ext>
            </a:extLst>
          </p:cNvPr>
          <p:cNvSpPr>
            <a:spLocks noGrp="1"/>
          </p:cNvSpPr>
          <p:nvPr>
            <p:ph type="sldNum" sz="quarter" idx="12"/>
          </p:nvPr>
        </p:nvSpPr>
        <p:spPr/>
        <p:txBody>
          <a:bodyPr/>
          <a:lstStyle/>
          <a:p>
            <a:fld id="{7DAB47CC-2047-4FFE-9F3B-6C9AB62C3816}" type="slidenum">
              <a:rPr lang="en-GB" smtClean="0"/>
              <a:pPr/>
              <a:t>‹#›</a:t>
            </a:fld>
            <a:endParaRPr lang="en-GB"/>
          </a:p>
        </p:txBody>
      </p:sp>
    </p:spTree>
    <p:extLst>
      <p:ext uri="{BB962C8B-B14F-4D97-AF65-F5344CB8AC3E}">
        <p14:creationId xmlns:p14="http://schemas.microsoft.com/office/powerpoint/2010/main" val="3491170252"/>
      </p:ext>
    </p:extLst>
  </p:cSld>
  <p:clrMapOvr>
    <a:masterClrMapping/>
  </p:clrMapOvr>
  <p:extLst>
    <p:ext uri="{DCECCB84-F9BA-43D5-87BE-67443E8EF086}">
      <p15:sldGuideLst xmlns:p15="http://schemas.microsoft.com/office/powerpoint/2012/main">
        <p15:guide id="1" orient="horz" pos="845">
          <p15:clr>
            <a:srgbClr val="FBAE40"/>
          </p15:clr>
        </p15:guide>
        <p15:guide id="2" pos="7378">
          <p15:clr>
            <a:srgbClr val="FBAE40"/>
          </p15:clr>
        </p15:guide>
        <p15:guide id="3" orient="horz" pos="3861">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Closing and disclaimer">
    <p:bg>
      <p:bgPr>
        <a:solidFill>
          <a:schemeClr val="accent3"/>
        </a:solidFill>
        <a:effectLst/>
      </p:bgPr>
    </p:bg>
    <p:spTree>
      <p:nvGrpSpPr>
        <p:cNvPr id="1" name=""/>
        <p:cNvGrpSpPr/>
        <p:nvPr/>
      </p:nvGrpSpPr>
      <p:grpSpPr>
        <a:xfrm>
          <a:off x="0" y="0"/>
          <a:ext cx="0" cy="0"/>
          <a:chOff x="0" y="0"/>
          <a:chExt cx="0" cy="0"/>
        </a:xfrm>
      </p:grpSpPr>
      <p:sp>
        <p:nvSpPr>
          <p:cNvPr id="14" name="Text Placeholder 13"/>
          <p:cNvSpPr>
            <a:spLocks noGrp="1"/>
          </p:cNvSpPr>
          <p:nvPr>
            <p:ph type="body" sz="quarter" idx="13" hasCustomPrompt="1"/>
          </p:nvPr>
        </p:nvSpPr>
        <p:spPr>
          <a:xfrm>
            <a:off x="7010273" y="765175"/>
            <a:ext cx="4680000" cy="288000"/>
          </a:xfrm>
        </p:spPr>
        <p:txBody>
          <a:bodyPr>
            <a:noAutofit/>
          </a:bodyPr>
          <a:lstStyle>
            <a:lvl1pPr marL="0" indent="0" algn="r">
              <a:lnSpc>
                <a:spcPct val="100000"/>
              </a:lnSpc>
              <a:spcBef>
                <a:spcPts val="0"/>
              </a:spcBef>
              <a:buNone/>
              <a:defRPr sz="2000" b="1" cap="all" baseline="0">
                <a:solidFill>
                  <a:schemeClr val="bg1"/>
                </a:solidFill>
              </a:defRPr>
            </a:lvl1pPr>
            <a:lvl2pPr marL="0" indent="0" algn="r">
              <a:lnSpc>
                <a:spcPct val="100000"/>
              </a:lnSpc>
              <a:spcBef>
                <a:spcPts val="0"/>
              </a:spcBef>
              <a:buNone/>
              <a:defRPr sz="2000" b="1" cap="all" baseline="0"/>
            </a:lvl2pPr>
            <a:lvl3pPr marL="0" indent="0" algn="r">
              <a:lnSpc>
                <a:spcPct val="100000"/>
              </a:lnSpc>
              <a:spcBef>
                <a:spcPts val="0"/>
              </a:spcBef>
              <a:buNone/>
              <a:defRPr sz="2000" b="1" cap="all" baseline="0"/>
            </a:lvl3pPr>
            <a:lvl4pPr marL="0" indent="0" algn="r">
              <a:lnSpc>
                <a:spcPct val="100000"/>
              </a:lnSpc>
              <a:spcBef>
                <a:spcPts val="0"/>
              </a:spcBef>
              <a:buNone/>
              <a:defRPr sz="2000" b="1" cap="all" baseline="0"/>
            </a:lvl4pPr>
            <a:lvl5pPr marL="0" indent="0" algn="r">
              <a:lnSpc>
                <a:spcPct val="100000"/>
              </a:lnSpc>
              <a:spcBef>
                <a:spcPts val="0"/>
              </a:spcBef>
              <a:buNone/>
              <a:defRPr sz="2000" b="1" cap="all" baseline="0"/>
            </a:lvl5pPr>
          </a:lstStyle>
          <a:p>
            <a:pPr lvl="0"/>
            <a:r>
              <a:rPr lang="en-US" dirty="0"/>
              <a:t>Click to add sub title</a:t>
            </a:r>
            <a:endParaRPr lang="en-GB" dirty="0"/>
          </a:p>
        </p:txBody>
      </p:sp>
      <p:sp>
        <p:nvSpPr>
          <p:cNvPr id="17" name="Title 16"/>
          <p:cNvSpPr>
            <a:spLocks noGrp="1"/>
          </p:cNvSpPr>
          <p:nvPr>
            <p:ph type="title" hasCustomPrompt="1"/>
          </p:nvPr>
        </p:nvSpPr>
        <p:spPr>
          <a:xfrm>
            <a:off x="7009123" y="450679"/>
            <a:ext cx="4681151" cy="288000"/>
          </a:xfrm>
        </p:spPr>
        <p:txBody>
          <a:bodyPr/>
          <a:lstStyle>
            <a:lvl1pPr>
              <a:defRPr>
                <a:solidFill>
                  <a:schemeClr val="bg1"/>
                </a:solidFill>
              </a:defRPr>
            </a:lvl1pPr>
          </a:lstStyle>
          <a:p>
            <a:r>
              <a:rPr lang="en-US" dirty="0"/>
              <a:t>Click to add title</a:t>
            </a:r>
            <a:endParaRPr lang="en-GB" dirty="0"/>
          </a:p>
        </p:txBody>
      </p:sp>
      <p:cxnSp>
        <p:nvCxnSpPr>
          <p:cNvPr id="7" name="Straight Connector 6"/>
          <p:cNvCxnSpPr/>
          <p:nvPr userDrawn="1"/>
        </p:nvCxnSpPr>
        <p:spPr>
          <a:xfrm>
            <a:off x="479426" y="6300000"/>
            <a:ext cx="1123315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79426" y="432156"/>
            <a:ext cx="1202393" cy="728592"/>
          </a:xfrm>
          <a:prstGeom prst="rect">
            <a:avLst/>
          </a:prstGeom>
        </p:spPr>
      </p:pic>
      <p:sp>
        <p:nvSpPr>
          <p:cNvPr id="5" name="Content Placeholder 4"/>
          <p:cNvSpPr>
            <a:spLocks noGrp="1"/>
          </p:cNvSpPr>
          <p:nvPr>
            <p:ph sz="quarter" idx="14"/>
          </p:nvPr>
        </p:nvSpPr>
        <p:spPr>
          <a:xfrm>
            <a:off x="480484" y="5060951"/>
            <a:ext cx="11233149" cy="1068916"/>
          </a:xfrm>
        </p:spPr>
        <p:txBody>
          <a:bodyPr/>
          <a:lstStyle>
            <a:lvl1pPr indent="0">
              <a:spcAft>
                <a:spcPts val="533"/>
              </a:spcAft>
              <a:defRPr sz="1067" cap="none" baseline="0">
                <a:solidFill>
                  <a:schemeClr val="bg1"/>
                </a:solidFill>
              </a:defRPr>
            </a:lvl1pPr>
            <a:lvl2pPr indent="0">
              <a:spcAft>
                <a:spcPts val="533"/>
              </a:spcAft>
              <a:defRPr sz="1067" cap="none" baseline="0">
                <a:solidFill>
                  <a:schemeClr val="bg1"/>
                </a:solidFill>
              </a:defRPr>
            </a:lvl2pPr>
            <a:lvl3pPr indent="0">
              <a:spcAft>
                <a:spcPts val="533"/>
              </a:spcAft>
              <a:defRPr lang="en-GB" sz="1067" kern="1200" cap="none" baseline="0" dirty="0">
                <a:solidFill>
                  <a:schemeClr val="bg1"/>
                </a:solidFill>
                <a:latin typeface="+mn-lt"/>
                <a:ea typeface="+mn-ea"/>
                <a:cs typeface="+mn-cs"/>
              </a:defRPr>
            </a:lvl3pPr>
            <a:lvl4pPr indent="0">
              <a:spcAft>
                <a:spcPts val="533"/>
              </a:spcAft>
              <a:buNone/>
              <a:defRPr lang="en-US" sz="1067" kern="1200" cap="none" baseline="0" dirty="0" smtClean="0">
                <a:solidFill>
                  <a:schemeClr val="bg1"/>
                </a:solidFill>
                <a:latin typeface="+mn-lt"/>
                <a:ea typeface="+mn-ea"/>
                <a:cs typeface="+mn-cs"/>
              </a:defRPr>
            </a:lvl4pPr>
            <a:lvl5pPr indent="0">
              <a:spcAft>
                <a:spcPts val="533"/>
              </a:spcAft>
              <a:buNone/>
              <a:defRPr lang="en-US" sz="1067" kern="1200" cap="none" baseline="0" dirty="0" smtClean="0">
                <a:solidFill>
                  <a:schemeClr val="bg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536213681"/>
      </p:ext>
    </p:extLst>
  </p:cSld>
  <p:clrMapOvr>
    <a:masterClrMapping/>
  </p:clrMapOvr>
  <p:extLst>
    <p:ext uri="{DCECCB84-F9BA-43D5-87BE-67443E8EF086}">
      <p15:sldGuideLst xmlns:p15="http://schemas.microsoft.com/office/powerpoint/2012/main">
        <p15:guide id="1" orient="horz" pos="845">
          <p15:clr>
            <a:srgbClr val="FBAE40"/>
          </p15:clr>
        </p15:guide>
        <p15:guide id="2" pos="7378">
          <p15:clr>
            <a:srgbClr val="FBAE40"/>
          </p15:clr>
        </p15:guide>
        <p15:guide id="3" orient="horz" pos="3861">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Closing with disclaimer text">
    <p:bg>
      <p:bgPr>
        <a:solidFill>
          <a:schemeClr val="accent3"/>
        </a:solidFill>
        <a:effectLst/>
      </p:bgPr>
    </p:bg>
    <p:spTree>
      <p:nvGrpSpPr>
        <p:cNvPr id="1" name=""/>
        <p:cNvGrpSpPr/>
        <p:nvPr/>
      </p:nvGrpSpPr>
      <p:grpSpPr>
        <a:xfrm>
          <a:off x="0" y="0"/>
          <a:ext cx="0" cy="0"/>
          <a:chOff x="0" y="0"/>
          <a:chExt cx="0" cy="0"/>
        </a:xfrm>
      </p:grpSpPr>
      <p:sp>
        <p:nvSpPr>
          <p:cNvPr id="14" name="Text Placeholder 13"/>
          <p:cNvSpPr>
            <a:spLocks noGrp="1"/>
          </p:cNvSpPr>
          <p:nvPr>
            <p:ph type="body" sz="quarter" idx="13" hasCustomPrompt="1"/>
          </p:nvPr>
        </p:nvSpPr>
        <p:spPr>
          <a:xfrm>
            <a:off x="7010273" y="765175"/>
            <a:ext cx="4680000" cy="288000"/>
          </a:xfrm>
        </p:spPr>
        <p:txBody>
          <a:bodyPr>
            <a:noAutofit/>
          </a:bodyPr>
          <a:lstStyle>
            <a:lvl1pPr marL="0" indent="0" algn="r">
              <a:lnSpc>
                <a:spcPct val="100000"/>
              </a:lnSpc>
              <a:spcBef>
                <a:spcPts val="0"/>
              </a:spcBef>
              <a:buNone/>
              <a:defRPr sz="2000" b="1" cap="all" baseline="0">
                <a:solidFill>
                  <a:schemeClr val="bg1"/>
                </a:solidFill>
              </a:defRPr>
            </a:lvl1pPr>
            <a:lvl2pPr marL="0" indent="0" algn="r">
              <a:lnSpc>
                <a:spcPct val="100000"/>
              </a:lnSpc>
              <a:spcBef>
                <a:spcPts val="0"/>
              </a:spcBef>
              <a:buNone/>
              <a:defRPr sz="2000" b="1" cap="all" baseline="0"/>
            </a:lvl2pPr>
            <a:lvl3pPr marL="0" indent="0" algn="r">
              <a:lnSpc>
                <a:spcPct val="100000"/>
              </a:lnSpc>
              <a:spcBef>
                <a:spcPts val="0"/>
              </a:spcBef>
              <a:buNone/>
              <a:defRPr sz="2000" b="1" cap="all" baseline="0"/>
            </a:lvl3pPr>
            <a:lvl4pPr marL="0" indent="0" algn="r">
              <a:lnSpc>
                <a:spcPct val="100000"/>
              </a:lnSpc>
              <a:spcBef>
                <a:spcPts val="0"/>
              </a:spcBef>
              <a:buNone/>
              <a:defRPr sz="2000" b="1" cap="all" baseline="0"/>
            </a:lvl4pPr>
            <a:lvl5pPr marL="0" indent="0" algn="r">
              <a:lnSpc>
                <a:spcPct val="100000"/>
              </a:lnSpc>
              <a:spcBef>
                <a:spcPts val="0"/>
              </a:spcBef>
              <a:buNone/>
              <a:defRPr sz="2000" b="1" cap="all" baseline="0"/>
            </a:lvl5pPr>
          </a:lstStyle>
          <a:p>
            <a:pPr lvl="0"/>
            <a:r>
              <a:rPr lang="en-US" dirty="0"/>
              <a:t>Click to add sub title</a:t>
            </a:r>
            <a:endParaRPr lang="en-GB" dirty="0"/>
          </a:p>
        </p:txBody>
      </p:sp>
      <p:sp>
        <p:nvSpPr>
          <p:cNvPr id="17" name="Title 16"/>
          <p:cNvSpPr>
            <a:spLocks noGrp="1"/>
          </p:cNvSpPr>
          <p:nvPr>
            <p:ph type="title" hasCustomPrompt="1"/>
          </p:nvPr>
        </p:nvSpPr>
        <p:spPr>
          <a:xfrm>
            <a:off x="7009123" y="450679"/>
            <a:ext cx="4681151" cy="288000"/>
          </a:xfrm>
        </p:spPr>
        <p:txBody>
          <a:bodyPr/>
          <a:lstStyle>
            <a:lvl1pPr>
              <a:defRPr>
                <a:solidFill>
                  <a:schemeClr val="bg1"/>
                </a:solidFill>
              </a:defRPr>
            </a:lvl1pPr>
          </a:lstStyle>
          <a:p>
            <a:r>
              <a:rPr lang="en-US" dirty="0"/>
              <a:t>Click to add title</a:t>
            </a:r>
            <a:endParaRPr lang="en-GB" dirty="0"/>
          </a:p>
        </p:txBody>
      </p:sp>
      <p:cxnSp>
        <p:nvCxnSpPr>
          <p:cNvPr id="7" name="Straight Connector 6"/>
          <p:cNvCxnSpPr/>
          <p:nvPr userDrawn="1"/>
        </p:nvCxnSpPr>
        <p:spPr>
          <a:xfrm>
            <a:off x="479426" y="6300000"/>
            <a:ext cx="1123315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79426" y="432156"/>
            <a:ext cx="1202393" cy="728592"/>
          </a:xfrm>
          <a:prstGeom prst="rect">
            <a:avLst/>
          </a:prstGeom>
        </p:spPr>
      </p:pic>
      <p:sp>
        <p:nvSpPr>
          <p:cNvPr id="3" name="DisclaimerTextBox"/>
          <p:cNvSpPr/>
          <p:nvPr userDrawn="1"/>
        </p:nvSpPr>
        <p:spPr>
          <a:xfrm>
            <a:off x="479425" y="4571861"/>
            <a:ext cx="11233151" cy="21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48000" rIns="0" bIns="48000" rtlCol="0" anchor="b" anchorCtr="0"/>
          <a:lstStyle/>
          <a:p>
            <a:pPr>
              <a:spcAft>
                <a:spcPts val="533"/>
              </a:spcAft>
            </a:pPr>
            <a:r>
              <a:rPr lang="en-GB" sz="1067" dirty="0"/>
              <a:t>© 2018 Holman Fenwick Willan LLP. All rights reserved</a:t>
            </a:r>
          </a:p>
          <a:p>
            <a:pPr>
              <a:spcAft>
                <a:spcPts val="533"/>
              </a:spcAft>
            </a:pPr>
            <a:r>
              <a:rPr lang="en-GB" sz="1067" dirty="0"/>
              <a:t>Whilst every care has been taken to ensure the accuracy of this information </a:t>
            </a:r>
            <a:br>
              <a:rPr lang="en-GB" sz="1067" dirty="0"/>
            </a:br>
            <a:r>
              <a:rPr lang="en-GB" sz="1067" dirty="0"/>
              <a:t>at the time of publication, the information is intended as guidance only.</a:t>
            </a:r>
          </a:p>
          <a:p>
            <a:pPr>
              <a:spcAft>
                <a:spcPts val="1333"/>
              </a:spcAft>
            </a:pPr>
            <a:r>
              <a:rPr lang="en-GB" sz="1067" dirty="0"/>
              <a:t>It should not be considered as legal advice.</a:t>
            </a:r>
          </a:p>
          <a:p>
            <a:pPr algn="just">
              <a:spcAft>
                <a:spcPts val="533"/>
              </a:spcAft>
            </a:pPr>
            <a:r>
              <a:rPr lang="en-GB" sz="1067" dirty="0"/>
              <a:t>Beirut   Brussels   Dubai   Geneva   Hong Kong   Houston  Jakarta   Kuwait   London   Melbourne   Paris   Perth   Piraeus   Riyadh   São Paulo   Shanghai   Singapore   Sydney</a:t>
            </a:r>
            <a:br>
              <a:rPr lang="en-GB" sz="1067" dirty="0"/>
            </a:br>
            <a:endParaRPr lang="en-GB" sz="1067" dirty="0"/>
          </a:p>
        </p:txBody>
      </p:sp>
      <p:sp>
        <p:nvSpPr>
          <p:cNvPr id="8" name="Text Placeholder 7"/>
          <p:cNvSpPr>
            <a:spLocks noGrp="1"/>
          </p:cNvSpPr>
          <p:nvPr>
            <p:ph type="body" sz="quarter" idx="14" hasCustomPrompt="1"/>
          </p:nvPr>
        </p:nvSpPr>
        <p:spPr>
          <a:xfrm>
            <a:off x="478367" y="1728000"/>
            <a:ext cx="11328000" cy="2661107"/>
          </a:xfrm>
        </p:spPr>
        <p:txBody>
          <a:bodyPr/>
          <a:lstStyle>
            <a:lvl1pPr>
              <a:defRPr sz="2133">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nter thank you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407241053"/>
      </p:ext>
    </p:extLst>
  </p:cSld>
  <p:clrMapOvr>
    <a:masterClrMapping/>
  </p:clrMapOvr>
  <p:extLst>
    <p:ext uri="{DCECCB84-F9BA-43D5-87BE-67443E8EF086}">
      <p15:sldGuideLst xmlns:p15="http://schemas.microsoft.com/office/powerpoint/2012/main">
        <p15:guide id="1" orient="horz" pos="845">
          <p15:clr>
            <a:srgbClr val="FBAE40"/>
          </p15:clr>
        </p15:guide>
        <p15:guide id="2" pos="7378">
          <p15:clr>
            <a:srgbClr val="FBAE40"/>
          </p15:clr>
        </p15:guide>
        <p15:guide id="3" orient="horz" pos="386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Global Firm Timlin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79E2C85A-49EC-785E-FFFC-7BEDF2F8111D}"/>
              </a:ext>
            </a:extLst>
          </p:cNvPr>
          <p:cNvSpPr>
            <a:spLocks noGrp="1"/>
          </p:cNvSpPr>
          <p:nvPr>
            <p:ph type="ftr" sz="quarter" idx="10"/>
          </p:nvPr>
        </p:nvSpPr>
        <p:spPr/>
        <p:txBody>
          <a:bodyPr/>
          <a:lstStyle/>
          <a:p>
            <a:r>
              <a:rPr lang="en-GB"/>
              <a:t>INSERT FOOTER HERE</a:t>
            </a:r>
            <a:endParaRPr lang="en-GB" dirty="0"/>
          </a:p>
        </p:txBody>
      </p:sp>
      <p:sp>
        <p:nvSpPr>
          <p:cNvPr id="4" name="Slide Number Placeholder 3">
            <a:extLst>
              <a:ext uri="{FF2B5EF4-FFF2-40B4-BE49-F238E27FC236}">
                <a16:creationId xmlns:a16="http://schemas.microsoft.com/office/drawing/2014/main" id="{F010FDB5-C834-DA68-59D3-3E40CB62486F}"/>
              </a:ext>
            </a:extLst>
          </p:cNvPr>
          <p:cNvSpPr>
            <a:spLocks noGrp="1"/>
          </p:cNvSpPr>
          <p:nvPr>
            <p:ph type="sldNum" sz="quarter" idx="11"/>
          </p:nvPr>
        </p:nvSpPr>
        <p:spPr/>
        <p:txBody>
          <a:bodyPr/>
          <a:lstStyle/>
          <a:p>
            <a:fld id="{8CFE0557-AA98-4E6C-B0C3-581794696B68}" type="slidenum">
              <a:rPr lang="en-GB" smtClean="0"/>
              <a:pPr/>
              <a:t>‹#›</a:t>
            </a:fld>
            <a:endParaRPr lang="en-GB" dirty="0"/>
          </a:p>
        </p:txBody>
      </p:sp>
      <p:sp>
        <p:nvSpPr>
          <p:cNvPr id="6" name="Freeform: Shape 5">
            <a:extLst>
              <a:ext uri="{FF2B5EF4-FFF2-40B4-BE49-F238E27FC236}">
                <a16:creationId xmlns:a16="http://schemas.microsoft.com/office/drawing/2014/main" id="{B7DEE0B5-D0FC-6E08-18E4-89F179FBE85F}"/>
              </a:ext>
            </a:extLst>
          </p:cNvPr>
          <p:cNvSpPr/>
          <p:nvPr/>
        </p:nvSpPr>
        <p:spPr>
          <a:xfrm>
            <a:off x="508000" y="1379684"/>
            <a:ext cx="11187411" cy="3584124"/>
          </a:xfrm>
          <a:custGeom>
            <a:avLst/>
            <a:gdLst>
              <a:gd name="connsiteX0" fmla="*/ 0 w 11176000"/>
              <a:gd name="connsiteY0" fmla="*/ 2937933 h 2937933"/>
              <a:gd name="connsiteX1" fmla="*/ 11176000 w 11176000"/>
              <a:gd name="connsiteY1" fmla="*/ 2937933 h 2937933"/>
              <a:gd name="connsiteX2" fmla="*/ 11176000 w 11176000"/>
              <a:gd name="connsiteY2" fmla="*/ 1371600 h 2937933"/>
              <a:gd name="connsiteX3" fmla="*/ 8467 w 11176000"/>
              <a:gd name="connsiteY3" fmla="*/ 1371600 h 2937933"/>
              <a:gd name="connsiteX4" fmla="*/ 8467 w 11176000"/>
              <a:gd name="connsiteY4" fmla="*/ 0 h 2937933"/>
              <a:gd name="connsiteX5" fmla="*/ 11167533 w 11176000"/>
              <a:gd name="connsiteY5" fmla="*/ 0 h 2937933"/>
              <a:gd name="connsiteX0" fmla="*/ 0 w 11187411"/>
              <a:gd name="connsiteY0" fmla="*/ 3122668 h 3122668"/>
              <a:gd name="connsiteX1" fmla="*/ 11176000 w 11187411"/>
              <a:gd name="connsiteY1" fmla="*/ 3122668 h 3122668"/>
              <a:gd name="connsiteX2" fmla="*/ 11176000 w 11187411"/>
              <a:gd name="connsiteY2" fmla="*/ 1556335 h 3122668"/>
              <a:gd name="connsiteX3" fmla="*/ 8467 w 11187411"/>
              <a:gd name="connsiteY3" fmla="*/ 1556335 h 3122668"/>
              <a:gd name="connsiteX4" fmla="*/ 8467 w 11187411"/>
              <a:gd name="connsiteY4" fmla="*/ 184735 h 3122668"/>
              <a:gd name="connsiteX5" fmla="*/ 11187411 w 11187411"/>
              <a:gd name="connsiteY5" fmla="*/ 0 h 3122668"/>
              <a:gd name="connsiteX0" fmla="*/ 0 w 11187411"/>
              <a:gd name="connsiteY0" fmla="*/ 3122668 h 3122668"/>
              <a:gd name="connsiteX1" fmla="*/ 11176000 w 11187411"/>
              <a:gd name="connsiteY1" fmla="*/ 3122668 h 3122668"/>
              <a:gd name="connsiteX2" fmla="*/ 11176000 w 11187411"/>
              <a:gd name="connsiteY2" fmla="*/ 1556335 h 3122668"/>
              <a:gd name="connsiteX3" fmla="*/ 8467 w 11187411"/>
              <a:gd name="connsiteY3" fmla="*/ 1556335 h 3122668"/>
              <a:gd name="connsiteX4" fmla="*/ 1841 w 11187411"/>
              <a:gd name="connsiteY4" fmla="*/ 5773 h 3122668"/>
              <a:gd name="connsiteX5" fmla="*/ 11187411 w 11187411"/>
              <a:gd name="connsiteY5" fmla="*/ 0 h 3122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87411" h="3122668">
                <a:moveTo>
                  <a:pt x="0" y="3122668"/>
                </a:moveTo>
                <a:lnTo>
                  <a:pt x="11176000" y="3122668"/>
                </a:lnTo>
                <a:lnTo>
                  <a:pt x="11176000" y="1556335"/>
                </a:lnTo>
                <a:lnTo>
                  <a:pt x="8467" y="1556335"/>
                </a:lnTo>
                <a:cubicBezTo>
                  <a:pt x="6258" y="1039481"/>
                  <a:pt x="4050" y="522627"/>
                  <a:pt x="1841" y="5773"/>
                </a:cubicBezTo>
                <a:lnTo>
                  <a:pt x="11187411" y="0"/>
                </a:lnTo>
              </a:path>
            </a:pathLst>
          </a:custGeom>
          <a:noFill/>
          <a:ln w="57150" cap="rnd">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172" name="Group 171">
            <a:extLst>
              <a:ext uri="{FF2B5EF4-FFF2-40B4-BE49-F238E27FC236}">
                <a16:creationId xmlns:a16="http://schemas.microsoft.com/office/drawing/2014/main" id="{C7189F71-CCE3-BE56-8F85-3DD492CF8A89}"/>
              </a:ext>
            </a:extLst>
          </p:cNvPr>
          <p:cNvGrpSpPr/>
          <p:nvPr userDrawn="1"/>
        </p:nvGrpSpPr>
        <p:grpSpPr>
          <a:xfrm>
            <a:off x="4705446" y="2934342"/>
            <a:ext cx="1404000" cy="1563333"/>
            <a:chOff x="4705446" y="2934342"/>
            <a:chExt cx="1404000" cy="1563333"/>
          </a:xfrm>
        </p:grpSpPr>
        <p:sp>
          <p:nvSpPr>
            <p:cNvPr id="146" name="TextBox 145">
              <a:extLst>
                <a:ext uri="{FF2B5EF4-FFF2-40B4-BE49-F238E27FC236}">
                  <a16:creationId xmlns:a16="http://schemas.microsoft.com/office/drawing/2014/main" id="{BA927E9F-BDDE-C5A9-8A6B-CFC8A69263EC}"/>
                </a:ext>
              </a:extLst>
            </p:cNvPr>
            <p:cNvSpPr txBox="1"/>
            <p:nvPr/>
          </p:nvSpPr>
          <p:spPr>
            <a:xfrm>
              <a:off x="4705446" y="3468045"/>
              <a:ext cx="1404000" cy="1029630"/>
            </a:xfrm>
            <a:prstGeom prst="rect">
              <a:avLst/>
            </a:prstGeom>
          </p:spPr>
          <p:txBody>
            <a:bodyPr vert="horz" wrap="square" lIns="0" tIns="45720" rIns="0" bIns="45720" rtlCol="0">
              <a:noAutofit/>
            </a:bodyPr>
            <a:lstStyle/>
            <a:p>
              <a:pPr algn="ctr">
                <a:spcBef>
                  <a:spcPts val="500"/>
                </a:spcBef>
                <a:spcAft>
                  <a:spcPts val="400"/>
                </a:spcAft>
              </a:pPr>
              <a:r>
                <a:rPr lang="en-GB" dirty="0">
                  <a:solidFill>
                    <a:schemeClr val="accent2"/>
                  </a:solidFill>
                  <a:latin typeface="+mj-lt"/>
                </a:rPr>
                <a:t>2011</a:t>
              </a:r>
              <a:endParaRPr lang="en-GB" sz="1200" dirty="0">
                <a:solidFill>
                  <a:schemeClr val="accent2"/>
                </a:solidFill>
              </a:endParaRPr>
            </a:p>
            <a:p>
              <a:pPr algn="ctr">
                <a:spcBef>
                  <a:spcPts val="500"/>
                </a:spcBef>
                <a:spcAft>
                  <a:spcPts val="400"/>
                </a:spcAft>
              </a:pPr>
              <a:r>
                <a:rPr lang="en-GB" sz="1100" dirty="0"/>
                <a:t>São Paulo </a:t>
              </a:r>
              <a:br>
                <a:rPr lang="en-GB" sz="1100" dirty="0"/>
              </a:br>
              <a:r>
                <a:rPr lang="en-GB" sz="1100" dirty="0"/>
                <a:t>office</a:t>
              </a:r>
            </a:p>
          </p:txBody>
        </p:sp>
        <p:cxnSp>
          <p:nvCxnSpPr>
            <p:cNvPr id="147" name="Straight Connector 146">
              <a:extLst>
                <a:ext uri="{FF2B5EF4-FFF2-40B4-BE49-F238E27FC236}">
                  <a16:creationId xmlns:a16="http://schemas.microsoft.com/office/drawing/2014/main" id="{0B379C5F-C682-251C-BF54-A92C470C48B4}"/>
                </a:ext>
              </a:extLst>
            </p:cNvPr>
            <p:cNvCxnSpPr>
              <a:cxnSpLocks/>
            </p:cNvCxnSpPr>
            <p:nvPr/>
          </p:nvCxnSpPr>
          <p:spPr>
            <a:xfrm>
              <a:off x="4810093" y="3840944"/>
              <a:ext cx="1194707" cy="0"/>
            </a:xfrm>
            <a:prstGeom prst="line">
              <a:avLst/>
            </a:prstGeom>
            <a:ln w="19050" cap="rnd">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48" name="Group 147">
              <a:extLst>
                <a:ext uri="{FF2B5EF4-FFF2-40B4-BE49-F238E27FC236}">
                  <a16:creationId xmlns:a16="http://schemas.microsoft.com/office/drawing/2014/main" id="{D82B2515-D472-233F-3EC5-962DF2817848}"/>
                </a:ext>
              </a:extLst>
            </p:cNvPr>
            <p:cNvGrpSpPr/>
            <p:nvPr/>
          </p:nvGrpSpPr>
          <p:grpSpPr>
            <a:xfrm>
              <a:off x="5167517" y="2934342"/>
              <a:ext cx="479858" cy="479856"/>
              <a:chOff x="5073920" y="2797526"/>
              <a:chExt cx="644255" cy="644255"/>
            </a:xfrm>
            <a:solidFill>
              <a:schemeClr val="accent2"/>
            </a:solidFill>
          </p:grpSpPr>
          <p:sp>
            <p:nvSpPr>
              <p:cNvPr id="149" name="Oval 148">
                <a:extLst>
                  <a:ext uri="{FF2B5EF4-FFF2-40B4-BE49-F238E27FC236}">
                    <a16:creationId xmlns:a16="http://schemas.microsoft.com/office/drawing/2014/main" id="{28864D32-7F11-8B97-A4E1-B7E10CF5CA9E}"/>
                  </a:ext>
                </a:extLst>
              </p:cNvPr>
              <p:cNvSpPr/>
              <p:nvPr/>
            </p:nvSpPr>
            <p:spPr>
              <a:xfrm>
                <a:off x="5185045" y="2908652"/>
                <a:ext cx="422006" cy="4220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0" name="Circle: Hollow 149">
                <a:extLst>
                  <a:ext uri="{FF2B5EF4-FFF2-40B4-BE49-F238E27FC236}">
                    <a16:creationId xmlns:a16="http://schemas.microsoft.com/office/drawing/2014/main" id="{5C76CD87-2BA8-96CB-E060-33923B1AD7E0}"/>
                  </a:ext>
                </a:extLst>
              </p:cNvPr>
              <p:cNvSpPr/>
              <p:nvPr/>
            </p:nvSpPr>
            <p:spPr>
              <a:xfrm>
                <a:off x="5073920" y="2797526"/>
                <a:ext cx="644255" cy="644255"/>
              </a:xfrm>
              <a:prstGeom prst="donut">
                <a:avLst>
                  <a:gd name="adj" fmla="val 1268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grpSp>
      </p:grpSp>
      <p:grpSp>
        <p:nvGrpSpPr>
          <p:cNvPr id="173" name="Group 172">
            <a:extLst>
              <a:ext uri="{FF2B5EF4-FFF2-40B4-BE49-F238E27FC236}">
                <a16:creationId xmlns:a16="http://schemas.microsoft.com/office/drawing/2014/main" id="{9F45D9BA-C7B4-C20F-B9C5-34B6DE3ADDCA}"/>
              </a:ext>
            </a:extLst>
          </p:cNvPr>
          <p:cNvGrpSpPr/>
          <p:nvPr userDrawn="1"/>
        </p:nvGrpSpPr>
        <p:grpSpPr>
          <a:xfrm>
            <a:off x="6080968" y="2934342"/>
            <a:ext cx="1404000" cy="1563333"/>
            <a:chOff x="6080968" y="2934342"/>
            <a:chExt cx="1404000" cy="1563333"/>
          </a:xfrm>
        </p:grpSpPr>
        <p:sp>
          <p:nvSpPr>
            <p:cNvPr id="141" name="TextBox 140">
              <a:extLst>
                <a:ext uri="{FF2B5EF4-FFF2-40B4-BE49-F238E27FC236}">
                  <a16:creationId xmlns:a16="http://schemas.microsoft.com/office/drawing/2014/main" id="{CAE2E6E8-5070-0DA7-2236-56AA7D288423}"/>
                </a:ext>
              </a:extLst>
            </p:cNvPr>
            <p:cNvSpPr txBox="1"/>
            <p:nvPr/>
          </p:nvSpPr>
          <p:spPr>
            <a:xfrm>
              <a:off x="6080968" y="3468045"/>
              <a:ext cx="1404000" cy="1029630"/>
            </a:xfrm>
            <a:prstGeom prst="rect">
              <a:avLst/>
            </a:prstGeom>
          </p:spPr>
          <p:txBody>
            <a:bodyPr vert="horz" wrap="square" lIns="0" tIns="45720" rIns="0" bIns="45720" rtlCol="0">
              <a:noAutofit/>
            </a:bodyPr>
            <a:lstStyle/>
            <a:p>
              <a:pPr algn="ctr">
                <a:spcBef>
                  <a:spcPts val="500"/>
                </a:spcBef>
                <a:spcAft>
                  <a:spcPts val="400"/>
                </a:spcAft>
              </a:pPr>
              <a:r>
                <a:rPr lang="en-GB" dirty="0">
                  <a:solidFill>
                    <a:schemeClr val="accent2"/>
                  </a:solidFill>
                  <a:latin typeface="+mj-lt"/>
                </a:rPr>
                <a:t>2016</a:t>
              </a:r>
              <a:endParaRPr lang="en-GB" sz="1200" dirty="0">
                <a:solidFill>
                  <a:schemeClr val="accent2"/>
                </a:solidFill>
              </a:endParaRPr>
            </a:p>
            <a:p>
              <a:pPr algn="ctr">
                <a:spcBef>
                  <a:spcPts val="500"/>
                </a:spcBef>
                <a:spcAft>
                  <a:spcPts val="400"/>
                </a:spcAft>
              </a:pPr>
              <a:r>
                <a:rPr lang="en-GB" sz="1100" dirty="0"/>
                <a:t>Kuwait </a:t>
              </a:r>
              <a:br>
                <a:rPr lang="en-GB" sz="1100" dirty="0"/>
              </a:br>
              <a:r>
                <a:rPr lang="en-GB" sz="1100" dirty="0"/>
                <a:t>office</a:t>
              </a:r>
            </a:p>
          </p:txBody>
        </p:sp>
        <p:cxnSp>
          <p:nvCxnSpPr>
            <p:cNvPr id="142" name="Straight Connector 141">
              <a:extLst>
                <a:ext uri="{FF2B5EF4-FFF2-40B4-BE49-F238E27FC236}">
                  <a16:creationId xmlns:a16="http://schemas.microsoft.com/office/drawing/2014/main" id="{4C46D408-A28A-0AFC-730B-DD0828DC5F2F}"/>
                </a:ext>
              </a:extLst>
            </p:cNvPr>
            <p:cNvCxnSpPr>
              <a:cxnSpLocks/>
            </p:cNvCxnSpPr>
            <p:nvPr/>
          </p:nvCxnSpPr>
          <p:spPr>
            <a:xfrm>
              <a:off x="6185615" y="3840944"/>
              <a:ext cx="1194707" cy="0"/>
            </a:xfrm>
            <a:prstGeom prst="line">
              <a:avLst/>
            </a:prstGeom>
            <a:ln w="19050" cap="rnd">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43" name="Group 142">
              <a:extLst>
                <a:ext uri="{FF2B5EF4-FFF2-40B4-BE49-F238E27FC236}">
                  <a16:creationId xmlns:a16="http://schemas.microsoft.com/office/drawing/2014/main" id="{52C06CA0-FF5B-468F-6E8B-2CAB1527B7C4}"/>
                </a:ext>
              </a:extLst>
            </p:cNvPr>
            <p:cNvGrpSpPr/>
            <p:nvPr/>
          </p:nvGrpSpPr>
          <p:grpSpPr>
            <a:xfrm>
              <a:off x="6543039" y="2934342"/>
              <a:ext cx="479858" cy="479856"/>
              <a:chOff x="5073920" y="2797526"/>
              <a:chExt cx="644255" cy="644255"/>
            </a:xfrm>
            <a:solidFill>
              <a:schemeClr val="accent2"/>
            </a:solidFill>
          </p:grpSpPr>
          <p:sp>
            <p:nvSpPr>
              <p:cNvPr id="144" name="Oval 143">
                <a:extLst>
                  <a:ext uri="{FF2B5EF4-FFF2-40B4-BE49-F238E27FC236}">
                    <a16:creationId xmlns:a16="http://schemas.microsoft.com/office/drawing/2014/main" id="{D9B73AC9-BF19-2194-2A97-9C1EF0E6E3F9}"/>
                  </a:ext>
                </a:extLst>
              </p:cNvPr>
              <p:cNvSpPr/>
              <p:nvPr/>
            </p:nvSpPr>
            <p:spPr>
              <a:xfrm>
                <a:off x="5185045" y="2908652"/>
                <a:ext cx="422006" cy="4220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5" name="Circle: Hollow 144">
                <a:extLst>
                  <a:ext uri="{FF2B5EF4-FFF2-40B4-BE49-F238E27FC236}">
                    <a16:creationId xmlns:a16="http://schemas.microsoft.com/office/drawing/2014/main" id="{B37DFA53-D99A-8578-A48B-8983C0D60611}"/>
                  </a:ext>
                </a:extLst>
              </p:cNvPr>
              <p:cNvSpPr/>
              <p:nvPr/>
            </p:nvSpPr>
            <p:spPr>
              <a:xfrm>
                <a:off x="5073920" y="2797526"/>
                <a:ext cx="644255" cy="644255"/>
              </a:xfrm>
              <a:prstGeom prst="donut">
                <a:avLst>
                  <a:gd name="adj" fmla="val 1268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grpSp>
      </p:grpSp>
      <p:grpSp>
        <p:nvGrpSpPr>
          <p:cNvPr id="174" name="Group 173">
            <a:extLst>
              <a:ext uri="{FF2B5EF4-FFF2-40B4-BE49-F238E27FC236}">
                <a16:creationId xmlns:a16="http://schemas.microsoft.com/office/drawing/2014/main" id="{EC3A4A00-88BA-8333-B304-667D46E2E4C3}"/>
              </a:ext>
            </a:extLst>
          </p:cNvPr>
          <p:cNvGrpSpPr/>
          <p:nvPr userDrawn="1"/>
        </p:nvGrpSpPr>
        <p:grpSpPr>
          <a:xfrm>
            <a:off x="7456490" y="2934342"/>
            <a:ext cx="1404000" cy="1563333"/>
            <a:chOff x="7456490" y="2934342"/>
            <a:chExt cx="1404000" cy="1563333"/>
          </a:xfrm>
        </p:grpSpPr>
        <p:sp>
          <p:nvSpPr>
            <p:cNvPr id="136" name="TextBox 135">
              <a:extLst>
                <a:ext uri="{FF2B5EF4-FFF2-40B4-BE49-F238E27FC236}">
                  <a16:creationId xmlns:a16="http://schemas.microsoft.com/office/drawing/2014/main" id="{2B543638-2B50-3808-1322-2B721C654CDD}"/>
                </a:ext>
              </a:extLst>
            </p:cNvPr>
            <p:cNvSpPr txBox="1"/>
            <p:nvPr/>
          </p:nvSpPr>
          <p:spPr>
            <a:xfrm>
              <a:off x="7456490" y="3468045"/>
              <a:ext cx="1404000" cy="1029630"/>
            </a:xfrm>
            <a:prstGeom prst="rect">
              <a:avLst/>
            </a:prstGeom>
          </p:spPr>
          <p:txBody>
            <a:bodyPr vert="horz" wrap="square" lIns="0" tIns="45720" rIns="0" bIns="45720" rtlCol="0">
              <a:noAutofit/>
            </a:bodyPr>
            <a:lstStyle/>
            <a:p>
              <a:pPr algn="ctr">
                <a:spcBef>
                  <a:spcPts val="500"/>
                </a:spcBef>
                <a:spcAft>
                  <a:spcPts val="400"/>
                </a:spcAft>
              </a:pPr>
              <a:r>
                <a:rPr lang="en-GB" dirty="0">
                  <a:solidFill>
                    <a:schemeClr val="accent2"/>
                  </a:solidFill>
                  <a:latin typeface="+mj-lt"/>
                </a:rPr>
                <a:t>2016</a:t>
              </a:r>
              <a:endParaRPr lang="en-GB" sz="1200" dirty="0">
                <a:solidFill>
                  <a:schemeClr val="accent2"/>
                </a:solidFill>
              </a:endParaRPr>
            </a:p>
            <a:p>
              <a:pPr algn="ctr">
                <a:spcBef>
                  <a:spcPts val="500"/>
                </a:spcBef>
                <a:spcAft>
                  <a:spcPts val="400"/>
                </a:spcAft>
              </a:pPr>
              <a:r>
                <a:rPr lang="en-GB" sz="1100" dirty="0"/>
                <a:t>Riyadh </a:t>
              </a:r>
              <a:br>
                <a:rPr lang="en-GB" sz="1100" dirty="0"/>
              </a:br>
              <a:r>
                <a:rPr lang="en-GB" sz="1100" dirty="0"/>
                <a:t>office</a:t>
              </a:r>
            </a:p>
          </p:txBody>
        </p:sp>
        <p:cxnSp>
          <p:nvCxnSpPr>
            <p:cNvPr id="137" name="Straight Connector 136">
              <a:extLst>
                <a:ext uri="{FF2B5EF4-FFF2-40B4-BE49-F238E27FC236}">
                  <a16:creationId xmlns:a16="http://schemas.microsoft.com/office/drawing/2014/main" id="{B1E09565-7AA4-F157-8852-5DC41F7A66B6}"/>
                </a:ext>
              </a:extLst>
            </p:cNvPr>
            <p:cNvCxnSpPr>
              <a:cxnSpLocks/>
            </p:cNvCxnSpPr>
            <p:nvPr/>
          </p:nvCxnSpPr>
          <p:spPr>
            <a:xfrm>
              <a:off x="7561137" y="3840944"/>
              <a:ext cx="1194707" cy="0"/>
            </a:xfrm>
            <a:prstGeom prst="line">
              <a:avLst/>
            </a:prstGeom>
            <a:ln w="19050" cap="rnd">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38" name="Group 137">
              <a:extLst>
                <a:ext uri="{FF2B5EF4-FFF2-40B4-BE49-F238E27FC236}">
                  <a16:creationId xmlns:a16="http://schemas.microsoft.com/office/drawing/2014/main" id="{DA26A4AF-446D-D8D0-BD01-317F62DBD187}"/>
                </a:ext>
              </a:extLst>
            </p:cNvPr>
            <p:cNvGrpSpPr/>
            <p:nvPr/>
          </p:nvGrpSpPr>
          <p:grpSpPr>
            <a:xfrm>
              <a:off x="7918561" y="2934342"/>
              <a:ext cx="479858" cy="479856"/>
              <a:chOff x="5073920" y="2797526"/>
              <a:chExt cx="644255" cy="644255"/>
            </a:xfrm>
            <a:solidFill>
              <a:schemeClr val="accent2"/>
            </a:solidFill>
          </p:grpSpPr>
          <p:sp>
            <p:nvSpPr>
              <p:cNvPr id="139" name="Oval 138">
                <a:extLst>
                  <a:ext uri="{FF2B5EF4-FFF2-40B4-BE49-F238E27FC236}">
                    <a16:creationId xmlns:a16="http://schemas.microsoft.com/office/drawing/2014/main" id="{A0EEE40E-C29B-77EB-794D-9A4281659718}"/>
                  </a:ext>
                </a:extLst>
              </p:cNvPr>
              <p:cNvSpPr/>
              <p:nvPr/>
            </p:nvSpPr>
            <p:spPr>
              <a:xfrm>
                <a:off x="5185045" y="2908652"/>
                <a:ext cx="422006" cy="4220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0" name="Circle: Hollow 139">
                <a:extLst>
                  <a:ext uri="{FF2B5EF4-FFF2-40B4-BE49-F238E27FC236}">
                    <a16:creationId xmlns:a16="http://schemas.microsoft.com/office/drawing/2014/main" id="{ABE0B33B-0A2A-3B29-DB36-23AF72C3C3B9}"/>
                  </a:ext>
                </a:extLst>
              </p:cNvPr>
              <p:cNvSpPr/>
              <p:nvPr/>
            </p:nvSpPr>
            <p:spPr>
              <a:xfrm>
                <a:off x="5073920" y="2797526"/>
                <a:ext cx="644255" cy="644255"/>
              </a:xfrm>
              <a:prstGeom prst="donut">
                <a:avLst>
                  <a:gd name="adj" fmla="val 1268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grpSp>
      </p:grpSp>
      <p:grpSp>
        <p:nvGrpSpPr>
          <p:cNvPr id="175" name="Group 174">
            <a:extLst>
              <a:ext uri="{FF2B5EF4-FFF2-40B4-BE49-F238E27FC236}">
                <a16:creationId xmlns:a16="http://schemas.microsoft.com/office/drawing/2014/main" id="{BE685E0D-E5FD-E89F-BB5B-860104156B68}"/>
              </a:ext>
            </a:extLst>
          </p:cNvPr>
          <p:cNvGrpSpPr/>
          <p:nvPr userDrawn="1"/>
        </p:nvGrpSpPr>
        <p:grpSpPr>
          <a:xfrm>
            <a:off x="8832012" y="2934342"/>
            <a:ext cx="1404000" cy="1563333"/>
            <a:chOff x="8832012" y="2934342"/>
            <a:chExt cx="1404000" cy="1563333"/>
          </a:xfrm>
        </p:grpSpPr>
        <p:sp>
          <p:nvSpPr>
            <p:cNvPr id="131" name="TextBox 130">
              <a:extLst>
                <a:ext uri="{FF2B5EF4-FFF2-40B4-BE49-F238E27FC236}">
                  <a16:creationId xmlns:a16="http://schemas.microsoft.com/office/drawing/2014/main" id="{188A7F4D-B7C1-C7FE-8E7C-31E4D36D6449}"/>
                </a:ext>
              </a:extLst>
            </p:cNvPr>
            <p:cNvSpPr txBox="1"/>
            <p:nvPr/>
          </p:nvSpPr>
          <p:spPr>
            <a:xfrm>
              <a:off x="8832012" y="3468045"/>
              <a:ext cx="1404000" cy="1029630"/>
            </a:xfrm>
            <a:prstGeom prst="rect">
              <a:avLst/>
            </a:prstGeom>
          </p:spPr>
          <p:txBody>
            <a:bodyPr vert="horz" wrap="square" lIns="0" tIns="45720" rIns="0" bIns="45720" rtlCol="0">
              <a:noAutofit/>
            </a:bodyPr>
            <a:lstStyle/>
            <a:p>
              <a:pPr algn="ctr">
                <a:spcBef>
                  <a:spcPts val="500"/>
                </a:spcBef>
                <a:spcAft>
                  <a:spcPts val="400"/>
                </a:spcAft>
              </a:pPr>
              <a:r>
                <a:rPr lang="en-GB" dirty="0">
                  <a:solidFill>
                    <a:schemeClr val="accent2"/>
                  </a:solidFill>
                  <a:latin typeface="+mj-lt"/>
                </a:rPr>
                <a:t>2009</a:t>
              </a:r>
              <a:endParaRPr lang="en-GB" sz="1200" dirty="0">
                <a:solidFill>
                  <a:schemeClr val="accent2"/>
                </a:solidFill>
              </a:endParaRPr>
            </a:p>
            <a:p>
              <a:pPr algn="ctr">
                <a:spcBef>
                  <a:spcPts val="500"/>
                </a:spcBef>
                <a:spcAft>
                  <a:spcPts val="400"/>
                </a:spcAft>
              </a:pPr>
              <a:r>
                <a:rPr lang="en-GB" sz="1100" dirty="0"/>
                <a:t>Brussels </a:t>
              </a:r>
              <a:br>
                <a:rPr lang="en-GB" sz="1100" dirty="0"/>
              </a:br>
              <a:r>
                <a:rPr lang="en-GB" sz="1100" dirty="0"/>
                <a:t>office</a:t>
              </a:r>
            </a:p>
          </p:txBody>
        </p:sp>
        <p:cxnSp>
          <p:nvCxnSpPr>
            <p:cNvPr id="132" name="Straight Connector 131">
              <a:extLst>
                <a:ext uri="{FF2B5EF4-FFF2-40B4-BE49-F238E27FC236}">
                  <a16:creationId xmlns:a16="http://schemas.microsoft.com/office/drawing/2014/main" id="{ADAE2CB4-C824-5502-6EFB-AE04DF504211}"/>
                </a:ext>
              </a:extLst>
            </p:cNvPr>
            <p:cNvCxnSpPr>
              <a:cxnSpLocks/>
            </p:cNvCxnSpPr>
            <p:nvPr/>
          </p:nvCxnSpPr>
          <p:spPr>
            <a:xfrm>
              <a:off x="8936659" y="3840944"/>
              <a:ext cx="1194707" cy="0"/>
            </a:xfrm>
            <a:prstGeom prst="line">
              <a:avLst/>
            </a:prstGeom>
            <a:ln w="19050" cap="rnd">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33" name="Group 132">
              <a:extLst>
                <a:ext uri="{FF2B5EF4-FFF2-40B4-BE49-F238E27FC236}">
                  <a16:creationId xmlns:a16="http://schemas.microsoft.com/office/drawing/2014/main" id="{3904A1A5-655C-82ED-FBCD-7473B540D62C}"/>
                </a:ext>
              </a:extLst>
            </p:cNvPr>
            <p:cNvGrpSpPr/>
            <p:nvPr/>
          </p:nvGrpSpPr>
          <p:grpSpPr>
            <a:xfrm>
              <a:off x="9294083" y="2934342"/>
              <a:ext cx="479858" cy="479856"/>
              <a:chOff x="5073920" y="2797526"/>
              <a:chExt cx="644255" cy="644255"/>
            </a:xfrm>
            <a:solidFill>
              <a:schemeClr val="accent2"/>
            </a:solidFill>
          </p:grpSpPr>
          <p:sp>
            <p:nvSpPr>
              <p:cNvPr id="134" name="Oval 133">
                <a:extLst>
                  <a:ext uri="{FF2B5EF4-FFF2-40B4-BE49-F238E27FC236}">
                    <a16:creationId xmlns:a16="http://schemas.microsoft.com/office/drawing/2014/main" id="{8DB537DF-C803-5B63-7D02-DE5170F0EBA9}"/>
                  </a:ext>
                </a:extLst>
              </p:cNvPr>
              <p:cNvSpPr/>
              <p:nvPr/>
            </p:nvSpPr>
            <p:spPr>
              <a:xfrm>
                <a:off x="5185045" y="2908652"/>
                <a:ext cx="422006" cy="4220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5" name="Circle: Hollow 134">
                <a:extLst>
                  <a:ext uri="{FF2B5EF4-FFF2-40B4-BE49-F238E27FC236}">
                    <a16:creationId xmlns:a16="http://schemas.microsoft.com/office/drawing/2014/main" id="{0BAC0AD0-02DB-2086-9C26-028257364B8A}"/>
                  </a:ext>
                </a:extLst>
              </p:cNvPr>
              <p:cNvSpPr/>
              <p:nvPr/>
            </p:nvSpPr>
            <p:spPr>
              <a:xfrm>
                <a:off x="5073920" y="2797526"/>
                <a:ext cx="644255" cy="644255"/>
              </a:xfrm>
              <a:prstGeom prst="donut">
                <a:avLst>
                  <a:gd name="adj" fmla="val 1268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grpSp>
      </p:grpSp>
      <p:grpSp>
        <p:nvGrpSpPr>
          <p:cNvPr id="159" name="Group 158">
            <a:extLst>
              <a:ext uri="{FF2B5EF4-FFF2-40B4-BE49-F238E27FC236}">
                <a16:creationId xmlns:a16="http://schemas.microsoft.com/office/drawing/2014/main" id="{B78F2388-FD6F-485F-9EB8-E76A14CB7AE2}"/>
              </a:ext>
            </a:extLst>
          </p:cNvPr>
          <p:cNvGrpSpPr/>
          <p:nvPr userDrawn="1"/>
        </p:nvGrpSpPr>
        <p:grpSpPr>
          <a:xfrm>
            <a:off x="10207533" y="2934342"/>
            <a:ext cx="1404000" cy="1563333"/>
            <a:chOff x="10207533" y="2934342"/>
            <a:chExt cx="1404000" cy="1563333"/>
          </a:xfrm>
        </p:grpSpPr>
        <p:sp>
          <p:nvSpPr>
            <p:cNvPr id="126" name="TextBox 125">
              <a:extLst>
                <a:ext uri="{FF2B5EF4-FFF2-40B4-BE49-F238E27FC236}">
                  <a16:creationId xmlns:a16="http://schemas.microsoft.com/office/drawing/2014/main" id="{284EB7C1-CAD5-63F7-0051-067552496E37}"/>
                </a:ext>
              </a:extLst>
            </p:cNvPr>
            <p:cNvSpPr txBox="1"/>
            <p:nvPr/>
          </p:nvSpPr>
          <p:spPr>
            <a:xfrm>
              <a:off x="10207533" y="3468045"/>
              <a:ext cx="1404000" cy="1029630"/>
            </a:xfrm>
            <a:prstGeom prst="rect">
              <a:avLst/>
            </a:prstGeom>
          </p:spPr>
          <p:txBody>
            <a:bodyPr vert="horz" wrap="square" lIns="0" tIns="45720" rIns="0" bIns="45720" rtlCol="0">
              <a:noAutofit/>
            </a:bodyPr>
            <a:lstStyle/>
            <a:p>
              <a:pPr algn="ctr">
                <a:spcBef>
                  <a:spcPts val="500"/>
                </a:spcBef>
                <a:spcAft>
                  <a:spcPts val="400"/>
                </a:spcAft>
              </a:pPr>
              <a:r>
                <a:rPr lang="en-GB" dirty="0">
                  <a:solidFill>
                    <a:schemeClr val="accent2"/>
                  </a:solidFill>
                  <a:latin typeface="+mj-lt"/>
                </a:rPr>
                <a:t>2009</a:t>
              </a:r>
              <a:endParaRPr lang="en-GB" sz="1200" dirty="0">
                <a:solidFill>
                  <a:schemeClr val="accent2"/>
                </a:solidFill>
              </a:endParaRPr>
            </a:p>
            <a:p>
              <a:pPr algn="ctr">
                <a:spcBef>
                  <a:spcPts val="500"/>
                </a:spcBef>
                <a:spcAft>
                  <a:spcPts val="400"/>
                </a:spcAft>
              </a:pPr>
              <a:r>
                <a:rPr lang="en-GB" sz="1100" dirty="0"/>
                <a:t>Sydney </a:t>
              </a:r>
              <a:br>
                <a:rPr lang="en-GB" sz="1100" dirty="0"/>
              </a:br>
              <a:r>
                <a:rPr lang="en-GB" sz="1100" dirty="0"/>
                <a:t>office</a:t>
              </a:r>
            </a:p>
          </p:txBody>
        </p:sp>
        <p:cxnSp>
          <p:nvCxnSpPr>
            <p:cNvPr id="127" name="Straight Connector 126">
              <a:extLst>
                <a:ext uri="{FF2B5EF4-FFF2-40B4-BE49-F238E27FC236}">
                  <a16:creationId xmlns:a16="http://schemas.microsoft.com/office/drawing/2014/main" id="{0BF52C1C-B544-B889-BAE5-7AA8D763F09B}"/>
                </a:ext>
              </a:extLst>
            </p:cNvPr>
            <p:cNvCxnSpPr>
              <a:cxnSpLocks/>
            </p:cNvCxnSpPr>
            <p:nvPr/>
          </p:nvCxnSpPr>
          <p:spPr>
            <a:xfrm>
              <a:off x="10312180" y="3840944"/>
              <a:ext cx="1194707" cy="0"/>
            </a:xfrm>
            <a:prstGeom prst="line">
              <a:avLst/>
            </a:prstGeom>
            <a:ln w="19050" cap="rnd">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28" name="Group 127">
              <a:extLst>
                <a:ext uri="{FF2B5EF4-FFF2-40B4-BE49-F238E27FC236}">
                  <a16:creationId xmlns:a16="http://schemas.microsoft.com/office/drawing/2014/main" id="{A8615157-FF69-43F5-72FE-90C05FB5968C}"/>
                </a:ext>
              </a:extLst>
            </p:cNvPr>
            <p:cNvGrpSpPr/>
            <p:nvPr/>
          </p:nvGrpSpPr>
          <p:grpSpPr>
            <a:xfrm>
              <a:off x="10669604" y="2934342"/>
              <a:ext cx="479858" cy="479856"/>
              <a:chOff x="5073920" y="2797526"/>
              <a:chExt cx="644255" cy="644255"/>
            </a:xfrm>
            <a:solidFill>
              <a:schemeClr val="accent2"/>
            </a:solidFill>
          </p:grpSpPr>
          <p:sp>
            <p:nvSpPr>
              <p:cNvPr id="129" name="Oval 128">
                <a:extLst>
                  <a:ext uri="{FF2B5EF4-FFF2-40B4-BE49-F238E27FC236}">
                    <a16:creationId xmlns:a16="http://schemas.microsoft.com/office/drawing/2014/main" id="{78487857-4238-77FA-40E9-A5450461B59B}"/>
                  </a:ext>
                </a:extLst>
              </p:cNvPr>
              <p:cNvSpPr/>
              <p:nvPr/>
            </p:nvSpPr>
            <p:spPr>
              <a:xfrm>
                <a:off x="5185045" y="2908652"/>
                <a:ext cx="422006" cy="4220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0" name="Circle: Hollow 129">
                <a:extLst>
                  <a:ext uri="{FF2B5EF4-FFF2-40B4-BE49-F238E27FC236}">
                    <a16:creationId xmlns:a16="http://schemas.microsoft.com/office/drawing/2014/main" id="{D96ABB3D-73D9-3DE8-FBD5-DCBC88A69236}"/>
                  </a:ext>
                </a:extLst>
              </p:cNvPr>
              <p:cNvSpPr/>
              <p:nvPr/>
            </p:nvSpPr>
            <p:spPr>
              <a:xfrm>
                <a:off x="5073920" y="2797526"/>
                <a:ext cx="644255" cy="644255"/>
              </a:xfrm>
              <a:prstGeom prst="donut">
                <a:avLst>
                  <a:gd name="adj" fmla="val 1268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grpSp>
      </p:grpSp>
      <p:grpSp>
        <p:nvGrpSpPr>
          <p:cNvPr id="169" name="Group 168">
            <a:extLst>
              <a:ext uri="{FF2B5EF4-FFF2-40B4-BE49-F238E27FC236}">
                <a16:creationId xmlns:a16="http://schemas.microsoft.com/office/drawing/2014/main" id="{14F62E32-C35E-6058-246D-5DD6FFF43F4A}"/>
              </a:ext>
            </a:extLst>
          </p:cNvPr>
          <p:cNvGrpSpPr/>
          <p:nvPr userDrawn="1"/>
        </p:nvGrpSpPr>
        <p:grpSpPr>
          <a:xfrm>
            <a:off x="578880" y="2934342"/>
            <a:ext cx="1404000" cy="1563333"/>
            <a:chOff x="578880" y="2934342"/>
            <a:chExt cx="1404000" cy="1563333"/>
          </a:xfrm>
        </p:grpSpPr>
        <p:sp>
          <p:nvSpPr>
            <p:cNvPr id="121" name="TextBox 120">
              <a:extLst>
                <a:ext uri="{FF2B5EF4-FFF2-40B4-BE49-F238E27FC236}">
                  <a16:creationId xmlns:a16="http://schemas.microsoft.com/office/drawing/2014/main" id="{4898E3CE-CB33-8DDB-C927-02EED62722F0}"/>
                </a:ext>
              </a:extLst>
            </p:cNvPr>
            <p:cNvSpPr txBox="1"/>
            <p:nvPr/>
          </p:nvSpPr>
          <p:spPr>
            <a:xfrm>
              <a:off x="578880" y="3468045"/>
              <a:ext cx="1404000" cy="1029630"/>
            </a:xfrm>
            <a:prstGeom prst="rect">
              <a:avLst/>
            </a:prstGeom>
          </p:spPr>
          <p:txBody>
            <a:bodyPr vert="horz" wrap="square" lIns="0" tIns="45720" rIns="0" bIns="45720" rtlCol="0">
              <a:noAutofit/>
            </a:bodyPr>
            <a:lstStyle/>
            <a:p>
              <a:pPr algn="ctr">
                <a:spcBef>
                  <a:spcPts val="500"/>
                </a:spcBef>
                <a:spcAft>
                  <a:spcPts val="400"/>
                </a:spcAft>
              </a:pPr>
              <a:r>
                <a:rPr lang="en-GB" dirty="0">
                  <a:solidFill>
                    <a:schemeClr val="accent2"/>
                  </a:solidFill>
                  <a:latin typeface="+mj-lt"/>
                </a:rPr>
                <a:t>2016</a:t>
              </a:r>
              <a:endParaRPr lang="en-GB" sz="1200" dirty="0">
                <a:solidFill>
                  <a:schemeClr val="accent2"/>
                </a:solidFill>
              </a:endParaRPr>
            </a:p>
            <a:p>
              <a:pPr algn="ctr">
                <a:spcBef>
                  <a:spcPts val="500"/>
                </a:spcBef>
                <a:spcAft>
                  <a:spcPts val="400"/>
                </a:spcAft>
              </a:pPr>
              <a:r>
                <a:rPr lang="en-GB" sz="1100" dirty="0"/>
                <a:t>Association with Chinese Law firm </a:t>
              </a:r>
              <a:r>
                <a:rPr lang="en-GB" sz="1100" dirty="0" err="1"/>
                <a:t>Wintell</a:t>
              </a:r>
              <a:r>
                <a:rPr lang="en-GB" sz="1100" dirty="0"/>
                <a:t> &amp; Co</a:t>
              </a:r>
            </a:p>
          </p:txBody>
        </p:sp>
        <p:cxnSp>
          <p:nvCxnSpPr>
            <p:cNvPr id="122" name="Straight Connector 121">
              <a:extLst>
                <a:ext uri="{FF2B5EF4-FFF2-40B4-BE49-F238E27FC236}">
                  <a16:creationId xmlns:a16="http://schemas.microsoft.com/office/drawing/2014/main" id="{2BDD9C2F-683A-ACB7-D9A6-DED52236DFCE}"/>
                </a:ext>
              </a:extLst>
            </p:cNvPr>
            <p:cNvCxnSpPr>
              <a:cxnSpLocks/>
            </p:cNvCxnSpPr>
            <p:nvPr/>
          </p:nvCxnSpPr>
          <p:spPr>
            <a:xfrm>
              <a:off x="683527" y="3840944"/>
              <a:ext cx="1194707" cy="0"/>
            </a:xfrm>
            <a:prstGeom prst="line">
              <a:avLst/>
            </a:prstGeom>
            <a:ln w="19050" cap="rnd">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23" name="Group 122">
              <a:extLst>
                <a:ext uri="{FF2B5EF4-FFF2-40B4-BE49-F238E27FC236}">
                  <a16:creationId xmlns:a16="http://schemas.microsoft.com/office/drawing/2014/main" id="{335D654A-7CA7-8E32-1C77-5AD52E09C535}"/>
                </a:ext>
              </a:extLst>
            </p:cNvPr>
            <p:cNvGrpSpPr/>
            <p:nvPr/>
          </p:nvGrpSpPr>
          <p:grpSpPr>
            <a:xfrm>
              <a:off x="1040951" y="2934342"/>
              <a:ext cx="479858" cy="479856"/>
              <a:chOff x="5073920" y="2797526"/>
              <a:chExt cx="644255" cy="644255"/>
            </a:xfrm>
            <a:solidFill>
              <a:schemeClr val="accent2"/>
            </a:solidFill>
          </p:grpSpPr>
          <p:sp>
            <p:nvSpPr>
              <p:cNvPr id="124" name="Oval 123">
                <a:extLst>
                  <a:ext uri="{FF2B5EF4-FFF2-40B4-BE49-F238E27FC236}">
                    <a16:creationId xmlns:a16="http://schemas.microsoft.com/office/drawing/2014/main" id="{1E3DF109-3D1D-2B89-EA77-2B28DA90A02E}"/>
                  </a:ext>
                </a:extLst>
              </p:cNvPr>
              <p:cNvSpPr/>
              <p:nvPr/>
            </p:nvSpPr>
            <p:spPr>
              <a:xfrm>
                <a:off x="5185045" y="2908652"/>
                <a:ext cx="422006" cy="4220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5" name="Circle: Hollow 124">
                <a:extLst>
                  <a:ext uri="{FF2B5EF4-FFF2-40B4-BE49-F238E27FC236}">
                    <a16:creationId xmlns:a16="http://schemas.microsoft.com/office/drawing/2014/main" id="{89B6675B-0FD6-8334-E2F4-673AAA6FD654}"/>
                  </a:ext>
                </a:extLst>
              </p:cNvPr>
              <p:cNvSpPr/>
              <p:nvPr/>
            </p:nvSpPr>
            <p:spPr>
              <a:xfrm>
                <a:off x="5073920" y="2797526"/>
                <a:ext cx="644255" cy="644255"/>
              </a:xfrm>
              <a:prstGeom prst="donut">
                <a:avLst>
                  <a:gd name="adj" fmla="val 1268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grpSp>
      </p:grpSp>
      <p:grpSp>
        <p:nvGrpSpPr>
          <p:cNvPr id="170" name="Group 169">
            <a:extLst>
              <a:ext uri="{FF2B5EF4-FFF2-40B4-BE49-F238E27FC236}">
                <a16:creationId xmlns:a16="http://schemas.microsoft.com/office/drawing/2014/main" id="{401B6155-6D72-18A8-B955-3F460AC393A2}"/>
              </a:ext>
            </a:extLst>
          </p:cNvPr>
          <p:cNvGrpSpPr/>
          <p:nvPr userDrawn="1"/>
        </p:nvGrpSpPr>
        <p:grpSpPr>
          <a:xfrm>
            <a:off x="1954402" y="2934342"/>
            <a:ext cx="1404000" cy="1563333"/>
            <a:chOff x="1954402" y="2934342"/>
            <a:chExt cx="1404000" cy="1563333"/>
          </a:xfrm>
        </p:grpSpPr>
        <p:sp>
          <p:nvSpPr>
            <p:cNvPr id="116" name="TextBox 115">
              <a:extLst>
                <a:ext uri="{FF2B5EF4-FFF2-40B4-BE49-F238E27FC236}">
                  <a16:creationId xmlns:a16="http://schemas.microsoft.com/office/drawing/2014/main" id="{8EFC5E1E-1D4A-F0F3-1FB1-11EDC435CB6A}"/>
                </a:ext>
              </a:extLst>
            </p:cNvPr>
            <p:cNvSpPr txBox="1"/>
            <p:nvPr/>
          </p:nvSpPr>
          <p:spPr>
            <a:xfrm>
              <a:off x="1954402" y="3468045"/>
              <a:ext cx="1404000" cy="1029630"/>
            </a:xfrm>
            <a:prstGeom prst="rect">
              <a:avLst/>
            </a:prstGeom>
          </p:spPr>
          <p:txBody>
            <a:bodyPr vert="horz" wrap="square" lIns="0" tIns="45720" rIns="0" bIns="45720" rtlCol="0">
              <a:noAutofit/>
            </a:bodyPr>
            <a:lstStyle/>
            <a:p>
              <a:pPr algn="ctr">
                <a:spcBef>
                  <a:spcPts val="500"/>
                </a:spcBef>
                <a:spcAft>
                  <a:spcPts val="400"/>
                </a:spcAft>
              </a:pPr>
              <a:r>
                <a:rPr lang="en-GB" dirty="0">
                  <a:solidFill>
                    <a:schemeClr val="accent2"/>
                  </a:solidFill>
                  <a:latin typeface="+mj-lt"/>
                </a:rPr>
                <a:t>2010</a:t>
              </a:r>
              <a:endParaRPr lang="en-GB" sz="1200" dirty="0">
                <a:solidFill>
                  <a:schemeClr val="accent2"/>
                </a:solidFill>
              </a:endParaRPr>
            </a:p>
            <a:p>
              <a:pPr algn="ctr">
                <a:spcBef>
                  <a:spcPts val="500"/>
                </a:spcBef>
                <a:spcAft>
                  <a:spcPts val="400"/>
                </a:spcAft>
              </a:pPr>
              <a:r>
                <a:rPr lang="en-GB" sz="1100" dirty="0"/>
                <a:t>Geneva </a:t>
              </a:r>
              <a:br>
                <a:rPr lang="en-GB" sz="1100" dirty="0"/>
              </a:br>
              <a:r>
                <a:rPr lang="en-GB" sz="1100" dirty="0"/>
                <a:t>office</a:t>
              </a:r>
            </a:p>
          </p:txBody>
        </p:sp>
        <p:cxnSp>
          <p:nvCxnSpPr>
            <p:cNvPr id="117" name="Straight Connector 116">
              <a:extLst>
                <a:ext uri="{FF2B5EF4-FFF2-40B4-BE49-F238E27FC236}">
                  <a16:creationId xmlns:a16="http://schemas.microsoft.com/office/drawing/2014/main" id="{18A384E0-447F-9303-E8EC-0313A6E85322}"/>
                </a:ext>
              </a:extLst>
            </p:cNvPr>
            <p:cNvCxnSpPr>
              <a:cxnSpLocks/>
            </p:cNvCxnSpPr>
            <p:nvPr/>
          </p:nvCxnSpPr>
          <p:spPr>
            <a:xfrm>
              <a:off x="2059049" y="3840944"/>
              <a:ext cx="1194707" cy="0"/>
            </a:xfrm>
            <a:prstGeom prst="line">
              <a:avLst/>
            </a:prstGeom>
            <a:ln w="19050" cap="rnd">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18" name="Group 117">
              <a:extLst>
                <a:ext uri="{FF2B5EF4-FFF2-40B4-BE49-F238E27FC236}">
                  <a16:creationId xmlns:a16="http://schemas.microsoft.com/office/drawing/2014/main" id="{273498C0-F414-2D61-DCE4-A9F63DF1449C}"/>
                </a:ext>
              </a:extLst>
            </p:cNvPr>
            <p:cNvGrpSpPr/>
            <p:nvPr/>
          </p:nvGrpSpPr>
          <p:grpSpPr>
            <a:xfrm>
              <a:off x="2416473" y="2934342"/>
              <a:ext cx="479858" cy="479856"/>
              <a:chOff x="5073920" y="2797526"/>
              <a:chExt cx="644255" cy="644255"/>
            </a:xfrm>
            <a:solidFill>
              <a:schemeClr val="accent2"/>
            </a:solidFill>
          </p:grpSpPr>
          <p:sp>
            <p:nvSpPr>
              <p:cNvPr id="119" name="Oval 118">
                <a:extLst>
                  <a:ext uri="{FF2B5EF4-FFF2-40B4-BE49-F238E27FC236}">
                    <a16:creationId xmlns:a16="http://schemas.microsoft.com/office/drawing/2014/main" id="{4BF25657-F8B6-E47A-54C8-725DC7E83888}"/>
                  </a:ext>
                </a:extLst>
              </p:cNvPr>
              <p:cNvSpPr/>
              <p:nvPr/>
            </p:nvSpPr>
            <p:spPr>
              <a:xfrm>
                <a:off x="5185045" y="2908652"/>
                <a:ext cx="422006" cy="4220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0" name="Circle: Hollow 119">
                <a:extLst>
                  <a:ext uri="{FF2B5EF4-FFF2-40B4-BE49-F238E27FC236}">
                    <a16:creationId xmlns:a16="http://schemas.microsoft.com/office/drawing/2014/main" id="{07BE023E-7E55-19EC-FB19-EDD63BF9A90D}"/>
                  </a:ext>
                </a:extLst>
              </p:cNvPr>
              <p:cNvSpPr/>
              <p:nvPr/>
            </p:nvSpPr>
            <p:spPr>
              <a:xfrm>
                <a:off x="5073920" y="2797526"/>
                <a:ext cx="644255" cy="644255"/>
              </a:xfrm>
              <a:prstGeom prst="donut">
                <a:avLst>
                  <a:gd name="adj" fmla="val 1268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grpSp>
      </p:grpSp>
      <p:grpSp>
        <p:nvGrpSpPr>
          <p:cNvPr id="171" name="Group 170">
            <a:extLst>
              <a:ext uri="{FF2B5EF4-FFF2-40B4-BE49-F238E27FC236}">
                <a16:creationId xmlns:a16="http://schemas.microsoft.com/office/drawing/2014/main" id="{197D4103-6DDD-0FA2-7BD2-EDA716737E51}"/>
              </a:ext>
            </a:extLst>
          </p:cNvPr>
          <p:cNvGrpSpPr/>
          <p:nvPr userDrawn="1"/>
        </p:nvGrpSpPr>
        <p:grpSpPr>
          <a:xfrm>
            <a:off x="3329924" y="2934342"/>
            <a:ext cx="1404000" cy="1563333"/>
            <a:chOff x="3329924" y="2934342"/>
            <a:chExt cx="1404000" cy="1563333"/>
          </a:xfrm>
        </p:grpSpPr>
        <p:sp>
          <p:nvSpPr>
            <p:cNvPr id="111" name="TextBox 110">
              <a:extLst>
                <a:ext uri="{FF2B5EF4-FFF2-40B4-BE49-F238E27FC236}">
                  <a16:creationId xmlns:a16="http://schemas.microsoft.com/office/drawing/2014/main" id="{0A670F0E-F12D-6F6F-D452-2790C64F5D71}"/>
                </a:ext>
              </a:extLst>
            </p:cNvPr>
            <p:cNvSpPr txBox="1"/>
            <p:nvPr/>
          </p:nvSpPr>
          <p:spPr>
            <a:xfrm>
              <a:off x="3329924" y="3468045"/>
              <a:ext cx="1404000" cy="1029630"/>
            </a:xfrm>
            <a:prstGeom prst="rect">
              <a:avLst/>
            </a:prstGeom>
          </p:spPr>
          <p:txBody>
            <a:bodyPr vert="horz" wrap="square" lIns="0" tIns="45720" rIns="0" bIns="45720" rtlCol="0">
              <a:noAutofit/>
            </a:bodyPr>
            <a:lstStyle/>
            <a:p>
              <a:pPr algn="ctr">
                <a:spcBef>
                  <a:spcPts val="500"/>
                </a:spcBef>
                <a:spcAft>
                  <a:spcPts val="400"/>
                </a:spcAft>
              </a:pPr>
              <a:r>
                <a:rPr lang="en-GB" dirty="0">
                  <a:solidFill>
                    <a:schemeClr val="accent2"/>
                  </a:solidFill>
                  <a:latin typeface="+mj-lt"/>
                </a:rPr>
                <a:t>2011</a:t>
              </a:r>
              <a:endParaRPr lang="en-GB" sz="1200" dirty="0">
                <a:solidFill>
                  <a:schemeClr val="accent2"/>
                </a:solidFill>
              </a:endParaRPr>
            </a:p>
            <a:p>
              <a:pPr algn="ctr">
                <a:spcBef>
                  <a:spcPts val="500"/>
                </a:spcBef>
                <a:spcAft>
                  <a:spcPts val="400"/>
                </a:spcAft>
              </a:pPr>
              <a:r>
                <a:rPr lang="en-GB" sz="1100" dirty="0"/>
                <a:t>Perth </a:t>
              </a:r>
              <a:br>
                <a:rPr lang="en-GB" sz="1100" dirty="0"/>
              </a:br>
              <a:r>
                <a:rPr lang="en-GB" sz="1100" dirty="0"/>
                <a:t>office</a:t>
              </a:r>
            </a:p>
          </p:txBody>
        </p:sp>
        <p:cxnSp>
          <p:nvCxnSpPr>
            <p:cNvPr id="112" name="Straight Connector 111">
              <a:extLst>
                <a:ext uri="{FF2B5EF4-FFF2-40B4-BE49-F238E27FC236}">
                  <a16:creationId xmlns:a16="http://schemas.microsoft.com/office/drawing/2014/main" id="{BD8908B3-2A6B-653B-6220-E834E11A9312}"/>
                </a:ext>
              </a:extLst>
            </p:cNvPr>
            <p:cNvCxnSpPr>
              <a:cxnSpLocks/>
            </p:cNvCxnSpPr>
            <p:nvPr/>
          </p:nvCxnSpPr>
          <p:spPr>
            <a:xfrm>
              <a:off x="3434571" y="3840944"/>
              <a:ext cx="1194707" cy="0"/>
            </a:xfrm>
            <a:prstGeom prst="line">
              <a:avLst/>
            </a:prstGeom>
            <a:ln w="19050" cap="rnd">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13" name="Group 112">
              <a:extLst>
                <a:ext uri="{FF2B5EF4-FFF2-40B4-BE49-F238E27FC236}">
                  <a16:creationId xmlns:a16="http://schemas.microsoft.com/office/drawing/2014/main" id="{D3BD617B-26A2-BE47-11C1-9F6A266D3A95}"/>
                </a:ext>
              </a:extLst>
            </p:cNvPr>
            <p:cNvGrpSpPr/>
            <p:nvPr/>
          </p:nvGrpSpPr>
          <p:grpSpPr>
            <a:xfrm>
              <a:off x="3791995" y="2934342"/>
              <a:ext cx="479858" cy="479856"/>
              <a:chOff x="5073920" y="2797526"/>
              <a:chExt cx="644255" cy="644255"/>
            </a:xfrm>
            <a:solidFill>
              <a:schemeClr val="accent2"/>
            </a:solidFill>
          </p:grpSpPr>
          <p:sp>
            <p:nvSpPr>
              <p:cNvPr id="114" name="Oval 113">
                <a:extLst>
                  <a:ext uri="{FF2B5EF4-FFF2-40B4-BE49-F238E27FC236}">
                    <a16:creationId xmlns:a16="http://schemas.microsoft.com/office/drawing/2014/main" id="{940ED238-7AB3-F8F7-6445-F836C0A8C467}"/>
                  </a:ext>
                </a:extLst>
              </p:cNvPr>
              <p:cNvSpPr/>
              <p:nvPr/>
            </p:nvSpPr>
            <p:spPr>
              <a:xfrm>
                <a:off x="5185045" y="2908652"/>
                <a:ext cx="422006" cy="4220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5" name="Circle: Hollow 114">
                <a:extLst>
                  <a:ext uri="{FF2B5EF4-FFF2-40B4-BE49-F238E27FC236}">
                    <a16:creationId xmlns:a16="http://schemas.microsoft.com/office/drawing/2014/main" id="{9BB915E4-CC18-FA54-FF40-371811020112}"/>
                  </a:ext>
                </a:extLst>
              </p:cNvPr>
              <p:cNvSpPr/>
              <p:nvPr/>
            </p:nvSpPr>
            <p:spPr>
              <a:xfrm>
                <a:off x="5073920" y="2797526"/>
                <a:ext cx="644255" cy="644255"/>
              </a:xfrm>
              <a:prstGeom prst="donut">
                <a:avLst>
                  <a:gd name="adj" fmla="val 1268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grpSp>
      </p:grpSp>
      <p:grpSp>
        <p:nvGrpSpPr>
          <p:cNvPr id="154" name="Group 153">
            <a:extLst>
              <a:ext uri="{FF2B5EF4-FFF2-40B4-BE49-F238E27FC236}">
                <a16:creationId xmlns:a16="http://schemas.microsoft.com/office/drawing/2014/main" id="{A47A0BAE-203E-7484-DF3E-26FBB47E4088}"/>
              </a:ext>
            </a:extLst>
          </p:cNvPr>
          <p:cNvGrpSpPr/>
          <p:nvPr userDrawn="1"/>
        </p:nvGrpSpPr>
        <p:grpSpPr>
          <a:xfrm>
            <a:off x="4705446" y="4726619"/>
            <a:ext cx="1404000" cy="1570418"/>
            <a:chOff x="4705446" y="4726619"/>
            <a:chExt cx="1404000" cy="1570418"/>
          </a:xfrm>
        </p:grpSpPr>
        <p:sp>
          <p:nvSpPr>
            <p:cNvPr id="106" name="TextBox 105">
              <a:extLst>
                <a:ext uri="{FF2B5EF4-FFF2-40B4-BE49-F238E27FC236}">
                  <a16:creationId xmlns:a16="http://schemas.microsoft.com/office/drawing/2014/main" id="{6DF39C72-3EA6-6710-6CAD-E91409C62680}"/>
                </a:ext>
              </a:extLst>
            </p:cNvPr>
            <p:cNvSpPr txBox="1"/>
            <p:nvPr/>
          </p:nvSpPr>
          <p:spPr>
            <a:xfrm>
              <a:off x="4705446" y="5267407"/>
              <a:ext cx="1404000" cy="1029630"/>
            </a:xfrm>
            <a:prstGeom prst="rect">
              <a:avLst/>
            </a:prstGeom>
          </p:spPr>
          <p:txBody>
            <a:bodyPr vert="horz" wrap="square" lIns="0" tIns="45720" rIns="0" bIns="45720" rtlCol="0">
              <a:noAutofit/>
            </a:bodyPr>
            <a:lstStyle/>
            <a:p>
              <a:pPr algn="ctr">
                <a:spcBef>
                  <a:spcPts val="500"/>
                </a:spcBef>
                <a:spcAft>
                  <a:spcPts val="400"/>
                </a:spcAft>
              </a:pPr>
              <a:r>
                <a:rPr lang="en-GB" dirty="0">
                  <a:solidFill>
                    <a:schemeClr val="accent2"/>
                  </a:solidFill>
                  <a:latin typeface="+mj-lt"/>
                </a:rPr>
                <a:t>1990</a:t>
              </a:r>
              <a:endParaRPr lang="en-GB" sz="1200" dirty="0">
                <a:solidFill>
                  <a:schemeClr val="accent2"/>
                </a:solidFill>
              </a:endParaRPr>
            </a:p>
            <a:p>
              <a:pPr algn="ctr">
                <a:spcBef>
                  <a:spcPts val="500"/>
                </a:spcBef>
                <a:spcAft>
                  <a:spcPts val="400"/>
                </a:spcAft>
              </a:pPr>
              <a:r>
                <a:rPr lang="en-GB" sz="1100" dirty="0"/>
                <a:t>Singapore </a:t>
              </a:r>
              <a:br>
                <a:rPr lang="en-GB" sz="1100" dirty="0"/>
              </a:br>
              <a:r>
                <a:rPr lang="en-GB" sz="1100" dirty="0"/>
                <a:t>office</a:t>
              </a:r>
            </a:p>
          </p:txBody>
        </p:sp>
        <p:cxnSp>
          <p:nvCxnSpPr>
            <p:cNvPr id="107" name="Straight Connector 106">
              <a:extLst>
                <a:ext uri="{FF2B5EF4-FFF2-40B4-BE49-F238E27FC236}">
                  <a16:creationId xmlns:a16="http://schemas.microsoft.com/office/drawing/2014/main" id="{2A3309B3-6E1E-4245-EBDE-275DB4002197}"/>
                </a:ext>
              </a:extLst>
            </p:cNvPr>
            <p:cNvCxnSpPr>
              <a:cxnSpLocks/>
            </p:cNvCxnSpPr>
            <p:nvPr/>
          </p:nvCxnSpPr>
          <p:spPr>
            <a:xfrm>
              <a:off x="4810093" y="5636830"/>
              <a:ext cx="1194707" cy="0"/>
            </a:xfrm>
            <a:prstGeom prst="line">
              <a:avLst/>
            </a:prstGeom>
            <a:ln w="19050" cap="rnd">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08" name="Group 107">
              <a:extLst>
                <a:ext uri="{FF2B5EF4-FFF2-40B4-BE49-F238E27FC236}">
                  <a16:creationId xmlns:a16="http://schemas.microsoft.com/office/drawing/2014/main" id="{84FE8639-CAC1-2DD2-C361-7517F0551021}"/>
                </a:ext>
              </a:extLst>
            </p:cNvPr>
            <p:cNvGrpSpPr/>
            <p:nvPr/>
          </p:nvGrpSpPr>
          <p:grpSpPr>
            <a:xfrm>
              <a:off x="5167517" y="4726619"/>
              <a:ext cx="479858" cy="479856"/>
              <a:chOff x="5073920" y="2797526"/>
              <a:chExt cx="644255" cy="644255"/>
            </a:xfrm>
            <a:solidFill>
              <a:schemeClr val="accent2"/>
            </a:solidFill>
          </p:grpSpPr>
          <p:sp>
            <p:nvSpPr>
              <p:cNvPr id="109" name="Oval 108">
                <a:extLst>
                  <a:ext uri="{FF2B5EF4-FFF2-40B4-BE49-F238E27FC236}">
                    <a16:creationId xmlns:a16="http://schemas.microsoft.com/office/drawing/2014/main" id="{A7EBFE07-9990-1A84-591C-F5C7AF35776D}"/>
                  </a:ext>
                </a:extLst>
              </p:cNvPr>
              <p:cNvSpPr/>
              <p:nvPr/>
            </p:nvSpPr>
            <p:spPr>
              <a:xfrm>
                <a:off x="5185045" y="2908652"/>
                <a:ext cx="422006" cy="4220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0" name="Circle: Hollow 109">
                <a:extLst>
                  <a:ext uri="{FF2B5EF4-FFF2-40B4-BE49-F238E27FC236}">
                    <a16:creationId xmlns:a16="http://schemas.microsoft.com/office/drawing/2014/main" id="{19968E03-BFA5-9E8D-1987-F3F76336F775}"/>
                  </a:ext>
                </a:extLst>
              </p:cNvPr>
              <p:cNvSpPr/>
              <p:nvPr/>
            </p:nvSpPr>
            <p:spPr>
              <a:xfrm>
                <a:off x="5073920" y="2797526"/>
                <a:ext cx="644255" cy="644255"/>
              </a:xfrm>
              <a:prstGeom prst="donut">
                <a:avLst>
                  <a:gd name="adj" fmla="val 1268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grpSp>
      </p:grpSp>
      <p:grpSp>
        <p:nvGrpSpPr>
          <p:cNvPr id="155" name="Group 154">
            <a:extLst>
              <a:ext uri="{FF2B5EF4-FFF2-40B4-BE49-F238E27FC236}">
                <a16:creationId xmlns:a16="http://schemas.microsoft.com/office/drawing/2014/main" id="{B628C566-5A9C-2963-2E69-80383A242FB2}"/>
              </a:ext>
            </a:extLst>
          </p:cNvPr>
          <p:cNvGrpSpPr/>
          <p:nvPr userDrawn="1"/>
        </p:nvGrpSpPr>
        <p:grpSpPr>
          <a:xfrm>
            <a:off x="6080968" y="4726619"/>
            <a:ext cx="1404000" cy="1570418"/>
            <a:chOff x="6080968" y="4726619"/>
            <a:chExt cx="1404000" cy="1570418"/>
          </a:xfrm>
        </p:grpSpPr>
        <p:sp>
          <p:nvSpPr>
            <p:cNvPr id="101" name="TextBox 100">
              <a:extLst>
                <a:ext uri="{FF2B5EF4-FFF2-40B4-BE49-F238E27FC236}">
                  <a16:creationId xmlns:a16="http://schemas.microsoft.com/office/drawing/2014/main" id="{B70AED99-321F-DADB-6E21-1959FB7826DB}"/>
                </a:ext>
              </a:extLst>
            </p:cNvPr>
            <p:cNvSpPr txBox="1"/>
            <p:nvPr/>
          </p:nvSpPr>
          <p:spPr>
            <a:xfrm>
              <a:off x="6080968" y="5267407"/>
              <a:ext cx="1404000" cy="1029630"/>
            </a:xfrm>
            <a:prstGeom prst="rect">
              <a:avLst/>
            </a:prstGeom>
          </p:spPr>
          <p:txBody>
            <a:bodyPr vert="horz" wrap="square" lIns="0" tIns="45720" rIns="0" bIns="45720" rtlCol="0">
              <a:noAutofit/>
            </a:bodyPr>
            <a:lstStyle/>
            <a:p>
              <a:pPr algn="ctr">
                <a:spcBef>
                  <a:spcPts val="500"/>
                </a:spcBef>
                <a:spcAft>
                  <a:spcPts val="400"/>
                </a:spcAft>
              </a:pPr>
              <a:r>
                <a:rPr lang="en-GB" dirty="0">
                  <a:solidFill>
                    <a:schemeClr val="accent2"/>
                  </a:solidFill>
                  <a:latin typeface="+mj-lt"/>
                </a:rPr>
                <a:t>1993</a:t>
              </a:r>
              <a:endParaRPr lang="en-GB" sz="1200" dirty="0">
                <a:solidFill>
                  <a:schemeClr val="accent2"/>
                </a:solidFill>
              </a:endParaRPr>
            </a:p>
            <a:p>
              <a:pPr algn="ctr">
                <a:spcBef>
                  <a:spcPts val="500"/>
                </a:spcBef>
                <a:spcAft>
                  <a:spcPts val="400"/>
                </a:spcAft>
              </a:pPr>
              <a:r>
                <a:rPr lang="en-GB" sz="1100" dirty="0"/>
                <a:t>Piraeus </a:t>
              </a:r>
              <a:br>
                <a:rPr lang="en-GB" sz="1100" dirty="0"/>
              </a:br>
              <a:r>
                <a:rPr lang="en-GB" sz="1100" dirty="0"/>
                <a:t>office</a:t>
              </a:r>
            </a:p>
          </p:txBody>
        </p:sp>
        <p:cxnSp>
          <p:nvCxnSpPr>
            <p:cNvPr id="102" name="Straight Connector 101">
              <a:extLst>
                <a:ext uri="{FF2B5EF4-FFF2-40B4-BE49-F238E27FC236}">
                  <a16:creationId xmlns:a16="http://schemas.microsoft.com/office/drawing/2014/main" id="{429F81BC-2C64-DE4F-64F5-618A266B4461}"/>
                </a:ext>
              </a:extLst>
            </p:cNvPr>
            <p:cNvCxnSpPr>
              <a:cxnSpLocks/>
            </p:cNvCxnSpPr>
            <p:nvPr/>
          </p:nvCxnSpPr>
          <p:spPr>
            <a:xfrm>
              <a:off x="6185615" y="5636830"/>
              <a:ext cx="1194707" cy="0"/>
            </a:xfrm>
            <a:prstGeom prst="line">
              <a:avLst/>
            </a:prstGeom>
            <a:ln w="19050" cap="rnd">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03" name="Group 102">
              <a:extLst>
                <a:ext uri="{FF2B5EF4-FFF2-40B4-BE49-F238E27FC236}">
                  <a16:creationId xmlns:a16="http://schemas.microsoft.com/office/drawing/2014/main" id="{D326A7F7-1485-B354-65FE-31A08CAECC00}"/>
                </a:ext>
              </a:extLst>
            </p:cNvPr>
            <p:cNvGrpSpPr/>
            <p:nvPr/>
          </p:nvGrpSpPr>
          <p:grpSpPr>
            <a:xfrm>
              <a:off x="6543039" y="4726619"/>
              <a:ext cx="479858" cy="479856"/>
              <a:chOff x="5073920" y="2797526"/>
              <a:chExt cx="644255" cy="644255"/>
            </a:xfrm>
            <a:solidFill>
              <a:schemeClr val="accent2"/>
            </a:solidFill>
          </p:grpSpPr>
          <p:sp>
            <p:nvSpPr>
              <p:cNvPr id="104" name="Oval 103">
                <a:extLst>
                  <a:ext uri="{FF2B5EF4-FFF2-40B4-BE49-F238E27FC236}">
                    <a16:creationId xmlns:a16="http://schemas.microsoft.com/office/drawing/2014/main" id="{78FF9D21-CD90-23A3-45B5-A5A5A77B6B4E}"/>
                  </a:ext>
                </a:extLst>
              </p:cNvPr>
              <p:cNvSpPr/>
              <p:nvPr/>
            </p:nvSpPr>
            <p:spPr>
              <a:xfrm>
                <a:off x="5185045" y="2908652"/>
                <a:ext cx="422006" cy="4220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5" name="Circle: Hollow 104">
                <a:extLst>
                  <a:ext uri="{FF2B5EF4-FFF2-40B4-BE49-F238E27FC236}">
                    <a16:creationId xmlns:a16="http://schemas.microsoft.com/office/drawing/2014/main" id="{81A1B621-A6C9-1032-E525-F8917070E119}"/>
                  </a:ext>
                </a:extLst>
              </p:cNvPr>
              <p:cNvSpPr/>
              <p:nvPr/>
            </p:nvSpPr>
            <p:spPr>
              <a:xfrm>
                <a:off x="5073920" y="2797526"/>
                <a:ext cx="644255" cy="644255"/>
              </a:xfrm>
              <a:prstGeom prst="donut">
                <a:avLst>
                  <a:gd name="adj" fmla="val 1268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grpSp>
      </p:grpSp>
      <p:grpSp>
        <p:nvGrpSpPr>
          <p:cNvPr id="156" name="Group 155">
            <a:extLst>
              <a:ext uri="{FF2B5EF4-FFF2-40B4-BE49-F238E27FC236}">
                <a16:creationId xmlns:a16="http://schemas.microsoft.com/office/drawing/2014/main" id="{E43DAF00-F369-9EE8-5272-0B2F69DF962A}"/>
              </a:ext>
            </a:extLst>
          </p:cNvPr>
          <p:cNvGrpSpPr/>
          <p:nvPr userDrawn="1"/>
        </p:nvGrpSpPr>
        <p:grpSpPr>
          <a:xfrm>
            <a:off x="7456490" y="4726619"/>
            <a:ext cx="1404000" cy="1570418"/>
            <a:chOff x="7456490" y="4726619"/>
            <a:chExt cx="1404000" cy="1570418"/>
          </a:xfrm>
        </p:grpSpPr>
        <p:sp>
          <p:nvSpPr>
            <p:cNvPr id="96" name="TextBox 95">
              <a:extLst>
                <a:ext uri="{FF2B5EF4-FFF2-40B4-BE49-F238E27FC236}">
                  <a16:creationId xmlns:a16="http://schemas.microsoft.com/office/drawing/2014/main" id="{4B731D89-587A-65E1-1830-30F8E085AF3E}"/>
                </a:ext>
              </a:extLst>
            </p:cNvPr>
            <p:cNvSpPr txBox="1"/>
            <p:nvPr/>
          </p:nvSpPr>
          <p:spPr>
            <a:xfrm>
              <a:off x="7456490" y="5267407"/>
              <a:ext cx="1404000" cy="1029630"/>
            </a:xfrm>
            <a:prstGeom prst="rect">
              <a:avLst/>
            </a:prstGeom>
          </p:spPr>
          <p:txBody>
            <a:bodyPr vert="horz" wrap="square" lIns="0" tIns="45720" rIns="0" bIns="45720" rtlCol="0">
              <a:noAutofit/>
            </a:bodyPr>
            <a:lstStyle/>
            <a:p>
              <a:pPr algn="ctr">
                <a:spcBef>
                  <a:spcPts val="500"/>
                </a:spcBef>
                <a:spcAft>
                  <a:spcPts val="400"/>
                </a:spcAft>
              </a:pPr>
              <a:r>
                <a:rPr lang="en-GB" dirty="0">
                  <a:solidFill>
                    <a:schemeClr val="accent2"/>
                  </a:solidFill>
                  <a:latin typeface="+mj-lt"/>
                </a:rPr>
                <a:t>1999</a:t>
              </a:r>
              <a:endParaRPr lang="en-GB" sz="1200" dirty="0">
                <a:solidFill>
                  <a:schemeClr val="accent2"/>
                </a:solidFill>
              </a:endParaRPr>
            </a:p>
            <a:p>
              <a:pPr algn="ctr">
                <a:spcBef>
                  <a:spcPts val="500"/>
                </a:spcBef>
                <a:spcAft>
                  <a:spcPts val="400"/>
                </a:spcAft>
              </a:pPr>
              <a:r>
                <a:rPr lang="en-GB" sz="1100" dirty="0"/>
                <a:t>Shanghai </a:t>
              </a:r>
              <a:br>
                <a:rPr lang="en-GB" sz="1100" dirty="0"/>
              </a:br>
              <a:r>
                <a:rPr lang="en-GB" sz="1100" dirty="0"/>
                <a:t>office</a:t>
              </a:r>
            </a:p>
          </p:txBody>
        </p:sp>
        <p:cxnSp>
          <p:nvCxnSpPr>
            <p:cNvPr id="97" name="Straight Connector 96">
              <a:extLst>
                <a:ext uri="{FF2B5EF4-FFF2-40B4-BE49-F238E27FC236}">
                  <a16:creationId xmlns:a16="http://schemas.microsoft.com/office/drawing/2014/main" id="{C62BFA41-E9DC-2173-783F-86AC8417A6DB}"/>
                </a:ext>
              </a:extLst>
            </p:cNvPr>
            <p:cNvCxnSpPr>
              <a:cxnSpLocks/>
            </p:cNvCxnSpPr>
            <p:nvPr/>
          </p:nvCxnSpPr>
          <p:spPr>
            <a:xfrm>
              <a:off x="7561137" y="5636830"/>
              <a:ext cx="1194707" cy="0"/>
            </a:xfrm>
            <a:prstGeom prst="line">
              <a:avLst/>
            </a:prstGeom>
            <a:ln w="19050" cap="rnd">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98" name="Group 97">
              <a:extLst>
                <a:ext uri="{FF2B5EF4-FFF2-40B4-BE49-F238E27FC236}">
                  <a16:creationId xmlns:a16="http://schemas.microsoft.com/office/drawing/2014/main" id="{977FE167-AFEB-39DE-B4D9-962D0E77AA4A}"/>
                </a:ext>
              </a:extLst>
            </p:cNvPr>
            <p:cNvGrpSpPr/>
            <p:nvPr/>
          </p:nvGrpSpPr>
          <p:grpSpPr>
            <a:xfrm>
              <a:off x="7918561" y="4726619"/>
              <a:ext cx="479858" cy="479856"/>
              <a:chOff x="5073920" y="2797526"/>
              <a:chExt cx="644255" cy="644255"/>
            </a:xfrm>
            <a:solidFill>
              <a:schemeClr val="accent2"/>
            </a:solidFill>
          </p:grpSpPr>
          <p:sp>
            <p:nvSpPr>
              <p:cNvPr id="99" name="Oval 98">
                <a:extLst>
                  <a:ext uri="{FF2B5EF4-FFF2-40B4-BE49-F238E27FC236}">
                    <a16:creationId xmlns:a16="http://schemas.microsoft.com/office/drawing/2014/main" id="{D763B050-1DF4-D519-CC07-B37169165F8E}"/>
                  </a:ext>
                </a:extLst>
              </p:cNvPr>
              <p:cNvSpPr/>
              <p:nvPr/>
            </p:nvSpPr>
            <p:spPr>
              <a:xfrm>
                <a:off x="5185045" y="2908652"/>
                <a:ext cx="422006" cy="4220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0" name="Circle: Hollow 99">
                <a:extLst>
                  <a:ext uri="{FF2B5EF4-FFF2-40B4-BE49-F238E27FC236}">
                    <a16:creationId xmlns:a16="http://schemas.microsoft.com/office/drawing/2014/main" id="{BDD3D480-E5CC-DDD4-5FCC-74E8328FAEB9}"/>
                  </a:ext>
                </a:extLst>
              </p:cNvPr>
              <p:cNvSpPr/>
              <p:nvPr/>
            </p:nvSpPr>
            <p:spPr>
              <a:xfrm>
                <a:off x="5073920" y="2797526"/>
                <a:ext cx="644255" cy="644255"/>
              </a:xfrm>
              <a:prstGeom prst="donut">
                <a:avLst>
                  <a:gd name="adj" fmla="val 1268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grpSp>
      </p:grpSp>
      <p:grpSp>
        <p:nvGrpSpPr>
          <p:cNvPr id="157" name="Group 156">
            <a:extLst>
              <a:ext uri="{FF2B5EF4-FFF2-40B4-BE49-F238E27FC236}">
                <a16:creationId xmlns:a16="http://schemas.microsoft.com/office/drawing/2014/main" id="{BE63A145-9BB2-F4DB-A764-59F5C31732F1}"/>
              </a:ext>
            </a:extLst>
          </p:cNvPr>
          <p:cNvGrpSpPr/>
          <p:nvPr userDrawn="1"/>
        </p:nvGrpSpPr>
        <p:grpSpPr>
          <a:xfrm>
            <a:off x="8832012" y="4726619"/>
            <a:ext cx="1404000" cy="1570418"/>
            <a:chOff x="8832012" y="4726619"/>
            <a:chExt cx="1404000" cy="1570418"/>
          </a:xfrm>
        </p:grpSpPr>
        <p:sp>
          <p:nvSpPr>
            <p:cNvPr id="91" name="TextBox 90">
              <a:extLst>
                <a:ext uri="{FF2B5EF4-FFF2-40B4-BE49-F238E27FC236}">
                  <a16:creationId xmlns:a16="http://schemas.microsoft.com/office/drawing/2014/main" id="{55EC4B71-6ED5-6378-3AD9-54075763ACDC}"/>
                </a:ext>
              </a:extLst>
            </p:cNvPr>
            <p:cNvSpPr txBox="1"/>
            <p:nvPr/>
          </p:nvSpPr>
          <p:spPr>
            <a:xfrm>
              <a:off x="8832012" y="5267407"/>
              <a:ext cx="1404000" cy="1029630"/>
            </a:xfrm>
            <a:prstGeom prst="rect">
              <a:avLst/>
            </a:prstGeom>
          </p:spPr>
          <p:txBody>
            <a:bodyPr vert="horz" wrap="square" lIns="0" tIns="45720" rIns="0" bIns="45720" rtlCol="0">
              <a:noAutofit/>
            </a:bodyPr>
            <a:lstStyle/>
            <a:p>
              <a:pPr algn="ctr">
                <a:spcBef>
                  <a:spcPts val="500"/>
                </a:spcBef>
                <a:spcAft>
                  <a:spcPts val="400"/>
                </a:spcAft>
              </a:pPr>
              <a:r>
                <a:rPr lang="en-GB" dirty="0">
                  <a:solidFill>
                    <a:schemeClr val="accent2"/>
                  </a:solidFill>
                  <a:latin typeface="+mj-lt"/>
                </a:rPr>
                <a:t>2006</a:t>
              </a:r>
              <a:endParaRPr lang="en-GB" sz="1200" dirty="0">
                <a:solidFill>
                  <a:schemeClr val="accent2"/>
                </a:solidFill>
              </a:endParaRPr>
            </a:p>
            <a:p>
              <a:pPr algn="ctr">
                <a:spcBef>
                  <a:spcPts val="500"/>
                </a:spcBef>
                <a:spcAft>
                  <a:spcPts val="400"/>
                </a:spcAft>
              </a:pPr>
              <a:r>
                <a:rPr lang="en-GB" sz="1100" dirty="0"/>
                <a:t>Melbourne </a:t>
              </a:r>
              <a:br>
                <a:rPr lang="en-GB" sz="1100" dirty="0"/>
              </a:br>
              <a:r>
                <a:rPr lang="en-GB" sz="1100" dirty="0"/>
                <a:t>office</a:t>
              </a:r>
            </a:p>
          </p:txBody>
        </p:sp>
        <p:cxnSp>
          <p:nvCxnSpPr>
            <p:cNvPr id="92" name="Straight Connector 91">
              <a:extLst>
                <a:ext uri="{FF2B5EF4-FFF2-40B4-BE49-F238E27FC236}">
                  <a16:creationId xmlns:a16="http://schemas.microsoft.com/office/drawing/2014/main" id="{10D09659-EE00-43EB-6FA3-6B4AEB47B54A}"/>
                </a:ext>
              </a:extLst>
            </p:cNvPr>
            <p:cNvCxnSpPr>
              <a:cxnSpLocks/>
            </p:cNvCxnSpPr>
            <p:nvPr/>
          </p:nvCxnSpPr>
          <p:spPr>
            <a:xfrm>
              <a:off x="8936659" y="5636830"/>
              <a:ext cx="1194707" cy="0"/>
            </a:xfrm>
            <a:prstGeom prst="line">
              <a:avLst/>
            </a:prstGeom>
            <a:ln w="19050" cap="rnd">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93" name="Group 92">
              <a:extLst>
                <a:ext uri="{FF2B5EF4-FFF2-40B4-BE49-F238E27FC236}">
                  <a16:creationId xmlns:a16="http://schemas.microsoft.com/office/drawing/2014/main" id="{98DB2F59-6EAC-DED0-9688-99086982128F}"/>
                </a:ext>
              </a:extLst>
            </p:cNvPr>
            <p:cNvGrpSpPr/>
            <p:nvPr/>
          </p:nvGrpSpPr>
          <p:grpSpPr>
            <a:xfrm>
              <a:off x="9294083" y="4726619"/>
              <a:ext cx="479858" cy="479856"/>
              <a:chOff x="5073920" y="2797526"/>
              <a:chExt cx="644255" cy="644255"/>
            </a:xfrm>
            <a:solidFill>
              <a:schemeClr val="accent2"/>
            </a:solidFill>
          </p:grpSpPr>
          <p:sp>
            <p:nvSpPr>
              <p:cNvPr id="94" name="Oval 93">
                <a:extLst>
                  <a:ext uri="{FF2B5EF4-FFF2-40B4-BE49-F238E27FC236}">
                    <a16:creationId xmlns:a16="http://schemas.microsoft.com/office/drawing/2014/main" id="{7DDEBCEE-1E11-447E-734E-E3AFACD697A5}"/>
                  </a:ext>
                </a:extLst>
              </p:cNvPr>
              <p:cNvSpPr/>
              <p:nvPr/>
            </p:nvSpPr>
            <p:spPr>
              <a:xfrm>
                <a:off x="5185045" y="2908652"/>
                <a:ext cx="422006" cy="4220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5" name="Circle: Hollow 94">
                <a:extLst>
                  <a:ext uri="{FF2B5EF4-FFF2-40B4-BE49-F238E27FC236}">
                    <a16:creationId xmlns:a16="http://schemas.microsoft.com/office/drawing/2014/main" id="{8D1107D8-4457-FB48-749E-411ED76CCB35}"/>
                  </a:ext>
                </a:extLst>
              </p:cNvPr>
              <p:cNvSpPr/>
              <p:nvPr/>
            </p:nvSpPr>
            <p:spPr>
              <a:xfrm>
                <a:off x="5073920" y="2797526"/>
                <a:ext cx="644255" cy="644255"/>
              </a:xfrm>
              <a:prstGeom prst="donut">
                <a:avLst>
                  <a:gd name="adj" fmla="val 1268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grpSp>
      </p:grpSp>
      <p:grpSp>
        <p:nvGrpSpPr>
          <p:cNvPr id="158" name="Group 157">
            <a:extLst>
              <a:ext uri="{FF2B5EF4-FFF2-40B4-BE49-F238E27FC236}">
                <a16:creationId xmlns:a16="http://schemas.microsoft.com/office/drawing/2014/main" id="{8EB6761A-3BEA-31A2-2A0C-FA7191A53DA5}"/>
              </a:ext>
            </a:extLst>
          </p:cNvPr>
          <p:cNvGrpSpPr/>
          <p:nvPr userDrawn="1"/>
        </p:nvGrpSpPr>
        <p:grpSpPr>
          <a:xfrm>
            <a:off x="10207533" y="4726619"/>
            <a:ext cx="1404000" cy="1570418"/>
            <a:chOff x="10207533" y="4726619"/>
            <a:chExt cx="1404000" cy="1570418"/>
          </a:xfrm>
        </p:grpSpPr>
        <p:sp>
          <p:nvSpPr>
            <p:cNvPr id="86" name="TextBox 85">
              <a:extLst>
                <a:ext uri="{FF2B5EF4-FFF2-40B4-BE49-F238E27FC236}">
                  <a16:creationId xmlns:a16="http://schemas.microsoft.com/office/drawing/2014/main" id="{97D7FE37-955F-5294-B1E7-650D3414A130}"/>
                </a:ext>
              </a:extLst>
            </p:cNvPr>
            <p:cNvSpPr txBox="1"/>
            <p:nvPr/>
          </p:nvSpPr>
          <p:spPr>
            <a:xfrm>
              <a:off x="10207533" y="5267407"/>
              <a:ext cx="1404000" cy="1029630"/>
            </a:xfrm>
            <a:prstGeom prst="rect">
              <a:avLst/>
            </a:prstGeom>
          </p:spPr>
          <p:txBody>
            <a:bodyPr vert="horz" wrap="square" lIns="0" tIns="45720" rIns="0" bIns="45720" rtlCol="0">
              <a:noAutofit/>
            </a:bodyPr>
            <a:lstStyle/>
            <a:p>
              <a:pPr algn="ctr">
                <a:spcBef>
                  <a:spcPts val="500"/>
                </a:spcBef>
                <a:spcAft>
                  <a:spcPts val="400"/>
                </a:spcAft>
              </a:pPr>
              <a:r>
                <a:rPr lang="en-GB" dirty="0">
                  <a:solidFill>
                    <a:schemeClr val="accent2"/>
                  </a:solidFill>
                  <a:latin typeface="+mj-lt"/>
                </a:rPr>
                <a:t>2006</a:t>
              </a:r>
              <a:endParaRPr lang="en-GB" sz="1200" dirty="0">
                <a:solidFill>
                  <a:schemeClr val="accent2"/>
                </a:solidFill>
              </a:endParaRPr>
            </a:p>
            <a:p>
              <a:pPr algn="ctr">
                <a:spcBef>
                  <a:spcPts val="500"/>
                </a:spcBef>
                <a:spcAft>
                  <a:spcPts val="400"/>
                </a:spcAft>
              </a:pPr>
              <a:r>
                <a:rPr lang="en-GB" sz="1100" dirty="0"/>
                <a:t>Dubai </a:t>
              </a:r>
              <a:br>
                <a:rPr lang="en-GB" sz="1100" dirty="0"/>
              </a:br>
              <a:r>
                <a:rPr lang="en-GB" sz="1100" dirty="0"/>
                <a:t>office</a:t>
              </a:r>
            </a:p>
          </p:txBody>
        </p:sp>
        <p:cxnSp>
          <p:nvCxnSpPr>
            <p:cNvPr id="87" name="Straight Connector 86">
              <a:extLst>
                <a:ext uri="{FF2B5EF4-FFF2-40B4-BE49-F238E27FC236}">
                  <a16:creationId xmlns:a16="http://schemas.microsoft.com/office/drawing/2014/main" id="{9B7AE7BC-9440-5DDA-F66F-89674B912A37}"/>
                </a:ext>
              </a:extLst>
            </p:cNvPr>
            <p:cNvCxnSpPr>
              <a:cxnSpLocks/>
            </p:cNvCxnSpPr>
            <p:nvPr/>
          </p:nvCxnSpPr>
          <p:spPr>
            <a:xfrm>
              <a:off x="10312180" y="5636830"/>
              <a:ext cx="1194707" cy="0"/>
            </a:xfrm>
            <a:prstGeom prst="line">
              <a:avLst/>
            </a:prstGeom>
            <a:ln w="19050" cap="rnd">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88" name="Group 87">
              <a:extLst>
                <a:ext uri="{FF2B5EF4-FFF2-40B4-BE49-F238E27FC236}">
                  <a16:creationId xmlns:a16="http://schemas.microsoft.com/office/drawing/2014/main" id="{C8E51AE2-D1B3-4E04-A7E6-EA11DCC16D0C}"/>
                </a:ext>
              </a:extLst>
            </p:cNvPr>
            <p:cNvGrpSpPr/>
            <p:nvPr/>
          </p:nvGrpSpPr>
          <p:grpSpPr>
            <a:xfrm>
              <a:off x="10669604" y="4726619"/>
              <a:ext cx="479858" cy="479856"/>
              <a:chOff x="5073920" y="2797526"/>
              <a:chExt cx="644255" cy="644255"/>
            </a:xfrm>
            <a:solidFill>
              <a:schemeClr val="accent2"/>
            </a:solidFill>
          </p:grpSpPr>
          <p:sp>
            <p:nvSpPr>
              <p:cNvPr id="89" name="Oval 88">
                <a:extLst>
                  <a:ext uri="{FF2B5EF4-FFF2-40B4-BE49-F238E27FC236}">
                    <a16:creationId xmlns:a16="http://schemas.microsoft.com/office/drawing/2014/main" id="{16F95781-36B3-89CD-0CC1-88126C50914D}"/>
                  </a:ext>
                </a:extLst>
              </p:cNvPr>
              <p:cNvSpPr/>
              <p:nvPr/>
            </p:nvSpPr>
            <p:spPr>
              <a:xfrm>
                <a:off x="5185045" y="2908652"/>
                <a:ext cx="422006" cy="4220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0" name="Circle: Hollow 89">
                <a:extLst>
                  <a:ext uri="{FF2B5EF4-FFF2-40B4-BE49-F238E27FC236}">
                    <a16:creationId xmlns:a16="http://schemas.microsoft.com/office/drawing/2014/main" id="{5ABA17E2-EFEF-4C57-E37F-C8AAB6A6DFBD}"/>
                  </a:ext>
                </a:extLst>
              </p:cNvPr>
              <p:cNvSpPr/>
              <p:nvPr/>
            </p:nvSpPr>
            <p:spPr>
              <a:xfrm>
                <a:off x="5073920" y="2797526"/>
                <a:ext cx="644255" cy="644255"/>
              </a:xfrm>
              <a:prstGeom prst="donut">
                <a:avLst>
                  <a:gd name="adj" fmla="val 1268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grpSp>
      </p:grpSp>
      <p:grpSp>
        <p:nvGrpSpPr>
          <p:cNvPr id="2" name="Group 1">
            <a:extLst>
              <a:ext uri="{FF2B5EF4-FFF2-40B4-BE49-F238E27FC236}">
                <a16:creationId xmlns:a16="http://schemas.microsoft.com/office/drawing/2014/main" id="{8584EE59-6341-F3B8-C79B-7B8D46DF284B}"/>
              </a:ext>
            </a:extLst>
          </p:cNvPr>
          <p:cNvGrpSpPr/>
          <p:nvPr userDrawn="1"/>
        </p:nvGrpSpPr>
        <p:grpSpPr>
          <a:xfrm>
            <a:off x="578880" y="4726619"/>
            <a:ext cx="1404000" cy="1570418"/>
            <a:chOff x="578880" y="4726619"/>
            <a:chExt cx="1404000" cy="1570418"/>
          </a:xfrm>
        </p:grpSpPr>
        <p:sp>
          <p:nvSpPr>
            <p:cNvPr id="81" name="TextBox 80">
              <a:extLst>
                <a:ext uri="{FF2B5EF4-FFF2-40B4-BE49-F238E27FC236}">
                  <a16:creationId xmlns:a16="http://schemas.microsoft.com/office/drawing/2014/main" id="{E5CF3D82-95D6-3858-628C-99A09C515169}"/>
                </a:ext>
              </a:extLst>
            </p:cNvPr>
            <p:cNvSpPr txBox="1"/>
            <p:nvPr/>
          </p:nvSpPr>
          <p:spPr>
            <a:xfrm>
              <a:off x="578880" y="5267407"/>
              <a:ext cx="1404000" cy="1029630"/>
            </a:xfrm>
            <a:prstGeom prst="rect">
              <a:avLst/>
            </a:prstGeom>
          </p:spPr>
          <p:txBody>
            <a:bodyPr vert="horz" wrap="square" lIns="0" tIns="45720" rIns="0" bIns="45720" rtlCol="0">
              <a:noAutofit/>
            </a:bodyPr>
            <a:lstStyle/>
            <a:p>
              <a:pPr algn="ctr">
                <a:spcBef>
                  <a:spcPts val="500"/>
                </a:spcBef>
                <a:spcAft>
                  <a:spcPts val="400"/>
                </a:spcAft>
              </a:pPr>
              <a:r>
                <a:rPr lang="en-GB" dirty="0">
                  <a:solidFill>
                    <a:schemeClr val="accent2"/>
                  </a:solidFill>
                  <a:latin typeface="+mj-lt"/>
                </a:rPr>
                <a:t>1883</a:t>
              </a:r>
              <a:endParaRPr lang="en-GB" sz="1200" dirty="0">
                <a:solidFill>
                  <a:schemeClr val="accent2"/>
                </a:solidFill>
              </a:endParaRPr>
            </a:p>
            <a:p>
              <a:pPr algn="ctr">
                <a:spcBef>
                  <a:spcPts val="500"/>
                </a:spcBef>
                <a:spcAft>
                  <a:spcPts val="400"/>
                </a:spcAft>
              </a:pPr>
              <a:r>
                <a:rPr lang="en-GB" sz="1100" dirty="0"/>
                <a:t>Firm </a:t>
              </a:r>
              <a:br>
                <a:rPr lang="en-GB" sz="1100" dirty="0"/>
              </a:br>
              <a:r>
                <a:rPr lang="en-GB" sz="1100" dirty="0"/>
                <a:t>founded</a:t>
              </a:r>
            </a:p>
          </p:txBody>
        </p:sp>
        <p:cxnSp>
          <p:nvCxnSpPr>
            <p:cNvPr id="82" name="Straight Connector 81">
              <a:extLst>
                <a:ext uri="{FF2B5EF4-FFF2-40B4-BE49-F238E27FC236}">
                  <a16:creationId xmlns:a16="http://schemas.microsoft.com/office/drawing/2014/main" id="{A12A8C39-1273-4AF2-0FAB-3829C40E65C0}"/>
                </a:ext>
              </a:extLst>
            </p:cNvPr>
            <p:cNvCxnSpPr>
              <a:cxnSpLocks/>
            </p:cNvCxnSpPr>
            <p:nvPr/>
          </p:nvCxnSpPr>
          <p:spPr>
            <a:xfrm>
              <a:off x="683527" y="5636830"/>
              <a:ext cx="1194707" cy="0"/>
            </a:xfrm>
            <a:prstGeom prst="line">
              <a:avLst/>
            </a:prstGeom>
            <a:ln w="19050" cap="rnd">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83" name="Group 82">
              <a:extLst>
                <a:ext uri="{FF2B5EF4-FFF2-40B4-BE49-F238E27FC236}">
                  <a16:creationId xmlns:a16="http://schemas.microsoft.com/office/drawing/2014/main" id="{A7D37AC4-9E78-239E-8E70-0BAA7441EA30}"/>
                </a:ext>
              </a:extLst>
            </p:cNvPr>
            <p:cNvGrpSpPr/>
            <p:nvPr/>
          </p:nvGrpSpPr>
          <p:grpSpPr>
            <a:xfrm>
              <a:off x="1040951" y="4726619"/>
              <a:ext cx="479858" cy="479856"/>
              <a:chOff x="5073920" y="2797526"/>
              <a:chExt cx="644255" cy="644255"/>
            </a:xfrm>
            <a:solidFill>
              <a:schemeClr val="accent2"/>
            </a:solidFill>
          </p:grpSpPr>
          <p:sp>
            <p:nvSpPr>
              <p:cNvPr id="84" name="Oval 83">
                <a:extLst>
                  <a:ext uri="{FF2B5EF4-FFF2-40B4-BE49-F238E27FC236}">
                    <a16:creationId xmlns:a16="http://schemas.microsoft.com/office/drawing/2014/main" id="{703F38F4-F896-B6D1-7F9C-623D73D39FA6}"/>
                  </a:ext>
                </a:extLst>
              </p:cNvPr>
              <p:cNvSpPr/>
              <p:nvPr/>
            </p:nvSpPr>
            <p:spPr>
              <a:xfrm>
                <a:off x="5185045" y="2908652"/>
                <a:ext cx="422006" cy="4220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5" name="Circle: Hollow 84">
                <a:extLst>
                  <a:ext uri="{FF2B5EF4-FFF2-40B4-BE49-F238E27FC236}">
                    <a16:creationId xmlns:a16="http://schemas.microsoft.com/office/drawing/2014/main" id="{99E3BA89-9DB0-09AE-CEC4-C4E8FDCE3488}"/>
                  </a:ext>
                </a:extLst>
              </p:cNvPr>
              <p:cNvSpPr/>
              <p:nvPr/>
            </p:nvSpPr>
            <p:spPr>
              <a:xfrm>
                <a:off x="5073920" y="2797526"/>
                <a:ext cx="644255" cy="644255"/>
              </a:xfrm>
              <a:prstGeom prst="donut">
                <a:avLst>
                  <a:gd name="adj" fmla="val 1268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grpSp>
      </p:grpSp>
      <p:grpSp>
        <p:nvGrpSpPr>
          <p:cNvPr id="152" name="Group 151">
            <a:extLst>
              <a:ext uri="{FF2B5EF4-FFF2-40B4-BE49-F238E27FC236}">
                <a16:creationId xmlns:a16="http://schemas.microsoft.com/office/drawing/2014/main" id="{7A885361-631F-3417-56F9-FC9398F7B0DA}"/>
              </a:ext>
            </a:extLst>
          </p:cNvPr>
          <p:cNvGrpSpPr/>
          <p:nvPr userDrawn="1"/>
        </p:nvGrpSpPr>
        <p:grpSpPr>
          <a:xfrm>
            <a:off x="1954402" y="4726619"/>
            <a:ext cx="1404000" cy="1570418"/>
            <a:chOff x="1954402" y="4726619"/>
            <a:chExt cx="1404000" cy="1570418"/>
          </a:xfrm>
        </p:grpSpPr>
        <p:sp>
          <p:nvSpPr>
            <p:cNvPr id="76" name="TextBox 75">
              <a:extLst>
                <a:ext uri="{FF2B5EF4-FFF2-40B4-BE49-F238E27FC236}">
                  <a16:creationId xmlns:a16="http://schemas.microsoft.com/office/drawing/2014/main" id="{9191D490-1AC4-2E34-4770-74FD82FAF6EC}"/>
                </a:ext>
              </a:extLst>
            </p:cNvPr>
            <p:cNvSpPr txBox="1"/>
            <p:nvPr/>
          </p:nvSpPr>
          <p:spPr>
            <a:xfrm>
              <a:off x="1954402" y="5267407"/>
              <a:ext cx="1404000" cy="1029630"/>
            </a:xfrm>
            <a:prstGeom prst="rect">
              <a:avLst/>
            </a:prstGeom>
          </p:spPr>
          <p:txBody>
            <a:bodyPr vert="horz" wrap="square" lIns="0" tIns="45720" rIns="0" bIns="45720" rtlCol="0">
              <a:noAutofit/>
            </a:bodyPr>
            <a:lstStyle/>
            <a:p>
              <a:pPr algn="ctr">
                <a:spcBef>
                  <a:spcPts val="500"/>
                </a:spcBef>
                <a:spcAft>
                  <a:spcPts val="400"/>
                </a:spcAft>
              </a:pPr>
              <a:r>
                <a:rPr lang="en-GB" dirty="0">
                  <a:solidFill>
                    <a:schemeClr val="accent2"/>
                  </a:solidFill>
                  <a:latin typeface="+mj-lt"/>
                </a:rPr>
                <a:t>1977</a:t>
              </a:r>
              <a:endParaRPr lang="en-GB" sz="1200" dirty="0">
                <a:solidFill>
                  <a:schemeClr val="accent2"/>
                </a:solidFill>
              </a:endParaRPr>
            </a:p>
            <a:p>
              <a:pPr algn="ctr">
                <a:spcBef>
                  <a:spcPts val="500"/>
                </a:spcBef>
                <a:spcAft>
                  <a:spcPts val="400"/>
                </a:spcAft>
              </a:pPr>
              <a:r>
                <a:rPr lang="en-GB" sz="1100" dirty="0"/>
                <a:t>Paris </a:t>
              </a:r>
              <a:br>
                <a:rPr lang="en-GB" sz="1100" dirty="0"/>
              </a:br>
              <a:r>
                <a:rPr lang="en-GB" sz="1100" dirty="0"/>
                <a:t>office</a:t>
              </a:r>
            </a:p>
          </p:txBody>
        </p:sp>
        <p:cxnSp>
          <p:nvCxnSpPr>
            <p:cNvPr id="77" name="Straight Connector 76">
              <a:extLst>
                <a:ext uri="{FF2B5EF4-FFF2-40B4-BE49-F238E27FC236}">
                  <a16:creationId xmlns:a16="http://schemas.microsoft.com/office/drawing/2014/main" id="{4374C9F4-ACB1-8E8E-D14C-67EBC22B2731}"/>
                </a:ext>
              </a:extLst>
            </p:cNvPr>
            <p:cNvCxnSpPr>
              <a:cxnSpLocks/>
            </p:cNvCxnSpPr>
            <p:nvPr/>
          </p:nvCxnSpPr>
          <p:spPr>
            <a:xfrm>
              <a:off x="2059049" y="5636830"/>
              <a:ext cx="1194707" cy="0"/>
            </a:xfrm>
            <a:prstGeom prst="line">
              <a:avLst/>
            </a:prstGeom>
            <a:ln w="19050" cap="rnd">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78" name="Group 77">
              <a:extLst>
                <a:ext uri="{FF2B5EF4-FFF2-40B4-BE49-F238E27FC236}">
                  <a16:creationId xmlns:a16="http://schemas.microsoft.com/office/drawing/2014/main" id="{C1F89162-8803-7FDD-B715-2F8054DBEE71}"/>
                </a:ext>
              </a:extLst>
            </p:cNvPr>
            <p:cNvGrpSpPr/>
            <p:nvPr/>
          </p:nvGrpSpPr>
          <p:grpSpPr>
            <a:xfrm>
              <a:off x="2416473" y="4726619"/>
              <a:ext cx="479858" cy="479856"/>
              <a:chOff x="5073920" y="2797526"/>
              <a:chExt cx="644255" cy="644255"/>
            </a:xfrm>
            <a:solidFill>
              <a:schemeClr val="accent2"/>
            </a:solidFill>
          </p:grpSpPr>
          <p:sp>
            <p:nvSpPr>
              <p:cNvPr id="79" name="Oval 78">
                <a:extLst>
                  <a:ext uri="{FF2B5EF4-FFF2-40B4-BE49-F238E27FC236}">
                    <a16:creationId xmlns:a16="http://schemas.microsoft.com/office/drawing/2014/main" id="{89CDB999-3E45-2367-D94F-6E2BD35697B0}"/>
                  </a:ext>
                </a:extLst>
              </p:cNvPr>
              <p:cNvSpPr/>
              <p:nvPr/>
            </p:nvSpPr>
            <p:spPr>
              <a:xfrm>
                <a:off x="5185045" y="2908652"/>
                <a:ext cx="422006" cy="4220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0" name="Circle: Hollow 79">
                <a:extLst>
                  <a:ext uri="{FF2B5EF4-FFF2-40B4-BE49-F238E27FC236}">
                    <a16:creationId xmlns:a16="http://schemas.microsoft.com/office/drawing/2014/main" id="{B5BBECBB-D1A4-C398-AEF9-7BA6A5EE13FD}"/>
                  </a:ext>
                </a:extLst>
              </p:cNvPr>
              <p:cNvSpPr/>
              <p:nvPr/>
            </p:nvSpPr>
            <p:spPr>
              <a:xfrm>
                <a:off x="5073920" y="2797526"/>
                <a:ext cx="644255" cy="644255"/>
              </a:xfrm>
              <a:prstGeom prst="donut">
                <a:avLst>
                  <a:gd name="adj" fmla="val 1268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grpSp>
      </p:grpSp>
      <p:grpSp>
        <p:nvGrpSpPr>
          <p:cNvPr id="153" name="Group 152">
            <a:extLst>
              <a:ext uri="{FF2B5EF4-FFF2-40B4-BE49-F238E27FC236}">
                <a16:creationId xmlns:a16="http://schemas.microsoft.com/office/drawing/2014/main" id="{4D511561-81D7-F576-EBE9-EFD1F161FD8A}"/>
              </a:ext>
            </a:extLst>
          </p:cNvPr>
          <p:cNvGrpSpPr/>
          <p:nvPr userDrawn="1"/>
        </p:nvGrpSpPr>
        <p:grpSpPr>
          <a:xfrm>
            <a:off x="3329924" y="4726619"/>
            <a:ext cx="1404000" cy="1570418"/>
            <a:chOff x="3329924" y="4726619"/>
            <a:chExt cx="1404000" cy="1570418"/>
          </a:xfrm>
        </p:grpSpPr>
        <p:sp>
          <p:nvSpPr>
            <p:cNvPr id="71" name="TextBox 70">
              <a:extLst>
                <a:ext uri="{FF2B5EF4-FFF2-40B4-BE49-F238E27FC236}">
                  <a16:creationId xmlns:a16="http://schemas.microsoft.com/office/drawing/2014/main" id="{63BA816C-5824-3238-028E-0C550F5A28D6}"/>
                </a:ext>
              </a:extLst>
            </p:cNvPr>
            <p:cNvSpPr txBox="1"/>
            <p:nvPr/>
          </p:nvSpPr>
          <p:spPr>
            <a:xfrm>
              <a:off x="3329924" y="5267407"/>
              <a:ext cx="1404000" cy="1029630"/>
            </a:xfrm>
            <a:prstGeom prst="rect">
              <a:avLst/>
            </a:prstGeom>
          </p:spPr>
          <p:txBody>
            <a:bodyPr vert="horz" wrap="square" lIns="0" tIns="45720" rIns="0" bIns="45720" rtlCol="0">
              <a:noAutofit/>
            </a:bodyPr>
            <a:lstStyle/>
            <a:p>
              <a:pPr algn="ctr">
                <a:spcBef>
                  <a:spcPts val="500"/>
                </a:spcBef>
                <a:spcAft>
                  <a:spcPts val="400"/>
                </a:spcAft>
              </a:pPr>
              <a:r>
                <a:rPr lang="en-GB" dirty="0">
                  <a:solidFill>
                    <a:schemeClr val="accent2"/>
                  </a:solidFill>
                  <a:latin typeface="+mj-lt"/>
                </a:rPr>
                <a:t>1978</a:t>
              </a:r>
              <a:endParaRPr lang="en-GB" sz="1200" dirty="0">
                <a:solidFill>
                  <a:schemeClr val="accent2"/>
                </a:solidFill>
              </a:endParaRPr>
            </a:p>
            <a:p>
              <a:pPr algn="ctr">
                <a:spcBef>
                  <a:spcPts val="500"/>
                </a:spcBef>
                <a:spcAft>
                  <a:spcPts val="400"/>
                </a:spcAft>
              </a:pPr>
              <a:r>
                <a:rPr lang="en-GB" sz="1100" dirty="0"/>
                <a:t>Hong Kong </a:t>
              </a:r>
              <a:br>
                <a:rPr lang="en-GB" sz="1100" dirty="0"/>
              </a:br>
              <a:r>
                <a:rPr lang="en-GB" sz="1100" dirty="0"/>
                <a:t>office</a:t>
              </a:r>
            </a:p>
          </p:txBody>
        </p:sp>
        <p:cxnSp>
          <p:nvCxnSpPr>
            <p:cNvPr id="72" name="Straight Connector 71">
              <a:extLst>
                <a:ext uri="{FF2B5EF4-FFF2-40B4-BE49-F238E27FC236}">
                  <a16:creationId xmlns:a16="http://schemas.microsoft.com/office/drawing/2014/main" id="{22000B24-688B-60AF-CDEF-A5428CA766BF}"/>
                </a:ext>
              </a:extLst>
            </p:cNvPr>
            <p:cNvCxnSpPr>
              <a:cxnSpLocks/>
            </p:cNvCxnSpPr>
            <p:nvPr/>
          </p:nvCxnSpPr>
          <p:spPr>
            <a:xfrm>
              <a:off x="3434571" y="5636830"/>
              <a:ext cx="1194707" cy="0"/>
            </a:xfrm>
            <a:prstGeom prst="line">
              <a:avLst/>
            </a:prstGeom>
            <a:ln w="19050" cap="rnd">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73" name="Group 72">
              <a:extLst>
                <a:ext uri="{FF2B5EF4-FFF2-40B4-BE49-F238E27FC236}">
                  <a16:creationId xmlns:a16="http://schemas.microsoft.com/office/drawing/2014/main" id="{43A67DAE-5DC8-10DE-9AE1-A46FB9619358}"/>
                </a:ext>
              </a:extLst>
            </p:cNvPr>
            <p:cNvGrpSpPr/>
            <p:nvPr/>
          </p:nvGrpSpPr>
          <p:grpSpPr>
            <a:xfrm>
              <a:off x="3791995" y="4726619"/>
              <a:ext cx="479858" cy="479856"/>
              <a:chOff x="5073920" y="2797526"/>
              <a:chExt cx="644255" cy="644255"/>
            </a:xfrm>
            <a:solidFill>
              <a:schemeClr val="accent2"/>
            </a:solidFill>
          </p:grpSpPr>
          <p:sp>
            <p:nvSpPr>
              <p:cNvPr id="74" name="Oval 73">
                <a:extLst>
                  <a:ext uri="{FF2B5EF4-FFF2-40B4-BE49-F238E27FC236}">
                    <a16:creationId xmlns:a16="http://schemas.microsoft.com/office/drawing/2014/main" id="{9980E016-E7DD-CF3C-A8FC-FF9FC77DE304}"/>
                  </a:ext>
                </a:extLst>
              </p:cNvPr>
              <p:cNvSpPr/>
              <p:nvPr/>
            </p:nvSpPr>
            <p:spPr>
              <a:xfrm>
                <a:off x="5185045" y="2908652"/>
                <a:ext cx="422006" cy="4220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5" name="Circle: Hollow 74">
                <a:extLst>
                  <a:ext uri="{FF2B5EF4-FFF2-40B4-BE49-F238E27FC236}">
                    <a16:creationId xmlns:a16="http://schemas.microsoft.com/office/drawing/2014/main" id="{54EB970B-95FF-5449-ACA3-AB0466F5F9A3}"/>
                  </a:ext>
                </a:extLst>
              </p:cNvPr>
              <p:cNvSpPr/>
              <p:nvPr/>
            </p:nvSpPr>
            <p:spPr>
              <a:xfrm>
                <a:off x="5073920" y="2797526"/>
                <a:ext cx="644255" cy="644255"/>
              </a:xfrm>
              <a:prstGeom prst="donut">
                <a:avLst>
                  <a:gd name="adj" fmla="val 1268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grpSp>
      </p:grpSp>
      <p:grpSp>
        <p:nvGrpSpPr>
          <p:cNvPr id="164" name="Group 163">
            <a:extLst>
              <a:ext uri="{FF2B5EF4-FFF2-40B4-BE49-F238E27FC236}">
                <a16:creationId xmlns:a16="http://schemas.microsoft.com/office/drawing/2014/main" id="{144C19F1-5138-48A1-7923-19D349F6E27A}"/>
              </a:ext>
            </a:extLst>
          </p:cNvPr>
          <p:cNvGrpSpPr/>
          <p:nvPr userDrawn="1"/>
        </p:nvGrpSpPr>
        <p:grpSpPr>
          <a:xfrm>
            <a:off x="4705446" y="1153052"/>
            <a:ext cx="1404000" cy="1566055"/>
            <a:chOff x="4705446" y="1153052"/>
            <a:chExt cx="1404000" cy="1566055"/>
          </a:xfrm>
        </p:grpSpPr>
        <p:sp>
          <p:nvSpPr>
            <p:cNvPr id="66" name="TextBox 65">
              <a:extLst>
                <a:ext uri="{FF2B5EF4-FFF2-40B4-BE49-F238E27FC236}">
                  <a16:creationId xmlns:a16="http://schemas.microsoft.com/office/drawing/2014/main" id="{35FCFBCB-18F8-0B45-67C2-7C10124A1C7C}"/>
                </a:ext>
              </a:extLst>
            </p:cNvPr>
            <p:cNvSpPr txBox="1"/>
            <p:nvPr/>
          </p:nvSpPr>
          <p:spPr>
            <a:xfrm>
              <a:off x="4705446" y="1689477"/>
              <a:ext cx="1404000" cy="1029630"/>
            </a:xfrm>
            <a:prstGeom prst="rect">
              <a:avLst/>
            </a:prstGeom>
          </p:spPr>
          <p:txBody>
            <a:bodyPr vert="horz" wrap="square" lIns="0" tIns="45720" rIns="0" bIns="45720" rtlCol="0">
              <a:noAutofit/>
            </a:bodyPr>
            <a:lstStyle/>
            <a:p>
              <a:pPr algn="ctr">
                <a:spcBef>
                  <a:spcPts val="500"/>
                </a:spcBef>
                <a:spcAft>
                  <a:spcPts val="400"/>
                </a:spcAft>
              </a:pPr>
              <a:r>
                <a:rPr lang="en-GB" dirty="0">
                  <a:solidFill>
                    <a:schemeClr val="accent2"/>
                  </a:solidFill>
                  <a:latin typeface="+mj-lt"/>
                </a:rPr>
                <a:t>2018</a:t>
              </a:r>
              <a:endParaRPr lang="en-GB" sz="1200" dirty="0">
                <a:solidFill>
                  <a:schemeClr val="accent2"/>
                </a:solidFill>
              </a:endParaRPr>
            </a:p>
            <a:p>
              <a:pPr algn="ctr">
                <a:spcBef>
                  <a:spcPts val="500"/>
                </a:spcBef>
                <a:spcAft>
                  <a:spcPts val="400"/>
                </a:spcAft>
              </a:pPr>
              <a:r>
                <a:rPr lang="en-GB" sz="1100" dirty="0"/>
                <a:t>Abu Dhabi </a:t>
              </a:r>
              <a:br>
                <a:rPr lang="en-GB" sz="1100" dirty="0"/>
              </a:br>
              <a:r>
                <a:rPr lang="en-GB" sz="1100" dirty="0"/>
                <a:t>office</a:t>
              </a:r>
            </a:p>
          </p:txBody>
        </p:sp>
        <p:cxnSp>
          <p:nvCxnSpPr>
            <p:cNvPr id="67" name="Straight Connector 66">
              <a:extLst>
                <a:ext uri="{FF2B5EF4-FFF2-40B4-BE49-F238E27FC236}">
                  <a16:creationId xmlns:a16="http://schemas.microsoft.com/office/drawing/2014/main" id="{6BCAC3C7-04BA-D485-4ED0-E88FCDB8528A}"/>
                </a:ext>
              </a:extLst>
            </p:cNvPr>
            <p:cNvCxnSpPr>
              <a:cxnSpLocks/>
            </p:cNvCxnSpPr>
            <p:nvPr/>
          </p:nvCxnSpPr>
          <p:spPr>
            <a:xfrm>
              <a:off x="4799966" y="2060742"/>
              <a:ext cx="1194707" cy="0"/>
            </a:xfrm>
            <a:prstGeom prst="line">
              <a:avLst/>
            </a:prstGeom>
            <a:ln w="19050" cap="rnd">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68" name="Group 67">
              <a:extLst>
                <a:ext uri="{FF2B5EF4-FFF2-40B4-BE49-F238E27FC236}">
                  <a16:creationId xmlns:a16="http://schemas.microsoft.com/office/drawing/2014/main" id="{F910B938-316B-38E9-8513-36D309E91193}"/>
                </a:ext>
              </a:extLst>
            </p:cNvPr>
            <p:cNvGrpSpPr/>
            <p:nvPr/>
          </p:nvGrpSpPr>
          <p:grpSpPr>
            <a:xfrm>
              <a:off x="5173392" y="1153052"/>
              <a:ext cx="479858" cy="479856"/>
              <a:chOff x="5073920" y="2797526"/>
              <a:chExt cx="644255" cy="644255"/>
            </a:xfrm>
            <a:solidFill>
              <a:schemeClr val="accent2"/>
            </a:solidFill>
          </p:grpSpPr>
          <p:sp>
            <p:nvSpPr>
              <p:cNvPr id="69" name="Oval 68">
                <a:extLst>
                  <a:ext uri="{FF2B5EF4-FFF2-40B4-BE49-F238E27FC236}">
                    <a16:creationId xmlns:a16="http://schemas.microsoft.com/office/drawing/2014/main" id="{B308CFAF-D7A9-484C-2A4F-40EB1124C6F2}"/>
                  </a:ext>
                </a:extLst>
              </p:cNvPr>
              <p:cNvSpPr/>
              <p:nvPr/>
            </p:nvSpPr>
            <p:spPr>
              <a:xfrm>
                <a:off x="5185045" y="2908652"/>
                <a:ext cx="422006" cy="4220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0" name="Circle: Hollow 69">
                <a:extLst>
                  <a:ext uri="{FF2B5EF4-FFF2-40B4-BE49-F238E27FC236}">
                    <a16:creationId xmlns:a16="http://schemas.microsoft.com/office/drawing/2014/main" id="{5B89C7C4-C6C8-6EBF-BF3A-EEB2C266D3C8}"/>
                  </a:ext>
                </a:extLst>
              </p:cNvPr>
              <p:cNvSpPr/>
              <p:nvPr/>
            </p:nvSpPr>
            <p:spPr>
              <a:xfrm>
                <a:off x="5073920" y="2797526"/>
                <a:ext cx="644255" cy="644255"/>
              </a:xfrm>
              <a:prstGeom prst="donut">
                <a:avLst>
                  <a:gd name="adj" fmla="val 1268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grpSp>
      </p:grpSp>
      <p:grpSp>
        <p:nvGrpSpPr>
          <p:cNvPr id="163" name="Group 162">
            <a:extLst>
              <a:ext uri="{FF2B5EF4-FFF2-40B4-BE49-F238E27FC236}">
                <a16:creationId xmlns:a16="http://schemas.microsoft.com/office/drawing/2014/main" id="{9C2890D9-92B4-2FD0-C6E5-164EBC8FFDF1}"/>
              </a:ext>
            </a:extLst>
          </p:cNvPr>
          <p:cNvGrpSpPr/>
          <p:nvPr userDrawn="1"/>
        </p:nvGrpSpPr>
        <p:grpSpPr>
          <a:xfrm>
            <a:off x="6080968" y="1153052"/>
            <a:ext cx="1404000" cy="1566055"/>
            <a:chOff x="6080968" y="1153052"/>
            <a:chExt cx="1404000" cy="1566055"/>
          </a:xfrm>
        </p:grpSpPr>
        <p:sp>
          <p:nvSpPr>
            <p:cNvPr id="61" name="TextBox 60">
              <a:extLst>
                <a:ext uri="{FF2B5EF4-FFF2-40B4-BE49-F238E27FC236}">
                  <a16:creationId xmlns:a16="http://schemas.microsoft.com/office/drawing/2014/main" id="{C3560A04-B9CD-5C13-797C-B6CAED173C00}"/>
                </a:ext>
              </a:extLst>
            </p:cNvPr>
            <p:cNvSpPr txBox="1"/>
            <p:nvPr/>
          </p:nvSpPr>
          <p:spPr>
            <a:xfrm>
              <a:off x="6080968" y="1689477"/>
              <a:ext cx="1404000" cy="1029630"/>
            </a:xfrm>
            <a:prstGeom prst="rect">
              <a:avLst/>
            </a:prstGeom>
          </p:spPr>
          <p:txBody>
            <a:bodyPr vert="horz" wrap="square" lIns="0" tIns="45720" rIns="0" bIns="45720" rtlCol="0">
              <a:noAutofit/>
            </a:bodyPr>
            <a:lstStyle/>
            <a:p>
              <a:pPr algn="ctr">
                <a:spcBef>
                  <a:spcPts val="500"/>
                </a:spcBef>
                <a:spcAft>
                  <a:spcPts val="400"/>
                </a:spcAft>
              </a:pPr>
              <a:r>
                <a:rPr lang="en-GB" dirty="0">
                  <a:solidFill>
                    <a:schemeClr val="accent2"/>
                  </a:solidFill>
                  <a:latin typeface="+mj-lt"/>
                </a:rPr>
                <a:t>2019</a:t>
              </a:r>
              <a:endParaRPr lang="en-GB" sz="1200" dirty="0">
                <a:solidFill>
                  <a:schemeClr val="accent2"/>
                </a:solidFill>
              </a:endParaRPr>
            </a:p>
            <a:p>
              <a:pPr algn="ctr">
                <a:spcBef>
                  <a:spcPts val="500"/>
                </a:spcBef>
                <a:spcAft>
                  <a:spcPts val="400"/>
                </a:spcAft>
              </a:pPr>
              <a:r>
                <a:rPr lang="en-GB" sz="1100" dirty="0"/>
                <a:t>Monaco </a:t>
              </a:r>
              <a:br>
                <a:rPr lang="en-GB" sz="1100" dirty="0"/>
              </a:br>
              <a:r>
                <a:rPr lang="en-GB" sz="1100" dirty="0"/>
                <a:t>office</a:t>
              </a:r>
            </a:p>
          </p:txBody>
        </p:sp>
        <p:cxnSp>
          <p:nvCxnSpPr>
            <p:cNvPr id="62" name="Straight Connector 61">
              <a:extLst>
                <a:ext uri="{FF2B5EF4-FFF2-40B4-BE49-F238E27FC236}">
                  <a16:creationId xmlns:a16="http://schemas.microsoft.com/office/drawing/2014/main" id="{DDFF8267-D2D5-7C1A-FEA8-8552EE2CC7AE}"/>
                </a:ext>
              </a:extLst>
            </p:cNvPr>
            <p:cNvCxnSpPr>
              <a:cxnSpLocks/>
            </p:cNvCxnSpPr>
            <p:nvPr/>
          </p:nvCxnSpPr>
          <p:spPr>
            <a:xfrm>
              <a:off x="6195739" y="2060742"/>
              <a:ext cx="1194707" cy="0"/>
            </a:xfrm>
            <a:prstGeom prst="line">
              <a:avLst/>
            </a:prstGeom>
            <a:ln w="19050" cap="rnd">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63" name="Group 62">
              <a:extLst>
                <a:ext uri="{FF2B5EF4-FFF2-40B4-BE49-F238E27FC236}">
                  <a16:creationId xmlns:a16="http://schemas.microsoft.com/office/drawing/2014/main" id="{FBCAF5D0-63C8-5675-6F07-5AEA410B7235}"/>
                </a:ext>
              </a:extLst>
            </p:cNvPr>
            <p:cNvGrpSpPr/>
            <p:nvPr/>
          </p:nvGrpSpPr>
          <p:grpSpPr>
            <a:xfrm>
              <a:off x="6546956" y="1153052"/>
              <a:ext cx="479858" cy="479856"/>
              <a:chOff x="5073920" y="2797526"/>
              <a:chExt cx="644255" cy="644255"/>
            </a:xfrm>
            <a:solidFill>
              <a:schemeClr val="accent2"/>
            </a:solidFill>
          </p:grpSpPr>
          <p:sp>
            <p:nvSpPr>
              <p:cNvPr id="64" name="Oval 63">
                <a:extLst>
                  <a:ext uri="{FF2B5EF4-FFF2-40B4-BE49-F238E27FC236}">
                    <a16:creationId xmlns:a16="http://schemas.microsoft.com/office/drawing/2014/main" id="{389196CF-A8D3-E5E5-5454-2A926FB1F9FC}"/>
                  </a:ext>
                </a:extLst>
              </p:cNvPr>
              <p:cNvSpPr/>
              <p:nvPr/>
            </p:nvSpPr>
            <p:spPr>
              <a:xfrm>
                <a:off x="5185045" y="2908652"/>
                <a:ext cx="422006" cy="4220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5" name="Circle: Hollow 64">
                <a:extLst>
                  <a:ext uri="{FF2B5EF4-FFF2-40B4-BE49-F238E27FC236}">
                    <a16:creationId xmlns:a16="http://schemas.microsoft.com/office/drawing/2014/main" id="{40991054-6A15-6B7B-C339-83582895F859}"/>
                  </a:ext>
                </a:extLst>
              </p:cNvPr>
              <p:cNvSpPr/>
              <p:nvPr/>
            </p:nvSpPr>
            <p:spPr>
              <a:xfrm>
                <a:off x="5073920" y="2797526"/>
                <a:ext cx="644255" cy="644255"/>
              </a:xfrm>
              <a:prstGeom prst="donut">
                <a:avLst>
                  <a:gd name="adj" fmla="val 1268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grpSp>
      </p:grpSp>
      <p:grpSp>
        <p:nvGrpSpPr>
          <p:cNvPr id="162" name="Group 161">
            <a:extLst>
              <a:ext uri="{FF2B5EF4-FFF2-40B4-BE49-F238E27FC236}">
                <a16:creationId xmlns:a16="http://schemas.microsoft.com/office/drawing/2014/main" id="{BF023312-D10F-60C7-0ED7-8A4F8417D8AF}"/>
              </a:ext>
            </a:extLst>
          </p:cNvPr>
          <p:cNvGrpSpPr/>
          <p:nvPr userDrawn="1"/>
        </p:nvGrpSpPr>
        <p:grpSpPr>
          <a:xfrm>
            <a:off x="7456490" y="1153052"/>
            <a:ext cx="1404000" cy="1566055"/>
            <a:chOff x="7456490" y="1153052"/>
            <a:chExt cx="1404000" cy="1566055"/>
          </a:xfrm>
        </p:grpSpPr>
        <p:sp>
          <p:nvSpPr>
            <p:cNvPr id="56" name="TextBox 55">
              <a:extLst>
                <a:ext uri="{FF2B5EF4-FFF2-40B4-BE49-F238E27FC236}">
                  <a16:creationId xmlns:a16="http://schemas.microsoft.com/office/drawing/2014/main" id="{5B63FADD-57A0-B23D-D50A-1356F603C0D2}"/>
                </a:ext>
              </a:extLst>
            </p:cNvPr>
            <p:cNvSpPr txBox="1"/>
            <p:nvPr/>
          </p:nvSpPr>
          <p:spPr>
            <a:xfrm>
              <a:off x="7456490" y="1689477"/>
              <a:ext cx="1404000" cy="1029630"/>
            </a:xfrm>
            <a:prstGeom prst="rect">
              <a:avLst/>
            </a:prstGeom>
          </p:spPr>
          <p:txBody>
            <a:bodyPr vert="horz" wrap="square" lIns="0" tIns="45720" rIns="0" bIns="45720" rtlCol="0">
              <a:noAutofit/>
            </a:bodyPr>
            <a:lstStyle/>
            <a:p>
              <a:pPr algn="ctr">
                <a:spcBef>
                  <a:spcPts val="500"/>
                </a:spcBef>
                <a:spcAft>
                  <a:spcPts val="400"/>
                </a:spcAft>
              </a:pPr>
              <a:r>
                <a:rPr lang="en-GB" dirty="0">
                  <a:solidFill>
                    <a:schemeClr val="accent2"/>
                  </a:solidFill>
                  <a:latin typeface="+mj-lt"/>
                </a:rPr>
                <a:t>2022</a:t>
              </a:r>
              <a:endParaRPr lang="en-GB" sz="1200" dirty="0">
                <a:solidFill>
                  <a:schemeClr val="accent2"/>
                </a:solidFill>
              </a:endParaRPr>
            </a:p>
            <a:p>
              <a:pPr algn="ctr">
                <a:spcBef>
                  <a:spcPts val="500"/>
                </a:spcBef>
                <a:spcAft>
                  <a:spcPts val="400"/>
                </a:spcAft>
              </a:pPr>
              <a:r>
                <a:rPr lang="en-GB" sz="1100" dirty="0"/>
                <a:t>BVI </a:t>
              </a:r>
              <a:br>
                <a:rPr lang="en-GB" sz="1100" dirty="0"/>
              </a:br>
              <a:r>
                <a:rPr lang="en-GB" sz="1100" dirty="0"/>
                <a:t>office</a:t>
              </a:r>
            </a:p>
          </p:txBody>
        </p:sp>
        <p:cxnSp>
          <p:nvCxnSpPr>
            <p:cNvPr id="57" name="Straight Connector 56">
              <a:extLst>
                <a:ext uri="{FF2B5EF4-FFF2-40B4-BE49-F238E27FC236}">
                  <a16:creationId xmlns:a16="http://schemas.microsoft.com/office/drawing/2014/main" id="{21F276BE-789B-8460-A67F-FF74F49D972D}"/>
                </a:ext>
              </a:extLst>
            </p:cNvPr>
            <p:cNvCxnSpPr>
              <a:cxnSpLocks/>
            </p:cNvCxnSpPr>
            <p:nvPr/>
          </p:nvCxnSpPr>
          <p:spPr>
            <a:xfrm>
              <a:off x="7591512" y="2060742"/>
              <a:ext cx="1194707" cy="0"/>
            </a:xfrm>
            <a:prstGeom prst="line">
              <a:avLst/>
            </a:prstGeom>
            <a:ln w="19050" cap="rnd">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1CA53444-AC03-48EB-2CDB-0E99730F0440}"/>
                </a:ext>
              </a:extLst>
            </p:cNvPr>
            <p:cNvGrpSpPr/>
            <p:nvPr/>
          </p:nvGrpSpPr>
          <p:grpSpPr>
            <a:xfrm>
              <a:off x="7920520" y="1153052"/>
              <a:ext cx="479858" cy="479856"/>
              <a:chOff x="5073920" y="2797526"/>
              <a:chExt cx="644255" cy="644255"/>
            </a:xfrm>
            <a:solidFill>
              <a:schemeClr val="accent2"/>
            </a:solidFill>
          </p:grpSpPr>
          <p:sp>
            <p:nvSpPr>
              <p:cNvPr id="59" name="Oval 58">
                <a:extLst>
                  <a:ext uri="{FF2B5EF4-FFF2-40B4-BE49-F238E27FC236}">
                    <a16:creationId xmlns:a16="http://schemas.microsoft.com/office/drawing/2014/main" id="{E550A42C-11B4-D92F-8A2F-7EC0E5B304F4}"/>
                  </a:ext>
                </a:extLst>
              </p:cNvPr>
              <p:cNvSpPr/>
              <p:nvPr/>
            </p:nvSpPr>
            <p:spPr>
              <a:xfrm>
                <a:off x="5185045" y="2908652"/>
                <a:ext cx="422006" cy="4220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0" name="Circle: Hollow 59">
                <a:extLst>
                  <a:ext uri="{FF2B5EF4-FFF2-40B4-BE49-F238E27FC236}">
                    <a16:creationId xmlns:a16="http://schemas.microsoft.com/office/drawing/2014/main" id="{7869BA5A-7F2C-F06B-2583-0EA9F16C391E}"/>
                  </a:ext>
                </a:extLst>
              </p:cNvPr>
              <p:cNvSpPr/>
              <p:nvPr/>
            </p:nvSpPr>
            <p:spPr>
              <a:xfrm>
                <a:off x="5073920" y="2797526"/>
                <a:ext cx="644255" cy="644255"/>
              </a:xfrm>
              <a:prstGeom prst="donut">
                <a:avLst>
                  <a:gd name="adj" fmla="val 1268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grpSp>
      </p:grpSp>
      <p:grpSp>
        <p:nvGrpSpPr>
          <p:cNvPr id="168" name="Group 167">
            <a:extLst>
              <a:ext uri="{FF2B5EF4-FFF2-40B4-BE49-F238E27FC236}">
                <a16:creationId xmlns:a16="http://schemas.microsoft.com/office/drawing/2014/main" id="{F6301540-6E01-99C2-7A3D-F6B3F28027CA}"/>
              </a:ext>
            </a:extLst>
          </p:cNvPr>
          <p:cNvGrpSpPr/>
          <p:nvPr userDrawn="1"/>
        </p:nvGrpSpPr>
        <p:grpSpPr>
          <a:xfrm>
            <a:off x="578880" y="1153052"/>
            <a:ext cx="1404000" cy="1566055"/>
            <a:chOff x="578880" y="1153052"/>
            <a:chExt cx="1404000" cy="1566055"/>
          </a:xfrm>
        </p:grpSpPr>
        <p:sp>
          <p:nvSpPr>
            <p:cNvPr id="51" name="TextBox 50">
              <a:extLst>
                <a:ext uri="{FF2B5EF4-FFF2-40B4-BE49-F238E27FC236}">
                  <a16:creationId xmlns:a16="http://schemas.microsoft.com/office/drawing/2014/main" id="{FFE6B78A-E0AB-12F1-23EE-F6E48BF28BD6}"/>
                </a:ext>
              </a:extLst>
            </p:cNvPr>
            <p:cNvSpPr txBox="1"/>
            <p:nvPr/>
          </p:nvSpPr>
          <p:spPr>
            <a:xfrm>
              <a:off x="578880" y="1689477"/>
              <a:ext cx="1404000" cy="1029630"/>
            </a:xfrm>
            <a:prstGeom prst="rect">
              <a:avLst/>
            </a:prstGeom>
          </p:spPr>
          <p:txBody>
            <a:bodyPr vert="horz" wrap="square" lIns="0" tIns="45720" rIns="0" bIns="45720" rtlCol="0">
              <a:noAutofit/>
            </a:bodyPr>
            <a:lstStyle/>
            <a:p>
              <a:pPr algn="ctr">
                <a:spcBef>
                  <a:spcPts val="500"/>
                </a:spcBef>
                <a:spcAft>
                  <a:spcPts val="400"/>
                </a:spcAft>
              </a:pPr>
              <a:r>
                <a:rPr lang="en-GB" dirty="0">
                  <a:solidFill>
                    <a:schemeClr val="accent2"/>
                  </a:solidFill>
                  <a:latin typeface="+mj-lt"/>
                </a:rPr>
                <a:t>2017</a:t>
              </a:r>
              <a:endParaRPr lang="en-GB" sz="1200" dirty="0">
                <a:solidFill>
                  <a:schemeClr val="accent2"/>
                </a:solidFill>
              </a:endParaRPr>
            </a:p>
            <a:p>
              <a:pPr algn="ctr">
                <a:spcBef>
                  <a:spcPts val="500"/>
                </a:spcBef>
                <a:spcAft>
                  <a:spcPts val="400"/>
                </a:spcAft>
              </a:pPr>
              <a:r>
                <a:rPr lang="en-GB" sz="1100" dirty="0"/>
                <a:t>Houston </a:t>
              </a:r>
              <a:br>
                <a:rPr lang="en-GB" sz="1100" dirty="0"/>
              </a:br>
              <a:r>
                <a:rPr lang="en-GB" sz="1100" dirty="0"/>
                <a:t>office</a:t>
              </a:r>
            </a:p>
          </p:txBody>
        </p:sp>
        <p:grpSp>
          <p:nvGrpSpPr>
            <p:cNvPr id="167" name="Group 166">
              <a:extLst>
                <a:ext uri="{FF2B5EF4-FFF2-40B4-BE49-F238E27FC236}">
                  <a16:creationId xmlns:a16="http://schemas.microsoft.com/office/drawing/2014/main" id="{71C983E6-86C6-AA5A-8B78-CAD2D7D89FCF}"/>
                </a:ext>
              </a:extLst>
            </p:cNvPr>
            <p:cNvGrpSpPr/>
            <p:nvPr userDrawn="1"/>
          </p:nvGrpSpPr>
          <p:grpSpPr>
            <a:xfrm>
              <a:off x="683527" y="1153052"/>
              <a:ext cx="1194707" cy="907690"/>
              <a:chOff x="683527" y="1153052"/>
              <a:chExt cx="1194707" cy="907690"/>
            </a:xfrm>
          </p:grpSpPr>
          <p:cxnSp>
            <p:nvCxnSpPr>
              <p:cNvPr id="52" name="Straight Connector 51">
                <a:extLst>
                  <a:ext uri="{FF2B5EF4-FFF2-40B4-BE49-F238E27FC236}">
                    <a16:creationId xmlns:a16="http://schemas.microsoft.com/office/drawing/2014/main" id="{AE8DC941-9297-C412-2D62-B266A653E482}"/>
                  </a:ext>
                </a:extLst>
              </p:cNvPr>
              <p:cNvCxnSpPr>
                <a:cxnSpLocks/>
              </p:cNvCxnSpPr>
              <p:nvPr/>
            </p:nvCxnSpPr>
            <p:spPr>
              <a:xfrm>
                <a:off x="683527" y="2060742"/>
                <a:ext cx="1194707" cy="0"/>
              </a:xfrm>
              <a:prstGeom prst="line">
                <a:avLst/>
              </a:prstGeom>
              <a:ln w="19050" cap="rnd">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53" name="Group 52">
                <a:extLst>
                  <a:ext uri="{FF2B5EF4-FFF2-40B4-BE49-F238E27FC236}">
                    <a16:creationId xmlns:a16="http://schemas.microsoft.com/office/drawing/2014/main" id="{D7B055DA-B3B1-C954-A502-FBFC73EC564B}"/>
                  </a:ext>
                </a:extLst>
              </p:cNvPr>
              <p:cNvGrpSpPr/>
              <p:nvPr/>
            </p:nvGrpSpPr>
            <p:grpSpPr>
              <a:xfrm>
                <a:off x="1052700" y="1153052"/>
                <a:ext cx="479858" cy="479856"/>
                <a:chOff x="5073920" y="2797526"/>
                <a:chExt cx="644255" cy="644255"/>
              </a:xfrm>
              <a:solidFill>
                <a:schemeClr val="accent2"/>
              </a:solidFill>
            </p:grpSpPr>
            <p:sp>
              <p:nvSpPr>
                <p:cNvPr id="54" name="Oval 53">
                  <a:extLst>
                    <a:ext uri="{FF2B5EF4-FFF2-40B4-BE49-F238E27FC236}">
                      <a16:creationId xmlns:a16="http://schemas.microsoft.com/office/drawing/2014/main" id="{0DC514AA-AE05-92BB-9A9F-06DBA270F37A}"/>
                    </a:ext>
                  </a:extLst>
                </p:cNvPr>
                <p:cNvSpPr/>
                <p:nvPr/>
              </p:nvSpPr>
              <p:spPr>
                <a:xfrm>
                  <a:off x="5185045" y="2908652"/>
                  <a:ext cx="422006" cy="4220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5" name="Circle: Hollow 54">
                  <a:extLst>
                    <a:ext uri="{FF2B5EF4-FFF2-40B4-BE49-F238E27FC236}">
                      <a16:creationId xmlns:a16="http://schemas.microsoft.com/office/drawing/2014/main" id="{E28B821A-3884-46E9-7D75-C43A07E950FC}"/>
                    </a:ext>
                  </a:extLst>
                </p:cNvPr>
                <p:cNvSpPr/>
                <p:nvPr/>
              </p:nvSpPr>
              <p:spPr>
                <a:xfrm>
                  <a:off x="5073920" y="2797526"/>
                  <a:ext cx="644255" cy="644255"/>
                </a:xfrm>
                <a:prstGeom prst="donut">
                  <a:avLst>
                    <a:gd name="adj" fmla="val 1268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grpSp>
        </p:grpSp>
      </p:grpSp>
      <p:grpSp>
        <p:nvGrpSpPr>
          <p:cNvPr id="166" name="Group 165">
            <a:extLst>
              <a:ext uri="{FF2B5EF4-FFF2-40B4-BE49-F238E27FC236}">
                <a16:creationId xmlns:a16="http://schemas.microsoft.com/office/drawing/2014/main" id="{5D9C826B-4844-7BD7-D839-035BD7EBFF42}"/>
              </a:ext>
            </a:extLst>
          </p:cNvPr>
          <p:cNvGrpSpPr/>
          <p:nvPr userDrawn="1"/>
        </p:nvGrpSpPr>
        <p:grpSpPr>
          <a:xfrm>
            <a:off x="1954402" y="1153052"/>
            <a:ext cx="1404000" cy="1566055"/>
            <a:chOff x="1954402" y="1153052"/>
            <a:chExt cx="1404000" cy="1566055"/>
          </a:xfrm>
        </p:grpSpPr>
        <p:sp>
          <p:nvSpPr>
            <p:cNvPr id="46" name="TextBox 45">
              <a:extLst>
                <a:ext uri="{FF2B5EF4-FFF2-40B4-BE49-F238E27FC236}">
                  <a16:creationId xmlns:a16="http://schemas.microsoft.com/office/drawing/2014/main" id="{903BA688-9754-B5F0-7D4D-B1526A13A4B9}"/>
                </a:ext>
              </a:extLst>
            </p:cNvPr>
            <p:cNvSpPr txBox="1"/>
            <p:nvPr/>
          </p:nvSpPr>
          <p:spPr>
            <a:xfrm>
              <a:off x="1954402" y="1689477"/>
              <a:ext cx="1404000" cy="1029630"/>
            </a:xfrm>
            <a:prstGeom prst="rect">
              <a:avLst/>
            </a:prstGeom>
          </p:spPr>
          <p:txBody>
            <a:bodyPr vert="horz" wrap="square" lIns="0" tIns="45720" rIns="0" bIns="45720" rtlCol="0">
              <a:noAutofit/>
            </a:bodyPr>
            <a:lstStyle/>
            <a:p>
              <a:pPr algn="ctr">
                <a:spcBef>
                  <a:spcPts val="500"/>
                </a:spcBef>
                <a:spcAft>
                  <a:spcPts val="400"/>
                </a:spcAft>
              </a:pPr>
              <a:r>
                <a:rPr lang="en-GB" dirty="0">
                  <a:solidFill>
                    <a:schemeClr val="accent2"/>
                  </a:solidFill>
                  <a:latin typeface="+mj-lt"/>
                </a:rPr>
                <a:t>2017</a:t>
              </a:r>
              <a:endParaRPr lang="en-GB" sz="1200" dirty="0">
                <a:solidFill>
                  <a:schemeClr val="accent2"/>
                </a:solidFill>
              </a:endParaRPr>
            </a:p>
            <a:p>
              <a:pPr algn="ctr">
                <a:spcBef>
                  <a:spcPts val="500"/>
                </a:spcBef>
                <a:spcAft>
                  <a:spcPts val="400"/>
                </a:spcAft>
              </a:pPr>
              <a:r>
                <a:rPr lang="en-GB" sz="1100" dirty="0"/>
                <a:t>Name </a:t>
              </a:r>
              <a:br>
                <a:rPr lang="en-GB" sz="1100" dirty="0"/>
              </a:br>
              <a:r>
                <a:rPr lang="en-GB" sz="1100" dirty="0"/>
                <a:t>changed </a:t>
              </a:r>
              <a:br>
                <a:rPr lang="en-GB" sz="1100" dirty="0"/>
              </a:br>
              <a:r>
                <a:rPr lang="en-GB" sz="1100" dirty="0"/>
                <a:t>to HFW</a:t>
              </a:r>
            </a:p>
          </p:txBody>
        </p:sp>
        <p:cxnSp>
          <p:nvCxnSpPr>
            <p:cNvPr id="47" name="Straight Connector 46">
              <a:extLst>
                <a:ext uri="{FF2B5EF4-FFF2-40B4-BE49-F238E27FC236}">
                  <a16:creationId xmlns:a16="http://schemas.microsoft.com/office/drawing/2014/main" id="{EDE93961-B072-E891-7788-A33E2CF840A4}"/>
                </a:ext>
              </a:extLst>
            </p:cNvPr>
            <p:cNvCxnSpPr>
              <a:cxnSpLocks/>
            </p:cNvCxnSpPr>
            <p:nvPr/>
          </p:nvCxnSpPr>
          <p:spPr>
            <a:xfrm>
              <a:off x="2008420" y="2060742"/>
              <a:ext cx="1194707" cy="0"/>
            </a:xfrm>
            <a:prstGeom prst="line">
              <a:avLst/>
            </a:prstGeom>
            <a:ln w="19050" cap="rnd">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48" name="Group 47">
              <a:extLst>
                <a:ext uri="{FF2B5EF4-FFF2-40B4-BE49-F238E27FC236}">
                  <a16:creationId xmlns:a16="http://schemas.microsoft.com/office/drawing/2014/main" id="{FE64826C-8E1D-CB48-8CBF-9EB4AA98F3E8}"/>
                </a:ext>
              </a:extLst>
            </p:cNvPr>
            <p:cNvGrpSpPr/>
            <p:nvPr/>
          </p:nvGrpSpPr>
          <p:grpSpPr>
            <a:xfrm>
              <a:off x="2426264" y="1153052"/>
              <a:ext cx="479858" cy="479856"/>
              <a:chOff x="5073920" y="2797526"/>
              <a:chExt cx="644255" cy="644255"/>
            </a:xfrm>
            <a:solidFill>
              <a:schemeClr val="accent2"/>
            </a:solidFill>
          </p:grpSpPr>
          <p:sp>
            <p:nvSpPr>
              <p:cNvPr id="49" name="Oval 48">
                <a:extLst>
                  <a:ext uri="{FF2B5EF4-FFF2-40B4-BE49-F238E27FC236}">
                    <a16:creationId xmlns:a16="http://schemas.microsoft.com/office/drawing/2014/main" id="{C36F09B2-599C-B885-2222-A06E532992EE}"/>
                  </a:ext>
                </a:extLst>
              </p:cNvPr>
              <p:cNvSpPr/>
              <p:nvPr/>
            </p:nvSpPr>
            <p:spPr>
              <a:xfrm>
                <a:off x="5185045" y="2908652"/>
                <a:ext cx="422006" cy="4220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0" name="Circle: Hollow 49">
                <a:extLst>
                  <a:ext uri="{FF2B5EF4-FFF2-40B4-BE49-F238E27FC236}">
                    <a16:creationId xmlns:a16="http://schemas.microsoft.com/office/drawing/2014/main" id="{18A4F4EC-AC3E-3F9A-BB3B-ED6E6808664D}"/>
                  </a:ext>
                </a:extLst>
              </p:cNvPr>
              <p:cNvSpPr/>
              <p:nvPr/>
            </p:nvSpPr>
            <p:spPr>
              <a:xfrm>
                <a:off x="5073920" y="2797526"/>
                <a:ext cx="644255" cy="644255"/>
              </a:xfrm>
              <a:prstGeom prst="donut">
                <a:avLst>
                  <a:gd name="adj" fmla="val 1268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grpSp>
      </p:grpSp>
      <p:grpSp>
        <p:nvGrpSpPr>
          <p:cNvPr id="165" name="Group 164">
            <a:extLst>
              <a:ext uri="{FF2B5EF4-FFF2-40B4-BE49-F238E27FC236}">
                <a16:creationId xmlns:a16="http://schemas.microsoft.com/office/drawing/2014/main" id="{F1CE6E50-746B-B285-C585-EB822694EE32}"/>
              </a:ext>
            </a:extLst>
          </p:cNvPr>
          <p:cNvGrpSpPr/>
          <p:nvPr userDrawn="1"/>
        </p:nvGrpSpPr>
        <p:grpSpPr>
          <a:xfrm>
            <a:off x="3329924" y="1153052"/>
            <a:ext cx="1404000" cy="1566055"/>
            <a:chOff x="3329924" y="1153052"/>
            <a:chExt cx="1404000" cy="1566055"/>
          </a:xfrm>
        </p:grpSpPr>
        <p:sp>
          <p:nvSpPr>
            <p:cNvPr id="41" name="TextBox 40">
              <a:extLst>
                <a:ext uri="{FF2B5EF4-FFF2-40B4-BE49-F238E27FC236}">
                  <a16:creationId xmlns:a16="http://schemas.microsoft.com/office/drawing/2014/main" id="{A14FC103-8622-A455-A6B1-56545D00E90D}"/>
                </a:ext>
              </a:extLst>
            </p:cNvPr>
            <p:cNvSpPr txBox="1"/>
            <p:nvPr/>
          </p:nvSpPr>
          <p:spPr>
            <a:xfrm>
              <a:off x="3329924" y="1689477"/>
              <a:ext cx="1404000" cy="1029630"/>
            </a:xfrm>
            <a:prstGeom prst="rect">
              <a:avLst/>
            </a:prstGeom>
          </p:spPr>
          <p:txBody>
            <a:bodyPr vert="horz" wrap="square" lIns="0" tIns="45720" rIns="0" bIns="45720" rtlCol="0">
              <a:noAutofit/>
            </a:bodyPr>
            <a:lstStyle/>
            <a:p>
              <a:pPr algn="ctr">
                <a:spcBef>
                  <a:spcPts val="500"/>
                </a:spcBef>
                <a:spcAft>
                  <a:spcPts val="400"/>
                </a:spcAft>
              </a:pPr>
              <a:r>
                <a:rPr lang="en-GB" dirty="0">
                  <a:solidFill>
                    <a:schemeClr val="accent2"/>
                  </a:solidFill>
                  <a:latin typeface="+mj-lt"/>
                </a:rPr>
                <a:t>2018</a:t>
              </a:r>
              <a:endParaRPr lang="en-GB" sz="1200" dirty="0">
                <a:solidFill>
                  <a:schemeClr val="accent2"/>
                </a:solidFill>
              </a:endParaRPr>
            </a:p>
            <a:p>
              <a:pPr algn="ctr">
                <a:spcBef>
                  <a:spcPts val="500"/>
                </a:spcBef>
                <a:spcAft>
                  <a:spcPts val="400"/>
                </a:spcAft>
              </a:pPr>
              <a:r>
                <a:rPr lang="en-GB" sz="1100" dirty="0"/>
                <a:t>Cooperation arrangement with Brazilian law Firm CAL</a:t>
              </a:r>
            </a:p>
          </p:txBody>
        </p:sp>
        <p:cxnSp>
          <p:nvCxnSpPr>
            <p:cNvPr id="42" name="Straight Connector 41">
              <a:extLst>
                <a:ext uri="{FF2B5EF4-FFF2-40B4-BE49-F238E27FC236}">
                  <a16:creationId xmlns:a16="http://schemas.microsoft.com/office/drawing/2014/main" id="{7F2421F3-C042-968F-ECAA-6E8EE6103AAA}"/>
                </a:ext>
              </a:extLst>
            </p:cNvPr>
            <p:cNvCxnSpPr>
              <a:cxnSpLocks/>
            </p:cNvCxnSpPr>
            <p:nvPr/>
          </p:nvCxnSpPr>
          <p:spPr>
            <a:xfrm>
              <a:off x="3404193" y="2060742"/>
              <a:ext cx="1194707" cy="0"/>
            </a:xfrm>
            <a:prstGeom prst="line">
              <a:avLst/>
            </a:prstGeom>
            <a:ln w="19050" cap="rnd">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43" name="Group 42">
              <a:extLst>
                <a:ext uri="{FF2B5EF4-FFF2-40B4-BE49-F238E27FC236}">
                  <a16:creationId xmlns:a16="http://schemas.microsoft.com/office/drawing/2014/main" id="{C71EB7C3-4840-4A6D-F482-447E5821DF33}"/>
                </a:ext>
              </a:extLst>
            </p:cNvPr>
            <p:cNvGrpSpPr/>
            <p:nvPr/>
          </p:nvGrpSpPr>
          <p:grpSpPr>
            <a:xfrm>
              <a:off x="3799828" y="1153052"/>
              <a:ext cx="479858" cy="479856"/>
              <a:chOff x="5073920" y="2797526"/>
              <a:chExt cx="644255" cy="644255"/>
            </a:xfrm>
            <a:solidFill>
              <a:schemeClr val="accent2"/>
            </a:solidFill>
          </p:grpSpPr>
          <p:sp>
            <p:nvSpPr>
              <p:cNvPr id="44" name="Oval 43">
                <a:extLst>
                  <a:ext uri="{FF2B5EF4-FFF2-40B4-BE49-F238E27FC236}">
                    <a16:creationId xmlns:a16="http://schemas.microsoft.com/office/drawing/2014/main" id="{946B2327-0A41-726F-DE68-2AD8F3209ED8}"/>
                  </a:ext>
                </a:extLst>
              </p:cNvPr>
              <p:cNvSpPr/>
              <p:nvPr/>
            </p:nvSpPr>
            <p:spPr>
              <a:xfrm>
                <a:off x="5185045" y="2908652"/>
                <a:ext cx="422006" cy="4220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5" name="Circle: Hollow 44">
                <a:extLst>
                  <a:ext uri="{FF2B5EF4-FFF2-40B4-BE49-F238E27FC236}">
                    <a16:creationId xmlns:a16="http://schemas.microsoft.com/office/drawing/2014/main" id="{775429A8-AC86-4502-30E5-FBEC6B5E9B4A}"/>
                  </a:ext>
                </a:extLst>
              </p:cNvPr>
              <p:cNvSpPr/>
              <p:nvPr/>
            </p:nvSpPr>
            <p:spPr>
              <a:xfrm>
                <a:off x="5073920" y="2797526"/>
                <a:ext cx="644255" cy="644255"/>
              </a:xfrm>
              <a:prstGeom prst="donut">
                <a:avLst>
                  <a:gd name="adj" fmla="val 1268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grpSp>
      </p:grpSp>
      <p:grpSp>
        <p:nvGrpSpPr>
          <p:cNvPr id="161" name="Group 160">
            <a:extLst>
              <a:ext uri="{FF2B5EF4-FFF2-40B4-BE49-F238E27FC236}">
                <a16:creationId xmlns:a16="http://schemas.microsoft.com/office/drawing/2014/main" id="{64A49B72-2103-5B90-C124-B9354107EC4C}"/>
              </a:ext>
            </a:extLst>
          </p:cNvPr>
          <p:cNvGrpSpPr/>
          <p:nvPr userDrawn="1"/>
        </p:nvGrpSpPr>
        <p:grpSpPr>
          <a:xfrm>
            <a:off x="8853490" y="1153052"/>
            <a:ext cx="1404000" cy="1566055"/>
            <a:chOff x="8853490" y="1153052"/>
            <a:chExt cx="1404000" cy="1566055"/>
          </a:xfrm>
        </p:grpSpPr>
        <p:sp>
          <p:nvSpPr>
            <p:cNvPr id="36" name="TextBox 35">
              <a:extLst>
                <a:ext uri="{FF2B5EF4-FFF2-40B4-BE49-F238E27FC236}">
                  <a16:creationId xmlns:a16="http://schemas.microsoft.com/office/drawing/2014/main" id="{BB3F976E-F8F4-2D67-6B9C-90B66418A424}"/>
                </a:ext>
              </a:extLst>
            </p:cNvPr>
            <p:cNvSpPr txBox="1"/>
            <p:nvPr/>
          </p:nvSpPr>
          <p:spPr>
            <a:xfrm>
              <a:off x="8853490" y="1689477"/>
              <a:ext cx="1404000" cy="1029630"/>
            </a:xfrm>
            <a:prstGeom prst="rect">
              <a:avLst/>
            </a:prstGeom>
          </p:spPr>
          <p:txBody>
            <a:bodyPr vert="horz" wrap="square" lIns="0" tIns="45720" rIns="0" bIns="45720" rtlCol="0">
              <a:noAutofit/>
            </a:bodyPr>
            <a:lstStyle/>
            <a:p>
              <a:pPr algn="ctr">
                <a:spcBef>
                  <a:spcPts val="500"/>
                </a:spcBef>
                <a:spcAft>
                  <a:spcPts val="400"/>
                </a:spcAft>
              </a:pPr>
              <a:r>
                <a:rPr lang="en-GB" dirty="0">
                  <a:solidFill>
                    <a:schemeClr val="accent2"/>
                  </a:solidFill>
                  <a:latin typeface="+mj-lt"/>
                </a:rPr>
                <a:t>2023</a:t>
              </a:r>
              <a:endParaRPr lang="en-GB" sz="1200" dirty="0">
                <a:solidFill>
                  <a:schemeClr val="accent2"/>
                </a:solidFill>
              </a:endParaRPr>
            </a:p>
            <a:p>
              <a:pPr algn="ctr">
                <a:spcBef>
                  <a:spcPts val="500"/>
                </a:spcBef>
                <a:spcAft>
                  <a:spcPts val="400"/>
                </a:spcAft>
              </a:pPr>
              <a:r>
                <a:rPr lang="en-GB" sz="1100" dirty="0"/>
                <a:t>Merger of CAL &amp; </a:t>
              </a:r>
              <a:r>
                <a:rPr lang="pt-BR" sz="1100" dirty="0"/>
                <a:t>DR&amp;A Advogados forming CAR</a:t>
              </a:r>
              <a:endParaRPr lang="en-GB" sz="1100" dirty="0"/>
            </a:p>
          </p:txBody>
        </p:sp>
        <p:cxnSp>
          <p:nvCxnSpPr>
            <p:cNvPr id="37" name="Straight Connector 36">
              <a:extLst>
                <a:ext uri="{FF2B5EF4-FFF2-40B4-BE49-F238E27FC236}">
                  <a16:creationId xmlns:a16="http://schemas.microsoft.com/office/drawing/2014/main" id="{F6A8EF16-BFF6-8A39-5232-62C0D35A5DD1}"/>
                </a:ext>
              </a:extLst>
            </p:cNvPr>
            <p:cNvCxnSpPr>
              <a:cxnSpLocks/>
            </p:cNvCxnSpPr>
            <p:nvPr/>
          </p:nvCxnSpPr>
          <p:spPr>
            <a:xfrm>
              <a:off x="8988512" y="2060742"/>
              <a:ext cx="1194707" cy="0"/>
            </a:xfrm>
            <a:prstGeom prst="line">
              <a:avLst/>
            </a:prstGeom>
            <a:ln w="19050" cap="rnd">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38" name="Group 37">
              <a:extLst>
                <a:ext uri="{FF2B5EF4-FFF2-40B4-BE49-F238E27FC236}">
                  <a16:creationId xmlns:a16="http://schemas.microsoft.com/office/drawing/2014/main" id="{79F5DC42-50BF-6CBF-E8AE-8A872081A1A3}"/>
                </a:ext>
              </a:extLst>
            </p:cNvPr>
            <p:cNvGrpSpPr/>
            <p:nvPr/>
          </p:nvGrpSpPr>
          <p:grpSpPr>
            <a:xfrm>
              <a:off x="9317520" y="1153052"/>
              <a:ext cx="479858" cy="479856"/>
              <a:chOff x="5073920" y="2797526"/>
              <a:chExt cx="644255" cy="644255"/>
            </a:xfrm>
            <a:solidFill>
              <a:schemeClr val="accent2"/>
            </a:solidFill>
          </p:grpSpPr>
          <p:sp>
            <p:nvSpPr>
              <p:cNvPr id="39" name="Oval 38">
                <a:extLst>
                  <a:ext uri="{FF2B5EF4-FFF2-40B4-BE49-F238E27FC236}">
                    <a16:creationId xmlns:a16="http://schemas.microsoft.com/office/drawing/2014/main" id="{AA0BF9C1-4D19-4273-AACE-10D0AA52B237}"/>
                  </a:ext>
                </a:extLst>
              </p:cNvPr>
              <p:cNvSpPr/>
              <p:nvPr/>
            </p:nvSpPr>
            <p:spPr>
              <a:xfrm>
                <a:off x="5185045" y="2908652"/>
                <a:ext cx="422006" cy="4220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0" name="Circle: Hollow 39">
                <a:extLst>
                  <a:ext uri="{FF2B5EF4-FFF2-40B4-BE49-F238E27FC236}">
                    <a16:creationId xmlns:a16="http://schemas.microsoft.com/office/drawing/2014/main" id="{F363565A-A236-E115-C601-6DA37D96550F}"/>
                  </a:ext>
                </a:extLst>
              </p:cNvPr>
              <p:cNvSpPr/>
              <p:nvPr/>
            </p:nvSpPr>
            <p:spPr>
              <a:xfrm>
                <a:off x="5073920" y="2797526"/>
                <a:ext cx="644255" cy="644255"/>
              </a:xfrm>
              <a:prstGeom prst="donut">
                <a:avLst>
                  <a:gd name="adj" fmla="val 1268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grpSp>
      </p:grpSp>
      <p:grpSp>
        <p:nvGrpSpPr>
          <p:cNvPr id="160" name="Group 159">
            <a:extLst>
              <a:ext uri="{FF2B5EF4-FFF2-40B4-BE49-F238E27FC236}">
                <a16:creationId xmlns:a16="http://schemas.microsoft.com/office/drawing/2014/main" id="{C556CEF6-856B-8981-3DB8-436152A5F680}"/>
              </a:ext>
            </a:extLst>
          </p:cNvPr>
          <p:cNvGrpSpPr/>
          <p:nvPr userDrawn="1"/>
        </p:nvGrpSpPr>
        <p:grpSpPr>
          <a:xfrm>
            <a:off x="10199690" y="1153052"/>
            <a:ext cx="1404000" cy="1566055"/>
            <a:chOff x="10199690" y="1153052"/>
            <a:chExt cx="1404000" cy="1566055"/>
          </a:xfrm>
        </p:grpSpPr>
        <p:sp>
          <p:nvSpPr>
            <p:cNvPr id="31" name="TextBox 30">
              <a:extLst>
                <a:ext uri="{FF2B5EF4-FFF2-40B4-BE49-F238E27FC236}">
                  <a16:creationId xmlns:a16="http://schemas.microsoft.com/office/drawing/2014/main" id="{4A821ACC-AD43-2881-B321-EA73606AEFD4}"/>
                </a:ext>
              </a:extLst>
            </p:cNvPr>
            <p:cNvSpPr txBox="1"/>
            <p:nvPr/>
          </p:nvSpPr>
          <p:spPr>
            <a:xfrm>
              <a:off x="10199690" y="1689477"/>
              <a:ext cx="1404000" cy="1029630"/>
            </a:xfrm>
            <a:prstGeom prst="rect">
              <a:avLst/>
            </a:prstGeom>
          </p:spPr>
          <p:txBody>
            <a:bodyPr vert="horz" wrap="square" lIns="0" tIns="45720" rIns="0" bIns="45720" rtlCol="0">
              <a:noAutofit/>
            </a:bodyPr>
            <a:lstStyle/>
            <a:p>
              <a:pPr algn="ctr">
                <a:spcBef>
                  <a:spcPts val="500"/>
                </a:spcBef>
                <a:spcAft>
                  <a:spcPts val="400"/>
                </a:spcAft>
              </a:pPr>
              <a:r>
                <a:rPr lang="en-GB" dirty="0">
                  <a:solidFill>
                    <a:schemeClr val="accent2"/>
                  </a:solidFill>
                  <a:latin typeface="+mj-lt"/>
                </a:rPr>
                <a:t>2023</a:t>
              </a:r>
              <a:endParaRPr lang="en-GB" sz="1200" dirty="0">
                <a:solidFill>
                  <a:schemeClr val="accent2"/>
                </a:solidFill>
              </a:endParaRPr>
            </a:p>
            <a:p>
              <a:pPr algn="ctr">
                <a:spcBef>
                  <a:spcPts val="500"/>
                </a:spcBef>
                <a:spcAft>
                  <a:spcPts val="400"/>
                </a:spcAft>
              </a:pPr>
              <a:r>
                <a:rPr lang="en-GB" sz="1100" dirty="0"/>
                <a:t>London</a:t>
              </a:r>
              <a:br>
                <a:rPr lang="en-GB" sz="1100" dirty="0"/>
              </a:br>
              <a:r>
                <a:rPr lang="en-GB" sz="1100" dirty="0"/>
                <a:t>office move</a:t>
              </a:r>
            </a:p>
          </p:txBody>
        </p:sp>
        <p:cxnSp>
          <p:nvCxnSpPr>
            <p:cNvPr id="32" name="Straight Connector 31">
              <a:extLst>
                <a:ext uri="{FF2B5EF4-FFF2-40B4-BE49-F238E27FC236}">
                  <a16:creationId xmlns:a16="http://schemas.microsoft.com/office/drawing/2014/main" id="{9935C652-B768-0258-D810-D8CC30CD714D}"/>
                </a:ext>
              </a:extLst>
            </p:cNvPr>
            <p:cNvCxnSpPr>
              <a:cxnSpLocks/>
            </p:cNvCxnSpPr>
            <p:nvPr/>
          </p:nvCxnSpPr>
          <p:spPr>
            <a:xfrm>
              <a:off x="10334712" y="2060742"/>
              <a:ext cx="1194707" cy="0"/>
            </a:xfrm>
            <a:prstGeom prst="line">
              <a:avLst/>
            </a:prstGeom>
            <a:ln w="19050" cap="rnd">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33" name="Group 32">
              <a:extLst>
                <a:ext uri="{FF2B5EF4-FFF2-40B4-BE49-F238E27FC236}">
                  <a16:creationId xmlns:a16="http://schemas.microsoft.com/office/drawing/2014/main" id="{C9673253-DBE3-7DFF-303D-1F3525E04388}"/>
                </a:ext>
              </a:extLst>
            </p:cNvPr>
            <p:cNvGrpSpPr/>
            <p:nvPr/>
          </p:nvGrpSpPr>
          <p:grpSpPr>
            <a:xfrm>
              <a:off x="10663720" y="1153052"/>
              <a:ext cx="479858" cy="479856"/>
              <a:chOff x="5073920" y="2797526"/>
              <a:chExt cx="644255" cy="644255"/>
            </a:xfrm>
            <a:solidFill>
              <a:schemeClr val="accent2"/>
            </a:solidFill>
          </p:grpSpPr>
          <p:sp>
            <p:nvSpPr>
              <p:cNvPr id="34" name="Oval 33">
                <a:extLst>
                  <a:ext uri="{FF2B5EF4-FFF2-40B4-BE49-F238E27FC236}">
                    <a16:creationId xmlns:a16="http://schemas.microsoft.com/office/drawing/2014/main" id="{685E794F-DB90-7BFA-FEB4-4DC29B8268BE}"/>
                  </a:ext>
                </a:extLst>
              </p:cNvPr>
              <p:cNvSpPr/>
              <p:nvPr/>
            </p:nvSpPr>
            <p:spPr>
              <a:xfrm>
                <a:off x="5185045" y="2908652"/>
                <a:ext cx="422006" cy="4220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5" name="Circle: Hollow 34">
                <a:extLst>
                  <a:ext uri="{FF2B5EF4-FFF2-40B4-BE49-F238E27FC236}">
                    <a16:creationId xmlns:a16="http://schemas.microsoft.com/office/drawing/2014/main" id="{4133AB1C-44F2-B56A-97A5-9B6C0C98BF35}"/>
                  </a:ext>
                </a:extLst>
              </p:cNvPr>
              <p:cNvSpPr/>
              <p:nvPr/>
            </p:nvSpPr>
            <p:spPr>
              <a:xfrm>
                <a:off x="5073920" y="2797526"/>
                <a:ext cx="644255" cy="644255"/>
              </a:xfrm>
              <a:prstGeom prst="donut">
                <a:avLst>
                  <a:gd name="adj" fmla="val 1268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grpSp>
      </p:grpSp>
      <p:sp>
        <p:nvSpPr>
          <p:cNvPr id="151" name="Title 3">
            <a:extLst>
              <a:ext uri="{FF2B5EF4-FFF2-40B4-BE49-F238E27FC236}">
                <a16:creationId xmlns:a16="http://schemas.microsoft.com/office/drawing/2014/main" id="{23918033-B871-EED5-7460-BCAA90942BF9}"/>
              </a:ext>
            </a:extLst>
          </p:cNvPr>
          <p:cNvSpPr txBox="1">
            <a:spLocks/>
          </p:cNvSpPr>
          <p:nvPr/>
        </p:nvSpPr>
        <p:spPr>
          <a:xfrm>
            <a:off x="508000" y="454014"/>
            <a:ext cx="7134225" cy="669934"/>
          </a:xfrm>
          <a:prstGeom prst="rect">
            <a:avLst/>
          </a:prstGeom>
        </p:spPr>
        <p:txBody>
          <a:bodyPr vert="horz" lIns="0" tIns="0" rIns="0" bIns="72000" rtlCol="0" anchor="t" anchorCtr="0">
            <a:noAutofit/>
          </a:bodyPr>
          <a:lstStyle>
            <a:lvl1pPr algn="l" defTabSz="914400" rtl="0" eaLnBrk="1" latinLnBrk="0" hangingPunct="1">
              <a:lnSpc>
                <a:spcPct val="90000"/>
              </a:lnSpc>
              <a:spcBef>
                <a:spcPct val="0"/>
              </a:spcBef>
              <a:buNone/>
              <a:defRPr sz="3200" kern="1200" cap="all" baseline="0">
                <a:solidFill>
                  <a:schemeClr val="tx2"/>
                </a:solidFill>
                <a:latin typeface="+mn-lt"/>
                <a:ea typeface="+mj-ea"/>
                <a:cs typeface="+mj-cs"/>
              </a:defRPr>
            </a:lvl1pPr>
          </a:lstStyle>
          <a:p>
            <a:r>
              <a:rPr lang="en-GB" dirty="0"/>
              <a:t>BUILDING A GLOBAL FIRM</a:t>
            </a:r>
          </a:p>
        </p:txBody>
      </p:sp>
    </p:spTree>
    <p:extLst>
      <p:ext uri="{BB962C8B-B14F-4D97-AF65-F5344CB8AC3E}">
        <p14:creationId xmlns:p14="http://schemas.microsoft.com/office/powerpoint/2010/main" val="586760703"/>
      </p:ext>
    </p:extLst>
  </p:cSld>
  <p:clrMapOvr>
    <a:masterClrMapping/>
  </p:clrMapOvr>
  <p:transition spd="med">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4277588-5F15-3C4C-B4EF-DC3C5A9DFC4E}"/>
              </a:ext>
            </a:extLst>
          </p:cNvPr>
          <p:cNvSpPr>
            <a:spLocks noGrp="1"/>
          </p:cNvSpPr>
          <p:nvPr>
            <p:ph type="pic" sz="quarter" idx="13" hasCustomPrompt="1"/>
          </p:nvPr>
        </p:nvSpPr>
        <p:spPr>
          <a:xfrm>
            <a:off x="4067176" y="0"/>
            <a:ext cx="8124824" cy="6858000"/>
          </a:xfrm>
          <a:solidFill>
            <a:schemeClr val="tx1"/>
          </a:solidFill>
        </p:spPr>
        <p:txBody>
          <a:bodyPr anchor="ctr">
            <a:normAutofit/>
          </a:bodyPr>
          <a:lstStyle>
            <a:lvl1pPr algn="ctr">
              <a:defRPr sz="2800" b="0">
                <a:solidFill>
                  <a:schemeClr val="bg1"/>
                </a:solidFill>
                <a:latin typeface="+mj-lt"/>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US" dirty="0"/>
              <a:t>ADD RELATED IMAGE </a:t>
            </a:r>
            <a:br>
              <a:rPr lang="en-US" dirty="0"/>
            </a:br>
            <a:r>
              <a:rPr lang="en-US" dirty="0"/>
              <a:t>FROM HFW IMAGE LIBRARY</a:t>
            </a:r>
            <a:endParaRPr lang="en-GB" dirty="0"/>
          </a:p>
        </p:txBody>
      </p:sp>
      <p:sp>
        <p:nvSpPr>
          <p:cNvPr id="9" name="Rectangle 8">
            <a:extLst>
              <a:ext uri="{FF2B5EF4-FFF2-40B4-BE49-F238E27FC236}">
                <a16:creationId xmlns:a16="http://schemas.microsoft.com/office/drawing/2014/main" id="{708FD88D-9C74-4D94-62A5-47E768F9DCD7}"/>
              </a:ext>
            </a:extLst>
          </p:cNvPr>
          <p:cNvSpPr/>
          <p:nvPr userDrawn="1"/>
        </p:nvSpPr>
        <p:spPr>
          <a:xfrm>
            <a:off x="0" y="0"/>
            <a:ext cx="406717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hasCustomPrompt="1"/>
          </p:nvPr>
        </p:nvSpPr>
        <p:spPr>
          <a:xfrm>
            <a:off x="508939" y="2430692"/>
            <a:ext cx="2792526" cy="2387600"/>
          </a:xfrm>
        </p:spPr>
        <p:txBody>
          <a:bodyPr vert="horz" lIns="0" tIns="0" rIns="0" bIns="0" rtlCol="0" anchor="t" anchorCtr="0">
            <a:noAutofit/>
          </a:bodyPr>
          <a:lstStyle>
            <a:lvl1pPr>
              <a:lnSpc>
                <a:spcPct val="100000"/>
              </a:lnSpc>
              <a:defRPr lang="en-US" sz="3300" dirty="0">
                <a:solidFill>
                  <a:schemeClr val="bg1"/>
                </a:solidFill>
              </a:defRPr>
            </a:lvl1pPr>
          </a:lstStyle>
          <a:p>
            <a:pPr lvl="0"/>
            <a:r>
              <a:rPr lang="en-US" dirty="0"/>
              <a:t>PROPOSAL TO [CLIENT] FOR LEGAL SERVICES</a:t>
            </a:r>
          </a:p>
        </p:txBody>
      </p:sp>
      <p:sp>
        <p:nvSpPr>
          <p:cNvPr id="13" name="Text Placeholder 12">
            <a:extLst>
              <a:ext uri="{FF2B5EF4-FFF2-40B4-BE49-F238E27FC236}">
                <a16:creationId xmlns:a16="http://schemas.microsoft.com/office/drawing/2014/main" id="{BBA3AA40-3440-5851-3972-390D3DEB2219}"/>
              </a:ext>
            </a:extLst>
          </p:cNvPr>
          <p:cNvSpPr>
            <a:spLocks noGrp="1"/>
          </p:cNvSpPr>
          <p:nvPr>
            <p:ph type="body" sz="quarter" idx="14" hasCustomPrompt="1"/>
          </p:nvPr>
        </p:nvSpPr>
        <p:spPr>
          <a:xfrm>
            <a:off x="508939" y="5989638"/>
            <a:ext cx="3387140" cy="230187"/>
          </a:xfrm>
        </p:spPr>
        <p:txBody>
          <a:bodyPr tIns="0" bIns="0">
            <a:noAutofit/>
          </a:bodyPr>
          <a:lstStyle>
            <a:lvl1pPr>
              <a:defRPr sz="1400" cap="all" baseline="0">
                <a:solidFill>
                  <a:schemeClr val="accent2"/>
                </a:solidFill>
                <a:latin typeface="+mj-lt"/>
              </a:defRPr>
            </a:lvl1pPr>
            <a:lvl2pPr>
              <a:defRPr>
                <a:solidFill>
                  <a:schemeClr val="bg1"/>
                </a:solidFill>
                <a:latin typeface="+mn-lt"/>
              </a:defRPr>
            </a:lvl2pPr>
            <a:lvl3pPr>
              <a:defRPr>
                <a:solidFill>
                  <a:schemeClr val="bg1"/>
                </a:solidFill>
                <a:latin typeface="+mn-lt"/>
              </a:defRPr>
            </a:lvl3pPr>
            <a:lvl4pPr>
              <a:defRPr>
                <a:solidFill>
                  <a:schemeClr val="bg1"/>
                </a:solidFill>
                <a:latin typeface="+mn-lt"/>
              </a:defRPr>
            </a:lvl4pPr>
            <a:lvl5pPr>
              <a:defRPr>
                <a:solidFill>
                  <a:schemeClr val="bg1"/>
                </a:solidFill>
                <a:latin typeface="+mn-lt"/>
              </a:defRPr>
            </a:lvl5pPr>
          </a:lstStyle>
          <a:p>
            <a:pPr lvl="0"/>
            <a:r>
              <a:rPr lang="en-US" dirty="0"/>
              <a:t>DAY MONTH YEAR</a:t>
            </a:r>
            <a:endParaRPr lang="en-GB" dirty="0"/>
          </a:p>
        </p:txBody>
      </p:sp>
      <p:sp>
        <p:nvSpPr>
          <p:cNvPr id="4" name="TextBox 4">
            <a:extLst>
              <a:ext uri="{FF2B5EF4-FFF2-40B4-BE49-F238E27FC236}">
                <a16:creationId xmlns:a16="http://schemas.microsoft.com/office/drawing/2014/main" id="{265B2CA7-EDCD-E4A1-AC81-AB1BF0FA5D17}"/>
              </a:ext>
            </a:extLst>
          </p:cNvPr>
          <p:cNvSpPr txBox="1"/>
          <p:nvPr userDrawn="1"/>
        </p:nvSpPr>
        <p:spPr>
          <a:xfrm>
            <a:off x="12346713" y="109538"/>
            <a:ext cx="1934437" cy="31700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INSERTING IMAGES:</a:t>
            </a:r>
          </a:p>
          <a:p>
            <a:pPr marL="179388" indent="-179388">
              <a:spcBef>
                <a:spcPts val="200"/>
              </a:spcBef>
              <a:spcAft>
                <a:spcPts val="200"/>
              </a:spcAft>
              <a:buFont typeface="+mj-lt"/>
              <a:buAutoNum type="arabicPeriod"/>
            </a:pPr>
            <a:r>
              <a:rPr lang="en-US" sz="900" dirty="0">
                <a:solidFill>
                  <a:schemeClr val="tx1"/>
                </a:solidFill>
                <a:latin typeface="+mn-lt"/>
              </a:rPr>
              <a:t>Simply click the image placeholder and select your image.</a:t>
            </a:r>
          </a:p>
          <a:p>
            <a:pPr marL="179388" indent="-179388">
              <a:spcBef>
                <a:spcPts val="200"/>
              </a:spcBef>
              <a:spcAft>
                <a:spcPts val="200"/>
              </a:spcAft>
              <a:buFont typeface="+mj-lt"/>
              <a:buAutoNum type="arabicPeriod"/>
            </a:pPr>
            <a:r>
              <a:rPr lang="en-US" sz="900" dirty="0">
                <a:solidFill>
                  <a:schemeClr val="tx1"/>
                </a:solidFill>
                <a:latin typeface="+mn-lt"/>
              </a:rPr>
              <a:t>Once your image is inserted into the shape it may be distorted. (Stretched or Squashed)</a:t>
            </a:r>
          </a:p>
          <a:p>
            <a:pPr marL="179388" indent="-179388">
              <a:spcBef>
                <a:spcPts val="200"/>
              </a:spcBef>
              <a:spcAft>
                <a:spcPts val="200"/>
              </a:spcAft>
              <a:buFont typeface="+mj-lt"/>
              <a:buAutoNum type="arabicPeriod"/>
            </a:pPr>
            <a:endParaRPr lang="en-US" sz="900" dirty="0">
              <a:solidFill>
                <a:schemeClr val="tx1"/>
              </a:solidFill>
              <a:latin typeface="+mn-lt"/>
            </a:endParaRPr>
          </a:p>
          <a:p>
            <a:pPr>
              <a:spcBef>
                <a:spcPts val="200"/>
              </a:spcBef>
              <a:spcAft>
                <a:spcPts val="200"/>
              </a:spcAft>
            </a:pPr>
            <a:r>
              <a:rPr lang="en-US" sz="900" b="1" dirty="0">
                <a:solidFill>
                  <a:schemeClr val="tx1"/>
                </a:solidFill>
                <a:latin typeface="+mn-lt"/>
              </a:rPr>
              <a:t>To fix this:</a:t>
            </a:r>
          </a:p>
          <a:p>
            <a:pPr marL="179388" indent="-179388">
              <a:spcBef>
                <a:spcPts val="200"/>
              </a:spcBef>
              <a:spcAft>
                <a:spcPts val="200"/>
              </a:spcAft>
              <a:buFont typeface="+mj-lt"/>
              <a:buAutoNum type="arabicPeriod"/>
            </a:pPr>
            <a:r>
              <a:rPr lang="en-US" sz="900" dirty="0">
                <a:solidFill>
                  <a:schemeClr val="tx1"/>
                </a:solidFill>
                <a:latin typeface="+mn-lt"/>
              </a:rPr>
              <a:t>Click on the image and from the top menu under </a:t>
            </a:r>
            <a:r>
              <a:rPr lang="en-US" sz="900" b="1" dirty="0">
                <a:solidFill>
                  <a:schemeClr val="tx1"/>
                </a:solidFill>
                <a:latin typeface="+mn-lt"/>
              </a:rPr>
              <a:t>PICTURE FORMAT </a:t>
            </a:r>
            <a:r>
              <a:rPr lang="en-US" sz="900" dirty="0">
                <a:solidFill>
                  <a:schemeClr val="tx1"/>
                </a:solidFill>
                <a:latin typeface="+mn-lt"/>
              </a:rPr>
              <a:t>select the </a:t>
            </a:r>
            <a:r>
              <a:rPr lang="en-US" sz="900" b="1" dirty="0">
                <a:solidFill>
                  <a:schemeClr val="tx1"/>
                </a:solidFill>
                <a:latin typeface="+mn-lt"/>
              </a:rPr>
              <a:t>CROP</a:t>
            </a:r>
            <a:r>
              <a:rPr lang="en-US" sz="900" dirty="0">
                <a:solidFill>
                  <a:schemeClr val="tx1"/>
                </a:solidFill>
                <a:latin typeface="+mn-lt"/>
              </a:rPr>
              <a:t> on the right and from the drop down menu select </a:t>
            </a:r>
            <a:r>
              <a:rPr lang="en-US" sz="900" b="1" kern="1200" dirty="0">
                <a:solidFill>
                  <a:schemeClr val="tx1"/>
                </a:solidFill>
                <a:latin typeface="+mn-lt"/>
                <a:ea typeface="+mn-ea"/>
                <a:cs typeface="+mn-cs"/>
              </a:rPr>
              <a:t>FILL</a:t>
            </a:r>
          </a:p>
          <a:p>
            <a:pPr marL="179388" indent="-179388">
              <a:spcBef>
                <a:spcPts val="200"/>
              </a:spcBef>
              <a:spcAft>
                <a:spcPts val="200"/>
              </a:spcAft>
              <a:buFont typeface="+mj-lt"/>
              <a:buAutoNum type="arabicPeriod"/>
            </a:pPr>
            <a:r>
              <a:rPr lang="en-US" sz="900" b="0" kern="1200" dirty="0">
                <a:solidFill>
                  <a:schemeClr val="tx1"/>
                </a:solidFill>
                <a:latin typeface="+mn-lt"/>
                <a:ea typeface="+mn-ea"/>
                <a:cs typeface="+mn-cs"/>
              </a:rPr>
              <a:t>From here you can move the image within the shape for best visual appearance</a:t>
            </a:r>
          </a:p>
        </p:txBody>
      </p:sp>
      <p:sp>
        <p:nvSpPr>
          <p:cNvPr id="15" name="Graphic 13">
            <a:extLst>
              <a:ext uri="{FF2B5EF4-FFF2-40B4-BE49-F238E27FC236}">
                <a16:creationId xmlns:a16="http://schemas.microsoft.com/office/drawing/2014/main" id="{F55B8285-32D5-4BE7-BD14-B9806C407E31}"/>
              </a:ext>
            </a:extLst>
          </p:cNvPr>
          <p:cNvSpPr>
            <a:spLocks noGrp="1" noRot="1" noMove="1" noResize="1" noEditPoints="1" noAdjustHandles="1" noChangeArrowheads="1" noChangeShapeType="1"/>
          </p:cNvSpPr>
          <p:nvPr/>
        </p:nvSpPr>
        <p:spPr>
          <a:xfrm>
            <a:off x="585463" y="588011"/>
            <a:ext cx="1522695" cy="922576"/>
          </a:xfrm>
          <a:custGeom>
            <a:avLst/>
            <a:gdLst>
              <a:gd name="connsiteX0" fmla="*/ 618149 w 1522695"/>
              <a:gd name="connsiteY0" fmla="*/ 39943 h 922576"/>
              <a:gd name="connsiteX1" fmla="*/ 421345 w 1522695"/>
              <a:gd name="connsiteY1" fmla="*/ 876531 h 922576"/>
              <a:gd name="connsiteX2" fmla="*/ 388753 w 1522695"/>
              <a:gd name="connsiteY2" fmla="*/ 915365 h 922576"/>
              <a:gd name="connsiteX3" fmla="*/ 349364 w 1522695"/>
              <a:gd name="connsiteY3" fmla="*/ 922577 h 922576"/>
              <a:gd name="connsiteX4" fmla="*/ 328006 w 1522695"/>
              <a:gd name="connsiteY4" fmla="*/ 897196 h 922576"/>
              <a:gd name="connsiteX5" fmla="*/ 431608 w 1522695"/>
              <a:gd name="connsiteY5" fmla="*/ 465033 h 922576"/>
              <a:gd name="connsiteX6" fmla="*/ 224958 w 1522695"/>
              <a:gd name="connsiteY6" fmla="*/ 504838 h 922576"/>
              <a:gd name="connsiteX7" fmla="*/ 185292 w 1522695"/>
              <a:gd name="connsiteY7" fmla="*/ 702473 h 922576"/>
              <a:gd name="connsiteX8" fmla="*/ 159634 w 1522695"/>
              <a:gd name="connsiteY8" fmla="*/ 738117 h 922576"/>
              <a:gd name="connsiteX9" fmla="*/ 102771 w 1522695"/>
              <a:gd name="connsiteY9" fmla="*/ 719671 h 922576"/>
              <a:gd name="connsiteX10" fmla="*/ 150203 w 1522695"/>
              <a:gd name="connsiteY10" fmla="*/ 519816 h 922576"/>
              <a:gd name="connsiteX11" fmla="*/ 62411 w 1522695"/>
              <a:gd name="connsiteY11" fmla="*/ 533547 h 922576"/>
              <a:gd name="connsiteX12" fmla="*/ 0 w 1522695"/>
              <a:gd name="connsiteY12" fmla="*/ 507750 h 922576"/>
              <a:gd name="connsiteX13" fmla="*/ 163795 w 1522695"/>
              <a:gd name="connsiteY13" fmla="*/ 465588 h 922576"/>
              <a:gd name="connsiteX14" fmla="*/ 234805 w 1522695"/>
              <a:gd name="connsiteY14" fmla="*/ 162547 h 922576"/>
              <a:gd name="connsiteX15" fmla="*/ 258244 w 1522695"/>
              <a:gd name="connsiteY15" fmla="*/ 135502 h 922576"/>
              <a:gd name="connsiteX16" fmla="*/ 300961 w 1522695"/>
              <a:gd name="connsiteY16" fmla="*/ 126625 h 922576"/>
              <a:gd name="connsiteX17" fmla="*/ 316772 w 1522695"/>
              <a:gd name="connsiteY17" fmla="*/ 149232 h 922576"/>
              <a:gd name="connsiteX18" fmla="*/ 239104 w 1522695"/>
              <a:gd name="connsiteY18" fmla="*/ 449084 h 922576"/>
              <a:gd name="connsiteX19" fmla="*/ 447697 w 1522695"/>
              <a:gd name="connsiteY19" fmla="*/ 404564 h 922576"/>
              <a:gd name="connsiteX20" fmla="*/ 542839 w 1522695"/>
              <a:gd name="connsiteY20" fmla="*/ 34950 h 922576"/>
              <a:gd name="connsiteX21" fmla="*/ 557402 w 1522695"/>
              <a:gd name="connsiteY21" fmla="*/ 6935 h 922576"/>
              <a:gd name="connsiteX22" fmla="*/ 592907 w 1522695"/>
              <a:gd name="connsiteY22" fmla="*/ 0 h 922576"/>
              <a:gd name="connsiteX23" fmla="*/ 620506 w 1522695"/>
              <a:gd name="connsiteY23" fmla="*/ 25381 h 922576"/>
              <a:gd name="connsiteX24" fmla="*/ 618426 w 1522695"/>
              <a:gd name="connsiteY24" fmla="*/ 40359 h 922576"/>
              <a:gd name="connsiteX25" fmla="*/ 845048 w 1522695"/>
              <a:gd name="connsiteY25" fmla="*/ 445755 h 922576"/>
              <a:gd name="connsiteX26" fmla="*/ 684582 w 1522695"/>
              <a:gd name="connsiteY26" fmla="*/ 476544 h 922576"/>
              <a:gd name="connsiteX27" fmla="*/ 729241 w 1522695"/>
              <a:gd name="connsiteY27" fmla="*/ 311918 h 922576"/>
              <a:gd name="connsiteX28" fmla="*/ 1087204 w 1522695"/>
              <a:gd name="connsiteY28" fmla="*/ 231060 h 922576"/>
              <a:gd name="connsiteX29" fmla="*/ 1110643 w 1522695"/>
              <a:gd name="connsiteY29" fmla="*/ 218994 h 922576"/>
              <a:gd name="connsiteX30" fmla="*/ 1053363 w 1522695"/>
              <a:gd name="connsiteY30" fmla="*/ 185708 h 922576"/>
              <a:gd name="connsiteX31" fmla="*/ 1029785 w 1522695"/>
              <a:gd name="connsiteY31" fmla="*/ 187927 h 922576"/>
              <a:gd name="connsiteX32" fmla="*/ 636872 w 1522695"/>
              <a:gd name="connsiteY32" fmla="*/ 267536 h 922576"/>
              <a:gd name="connsiteX33" fmla="*/ 610798 w 1522695"/>
              <a:gd name="connsiteY33" fmla="*/ 284595 h 922576"/>
              <a:gd name="connsiteX34" fmla="*/ 652683 w 1522695"/>
              <a:gd name="connsiteY34" fmla="*/ 321210 h 922576"/>
              <a:gd name="connsiteX35" fmla="*/ 524948 w 1522695"/>
              <a:gd name="connsiteY35" fmla="*/ 802192 h 922576"/>
              <a:gd name="connsiteX36" fmla="*/ 537569 w 1522695"/>
              <a:gd name="connsiteY36" fmla="*/ 815646 h 922576"/>
              <a:gd name="connsiteX37" fmla="*/ 595542 w 1522695"/>
              <a:gd name="connsiteY37" fmla="*/ 802886 h 922576"/>
              <a:gd name="connsiteX38" fmla="*/ 616762 w 1522695"/>
              <a:gd name="connsiteY38" fmla="*/ 763914 h 922576"/>
              <a:gd name="connsiteX39" fmla="*/ 669603 w 1522695"/>
              <a:gd name="connsiteY39" fmla="*/ 537430 h 922576"/>
              <a:gd name="connsiteX40" fmla="*/ 808988 w 1522695"/>
              <a:gd name="connsiteY40" fmla="*/ 509276 h 922576"/>
              <a:gd name="connsiteX41" fmla="*/ 859611 w 1522695"/>
              <a:gd name="connsiteY41" fmla="*/ 477238 h 922576"/>
              <a:gd name="connsiteX42" fmla="*/ 872232 w 1522695"/>
              <a:gd name="connsiteY42" fmla="*/ 451996 h 922576"/>
              <a:gd name="connsiteX43" fmla="*/ 845187 w 1522695"/>
              <a:gd name="connsiteY43" fmla="*/ 445755 h 922576"/>
              <a:gd name="connsiteX44" fmla="*/ 1479701 w 1522695"/>
              <a:gd name="connsiteY44" fmla="*/ 159218 h 922576"/>
              <a:gd name="connsiteX45" fmla="*/ 1409801 w 1522695"/>
              <a:gd name="connsiteY45" fmla="*/ 217052 h 922576"/>
              <a:gd name="connsiteX46" fmla="*/ 1212442 w 1522695"/>
              <a:gd name="connsiteY46" fmla="*/ 666691 h 922576"/>
              <a:gd name="connsiteX47" fmla="*/ 1231721 w 1522695"/>
              <a:gd name="connsiteY47" fmla="*/ 323845 h 922576"/>
              <a:gd name="connsiteX48" fmla="*/ 1206895 w 1522695"/>
              <a:gd name="connsiteY48" fmla="*/ 300683 h 922576"/>
              <a:gd name="connsiteX49" fmla="*/ 1151002 w 1522695"/>
              <a:gd name="connsiteY49" fmla="*/ 324677 h 922576"/>
              <a:gd name="connsiteX50" fmla="*/ 1137549 w 1522695"/>
              <a:gd name="connsiteY50" fmla="*/ 353525 h 922576"/>
              <a:gd name="connsiteX51" fmla="*/ 980689 w 1522695"/>
              <a:gd name="connsiteY51" fmla="*/ 605528 h 922576"/>
              <a:gd name="connsiteX52" fmla="*/ 1041574 w 1522695"/>
              <a:gd name="connsiteY52" fmla="*/ 331196 h 922576"/>
              <a:gd name="connsiteX53" fmla="*/ 1029369 w 1522695"/>
              <a:gd name="connsiteY53" fmla="*/ 319962 h 922576"/>
              <a:gd name="connsiteX54" fmla="*/ 988871 w 1522695"/>
              <a:gd name="connsiteY54" fmla="*/ 327728 h 922576"/>
              <a:gd name="connsiteX55" fmla="*/ 954892 w 1522695"/>
              <a:gd name="connsiteY55" fmla="*/ 369752 h 922576"/>
              <a:gd name="connsiteX56" fmla="*/ 880553 w 1522695"/>
              <a:gd name="connsiteY56" fmla="*/ 711766 h 922576"/>
              <a:gd name="connsiteX57" fmla="*/ 902328 w 1522695"/>
              <a:gd name="connsiteY57" fmla="*/ 741862 h 922576"/>
              <a:gd name="connsiteX58" fmla="*/ 960024 w 1522695"/>
              <a:gd name="connsiteY58" fmla="*/ 718423 h 922576"/>
              <a:gd name="connsiteX59" fmla="*/ 1144483 w 1522695"/>
              <a:gd name="connsiteY59" fmla="*/ 419542 h 922576"/>
              <a:gd name="connsiteX60" fmla="*/ 1128950 w 1522695"/>
              <a:gd name="connsiteY60" fmla="*/ 709546 h 922576"/>
              <a:gd name="connsiteX61" fmla="*/ 1162375 w 1522695"/>
              <a:gd name="connsiteY61" fmla="*/ 786798 h 922576"/>
              <a:gd name="connsiteX62" fmla="*/ 1235049 w 1522695"/>
              <a:gd name="connsiteY62" fmla="*/ 740891 h 922576"/>
              <a:gd name="connsiteX63" fmla="*/ 1512016 w 1522695"/>
              <a:gd name="connsiteY63" fmla="*/ 203322 h 922576"/>
              <a:gd name="connsiteX64" fmla="*/ 1522696 w 1522695"/>
              <a:gd name="connsiteY64" fmla="*/ 183766 h 922576"/>
              <a:gd name="connsiteX65" fmla="*/ 1479840 w 1522695"/>
              <a:gd name="connsiteY65" fmla="*/ 159357 h 922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522695" h="922576">
                <a:moveTo>
                  <a:pt x="618149" y="39943"/>
                </a:moveTo>
                <a:cubicBezTo>
                  <a:pt x="568774" y="240214"/>
                  <a:pt x="450887" y="614404"/>
                  <a:pt x="421345" y="876531"/>
                </a:cubicBezTo>
                <a:cubicBezTo>
                  <a:pt x="418849" y="898167"/>
                  <a:pt x="420374" y="906627"/>
                  <a:pt x="388753" y="915365"/>
                </a:cubicBezTo>
                <a:cubicBezTo>
                  <a:pt x="373497" y="919526"/>
                  <a:pt x="359350" y="922577"/>
                  <a:pt x="349364" y="922577"/>
                </a:cubicBezTo>
                <a:cubicBezTo>
                  <a:pt x="333831" y="922577"/>
                  <a:pt x="328006" y="913978"/>
                  <a:pt x="328006" y="897196"/>
                </a:cubicBezTo>
                <a:cubicBezTo>
                  <a:pt x="328006" y="851567"/>
                  <a:pt x="390972" y="623280"/>
                  <a:pt x="431608" y="465033"/>
                </a:cubicBezTo>
                <a:cubicBezTo>
                  <a:pt x="377380" y="475296"/>
                  <a:pt x="300961" y="489998"/>
                  <a:pt x="224958" y="504838"/>
                </a:cubicBezTo>
                <a:cubicBezTo>
                  <a:pt x="206512" y="579870"/>
                  <a:pt x="193336" y="642697"/>
                  <a:pt x="185292" y="702473"/>
                </a:cubicBezTo>
                <a:cubicBezTo>
                  <a:pt x="183350" y="716897"/>
                  <a:pt x="185292" y="730489"/>
                  <a:pt x="159634" y="738117"/>
                </a:cubicBezTo>
                <a:cubicBezTo>
                  <a:pt x="116362" y="751015"/>
                  <a:pt x="100968" y="743803"/>
                  <a:pt x="102771" y="719671"/>
                </a:cubicBezTo>
                <a:cubicBezTo>
                  <a:pt x="105683" y="679589"/>
                  <a:pt x="118443" y="648661"/>
                  <a:pt x="150203" y="519816"/>
                </a:cubicBezTo>
                <a:cubicBezTo>
                  <a:pt x="110676" y="527722"/>
                  <a:pt x="79748" y="533547"/>
                  <a:pt x="62411" y="533547"/>
                </a:cubicBezTo>
                <a:cubicBezTo>
                  <a:pt x="38972" y="533547"/>
                  <a:pt x="0" y="517459"/>
                  <a:pt x="0" y="507750"/>
                </a:cubicBezTo>
                <a:cubicBezTo>
                  <a:pt x="0" y="496239"/>
                  <a:pt x="27184" y="496377"/>
                  <a:pt x="163795" y="465588"/>
                </a:cubicBezTo>
                <a:cubicBezTo>
                  <a:pt x="190146" y="360876"/>
                  <a:pt x="227038" y="219133"/>
                  <a:pt x="234805" y="162547"/>
                </a:cubicBezTo>
                <a:cubicBezTo>
                  <a:pt x="236192" y="152145"/>
                  <a:pt x="239798" y="140633"/>
                  <a:pt x="258244" y="135502"/>
                </a:cubicBezTo>
                <a:cubicBezTo>
                  <a:pt x="269339" y="132451"/>
                  <a:pt x="290004" y="126625"/>
                  <a:pt x="300961" y="126625"/>
                </a:cubicBezTo>
                <a:cubicBezTo>
                  <a:pt x="313304" y="126625"/>
                  <a:pt x="316772" y="137721"/>
                  <a:pt x="316772" y="149232"/>
                </a:cubicBezTo>
                <a:cubicBezTo>
                  <a:pt x="316772" y="170036"/>
                  <a:pt x="273916" y="298048"/>
                  <a:pt x="239104" y="449084"/>
                </a:cubicBezTo>
                <a:cubicBezTo>
                  <a:pt x="309837" y="433689"/>
                  <a:pt x="385424" y="417739"/>
                  <a:pt x="447697" y="404564"/>
                </a:cubicBezTo>
                <a:cubicBezTo>
                  <a:pt x="485421" y="261434"/>
                  <a:pt x="522313" y="121910"/>
                  <a:pt x="542839" y="34950"/>
                </a:cubicBezTo>
                <a:cubicBezTo>
                  <a:pt x="547277" y="16227"/>
                  <a:pt x="546445" y="10679"/>
                  <a:pt x="557402" y="6935"/>
                </a:cubicBezTo>
                <a:cubicBezTo>
                  <a:pt x="562533" y="5132"/>
                  <a:pt x="578205" y="0"/>
                  <a:pt x="592907" y="0"/>
                </a:cubicBezTo>
                <a:cubicBezTo>
                  <a:pt x="607608" y="0"/>
                  <a:pt x="620506" y="5548"/>
                  <a:pt x="620506" y="25381"/>
                </a:cubicBezTo>
                <a:cubicBezTo>
                  <a:pt x="620506" y="29680"/>
                  <a:pt x="619813" y="34673"/>
                  <a:pt x="618426" y="40359"/>
                </a:cubicBezTo>
                <a:close/>
                <a:moveTo>
                  <a:pt x="845048" y="445755"/>
                </a:moveTo>
                <a:cubicBezTo>
                  <a:pt x="796922" y="454076"/>
                  <a:pt x="739920" y="465865"/>
                  <a:pt x="684582" y="476544"/>
                </a:cubicBezTo>
                <a:cubicBezTo>
                  <a:pt x="700670" y="412608"/>
                  <a:pt x="716620" y="352970"/>
                  <a:pt x="729241" y="311918"/>
                </a:cubicBezTo>
                <a:cubicBezTo>
                  <a:pt x="838946" y="287092"/>
                  <a:pt x="1056276" y="236053"/>
                  <a:pt x="1087204" y="231060"/>
                </a:cubicBezTo>
                <a:cubicBezTo>
                  <a:pt x="1104679" y="228148"/>
                  <a:pt x="1110643" y="223155"/>
                  <a:pt x="1110643" y="218994"/>
                </a:cubicBezTo>
                <a:cubicBezTo>
                  <a:pt x="1110643" y="211089"/>
                  <a:pt x="1084985" y="185708"/>
                  <a:pt x="1053363" y="185708"/>
                </a:cubicBezTo>
                <a:cubicBezTo>
                  <a:pt x="1046428" y="185708"/>
                  <a:pt x="1038662" y="186402"/>
                  <a:pt x="1029785" y="187927"/>
                </a:cubicBezTo>
                <a:cubicBezTo>
                  <a:pt x="966542" y="199023"/>
                  <a:pt x="709269" y="252974"/>
                  <a:pt x="636872" y="267536"/>
                </a:cubicBezTo>
                <a:cubicBezTo>
                  <a:pt x="618842" y="271142"/>
                  <a:pt x="610798" y="277661"/>
                  <a:pt x="610798" y="284595"/>
                </a:cubicBezTo>
                <a:cubicBezTo>
                  <a:pt x="610798" y="295136"/>
                  <a:pt x="636317" y="316217"/>
                  <a:pt x="652683" y="321210"/>
                </a:cubicBezTo>
                <a:cubicBezTo>
                  <a:pt x="616623" y="461427"/>
                  <a:pt x="524948" y="770571"/>
                  <a:pt x="524948" y="802192"/>
                </a:cubicBezTo>
                <a:cubicBezTo>
                  <a:pt x="524948" y="809959"/>
                  <a:pt x="527583" y="815646"/>
                  <a:pt x="537569" y="815646"/>
                </a:cubicBezTo>
                <a:cubicBezTo>
                  <a:pt x="551299" y="815646"/>
                  <a:pt x="579176" y="809682"/>
                  <a:pt x="595542" y="802886"/>
                </a:cubicBezTo>
                <a:cubicBezTo>
                  <a:pt x="611908" y="795951"/>
                  <a:pt x="611630" y="787907"/>
                  <a:pt x="616762" y="763914"/>
                </a:cubicBezTo>
                <a:cubicBezTo>
                  <a:pt x="627996" y="712043"/>
                  <a:pt x="648106" y="624945"/>
                  <a:pt x="669603" y="537430"/>
                </a:cubicBezTo>
                <a:cubicBezTo>
                  <a:pt x="735620" y="523422"/>
                  <a:pt x="777505" y="516488"/>
                  <a:pt x="808988" y="509276"/>
                </a:cubicBezTo>
                <a:cubicBezTo>
                  <a:pt x="843661" y="501370"/>
                  <a:pt x="850180" y="491107"/>
                  <a:pt x="859611" y="477238"/>
                </a:cubicBezTo>
                <a:cubicBezTo>
                  <a:pt x="865852" y="468223"/>
                  <a:pt x="872232" y="456850"/>
                  <a:pt x="872232" y="451996"/>
                </a:cubicBezTo>
                <a:cubicBezTo>
                  <a:pt x="872232" y="444368"/>
                  <a:pt x="864742" y="442288"/>
                  <a:pt x="845187" y="445755"/>
                </a:cubicBezTo>
                <a:close/>
                <a:moveTo>
                  <a:pt x="1479701" y="159218"/>
                </a:moveTo>
                <a:cubicBezTo>
                  <a:pt x="1459452" y="159218"/>
                  <a:pt x="1437955" y="171978"/>
                  <a:pt x="1409801" y="217052"/>
                </a:cubicBezTo>
                <a:cubicBezTo>
                  <a:pt x="1369857" y="281128"/>
                  <a:pt x="1274854" y="509553"/>
                  <a:pt x="1212442" y="666691"/>
                </a:cubicBezTo>
                <a:cubicBezTo>
                  <a:pt x="1210639" y="502202"/>
                  <a:pt x="1231721" y="360598"/>
                  <a:pt x="1231721" y="323845"/>
                </a:cubicBezTo>
                <a:cubicBezTo>
                  <a:pt x="1231721" y="305399"/>
                  <a:pt x="1220348" y="300683"/>
                  <a:pt x="1206895" y="300683"/>
                </a:cubicBezTo>
                <a:cubicBezTo>
                  <a:pt x="1188310" y="300683"/>
                  <a:pt x="1160988" y="301516"/>
                  <a:pt x="1151002" y="324677"/>
                </a:cubicBezTo>
                <a:cubicBezTo>
                  <a:pt x="1144483" y="339795"/>
                  <a:pt x="1143374" y="343262"/>
                  <a:pt x="1137549" y="353525"/>
                </a:cubicBezTo>
                <a:cubicBezTo>
                  <a:pt x="1125205" y="375577"/>
                  <a:pt x="1053502" y="501786"/>
                  <a:pt x="980689" y="605528"/>
                </a:cubicBezTo>
                <a:cubicBezTo>
                  <a:pt x="1012588" y="432995"/>
                  <a:pt x="1041574" y="349087"/>
                  <a:pt x="1041574" y="331196"/>
                </a:cubicBezTo>
                <a:cubicBezTo>
                  <a:pt x="1041574" y="322874"/>
                  <a:pt x="1036165" y="319962"/>
                  <a:pt x="1029369" y="319962"/>
                </a:cubicBezTo>
                <a:cubicBezTo>
                  <a:pt x="1021325" y="319962"/>
                  <a:pt x="1000799" y="324816"/>
                  <a:pt x="988871" y="327728"/>
                </a:cubicBezTo>
                <a:cubicBezTo>
                  <a:pt x="974864" y="331196"/>
                  <a:pt x="963768" y="335772"/>
                  <a:pt x="954892" y="369752"/>
                </a:cubicBezTo>
                <a:cubicBezTo>
                  <a:pt x="925905" y="479734"/>
                  <a:pt x="880553" y="665720"/>
                  <a:pt x="880553" y="711766"/>
                </a:cubicBezTo>
                <a:cubicBezTo>
                  <a:pt x="880553" y="731876"/>
                  <a:pt x="884575" y="741862"/>
                  <a:pt x="902328" y="741862"/>
                </a:cubicBezTo>
                <a:cubicBezTo>
                  <a:pt x="921051" y="741862"/>
                  <a:pt x="947541" y="736591"/>
                  <a:pt x="960024" y="718423"/>
                </a:cubicBezTo>
                <a:cubicBezTo>
                  <a:pt x="1022851" y="626609"/>
                  <a:pt x="1086372" y="516349"/>
                  <a:pt x="1144483" y="419542"/>
                </a:cubicBezTo>
                <a:cubicBezTo>
                  <a:pt x="1135191" y="510801"/>
                  <a:pt x="1128950" y="628967"/>
                  <a:pt x="1128950" y="709546"/>
                </a:cubicBezTo>
                <a:cubicBezTo>
                  <a:pt x="1128950" y="765023"/>
                  <a:pt x="1130614" y="786798"/>
                  <a:pt x="1162375" y="786798"/>
                </a:cubicBezTo>
                <a:cubicBezTo>
                  <a:pt x="1191223" y="786798"/>
                  <a:pt x="1217019" y="781666"/>
                  <a:pt x="1235049" y="740891"/>
                </a:cubicBezTo>
                <a:cubicBezTo>
                  <a:pt x="1297599" y="599148"/>
                  <a:pt x="1429911" y="303735"/>
                  <a:pt x="1512016" y="203322"/>
                </a:cubicBezTo>
                <a:cubicBezTo>
                  <a:pt x="1517425" y="196803"/>
                  <a:pt x="1522696" y="191256"/>
                  <a:pt x="1522696" y="183766"/>
                </a:cubicBezTo>
                <a:cubicBezTo>
                  <a:pt x="1522696" y="173365"/>
                  <a:pt x="1498563" y="159357"/>
                  <a:pt x="1479840" y="159357"/>
                </a:cubicBezTo>
                <a:close/>
              </a:path>
            </a:pathLst>
          </a:custGeom>
          <a:solidFill>
            <a:schemeClr val="bg1"/>
          </a:solidFill>
          <a:ln w="13855" cap="flat">
            <a:noFill/>
            <a:prstDash val="solid"/>
            <a:miter/>
          </a:ln>
        </p:spPr>
        <p:txBody>
          <a:bodyPr rtlCol="0" anchor="ctr"/>
          <a:lstStyle/>
          <a:p>
            <a:endParaRPr lang="en-GB"/>
          </a:p>
        </p:txBody>
      </p:sp>
    </p:spTree>
    <p:extLst>
      <p:ext uri="{BB962C8B-B14F-4D97-AF65-F5344CB8AC3E}">
        <p14:creationId xmlns:p14="http://schemas.microsoft.com/office/powerpoint/2010/main" val="4274668675"/>
      </p:ext>
    </p:extLst>
  </p:cSld>
  <p:clrMapOvr>
    <a:masterClrMapping/>
  </p:clrMapOvr>
  <p:transition spd="med">
    <p:fade/>
  </p:transition>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lide with Partner Logo">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4277588-5F15-3C4C-B4EF-DC3C5A9DFC4E}"/>
              </a:ext>
            </a:extLst>
          </p:cNvPr>
          <p:cNvSpPr>
            <a:spLocks noGrp="1"/>
          </p:cNvSpPr>
          <p:nvPr>
            <p:ph type="pic" sz="quarter" idx="13" hasCustomPrompt="1"/>
          </p:nvPr>
        </p:nvSpPr>
        <p:spPr>
          <a:xfrm>
            <a:off x="4067176" y="0"/>
            <a:ext cx="8124824" cy="6858000"/>
          </a:xfrm>
          <a:solidFill>
            <a:schemeClr val="tx1"/>
          </a:solidFill>
        </p:spPr>
        <p:txBody>
          <a:bodyPr vert="horz" lIns="0" tIns="45720" rIns="0" bIns="45720" rtlCol="0" anchor="ctr">
            <a:normAutofit/>
          </a:bodyPr>
          <a:lstStyle>
            <a:lvl1pPr algn="ctr">
              <a:defRPr lang="en-GB" sz="2800" b="0" dirty="0">
                <a:solidFill>
                  <a:schemeClr val="bg1"/>
                </a:solidFill>
              </a:defRPr>
            </a:lvl1pPr>
          </a:lstStyle>
          <a:p>
            <a:pPr marR="0" lvl="0" algn="ctr" fontAlgn="auto">
              <a:lnSpc>
                <a:spcPct val="120000"/>
              </a:lnSpc>
              <a:buClrTx/>
              <a:buSzTx/>
              <a:tabLst/>
            </a:pPr>
            <a:r>
              <a:rPr lang="en-US" dirty="0"/>
              <a:t>ADD RELATED IMAGE </a:t>
            </a:r>
            <a:br>
              <a:rPr lang="en-US" dirty="0"/>
            </a:br>
            <a:r>
              <a:rPr lang="en-US" dirty="0"/>
              <a:t>FROM HFW IMAGE LIBRARY</a:t>
            </a:r>
          </a:p>
        </p:txBody>
      </p:sp>
      <p:sp>
        <p:nvSpPr>
          <p:cNvPr id="9" name="Rectangle 8">
            <a:extLst>
              <a:ext uri="{FF2B5EF4-FFF2-40B4-BE49-F238E27FC236}">
                <a16:creationId xmlns:a16="http://schemas.microsoft.com/office/drawing/2014/main" id="{708FD88D-9C74-4D94-62A5-47E768F9DCD7}"/>
              </a:ext>
            </a:extLst>
          </p:cNvPr>
          <p:cNvSpPr/>
          <p:nvPr userDrawn="1"/>
        </p:nvSpPr>
        <p:spPr>
          <a:xfrm>
            <a:off x="0" y="0"/>
            <a:ext cx="406717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Text Placeholder 12">
            <a:extLst>
              <a:ext uri="{FF2B5EF4-FFF2-40B4-BE49-F238E27FC236}">
                <a16:creationId xmlns:a16="http://schemas.microsoft.com/office/drawing/2014/main" id="{BBA3AA40-3440-5851-3972-390D3DEB2219}"/>
              </a:ext>
            </a:extLst>
          </p:cNvPr>
          <p:cNvSpPr>
            <a:spLocks noGrp="1"/>
          </p:cNvSpPr>
          <p:nvPr>
            <p:ph type="body" sz="quarter" idx="14" hasCustomPrompt="1"/>
          </p:nvPr>
        </p:nvSpPr>
        <p:spPr>
          <a:xfrm>
            <a:off x="508939" y="5989638"/>
            <a:ext cx="3387140" cy="230187"/>
          </a:xfrm>
        </p:spPr>
        <p:txBody>
          <a:bodyPr tIns="0" bIns="0">
            <a:noAutofit/>
          </a:bodyPr>
          <a:lstStyle>
            <a:lvl1pPr>
              <a:defRPr sz="1400">
                <a:solidFill>
                  <a:schemeClr val="accent2"/>
                </a:solidFill>
                <a:latin typeface="+mj-lt"/>
              </a:defRPr>
            </a:lvl1pPr>
            <a:lvl2pPr>
              <a:defRPr>
                <a:solidFill>
                  <a:schemeClr val="bg1"/>
                </a:solidFill>
                <a:latin typeface="+mn-lt"/>
              </a:defRPr>
            </a:lvl2pPr>
            <a:lvl3pPr>
              <a:defRPr>
                <a:solidFill>
                  <a:schemeClr val="bg1"/>
                </a:solidFill>
                <a:latin typeface="+mn-lt"/>
              </a:defRPr>
            </a:lvl3pPr>
            <a:lvl4pPr>
              <a:defRPr>
                <a:solidFill>
                  <a:schemeClr val="bg1"/>
                </a:solidFill>
                <a:latin typeface="+mn-lt"/>
              </a:defRPr>
            </a:lvl4pPr>
            <a:lvl5pPr>
              <a:defRPr>
                <a:solidFill>
                  <a:schemeClr val="bg1"/>
                </a:solidFill>
                <a:latin typeface="+mn-lt"/>
              </a:defRPr>
            </a:lvl5pPr>
          </a:lstStyle>
          <a:p>
            <a:pPr lvl="0"/>
            <a:r>
              <a:rPr lang="en-US" dirty="0"/>
              <a:t>DAY MONTH YEAR</a:t>
            </a:r>
            <a:endParaRPr lang="en-GB" dirty="0"/>
          </a:p>
        </p:txBody>
      </p:sp>
      <p:sp>
        <p:nvSpPr>
          <p:cNvPr id="4" name="TextBox 4">
            <a:extLst>
              <a:ext uri="{FF2B5EF4-FFF2-40B4-BE49-F238E27FC236}">
                <a16:creationId xmlns:a16="http://schemas.microsoft.com/office/drawing/2014/main" id="{265B2CA7-EDCD-E4A1-AC81-AB1BF0FA5D17}"/>
              </a:ext>
            </a:extLst>
          </p:cNvPr>
          <p:cNvSpPr txBox="1"/>
          <p:nvPr userDrawn="1"/>
        </p:nvSpPr>
        <p:spPr>
          <a:xfrm>
            <a:off x="12346713" y="109538"/>
            <a:ext cx="1934437" cy="31700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INSERTING IMAGES:</a:t>
            </a:r>
          </a:p>
          <a:p>
            <a:pPr marL="179388" indent="-179388">
              <a:spcBef>
                <a:spcPts val="200"/>
              </a:spcBef>
              <a:spcAft>
                <a:spcPts val="200"/>
              </a:spcAft>
              <a:buFont typeface="+mj-lt"/>
              <a:buAutoNum type="arabicPeriod"/>
            </a:pPr>
            <a:r>
              <a:rPr lang="en-US" sz="900" dirty="0">
                <a:solidFill>
                  <a:schemeClr val="tx1"/>
                </a:solidFill>
                <a:latin typeface="+mn-lt"/>
              </a:rPr>
              <a:t>Simply click the image placeholder and select your image.</a:t>
            </a:r>
          </a:p>
          <a:p>
            <a:pPr marL="179388" indent="-179388">
              <a:spcBef>
                <a:spcPts val="200"/>
              </a:spcBef>
              <a:spcAft>
                <a:spcPts val="200"/>
              </a:spcAft>
              <a:buFont typeface="+mj-lt"/>
              <a:buAutoNum type="arabicPeriod"/>
            </a:pPr>
            <a:r>
              <a:rPr lang="en-US" sz="900" dirty="0">
                <a:solidFill>
                  <a:schemeClr val="tx1"/>
                </a:solidFill>
                <a:latin typeface="+mn-lt"/>
              </a:rPr>
              <a:t>Once your image is inserted into the shape it may be distorted. (Stretched or Squashed)</a:t>
            </a:r>
          </a:p>
          <a:p>
            <a:pPr marL="179388" indent="-179388">
              <a:spcBef>
                <a:spcPts val="200"/>
              </a:spcBef>
              <a:spcAft>
                <a:spcPts val="200"/>
              </a:spcAft>
              <a:buFont typeface="+mj-lt"/>
              <a:buAutoNum type="arabicPeriod"/>
            </a:pPr>
            <a:endParaRPr lang="en-US" sz="900" dirty="0">
              <a:solidFill>
                <a:schemeClr val="tx1"/>
              </a:solidFill>
              <a:latin typeface="+mn-lt"/>
            </a:endParaRPr>
          </a:p>
          <a:p>
            <a:pPr>
              <a:spcBef>
                <a:spcPts val="200"/>
              </a:spcBef>
              <a:spcAft>
                <a:spcPts val="200"/>
              </a:spcAft>
            </a:pPr>
            <a:r>
              <a:rPr lang="en-US" sz="900" b="1" dirty="0">
                <a:solidFill>
                  <a:schemeClr val="tx1"/>
                </a:solidFill>
                <a:latin typeface="+mn-lt"/>
              </a:rPr>
              <a:t>To fix this:</a:t>
            </a:r>
          </a:p>
          <a:p>
            <a:pPr marL="179388" indent="-179388">
              <a:spcBef>
                <a:spcPts val="200"/>
              </a:spcBef>
              <a:spcAft>
                <a:spcPts val="200"/>
              </a:spcAft>
              <a:buFont typeface="+mj-lt"/>
              <a:buAutoNum type="arabicPeriod"/>
            </a:pPr>
            <a:r>
              <a:rPr lang="en-US" sz="900" dirty="0">
                <a:solidFill>
                  <a:schemeClr val="tx1"/>
                </a:solidFill>
                <a:latin typeface="+mn-lt"/>
              </a:rPr>
              <a:t>Click on the image and from the top menu under </a:t>
            </a:r>
            <a:r>
              <a:rPr lang="en-US" sz="900" b="1" dirty="0">
                <a:solidFill>
                  <a:schemeClr val="tx1"/>
                </a:solidFill>
                <a:latin typeface="+mn-lt"/>
              </a:rPr>
              <a:t>PICTURE FORMAT </a:t>
            </a:r>
            <a:r>
              <a:rPr lang="en-US" sz="900" dirty="0">
                <a:solidFill>
                  <a:schemeClr val="tx1"/>
                </a:solidFill>
                <a:latin typeface="+mn-lt"/>
              </a:rPr>
              <a:t>select the </a:t>
            </a:r>
            <a:r>
              <a:rPr lang="en-US" sz="900" b="1" dirty="0">
                <a:solidFill>
                  <a:schemeClr val="tx1"/>
                </a:solidFill>
                <a:latin typeface="+mn-lt"/>
              </a:rPr>
              <a:t>CROP</a:t>
            </a:r>
            <a:r>
              <a:rPr lang="en-US" sz="900" dirty="0">
                <a:solidFill>
                  <a:schemeClr val="tx1"/>
                </a:solidFill>
                <a:latin typeface="+mn-lt"/>
              </a:rPr>
              <a:t> on the right and from the drop down menu select </a:t>
            </a:r>
            <a:r>
              <a:rPr lang="en-US" sz="900" b="1" kern="1200" dirty="0">
                <a:solidFill>
                  <a:schemeClr val="tx1"/>
                </a:solidFill>
                <a:latin typeface="+mn-lt"/>
                <a:ea typeface="+mn-ea"/>
                <a:cs typeface="+mn-cs"/>
              </a:rPr>
              <a:t>FILL</a:t>
            </a:r>
          </a:p>
          <a:p>
            <a:pPr marL="179388" indent="-179388">
              <a:spcBef>
                <a:spcPts val="200"/>
              </a:spcBef>
              <a:spcAft>
                <a:spcPts val="200"/>
              </a:spcAft>
              <a:buFont typeface="+mj-lt"/>
              <a:buAutoNum type="arabicPeriod"/>
            </a:pPr>
            <a:r>
              <a:rPr lang="en-US" sz="900" b="0" kern="1200" dirty="0">
                <a:solidFill>
                  <a:schemeClr val="tx1"/>
                </a:solidFill>
                <a:latin typeface="+mn-lt"/>
                <a:ea typeface="+mn-ea"/>
                <a:cs typeface="+mn-cs"/>
              </a:rPr>
              <a:t>From here you can move the image within the shape for best visual appearance</a:t>
            </a:r>
          </a:p>
        </p:txBody>
      </p:sp>
      <p:sp>
        <p:nvSpPr>
          <p:cNvPr id="5" name="Picture Placeholder 4">
            <a:extLst>
              <a:ext uri="{FF2B5EF4-FFF2-40B4-BE49-F238E27FC236}">
                <a16:creationId xmlns:a16="http://schemas.microsoft.com/office/drawing/2014/main" id="{40A740CE-8DA3-A81D-D999-93685F35CA89}"/>
              </a:ext>
            </a:extLst>
          </p:cNvPr>
          <p:cNvSpPr>
            <a:spLocks noGrp="1"/>
          </p:cNvSpPr>
          <p:nvPr>
            <p:ph type="pic" sz="quarter" idx="15" hasCustomPrompt="1"/>
          </p:nvPr>
        </p:nvSpPr>
        <p:spPr>
          <a:xfrm>
            <a:off x="9761538" y="506412"/>
            <a:ext cx="1920875" cy="1010417"/>
          </a:xfrm>
        </p:spPr>
        <p:txBody>
          <a:bodyPr/>
          <a:lstStyle>
            <a:lvl1pPr algn="ctr">
              <a:defRPr>
                <a:solidFill>
                  <a:schemeClr val="bg1"/>
                </a:solidFill>
                <a:latin typeface="+mn-lt"/>
              </a:defRPr>
            </a:lvl1pPr>
          </a:lstStyle>
          <a:p>
            <a:r>
              <a:rPr lang="en-GB" dirty="0"/>
              <a:t>Partner Logo here</a:t>
            </a:r>
          </a:p>
        </p:txBody>
      </p:sp>
      <p:sp>
        <p:nvSpPr>
          <p:cNvPr id="10" name="Title 1">
            <a:extLst>
              <a:ext uri="{FF2B5EF4-FFF2-40B4-BE49-F238E27FC236}">
                <a16:creationId xmlns:a16="http://schemas.microsoft.com/office/drawing/2014/main" id="{1D9960C9-AE88-FF64-7340-9EC8DF655E87}"/>
              </a:ext>
            </a:extLst>
          </p:cNvPr>
          <p:cNvSpPr>
            <a:spLocks noGrp="1"/>
          </p:cNvSpPr>
          <p:nvPr>
            <p:ph type="ctrTitle" hasCustomPrompt="1"/>
          </p:nvPr>
        </p:nvSpPr>
        <p:spPr>
          <a:xfrm>
            <a:off x="508939" y="2430692"/>
            <a:ext cx="2792526" cy="2387600"/>
          </a:xfrm>
        </p:spPr>
        <p:txBody>
          <a:bodyPr vert="horz" lIns="0" tIns="0" rIns="0" bIns="0" rtlCol="0" anchor="t" anchorCtr="0">
            <a:noAutofit/>
          </a:bodyPr>
          <a:lstStyle>
            <a:lvl1pPr>
              <a:lnSpc>
                <a:spcPct val="100000"/>
              </a:lnSpc>
              <a:defRPr lang="en-US" sz="3300" dirty="0">
                <a:solidFill>
                  <a:schemeClr val="bg1"/>
                </a:solidFill>
              </a:defRPr>
            </a:lvl1pPr>
          </a:lstStyle>
          <a:p>
            <a:pPr lvl="0"/>
            <a:r>
              <a:rPr lang="en-US" dirty="0"/>
              <a:t>PROPOSAL TO [CLIENT] FOR LEGAL SERVICES</a:t>
            </a:r>
          </a:p>
        </p:txBody>
      </p:sp>
      <p:sp>
        <p:nvSpPr>
          <p:cNvPr id="3" name="Graphic 13">
            <a:extLst>
              <a:ext uri="{FF2B5EF4-FFF2-40B4-BE49-F238E27FC236}">
                <a16:creationId xmlns:a16="http://schemas.microsoft.com/office/drawing/2014/main" id="{503C167A-FAAC-E4EB-E571-04F347F84521}"/>
              </a:ext>
            </a:extLst>
          </p:cNvPr>
          <p:cNvSpPr>
            <a:spLocks noGrp="1" noRot="1" noMove="1" noResize="1" noEditPoints="1" noAdjustHandles="1" noChangeArrowheads="1" noChangeShapeType="1"/>
          </p:cNvSpPr>
          <p:nvPr userDrawn="1"/>
        </p:nvSpPr>
        <p:spPr>
          <a:xfrm>
            <a:off x="585463" y="588011"/>
            <a:ext cx="1522695" cy="922576"/>
          </a:xfrm>
          <a:custGeom>
            <a:avLst/>
            <a:gdLst>
              <a:gd name="connsiteX0" fmla="*/ 618149 w 1522695"/>
              <a:gd name="connsiteY0" fmla="*/ 39943 h 922576"/>
              <a:gd name="connsiteX1" fmla="*/ 421345 w 1522695"/>
              <a:gd name="connsiteY1" fmla="*/ 876531 h 922576"/>
              <a:gd name="connsiteX2" fmla="*/ 388753 w 1522695"/>
              <a:gd name="connsiteY2" fmla="*/ 915365 h 922576"/>
              <a:gd name="connsiteX3" fmla="*/ 349364 w 1522695"/>
              <a:gd name="connsiteY3" fmla="*/ 922577 h 922576"/>
              <a:gd name="connsiteX4" fmla="*/ 328006 w 1522695"/>
              <a:gd name="connsiteY4" fmla="*/ 897196 h 922576"/>
              <a:gd name="connsiteX5" fmla="*/ 431608 w 1522695"/>
              <a:gd name="connsiteY5" fmla="*/ 465033 h 922576"/>
              <a:gd name="connsiteX6" fmla="*/ 224958 w 1522695"/>
              <a:gd name="connsiteY6" fmla="*/ 504838 h 922576"/>
              <a:gd name="connsiteX7" fmla="*/ 185292 w 1522695"/>
              <a:gd name="connsiteY7" fmla="*/ 702473 h 922576"/>
              <a:gd name="connsiteX8" fmla="*/ 159634 w 1522695"/>
              <a:gd name="connsiteY8" fmla="*/ 738117 h 922576"/>
              <a:gd name="connsiteX9" fmla="*/ 102771 w 1522695"/>
              <a:gd name="connsiteY9" fmla="*/ 719671 h 922576"/>
              <a:gd name="connsiteX10" fmla="*/ 150203 w 1522695"/>
              <a:gd name="connsiteY10" fmla="*/ 519816 h 922576"/>
              <a:gd name="connsiteX11" fmla="*/ 62411 w 1522695"/>
              <a:gd name="connsiteY11" fmla="*/ 533547 h 922576"/>
              <a:gd name="connsiteX12" fmla="*/ 0 w 1522695"/>
              <a:gd name="connsiteY12" fmla="*/ 507750 h 922576"/>
              <a:gd name="connsiteX13" fmla="*/ 163795 w 1522695"/>
              <a:gd name="connsiteY13" fmla="*/ 465588 h 922576"/>
              <a:gd name="connsiteX14" fmla="*/ 234805 w 1522695"/>
              <a:gd name="connsiteY14" fmla="*/ 162547 h 922576"/>
              <a:gd name="connsiteX15" fmla="*/ 258244 w 1522695"/>
              <a:gd name="connsiteY15" fmla="*/ 135502 h 922576"/>
              <a:gd name="connsiteX16" fmla="*/ 300961 w 1522695"/>
              <a:gd name="connsiteY16" fmla="*/ 126625 h 922576"/>
              <a:gd name="connsiteX17" fmla="*/ 316772 w 1522695"/>
              <a:gd name="connsiteY17" fmla="*/ 149232 h 922576"/>
              <a:gd name="connsiteX18" fmla="*/ 239104 w 1522695"/>
              <a:gd name="connsiteY18" fmla="*/ 449084 h 922576"/>
              <a:gd name="connsiteX19" fmla="*/ 447697 w 1522695"/>
              <a:gd name="connsiteY19" fmla="*/ 404564 h 922576"/>
              <a:gd name="connsiteX20" fmla="*/ 542839 w 1522695"/>
              <a:gd name="connsiteY20" fmla="*/ 34950 h 922576"/>
              <a:gd name="connsiteX21" fmla="*/ 557402 w 1522695"/>
              <a:gd name="connsiteY21" fmla="*/ 6935 h 922576"/>
              <a:gd name="connsiteX22" fmla="*/ 592907 w 1522695"/>
              <a:gd name="connsiteY22" fmla="*/ 0 h 922576"/>
              <a:gd name="connsiteX23" fmla="*/ 620506 w 1522695"/>
              <a:gd name="connsiteY23" fmla="*/ 25381 h 922576"/>
              <a:gd name="connsiteX24" fmla="*/ 618426 w 1522695"/>
              <a:gd name="connsiteY24" fmla="*/ 40359 h 922576"/>
              <a:gd name="connsiteX25" fmla="*/ 845048 w 1522695"/>
              <a:gd name="connsiteY25" fmla="*/ 445755 h 922576"/>
              <a:gd name="connsiteX26" fmla="*/ 684582 w 1522695"/>
              <a:gd name="connsiteY26" fmla="*/ 476544 h 922576"/>
              <a:gd name="connsiteX27" fmla="*/ 729241 w 1522695"/>
              <a:gd name="connsiteY27" fmla="*/ 311918 h 922576"/>
              <a:gd name="connsiteX28" fmla="*/ 1087204 w 1522695"/>
              <a:gd name="connsiteY28" fmla="*/ 231060 h 922576"/>
              <a:gd name="connsiteX29" fmla="*/ 1110643 w 1522695"/>
              <a:gd name="connsiteY29" fmla="*/ 218994 h 922576"/>
              <a:gd name="connsiteX30" fmla="*/ 1053363 w 1522695"/>
              <a:gd name="connsiteY30" fmla="*/ 185708 h 922576"/>
              <a:gd name="connsiteX31" fmla="*/ 1029785 w 1522695"/>
              <a:gd name="connsiteY31" fmla="*/ 187927 h 922576"/>
              <a:gd name="connsiteX32" fmla="*/ 636872 w 1522695"/>
              <a:gd name="connsiteY32" fmla="*/ 267536 h 922576"/>
              <a:gd name="connsiteX33" fmla="*/ 610798 w 1522695"/>
              <a:gd name="connsiteY33" fmla="*/ 284595 h 922576"/>
              <a:gd name="connsiteX34" fmla="*/ 652683 w 1522695"/>
              <a:gd name="connsiteY34" fmla="*/ 321210 h 922576"/>
              <a:gd name="connsiteX35" fmla="*/ 524948 w 1522695"/>
              <a:gd name="connsiteY35" fmla="*/ 802192 h 922576"/>
              <a:gd name="connsiteX36" fmla="*/ 537569 w 1522695"/>
              <a:gd name="connsiteY36" fmla="*/ 815646 h 922576"/>
              <a:gd name="connsiteX37" fmla="*/ 595542 w 1522695"/>
              <a:gd name="connsiteY37" fmla="*/ 802886 h 922576"/>
              <a:gd name="connsiteX38" fmla="*/ 616762 w 1522695"/>
              <a:gd name="connsiteY38" fmla="*/ 763914 h 922576"/>
              <a:gd name="connsiteX39" fmla="*/ 669603 w 1522695"/>
              <a:gd name="connsiteY39" fmla="*/ 537430 h 922576"/>
              <a:gd name="connsiteX40" fmla="*/ 808988 w 1522695"/>
              <a:gd name="connsiteY40" fmla="*/ 509276 h 922576"/>
              <a:gd name="connsiteX41" fmla="*/ 859611 w 1522695"/>
              <a:gd name="connsiteY41" fmla="*/ 477238 h 922576"/>
              <a:gd name="connsiteX42" fmla="*/ 872232 w 1522695"/>
              <a:gd name="connsiteY42" fmla="*/ 451996 h 922576"/>
              <a:gd name="connsiteX43" fmla="*/ 845187 w 1522695"/>
              <a:gd name="connsiteY43" fmla="*/ 445755 h 922576"/>
              <a:gd name="connsiteX44" fmla="*/ 1479701 w 1522695"/>
              <a:gd name="connsiteY44" fmla="*/ 159218 h 922576"/>
              <a:gd name="connsiteX45" fmla="*/ 1409801 w 1522695"/>
              <a:gd name="connsiteY45" fmla="*/ 217052 h 922576"/>
              <a:gd name="connsiteX46" fmla="*/ 1212442 w 1522695"/>
              <a:gd name="connsiteY46" fmla="*/ 666691 h 922576"/>
              <a:gd name="connsiteX47" fmla="*/ 1231721 w 1522695"/>
              <a:gd name="connsiteY47" fmla="*/ 323845 h 922576"/>
              <a:gd name="connsiteX48" fmla="*/ 1206895 w 1522695"/>
              <a:gd name="connsiteY48" fmla="*/ 300683 h 922576"/>
              <a:gd name="connsiteX49" fmla="*/ 1151002 w 1522695"/>
              <a:gd name="connsiteY49" fmla="*/ 324677 h 922576"/>
              <a:gd name="connsiteX50" fmla="*/ 1137549 w 1522695"/>
              <a:gd name="connsiteY50" fmla="*/ 353525 h 922576"/>
              <a:gd name="connsiteX51" fmla="*/ 980689 w 1522695"/>
              <a:gd name="connsiteY51" fmla="*/ 605528 h 922576"/>
              <a:gd name="connsiteX52" fmla="*/ 1041574 w 1522695"/>
              <a:gd name="connsiteY52" fmla="*/ 331196 h 922576"/>
              <a:gd name="connsiteX53" fmla="*/ 1029369 w 1522695"/>
              <a:gd name="connsiteY53" fmla="*/ 319962 h 922576"/>
              <a:gd name="connsiteX54" fmla="*/ 988871 w 1522695"/>
              <a:gd name="connsiteY54" fmla="*/ 327728 h 922576"/>
              <a:gd name="connsiteX55" fmla="*/ 954892 w 1522695"/>
              <a:gd name="connsiteY55" fmla="*/ 369752 h 922576"/>
              <a:gd name="connsiteX56" fmla="*/ 880553 w 1522695"/>
              <a:gd name="connsiteY56" fmla="*/ 711766 h 922576"/>
              <a:gd name="connsiteX57" fmla="*/ 902328 w 1522695"/>
              <a:gd name="connsiteY57" fmla="*/ 741862 h 922576"/>
              <a:gd name="connsiteX58" fmla="*/ 960024 w 1522695"/>
              <a:gd name="connsiteY58" fmla="*/ 718423 h 922576"/>
              <a:gd name="connsiteX59" fmla="*/ 1144483 w 1522695"/>
              <a:gd name="connsiteY59" fmla="*/ 419542 h 922576"/>
              <a:gd name="connsiteX60" fmla="*/ 1128950 w 1522695"/>
              <a:gd name="connsiteY60" fmla="*/ 709546 h 922576"/>
              <a:gd name="connsiteX61" fmla="*/ 1162375 w 1522695"/>
              <a:gd name="connsiteY61" fmla="*/ 786798 h 922576"/>
              <a:gd name="connsiteX62" fmla="*/ 1235049 w 1522695"/>
              <a:gd name="connsiteY62" fmla="*/ 740891 h 922576"/>
              <a:gd name="connsiteX63" fmla="*/ 1512016 w 1522695"/>
              <a:gd name="connsiteY63" fmla="*/ 203322 h 922576"/>
              <a:gd name="connsiteX64" fmla="*/ 1522696 w 1522695"/>
              <a:gd name="connsiteY64" fmla="*/ 183766 h 922576"/>
              <a:gd name="connsiteX65" fmla="*/ 1479840 w 1522695"/>
              <a:gd name="connsiteY65" fmla="*/ 159357 h 922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522695" h="922576">
                <a:moveTo>
                  <a:pt x="618149" y="39943"/>
                </a:moveTo>
                <a:cubicBezTo>
                  <a:pt x="568774" y="240214"/>
                  <a:pt x="450887" y="614404"/>
                  <a:pt x="421345" y="876531"/>
                </a:cubicBezTo>
                <a:cubicBezTo>
                  <a:pt x="418849" y="898167"/>
                  <a:pt x="420374" y="906627"/>
                  <a:pt x="388753" y="915365"/>
                </a:cubicBezTo>
                <a:cubicBezTo>
                  <a:pt x="373497" y="919526"/>
                  <a:pt x="359350" y="922577"/>
                  <a:pt x="349364" y="922577"/>
                </a:cubicBezTo>
                <a:cubicBezTo>
                  <a:pt x="333831" y="922577"/>
                  <a:pt x="328006" y="913978"/>
                  <a:pt x="328006" y="897196"/>
                </a:cubicBezTo>
                <a:cubicBezTo>
                  <a:pt x="328006" y="851567"/>
                  <a:pt x="390972" y="623280"/>
                  <a:pt x="431608" y="465033"/>
                </a:cubicBezTo>
                <a:cubicBezTo>
                  <a:pt x="377380" y="475296"/>
                  <a:pt x="300961" y="489998"/>
                  <a:pt x="224958" y="504838"/>
                </a:cubicBezTo>
                <a:cubicBezTo>
                  <a:pt x="206512" y="579870"/>
                  <a:pt x="193336" y="642697"/>
                  <a:pt x="185292" y="702473"/>
                </a:cubicBezTo>
                <a:cubicBezTo>
                  <a:pt x="183350" y="716897"/>
                  <a:pt x="185292" y="730489"/>
                  <a:pt x="159634" y="738117"/>
                </a:cubicBezTo>
                <a:cubicBezTo>
                  <a:pt x="116362" y="751015"/>
                  <a:pt x="100968" y="743803"/>
                  <a:pt x="102771" y="719671"/>
                </a:cubicBezTo>
                <a:cubicBezTo>
                  <a:pt x="105683" y="679589"/>
                  <a:pt x="118443" y="648661"/>
                  <a:pt x="150203" y="519816"/>
                </a:cubicBezTo>
                <a:cubicBezTo>
                  <a:pt x="110676" y="527722"/>
                  <a:pt x="79748" y="533547"/>
                  <a:pt x="62411" y="533547"/>
                </a:cubicBezTo>
                <a:cubicBezTo>
                  <a:pt x="38972" y="533547"/>
                  <a:pt x="0" y="517459"/>
                  <a:pt x="0" y="507750"/>
                </a:cubicBezTo>
                <a:cubicBezTo>
                  <a:pt x="0" y="496239"/>
                  <a:pt x="27184" y="496377"/>
                  <a:pt x="163795" y="465588"/>
                </a:cubicBezTo>
                <a:cubicBezTo>
                  <a:pt x="190146" y="360876"/>
                  <a:pt x="227038" y="219133"/>
                  <a:pt x="234805" y="162547"/>
                </a:cubicBezTo>
                <a:cubicBezTo>
                  <a:pt x="236192" y="152145"/>
                  <a:pt x="239798" y="140633"/>
                  <a:pt x="258244" y="135502"/>
                </a:cubicBezTo>
                <a:cubicBezTo>
                  <a:pt x="269339" y="132451"/>
                  <a:pt x="290004" y="126625"/>
                  <a:pt x="300961" y="126625"/>
                </a:cubicBezTo>
                <a:cubicBezTo>
                  <a:pt x="313304" y="126625"/>
                  <a:pt x="316772" y="137721"/>
                  <a:pt x="316772" y="149232"/>
                </a:cubicBezTo>
                <a:cubicBezTo>
                  <a:pt x="316772" y="170036"/>
                  <a:pt x="273916" y="298048"/>
                  <a:pt x="239104" y="449084"/>
                </a:cubicBezTo>
                <a:cubicBezTo>
                  <a:pt x="309837" y="433689"/>
                  <a:pt x="385424" y="417739"/>
                  <a:pt x="447697" y="404564"/>
                </a:cubicBezTo>
                <a:cubicBezTo>
                  <a:pt x="485421" y="261434"/>
                  <a:pt x="522313" y="121910"/>
                  <a:pt x="542839" y="34950"/>
                </a:cubicBezTo>
                <a:cubicBezTo>
                  <a:pt x="547277" y="16227"/>
                  <a:pt x="546445" y="10679"/>
                  <a:pt x="557402" y="6935"/>
                </a:cubicBezTo>
                <a:cubicBezTo>
                  <a:pt x="562533" y="5132"/>
                  <a:pt x="578205" y="0"/>
                  <a:pt x="592907" y="0"/>
                </a:cubicBezTo>
                <a:cubicBezTo>
                  <a:pt x="607608" y="0"/>
                  <a:pt x="620506" y="5548"/>
                  <a:pt x="620506" y="25381"/>
                </a:cubicBezTo>
                <a:cubicBezTo>
                  <a:pt x="620506" y="29680"/>
                  <a:pt x="619813" y="34673"/>
                  <a:pt x="618426" y="40359"/>
                </a:cubicBezTo>
                <a:close/>
                <a:moveTo>
                  <a:pt x="845048" y="445755"/>
                </a:moveTo>
                <a:cubicBezTo>
                  <a:pt x="796922" y="454076"/>
                  <a:pt x="739920" y="465865"/>
                  <a:pt x="684582" y="476544"/>
                </a:cubicBezTo>
                <a:cubicBezTo>
                  <a:pt x="700670" y="412608"/>
                  <a:pt x="716620" y="352970"/>
                  <a:pt x="729241" y="311918"/>
                </a:cubicBezTo>
                <a:cubicBezTo>
                  <a:pt x="838946" y="287092"/>
                  <a:pt x="1056276" y="236053"/>
                  <a:pt x="1087204" y="231060"/>
                </a:cubicBezTo>
                <a:cubicBezTo>
                  <a:pt x="1104679" y="228148"/>
                  <a:pt x="1110643" y="223155"/>
                  <a:pt x="1110643" y="218994"/>
                </a:cubicBezTo>
                <a:cubicBezTo>
                  <a:pt x="1110643" y="211089"/>
                  <a:pt x="1084985" y="185708"/>
                  <a:pt x="1053363" y="185708"/>
                </a:cubicBezTo>
                <a:cubicBezTo>
                  <a:pt x="1046428" y="185708"/>
                  <a:pt x="1038662" y="186402"/>
                  <a:pt x="1029785" y="187927"/>
                </a:cubicBezTo>
                <a:cubicBezTo>
                  <a:pt x="966542" y="199023"/>
                  <a:pt x="709269" y="252974"/>
                  <a:pt x="636872" y="267536"/>
                </a:cubicBezTo>
                <a:cubicBezTo>
                  <a:pt x="618842" y="271142"/>
                  <a:pt x="610798" y="277661"/>
                  <a:pt x="610798" y="284595"/>
                </a:cubicBezTo>
                <a:cubicBezTo>
                  <a:pt x="610798" y="295136"/>
                  <a:pt x="636317" y="316217"/>
                  <a:pt x="652683" y="321210"/>
                </a:cubicBezTo>
                <a:cubicBezTo>
                  <a:pt x="616623" y="461427"/>
                  <a:pt x="524948" y="770571"/>
                  <a:pt x="524948" y="802192"/>
                </a:cubicBezTo>
                <a:cubicBezTo>
                  <a:pt x="524948" y="809959"/>
                  <a:pt x="527583" y="815646"/>
                  <a:pt x="537569" y="815646"/>
                </a:cubicBezTo>
                <a:cubicBezTo>
                  <a:pt x="551299" y="815646"/>
                  <a:pt x="579176" y="809682"/>
                  <a:pt x="595542" y="802886"/>
                </a:cubicBezTo>
                <a:cubicBezTo>
                  <a:pt x="611908" y="795951"/>
                  <a:pt x="611630" y="787907"/>
                  <a:pt x="616762" y="763914"/>
                </a:cubicBezTo>
                <a:cubicBezTo>
                  <a:pt x="627996" y="712043"/>
                  <a:pt x="648106" y="624945"/>
                  <a:pt x="669603" y="537430"/>
                </a:cubicBezTo>
                <a:cubicBezTo>
                  <a:pt x="735620" y="523422"/>
                  <a:pt x="777505" y="516488"/>
                  <a:pt x="808988" y="509276"/>
                </a:cubicBezTo>
                <a:cubicBezTo>
                  <a:pt x="843661" y="501370"/>
                  <a:pt x="850180" y="491107"/>
                  <a:pt x="859611" y="477238"/>
                </a:cubicBezTo>
                <a:cubicBezTo>
                  <a:pt x="865852" y="468223"/>
                  <a:pt x="872232" y="456850"/>
                  <a:pt x="872232" y="451996"/>
                </a:cubicBezTo>
                <a:cubicBezTo>
                  <a:pt x="872232" y="444368"/>
                  <a:pt x="864742" y="442288"/>
                  <a:pt x="845187" y="445755"/>
                </a:cubicBezTo>
                <a:close/>
                <a:moveTo>
                  <a:pt x="1479701" y="159218"/>
                </a:moveTo>
                <a:cubicBezTo>
                  <a:pt x="1459452" y="159218"/>
                  <a:pt x="1437955" y="171978"/>
                  <a:pt x="1409801" y="217052"/>
                </a:cubicBezTo>
                <a:cubicBezTo>
                  <a:pt x="1369857" y="281128"/>
                  <a:pt x="1274854" y="509553"/>
                  <a:pt x="1212442" y="666691"/>
                </a:cubicBezTo>
                <a:cubicBezTo>
                  <a:pt x="1210639" y="502202"/>
                  <a:pt x="1231721" y="360598"/>
                  <a:pt x="1231721" y="323845"/>
                </a:cubicBezTo>
                <a:cubicBezTo>
                  <a:pt x="1231721" y="305399"/>
                  <a:pt x="1220348" y="300683"/>
                  <a:pt x="1206895" y="300683"/>
                </a:cubicBezTo>
                <a:cubicBezTo>
                  <a:pt x="1188310" y="300683"/>
                  <a:pt x="1160988" y="301516"/>
                  <a:pt x="1151002" y="324677"/>
                </a:cubicBezTo>
                <a:cubicBezTo>
                  <a:pt x="1144483" y="339795"/>
                  <a:pt x="1143374" y="343262"/>
                  <a:pt x="1137549" y="353525"/>
                </a:cubicBezTo>
                <a:cubicBezTo>
                  <a:pt x="1125205" y="375577"/>
                  <a:pt x="1053502" y="501786"/>
                  <a:pt x="980689" y="605528"/>
                </a:cubicBezTo>
                <a:cubicBezTo>
                  <a:pt x="1012588" y="432995"/>
                  <a:pt x="1041574" y="349087"/>
                  <a:pt x="1041574" y="331196"/>
                </a:cubicBezTo>
                <a:cubicBezTo>
                  <a:pt x="1041574" y="322874"/>
                  <a:pt x="1036165" y="319962"/>
                  <a:pt x="1029369" y="319962"/>
                </a:cubicBezTo>
                <a:cubicBezTo>
                  <a:pt x="1021325" y="319962"/>
                  <a:pt x="1000799" y="324816"/>
                  <a:pt x="988871" y="327728"/>
                </a:cubicBezTo>
                <a:cubicBezTo>
                  <a:pt x="974864" y="331196"/>
                  <a:pt x="963768" y="335772"/>
                  <a:pt x="954892" y="369752"/>
                </a:cubicBezTo>
                <a:cubicBezTo>
                  <a:pt x="925905" y="479734"/>
                  <a:pt x="880553" y="665720"/>
                  <a:pt x="880553" y="711766"/>
                </a:cubicBezTo>
                <a:cubicBezTo>
                  <a:pt x="880553" y="731876"/>
                  <a:pt x="884575" y="741862"/>
                  <a:pt x="902328" y="741862"/>
                </a:cubicBezTo>
                <a:cubicBezTo>
                  <a:pt x="921051" y="741862"/>
                  <a:pt x="947541" y="736591"/>
                  <a:pt x="960024" y="718423"/>
                </a:cubicBezTo>
                <a:cubicBezTo>
                  <a:pt x="1022851" y="626609"/>
                  <a:pt x="1086372" y="516349"/>
                  <a:pt x="1144483" y="419542"/>
                </a:cubicBezTo>
                <a:cubicBezTo>
                  <a:pt x="1135191" y="510801"/>
                  <a:pt x="1128950" y="628967"/>
                  <a:pt x="1128950" y="709546"/>
                </a:cubicBezTo>
                <a:cubicBezTo>
                  <a:pt x="1128950" y="765023"/>
                  <a:pt x="1130614" y="786798"/>
                  <a:pt x="1162375" y="786798"/>
                </a:cubicBezTo>
                <a:cubicBezTo>
                  <a:pt x="1191223" y="786798"/>
                  <a:pt x="1217019" y="781666"/>
                  <a:pt x="1235049" y="740891"/>
                </a:cubicBezTo>
                <a:cubicBezTo>
                  <a:pt x="1297599" y="599148"/>
                  <a:pt x="1429911" y="303735"/>
                  <a:pt x="1512016" y="203322"/>
                </a:cubicBezTo>
                <a:cubicBezTo>
                  <a:pt x="1517425" y="196803"/>
                  <a:pt x="1522696" y="191256"/>
                  <a:pt x="1522696" y="183766"/>
                </a:cubicBezTo>
                <a:cubicBezTo>
                  <a:pt x="1522696" y="173365"/>
                  <a:pt x="1498563" y="159357"/>
                  <a:pt x="1479840" y="159357"/>
                </a:cubicBezTo>
                <a:close/>
              </a:path>
            </a:pathLst>
          </a:custGeom>
          <a:solidFill>
            <a:schemeClr val="bg1"/>
          </a:solidFill>
          <a:ln w="13855" cap="flat">
            <a:noFill/>
            <a:prstDash val="solid"/>
            <a:miter/>
          </a:ln>
        </p:spPr>
        <p:txBody>
          <a:bodyPr rtlCol="0" anchor="ctr"/>
          <a:lstStyle/>
          <a:p>
            <a:endParaRPr lang="en-GB"/>
          </a:p>
        </p:txBody>
      </p:sp>
    </p:spTree>
    <p:extLst>
      <p:ext uri="{BB962C8B-B14F-4D97-AF65-F5344CB8AC3E}">
        <p14:creationId xmlns:p14="http://schemas.microsoft.com/office/powerpoint/2010/main" val="2449066950"/>
      </p:ext>
    </p:extLst>
  </p:cSld>
  <p:clrMapOvr>
    <a:masterClrMapping/>
  </p:clrMapOvr>
  <p:transition spd="med">
    <p:fade/>
  </p:transition>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lide with Icons - AEROSPAC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708FD88D-9C74-4D94-62A5-47E768F9DCD7}"/>
              </a:ext>
            </a:extLst>
          </p:cNvPr>
          <p:cNvSpPr/>
          <p:nvPr userDrawn="1"/>
        </p:nvSpPr>
        <p:spPr>
          <a:xfrm>
            <a:off x="0" y="0"/>
            <a:ext cx="406717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Text Placeholder 12">
            <a:extLst>
              <a:ext uri="{FF2B5EF4-FFF2-40B4-BE49-F238E27FC236}">
                <a16:creationId xmlns:a16="http://schemas.microsoft.com/office/drawing/2014/main" id="{BBA3AA40-3440-5851-3972-390D3DEB2219}"/>
              </a:ext>
            </a:extLst>
          </p:cNvPr>
          <p:cNvSpPr>
            <a:spLocks noGrp="1"/>
          </p:cNvSpPr>
          <p:nvPr>
            <p:ph type="body" sz="quarter" idx="14" hasCustomPrompt="1"/>
          </p:nvPr>
        </p:nvSpPr>
        <p:spPr>
          <a:xfrm>
            <a:off x="508939" y="5989638"/>
            <a:ext cx="3387140" cy="230187"/>
          </a:xfrm>
        </p:spPr>
        <p:txBody>
          <a:bodyPr tIns="0" bIns="0">
            <a:noAutofit/>
          </a:bodyPr>
          <a:lstStyle>
            <a:lvl1pPr>
              <a:defRPr sz="1400" cap="all" baseline="0">
                <a:solidFill>
                  <a:schemeClr val="accent2"/>
                </a:solidFill>
                <a:latin typeface="+mj-lt"/>
              </a:defRPr>
            </a:lvl1pPr>
            <a:lvl2pPr>
              <a:defRPr>
                <a:solidFill>
                  <a:schemeClr val="bg1"/>
                </a:solidFill>
                <a:latin typeface="+mn-lt"/>
              </a:defRPr>
            </a:lvl2pPr>
            <a:lvl3pPr>
              <a:defRPr>
                <a:solidFill>
                  <a:schemeClr val="bg1"/>
                </a:solidFill>
                <a:latin typeface="+mn-lt"/>
              </a:defRPr>
            </a:lvl3pPr>
            <a:lvl4pPr>
              <a:defRPr>
                <a:solidFill>
                  <a:schemeClr val="bg1"/>
                </a:solidFill>
                <a:latin typeface="+mn-lt"/>
              </a:defRPr>
            </a:lvl4pPr>
            <a:lvl5pPr>
              <a:defRPr>
                <a:solidFill>
                  <a:schemeClr val="bg1"/>
                </a:solidFill>
                <a:latin typeface="+mn-lt"/>
              </a:defRPr>
            </a:lvl5pPr>
          </a:lstStyle>
          <a:p>
            <a:pPr lvl="0"/>
            <a:r>
              <a:rPr lang="en-US" dirty="0"/>
              <a:t>DAY MONTH YEAR</a:t>
            </a:r>
            <a:endParaRPr lang="en-GB" dirty="0"/>
          </a:p>
        </p:txBody>
      </p:sp>
      <p:sp>
        <p:nvSpPr>
          <p:cNvPr id="4" name="TextBox 4">
            <a:extLst>
              <a:ext uri="{FF2B5EF4-FFF2-40B4-BE49-F238E27FC236}">
                <a16:creationId xmlns:a16="http://schemas.microsoft.com/office/drawing/2014/main" id="{265B2CA7-EDCD-E4A1-AC81-AB1BF0FA5D17}"/>
              </a:ext>
            </a:extLst>
          </p:cNvPr>
          <p:cNvSpPr txBox="1"/>
          <p:nvPr userDrawn="1"/>
        </p:nvSpPr>
        <p:spPr>
          <a:xfrm>
            <a:off x="12346713" y="109538"/>
            <a:ext cx="1934437" cy="31700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INSERTING IMAGES:</a:t>
            </a:r>
          </a:p>
          <a:p>
            <a:pPr marL="179388" indent="-179388">
              <a:spcBef>
                <a:spcPts val="200"/>
              </a:spcBef>
              <a:spcAft>
                <a:spcPts val="200"/>
              </a:spcAft>
              <a:buFont typeface="+mj-lt"/>
              <a:buAutoNum type="arabicPeriod"/>
            </a:pPr>
            <a:r>
              <a:rPr lang="en-US" sz="900" dirty="0">
                <a:solidFill>
                  <a:schemeClr val="tx1"/>
                </a:solidFill>
                <a:latin typeface="+mn-lt"/>
              </a:rPr>
              <a:t>Simply click the image placeholder and select your image.</a:t>
            </a:r>
          </a:p>
          <a:p>
            <a:pPr marL="179388" indent="-179388">
              <a:spcBef>
                <a:spcPts val="200"/>
              </a:spcBef>
              <a:spcAft>
                <a:spcPts val="200"/>
              </a:spcAft>
              <a:buFont typeface="+mj-lt"/>
              <a:buAutoNum type="arabicPeriod"/>
            </a:pPr>
            <a:r>
              <a:rPr lang="en-US" sz="900" dirty="0">
                <a:solidFill>
                  <a:schemeClr val="tx1"/>
                </a:solidFill>
                <a:latin typeface="+mn-lt"/>
              </a:rPr>
              <a:t>Once your image is inserted into the shape it may be distorted. (Stretched or Squashed)</a:t>
            </a:r>
          </a:p>
          <a:p>
            <a:pPr marL="179388" indent="-179388">
              <a:spcBef>
                <a:spcPts val="200"/>
              </a:spcBef>
              <a:spcAft>
                <a:spcPts val="200"/>
              </a:spcAft>
              <a:buFont typeface="+mj-lt"/>
              <a:buAutoNum type="arabicPeriod"/>
            </a:pPr>
            <a:endParaRPr lang="en-US" sz="900" dirty="0">
              <a:solidFill>
                <a:schemeClr val="tx1"/>
              </a:solidFill>
              <a:latin typeface="+mn-lt"/>
            </a:endParaRPr>
          </a:p>
          <a:p>
            <a:pPr>
              <a:spcBef>
                <a:spcPts val="200"/>
              </a:spcBef>
              <a:spcAft>
                <a:spcPts val="200"/>
              </a:spcAft>
            </a:pPr>
            <a:r>
              <a:rPr lang="en-US" sz="900" b="1" dirty="0">
                <a:solidFill>
                  <a:schemeClr val="tx1"/>
                </a:solidFill>
                <a:latin typeface="+mn-lt"/>
              </a:rPr>
              <a:t>To fix this:</a:t>
            </a:r>
          </a:p>
          <a:p>
            <a:pPr marL="179388" indent="-179388">
              <a:spcBef>
                <a:spcPts val="200"/>
              </a:spcBef>
              <a:spcAft>
                <a:spcPts val="200"/>
              </a:spcAft>
              <a:buFont typeface="+mj-lt"/>
              <a:buAutoNum type="arabicPeriod"/>
            </a:pPr>
            <a:r>
              <a:rPr lang="en-US" sz="900" dirty="0">
                <a:solidFill>
                  <a:schemeClr val="tx1"/>
                </a:solidFill>
                <a:latin typeface="+mn-lt"/>
              </a:rPr>
              <a:t>Click on the image and from the top menu under </a:t>
            </a:r>
            <a:r>
              <a:rPr lang="en-US" sz="900" b="1" dirty="0">
                <a:solidFill>
                  <a:schemeClr val="tx1"/>
                </a:solidFill>
                <a:latin typeface="+mn-lt"/>
              </a:rPr>
              <a:t>PICTURE FORMAT </a:t>
            </a:r>
            <a:r>
              <a:rPr lang="en-US" sz="900" dirty="0">
                <a:solidFill>
                  <a:schemeClr val="tx1"/>
                </a:solidFill>
                <a:latin typeface="+mn-lt"/>
              </a:rPr>
              <a:t>select the </a:t>
            </a:r>
            <a:r>
              <a:rPr lang="en-US" sz="900" b="1" dirty="0">
                <a:solidFill>
                  <a:schemeClr val="tx1"/>
                </a:solidFill>
                <a:latin typeface="+mn-lt"/>
              </a:rPr>
              <a:t>CROP</a:t>
            </a:r>
            <a:r>
              <a:rPr lang="en-US" sz="900" dirty="0">
                <a:solidFill>
                  <a:schemeClr val="tx1"/>
                </a:solidFill>
                <a:latin typeface="+mn-lt"/>
              </a:rPr>
              <a:t> on the right and from the drop down menu select </a:t>
            </a:r>
            <a:r>
              <a:rPr lang="en-US" sz="900" b="1" kern="1200" dirty="0">
                <a:solidFill>
                  <a:schemeClr val="tx1"/>
                </a:solidFill>
                <a:latin typeface="+mn-lt"/>
                <a:ea typeface="+mn-ea"/>
                <a:cs typeface="+mn-cs"/>
              </a:rPr>
              <a:t>FILL</a:t>
            </a:r>
          </a:p>
          <a:p>
            <a:pPr marL="179388" indent="-179388">
              <a:spcBef>
                <a:spcPts val="200"/>
              </a:spcBef>
              <a:spcAft>
                <a:spcPts val="200"/>
              </a:spcAft>
              <a:buFont typeface="+mj-lt"/>
              <a:buAutoNum type="arabicPeriod"/>
            </a:pPr>
            <a:r>
              <a:rPr lang="en-US" sz="900" b="0" kern="1200" dirty="0">
                <a:solidFill>
                  <a:schemeClr val="tx1"/>
                </a:solidFill>
                <a:latin typeface="+mn-lt"/>
                <a:ea typeface="+mn-ea"/>
                <a:cs typeface="+mn-cs"/>
              </a:rPr>
              <a:t>From here you can move the image within the shape for best visual appearance</a:t>
            </a:r>
          </a:p>
        </p:txBody>
      </p:sp>
      <p:sp>
        <p:nvSpPr>
          <p:cNvPr id="10" name="Title 1">
            <a:extLst>
              <a:ext uri="{FF2B5EF4-FFF2-40B4-BE49-F238E27FC236}">
                <a16:creationId xmlns:a16="http://schemas.microsoft.com/office/drawing/2014/main" id="{1D9960C9-AE88-FF64-7340-9EC8DF655E87}"/>
              </a:ext>
            </a:extLst>
          </p:cNvPr>
          <p:cNvSpPr>
            <a:spLocks noGrp="1"/>
          </p:cNvSpPr>
          <p:nvPr>
            <p:ph type="ctrTitle" hasCustomPrompt="1"/>
          </p:nvPr>
        </p:nvSpPr>
        <p:spPr>
          <a:xfrm>
            <a:off x="508939" y="2430692"/>
            <a:ext cx="2792526" cy="2387600"/>
          </a:xfrm>
        </p:spPr>
        <p:txBody>
          <a:bodyPr vert="horz" lIns="0" tIns="0" rIns="0" bIns="0" rtlCol="0" anchor="t" anchorCtr="0">
            <a:noAutofit/>
          </a:bodyPr>
          <a:lstStyle>
            <a:lvl1pPr>
              <a:lnSpc>
                <a:spcPct val="100000"/>
              </a:lnSpc>
              <a:defRPr lang="en-US" sz="3300" dirty="0">
                <a:solidFill>
                  <a:schemeClr val="bg1"/>
                </a:solidFill>
              </a:defRPr>
            </a:lvl1pPr>
          </a:lstStyle>
          <a:p>
            <a:pPr lvl="0"/>
            <a:r>
              <a:rPr lang="en-US" dirty="0"/>
              <a:t>PROPOSAL TO [CLIENT] FOR LEGAL SERVICES</a:t>
            </a:r>
          </a:p>
        </p:txBody>
      </p:sp>
      <p:sp>
        <p:nvSpPr>
          <p:cNvPr id="22" name="Picture Placeholder 21">
            <a:extLst>
              <a:ext uri="{FF2B5EF4-FFF2-40B4-BE49-F238E27FC236}">
                <a16:creationId xmlns:a16="http://schemas.microsoft.com/office/drawing/2014/main" id="{E2D6AA0B-E954-81EE-4506-BB840307E038}"/>
              </a:ext>
            </a:extLst>
          </p:cNvPr>
          <p:cNvSpPr>
            <a:spLocks noGrp="1"/>
          </p:cNvSpPr>
          <p:nvPr>
            <p:ph type="pic" sz="quarter" idx="13" hasCustomPrompt="1"/>
          </p:nvPr>
        </p:nvSpPr>
        <p:spPr>
          <a:xfrm>
            <a:off x="4067176" y="2"/>
            <a:ext cx="8124824" cy="6857999"/>
          </a:xfrm>
          <a:custGeom>
            <a:avLst/>
            <a:gdLst>
              <a:gd name="connsiteX0" fmla="*/ 3500648 w 8124824"/>
              <a:gd name="connsiteY0" fmla="*/ 1154291 h 6857999"/>
              <a:gd name="connsiteX1" fmla="*/ 3500648 w 8124824"/>
              <a:gd name="connsiteY1" fmla="*/ 1224425 h 6857999"/>
              <a:gd name="connsiteX2" fmla="*/ 3519525 w 8124824"/>
              <a:gd name="connsiteY2" fmla="*/ 1224425 h 6857999"/>
              <a:gd name="connsiteX3" fmla="*/ 3593568 w 8124824"/>
              <a:gd name="connsiteY3" fmla="*/ 1297478 h 6857999"/>
              <a:gd name="connsiteX4" fmla="*/ 3519525 w 8124824"/>
              <a:gd name="connsiteY4" fmla="*/ 1370533 h 6857999"/>
              <a:gd name="connsiteX5" fmla="*/ 3445479 w 8124824"/>
              <a:gd name="connsiteY5" fmla="*/ 1297478 h 6857999"/>
              <a:gd name="connsiteX6" fmla="*/ 3407727 w 8124824"/>
              <a:gd name="connsiteY6" fmla="*/ 1297478 h 6857999"/>
              <a:gd name="connsiteX7" fmla="*/ 3519525 w 8124824"/>
              <a:gd name="connsiteY7" fmla="*/ 1407816 h 6857999"/>
              <a:gd name="connsiteX8" fmla="*/ 3519525 w 8124824"/>
              <a:gd name="connsiteY8" fmla="*/ 1407868 h 6857999"/>
              <a:gd name="connsiteX9" fmla="*/ 3631321 w 8124824"/>
              <a:gd name="connsiteY9" fmla="*/ 1297531 h 6857999"/>
              <a:gd name="connsiteX10" fmla="*/ 3538401 w 8124824"/>
              <a:gd name="connsiteY10" fmla="*/ 1188759 h 6857999"/>
              <a:gd name="connsiteX11" fmla="*/ 3538401 w 8124824"/>
              <a:gd name="connsiteY11" fmla="*/ 1154291 h 6857999"/>
              <a:gd name="connsiteX12" fmla="*/ 1478446 w 8124824"/>
              <a:gd name="connsiteY12" fmla="*/ 1075762 h 6857999"/>
              <a:gd name="connsiteX13" fmla="*/ 1478082 w 8124824"/>
              <a:gd name="connsiteY13" fmla="*/ 1077901 h 6857999"/>
              <a:gd name="connsiteX14" fmla="*/ 1478446 w 8124824"/>
              <a:gd name="connsiteY14" fmla="*/ 1077744 h 6857999"/>
              <a:gd name="connsiteX15" fmla="*/ 1453626 w 8124824"/>
              <a:gd name="connsiteY15" fmla="*/ 1233603 h 6857999"/>
              <a:gd name="connsiteX16" fmla="*/ 1422913 w 8124824"/>
              <a:gd name="connsiteY16" fmla="*/ 1285277 h 6857999"/>
              <a:gd name="connsiteX17" fmla="*/ 1418064 w 8124824"/>
              <a:gd name="connsiteY17" fmla="*/ 1287988 h 6857999"/>
              <a:gd name="connsiteX18" fmla="*/ 1407791 w 8124824"/>
              <a:gd name="connsiteY18" fmla="*/ 1114244 h 6857999"/>
              <a:gd name="connsiteX19" fmla="*/ 1407895 w 8124824"/>
              <a:gd name="connsiteY19" fmla="*/ 1114192 h 6857999"/>
              <a:gd name="connsiteX20" fmla="*/ 1407791 w 8124824"/>
              <a:gd name="connsiteY20" fmla="*/ 1112315 h 6857999"/>
              <a:gd name="connsiteX21" fmla="*/ 1407844 w 8124824"/>
              <a:gd name="connsiteY21" fmla="*/ 1112262 h 6857999"/>
              <a:gd name="connsiteX22" fmla="*/ 1478446 w 8124824"/>
              <a:gd name="connsiteY22" fmla="*/ 1075762 h 6857999"/>
              <a:gd name="connsiteX23" fmla="*/ 6746854 w 8124824"/>
              <a:gd name="connsiteY23" fmla="*/ 1051836 h 6857999"/>
              <a:gd name="connsiteX24" fmla="*/ 6477373 w 8124824"/>
              <a:gd name="connsiteY24" fmla="*/ 1080255 h 6857999"/>
              <a:gd name="connsiteX25" fmla="*/ 6472315 w 8124824"/>
              <a:gd name="connsiteY25" fmla="*/ 1080777 h 6857999"/>
              <a:gd name="connsiteX26" fmla="*/ 6466996 w 8124824"/>
              <a:gd name="connsiteY26" fmla="*/ 1091309 h 6857999"/>
              <a:gd name="connsiteX27" fmla="*/ 6567060 w 8124824"/>
              <a:gd name="connsiteY27" fmla="*/ 1296184 h 6857999"/>
              <a:gd name="connsiteX28" fmla="*/ 6932017 w 8124824"/>
              <a:gd name="connsiteY28" fmla="*/ 1296184 h 6857999"/>
              <a:gd name="connsiteX29" fmla="*/ 7031978 w 8124824"/>
              <a:gd name="connsiteY29" fmla="*/ 1091309 h 6857999"/>
              <a:gd name="connsiteX30" fmla="*/ 7026607 w 8124824"/>
              <a:gd name="connsiteY30" fmla="*/ 1080777 h 6857999"/>
              <a:gd name="connsiteX31" fmla="*/ 7024261 w 8124824"/>
              <a:gd name="connsiteY31" fmla="*/ 1080568 h 6857999"/>
              <a:gd name="connsiteX32" fmla="*/ 6748053 w 8124824"/>
              <a:gd name="connsiteY32" fmla="*/ 1051992 h 6857999"/>
              <a:gd name="connsiteX33" fmla="*/ 5673793 w 8124824"/>
              <a:gd name="connsiteY33" fmla="*/ 1044602 h 6857999"/>
              <a:gd name="connsiteX34" fmla="*/ 5640838 w 8124824"/>
              <a:gd name="connsiteY34" fmla="*/ 1059984 h 6857999"/>
              <a:gd name="connsiteX35" fmla="*/ 5633017 w 8124824"/>
              <a:gd name="connsiteY35" fmla="*/ 1073698 h 6857999"/>
              <a:gd name="connsiteX36" fmla="*/ 5630670 w 8124824"/>
              <a:gd name="connsiteY36" fmla="*/ 1087412 h 6857999"/>
              <a:gd name="connsiteX37" fmla="*/ 5630670 w 8124824"/>
              <a:gd name="connsiteY37" fmla="*/ 1087620 h 6857999"/>
              <a:gd name="connsiteX38" fmla="*/ 5647043 w 8124824"/>
              <a:gd name="connsiteY38" fmla="*/ 1121410 h 6857999"/>
              <a:gd name="connsiteX39" fmla="*/ 5653040 w 8124824"/>
              <a:gd name="connsiteY39" fmla="*/ 1126154 h 6857999"/>
              <a:gd name="connsiteX40" fmla="*/ 5646626 w 8124824"/>
              <a:gd name="connsiteY40" fmla="*/ 1181323 h 6857999"/>
              <a:gd name="connsiteX41" fmla="*/ 5700804 w 8124824"/>
              <a:gd name="connsiteY41" fmla="*/ 1181323 h 6857999"/>
              <a:gd name="connsiteX42" fmla="*/ 5694286 w 8124824"/>
              <a:gd name="connsiteY42" fmla="*/ 1126154 h 6857999"/>
              <a:gd name="connsiteX43" fmla="*/ 5700386 w 8124824"/>
              <a:gd name="connsiteY43" fmla="*/ 1121410 h 6857999"/>
              <a:gd name="connsiteX44" fmla="*/ 5716760 w 8124824"/>
              <a:gd name="connsiteY44" fmla="*/ 1087620 h 6857999"/>
              <a:gd name="connsiteX45" fmla="*/ 5716760 w 8124824"/>
              <a:gd name="connsiteY45" fmla="*/ 1087412 h 6857999"/>
              <a:gd name="connsiteX46" fmla="*/ 5716864 w 8124824"/>
              <a:gd name="connsiteY46" fmla="*/ 1087412 h 6857999"/>
              <a:gd name="connsiteX47" fmla="*/ 5714518 w 8124824"/>
              <a:gd name="connsiteY47" fmla="*/ 1073698 h 6857999"/>
              <a:gd name="connsiteX48" fmla="*/ 5706695 w 8124824"/>
              <a:gd name="connsiteY48" fmla="*/ 1059984 h 6857999"/>
              <a:gd name="connsiteX49" fmla="*/ 5673793 w 8124824"/>
              <a:gd name="connsiteY49" fmla="*/ 1044602 h 6857999"/>
              <a:gd name="connsiteX50" fmla="*/ 2527407 w 8124824"/>
              <a:gd name="connsiteY50" fmla="*/ 1036166 h 6857999"/>
              <a:gd name="connsiteX51" fmla="*/ 2463323 w 8124824"/>
              <a:gd name="connsiteY51" fmla="*/ 1229673 h 6857999"/>
              <a:gd name="connsiteX52" fmla="*/ 2684621 w 8124824"/>
              <a:gd name="connsiteY52" fmla="*/ 1229673 h 6857999"/>
              <a:gd name="connsiteX53" fmla="*/ 2684621 w 8124824"/>
              <a:gd name="connsiteY53" fmla="*/ 1036166 h 6857999"/>
              <a:gd name="connsiteX54" fmla="*/ 2718046 w 8124824"/>
              <a:gd name="connsiteY54" fmla="*/ 1036114 h 6857999"/>
              <a:gd name="connsiteX55" fmla="*/ 2718046 w 8124824"/>
              <a:gd name="connsiteY55" fmla="*/ 1229620 h 6857999"/>
              <a:gd name="connsiteX56" fmla="*/ 2782130 w 8124824"/>
              <a:gd name="connsiteY56" fmla="*/ 1229620 h 6857999"/>
              <a:gd name="connsiteX57" fmla="*/ 2359190 w 8124824"/>
              <a:gd name="connsiteY57" fmla="*/ 1034967 h 6857999"/>
              <a:gd name="connsiteX58" fmla="*/ 2359190 w 8124824"/>
              <a:gd name="connsiteY58" fmla="*/ 1228368 h 6857999"/>
              <a:gd name="connsiteX59" fmla="*/ 2423275 w 8124824"/>
              <a:gd name="connsiteY59" fmla="*/ 1228368 h 6857999"/>
              <a:gd name="connsiteX60" fmla="*/ 2168552 w 8124824"/>
              <a:gd name="connsiteY60" fmla="*/ 1034967 h 6857999"/>
              <a:gd name="connsiteX61" fmla="*/ 2104466 w 8124824"/>
              <a:gd name="connsiteY61" fmla="*/ 1228368 h 6857999"/>
              <a:gd name="connsiteX62" fmla="*/ 2325766 w 8124824"/>
              <a:gd name="connsiteY62" fmla="*/ 1228368 h 6857999"/>
              <a:gd name="connsiteX63" fmla="*/ 2325766 w 8124824"/>
              <a:gd name="connsiteY63" fmla="*/ 1034967 h 6857999"/>
              <a:gd name="connsiteX64" fmla="*/ 5673793 w 8124824"/>
              <a:gd name="connsiteY64" fmla="*/ 1017173 h 6857999"/>
              <a:gd name="connsiteX65" fmla="*/ 5738607 w 8124824"/>
              <a:gd name="connsiteY65" fmla="*/ 1059984 h 6857999"/>
              <a:gd name="connsiteX66" fmla="*/ 5742936 w 8124824"/>
              <a:gd name="connsiteY66" fmla="*/ 1073698 h 6857999"/>
              <a:gd name="connsiteX67" fmla="*/ 5744291 w 8124824"/>
              <a:gd name="connsiteY67" fmla="*/ 1087412 h 6857999"/>
              <a:gd name="connsiteX68" fmla="*/ 5744291 w 8124824"/>
              <a:gd name="connsiteY68" fmla="*/ 1087620 h 6857999"/>
              <a:gd name="connsiteX69" fmla="*/ 5723382 w 8124824"/>
              <a:gd name="connsiteY69" fmla="*/ 1137678 h 6857999"/>
              <a:gd name="connsiteX70" fmla="*/ 5731726 w 8124824"/>
              <a:gd name="connsiteY70" fmla="*/ 1208803 h 6857999"/>
              <a:gd name="connsiteX71" fmla="*/ 5615860 w 8124824"/>
              <a:gd name="connsiteY71" fmla="*/ 1208803 h 6857999"/>
              <a:gd name="connsiteX72" fmla="*/ 5624152 w 8124824"/>
              <a:gd name="connsiteY72" fmla="*/ 1137678 h 6857999"/>
              <a:gd name="connsiteX73" fmla="*/ 5603242 w 8124824"/>
              <a:gd name="connsiteY73" fmla="*/ 1087620 h 6857999"/>
              <a:gd name="connsiteX74" fmla="*/ 5603242 w 8124824"/>
              <a:gd name="connsiteY74" fmla="*/ 1087412 h 6857999"/>
              <a:gd name="connsiteX75" fmla="*/ 5604650 w 8124824"/>
              <a:gd name="connsiteY75" fmla="*/ 1073698 h 6857999"/>
              <a:gd name="connsiteX76" fmla="*/ 5608979 w 8124824"/>
              <a:gd name="connsiteY76" fmla="*/ 1059984 h 6857999"/>
              <a:gd name="connsiteX77" fmla="*/ 5673793 w 8124824"/>
              <a:gd name="connsiteY77" fmla="*/ 1017173 h 6857999"/>
              <a:gd name="connsiteX78" fmla="*/ 6762601 w 8124824"/>
              <a:gd name="connsiteY78" fmla="*/ 1000370 h 6857999"/>
              <a:gd name="connsiteX79" fmla="*/ 6762601 w 8124824"/>
              <a:gd name="connsiteY79" fmla="*/ 1024356 h 6857999"/>
              <a:gd name="connsiteX80" fmla="*/ 6766511 w 8124824"/>
              <a:gd name="connsiteY80" fmla="*/ 1024774 h 6857999"/>
              <a:gd name="connsiteX81" fmla="*/ 6862874 w 8124824"/>
              <a:gd name="connsiteY81" fmla="*/ 1034784 h 6857999"/>
              <a:gd name="connsiteX82" fmla="*/ 6862874 w 8124824"/>
              <a:gd name="connsiteY82" fmla="*/ 1000370 h 6857999"/>
              <a:gd name="connsiteX83" fmla="*/ 6891866 w 8124824"/>
              <a:gd name="connsiteY83" fmla="*/ 1000317 h 6857999"/>
              <a:gd name="connsiteX84" fmla="*/ 6891866 w 8124824"/>
              <a:gd name="connsiteY84" fmla="*/ 1037704 h 6857999"/>
              <a:gd name="connsiteX85" fmla="*/ 6895048 w 8124824"/>
              <a:gd name="connsiteY85" fmla="*/ 1038069 h 6857999"/>
              <a:gd name="connsiteX86" fmla="*/ 6995321 w 8124824"/>
              <a:gd name="connsiteY86" fmla="*/ 1048447 h 6857999"/>
              <a:gd name="connsiteX87" fmla="*/ 6995321 w 8124824"/>
              <a:gd name="connsiteY87" fmla="*/ 1000317 h 6857999"/>
              <a:gd name="connsiteX88" fmla="*/ 6634170 w 8124824"/>
              <a:gd name="connsiteY88" fmla="*/ 1000317 h 6857999"/>
              <a:gd name="connsiteX89" fmla="*/ 6634170 w 8124824"/>
              <a:gd name="connsiteY89" fmla="*/ 1034524 h 6857999"/>
              <a:gd name="connsiteX90" fmla="*/ 6638811 w 8124824"/>
              <a:gd name="connsiteY90" fmla="*/ 1034106 h 6857999"/>
              <a:gd name="connsiteX91" fmla="*/ 6733662 w 8124824"/>
              <a:gd name="connsiteY91" fmla="*/ 1024096 h 6857999"/>
              <a:gd name="connsiteX92" fmla="*/ 6733662 w 8124824"/>
              <a:gd name="connsiteY92" fmla="*/ 1000317 h 6857999"/>
              <a:gd name="connsiteX93" fmla="*/ 6634222 w 8124824"/>
              <a:gd name="connsiteY93" fmla="*/ 1000317 h 6857999"/>
              <a:gd name="connsiteX94" fmla="*/ 6506418 w 8124824"/>
              <a:gd name="connsiteY94" fmla="*/ 1000317 h 6857999"/>
              <a:gd name="connsiteX95" fmla="*/ 6506418 w 8124824"/>
              <a:gd name="connsiteY95" fmla="*/ 1048029 h 6857999"/>
              <a:gd name="connsiteX96" fmla="*/ 6605127 w 8124824"/>
              <a:gd name="connsiteY96" fmla="*/ 1037653 h 6857999"/>
              <a:gd name="connsiteX97" fmla="*/ 6605127 w 8124824"/>
              <a:gd name="connsiteY97" fmla="*/ 1000317 h 6857999"/>
              <a:gd name="connsiteX98" fmla="*/ 4629579 w 8124824"/>
              <a:gd name="connsiteY98" fmla="*/ 974096 h 6857999"/>
              <a:gd name="connsiteX99" fmla="*/ 4519033 w 8124824"/>
              <a:gd name="connsiteY99" fmla="*/ 1398184 h 6857999"/>
              <a:gd name="connsiteX100" fmla="*/ 4802384 w 8124824"/>
              <a:gd name="connsiteY100" fmla="*/ 1019096 h 6857999"/>
              <a:gd name="connsiteX101" fmla="*/ 4629631 w 8124824"/>
              <a:gd name="connsiteY101" fmla="*/ 974096 h 6857999"/>
              <a:gd name="connsiteX102" fmla="*/ 5476897 w 8124824"/>
              <a:gd name="connsiteY102" fmla="*/ 961170 h 6857999"/>
              <a:gd name="connsiteX103" fmla="*/ 5476897 w 8124824"/>
              <a:gd name="connsiteY103" fmla="*/ 1285663 h 6857999"/>
              <a:gd name="connsiteX104" fmla="*/ 5870742 w 8124824"/>
              <a:gd name="connsiteY104" fmla="*/ 1285663 h 6857999"/>
              <a:gd name="connsiteX105" fmla="*/ 5870742 w 8124824"/>
              <a:gd name="connsiteY105" fmla="*/ 961170 h 6857999"/>
              <a:gd name="connsiteX106" fmla="*/ 3519732 w 8124824"/>
              <a:gd name="connsiteY106" fmla="*/ 923709 h 6857999"/>
              <a:gd name="connsiteX107" fmla="*/ 3459611 w 8124824"/>
              <a:gd name="connsiteY107" fmla="*/ 983831 h 6857999"/>
              <a:gd name="connsiteX108" fmla="*/ 3519732 w 8124824"/>
              <a:gd name="connsiteY108" fmla="*/ 1043901 h 6857999"/>
              <a:gd name="connsiteX109" fmla="*/ 3579804 w 8124824"/>
              <a:gd name="connsiteY109" fmla="*/ 983831 h 6857999"/>
              <a:gd name="connsiteX110" fmla="*/ 3519732 w 8124824"/>
              <a:gd name="connsiteY110" fmla="*/ 923709 h 6857999"/>
              <a:gd name="connsiteX111" fmla="*/ 6891866 w 8124824"/>
              <a:gd name="connsiteY111" fmla="*/ 916365 h 6857999"/>
              <a:gd name="connsiteX112" fmla="*/ 6891866 w 8124824"/>
              <a:gd name="connsiteY112" fmla="*/ 971325 h 6857999"/>
              <a:gd name="connsiteX113" fmla="*/ 6995321 w 8124824"/>
              <a:gd name="connsiteY113" fmla="*/ 971325 h 6857999"/>
              <a:gd name="connsiteX114" fmla="*/ 6995321 w 8124824"/>
              <a:gd name="connsiteY114" fmla="*/ 916365 h 6857999"/>
              <a:gd name="connsiteX115" fmla="*/ 6762601 w 8124824"/>
              <a:gd name="connsiteY115" fmla="*/ 916365 h 6857999"/>
              <a:gd name="connsiteX116" fmla="*/ 6762601 w 8124824"/>
              <a:gd name="connsiteY116" fmla="*/ 971325 h 6857999"/>
              <a:gd name="connsiteX117" fmla="*/ 6862874 w 8124824"/>
              <a:gd name="connsiteY117" fmla="*/ 971325 h 6857999"/>
              <a:gd name="connsiteX118" fmla="*/ 6862874 w 8124824"/>
              <a:gd name="connsiteY118" fmla="*/ 916365 h 6857999"/>
              <a:gd name="connsiteX119" fmla="*/ 6634170 w 8124824"/>
              <a:gd name="connsiteY119" fmla="*/ 916365 h 6857999"/>
              <a:gd name="connsiteX120" fmla="*/ 6634170 w 8124824"/>
              <a:gd name="connsiteY120" fmla="*/ 971325 h 6857999"/>
              <a:gd name="connsiteX121" fmla="*/ 6733609 w 8124824"/>
              <a:gd name="connsiteY121" fmla="*/ 971325 h 6857999"/>
              <a:gd name="connsiteX122" fmla="*/ 6733609 w 8124824"/>
              <a:gd name="connsiteY122" fmla="*/ 916365 h 6857999"/>
              <a:gd name="connsiteX123" fmla="*/ 6506469 w 8124824"/>
              <a:gd name="connsiteY123" fmla="*/ 916365 h 6857999"/>
              <a:gd name="connsiteX124" fmla="*/ 6506469 w 8124824"/>
              <a:gd name="connsiteY124" fmla="*/ 971325 h 6857999"/>
              <a:gd name="connsiteX125" fmla="*/ 6605178 w 8124824"/>
              <a:gd name="connsiteY125" fmla="*/ 971325 h 6857999"/>
              <a:gd name="connsiteX126" fmla="*/ 6605178 w 8124824"/>
              <a:gd name="connsiteY126" fmla="*/ 916365 h 6857999"/>
              <a:gd name="connsiteX127" fmla="*/ 3519732 w 8124824"/>
              <a:gd name="connsiteY127" fmla="*/ 886166 h 6857999"/>
              <a:gd name="connsiteX128" fmla="*/ 3617398 w 8124824"/>
              <a:gd name="connsiteY128" fmla="*/ 983780 h 6857999"/>
              <a:gd name="connsiteX129" fmla="*/ 3519732 w 8124824"/>
              <a:gd name="connsiteY129" fmla="*/ 1081446 h 6857999"/>
              <a:gd name="connsiteX130" fmla="*/ 3422066 w 8124824"/>
              <a:gd name="connsiteY130" fmla="*/ 983780 h 6857999"/>
              <a:gd name="connsiteX131" fmla="*/ 3519732 w 8124824"/>
              <a:gd name="connsiteY131" fmla="*/ 886166 h 6857999"/>
              <a:gd name="connsiteX132" fmla="*/ 3324452 w 8124824"/>
              <a:gd name="connsiteY132" fmla="*/ 854671 h 6857999"/>
              <a:gd name="connsiteX133" fmla="*/ 3382905 w 8124824"/>
              <a:gd name="connsiteY133" fmla="*/ 1116643 h 6857999"/>
              <a:gd name="connsiteX134" fmla="*/ 3656090 w 8124824"/>
              <a:gd name="connsiteY134" fmla="*/ 1116643 h 6857999"/>
              <a:gd name="connsiteX135" fmla="*/ 3714595 w 8124824"/>
              <a:gd name="connsiteY135" fmla="*/ 854671 h 6857999"/>
              <a:gd name="connsiteX136" fmla="*/ 3324505 w 8124824"/>
              <a:gd name="connsiteY136" fmla="*/ 854671 h 6857999"/>
              <a:gd name="connsiteX137" fmla="*/ 1115504 w 8124824"/>
              <a:gd name="connsiteY137" fmla="*/ 852331 h 6857999"/>
              <a:gd name="connsiteX138" fmla="*/ 1149001 w 8124824"/>
              <a:gd name="connsiteY138" fmla="*/ 858373 h 6857999"/>
              <a:gd name="connsiteX139" fmla="*/ 1395381 w 8124824"/>
              <a:gd name="connsiteY139" fmla="*/ 933773 h 6857999"/>
              <a:gd name="connsiteX140" fmla="*/ 1293387 w 8124824"/>
              <a:gd name="connsiteY140" fmla="*/ 987952 h 6857999"/>
              <a:gd name="connsiteX141" fmla="*/ 1293387 w 8124824"/>
              <a:gd name="connsiteY141" fmla="*/ 988003 h 6857999"/>
              <a:gd name="connsiteX142" fmla="*/ 1085019 w 8124824"/>
              <a:gd name="connsiteY142" fmla="*/ 866351 h 6857999"/>
              <a:gd name="connsiteX143" fmla="*/ 1089400 w 8124824"/>
              <a:gd name="connsiteY143" fmla="*/ 862441 h 6857999"/>
              <a:gd name="connsiteX144" fmla="*/ 1115504 w 8124824"/>
              <a:gd name="connsiteY144" fmla="*/ 852331 h 6857999"/>
              <a:gd name="connsiteX145" fmla="*/ 1644920 w 8124824"/>
              <a:gd name="connsiteY145" fmla="*/ 849378 h 6857999"/>
              <a:gd name="connsiteX146" fmla="*/ 1662672 w 8124824"/>
              <a:gd name="connsiteY146" fmla="*/ 851451 h 6857999"/>
              <a:gd name="connsiteX147" fmla="*/ 1689943 w 8124824"/>
              <a:gd name="connsiteY147" fmla="*/ 874486 h 6857999"/>
              <a:gd name="connsiteX148" fmla="*/ 1669920 w 8124824"/>
              <a:gd name="connsiteY148" fmla="*/ 937267 h 6857999"/>
              <a:gd name="connsiteX149" fmla="*/ 1211104 w 8124824"/>
              <a:gd name="connsiteY149" fmla="*/ 1174367 h 6857999"/>
              <a:gd name="connsiteX150" fmla="*/ 1172725 w 8124824"/>
              <a:gd name="connsiteY150" fmla="*/ 1173533 h 6857999"/>
              <a:gd name="connsiteX151" fmla="*/ 1024115 w 8124824"/>
              <a:gd name="connsiteY151" fmla="*/ 1072842 h 6857999"/>
              <a:gd name="connsiteX152" fmla="*/ 1048571 w 8124824"/>
              <a:gd name="connsiteY152" fmla="*/ 1060171 h 6857999"/>
              <a:gd name="connsiteX153" fmla="*/ 1148479 w 8124824"/>
              <a:gd name="connsiteY153" fmla="*/ 1089841 h 6857999"/>
              <a:gd name="connsiteX154" fmla="*/ 1174759 w 8124824"/>
              <a:gd name="connsiteY154" fmla="*/ 1088225 h 6857999"/>
              <a:gd name="connsiteX155" fmla="*/ 1627109 w 8124824"/>
              <a:gd name="connsiteY155" fmla="*/ 854462 h 6857999"/>
              <a:gd name="connsiteX156" fmla="*/ 1644920 w 8124824"/>
              <a:gd name="connsiteY156" fmla="*/ 849378 h 6857999"/>
              <a:gd name="connsiteX157" fmla="*/ 2536950 w 8124824"/>
              <a:gd name="connsiteY157" fmla="*/ 805950 h 6857999"/>
              <a:gd name="connsiteX158" fmla="*/ 2536950 w 8124824"/>
              <a:gd name="connsiteY158" fmla="*/ 999352 h 6857999"/>
              <a:gd name="connsiteX159" fmla="*/ 2601034 w 8124824"/>
              <a:gd name="connsiteY159" fmla="*/ 999352 h 6857999"/>
              <a:gd name="connsiteX160" fmla="*/ 2346258 w 8124824"/>
              <a:gd name="connsiteY160" fmla="*/ 805950 h 6857999"/>
              <a:gd name="connsiteX161" fmla="*/ 2332388 w 8124824"/>
              <a:gd name="connsiteY161" fmla="*/ 847718 h 6857999"/>
              <a:gd name="connsiteX162" fmla="*/ 2325819 w 8124824"/>
              <a:gd name="connsiteY162" fmla="*/ 867688 h 6857999"/>
              <a:gd name="connsiteX163" fmla="*/ 2282225 w 8124824"/>
              <a:gd name="connsiteY163" fmla="*/ 999352 h 6857999"/>
              <a:gd name="connsiteX164" fmla="*/ 2503524 w 8124824"/>
              <a:gd name="connsiteY164" fmla="*/ 999352 h 6857999"/>
              <a:gd name="connsiteX165" fmla="*/ 2503524 w 8124824"/>
              <a:gd name="connsiteY165" fmla="*/ 805950 h 6857999"/>
              <a:gd name="connsiteX166" fmla="*/ 2503473 w 8124824"/>
              <a:gd name="connsiteY166" fmla="*/ 805950 h 6857999"/>
              <a:gd name="connsiteX167" fmla="*/ 6612948 w 8124824"/>
              <a:gd name="connsiteY167" fmla="*/ 788508 h 6857999"/>
              <a:gd name="connsiteX168" fmla="*/ 6612948 w 8124824"/>
              <a:gd name="connsiteY168" fmla="*/ 831997 h 6857999"/>
              <a:gd name="connsiteX169" fmla="*/ 6670932 w 8124824"/>
              <a:gd name="connsiteY169" fmla="*/ 831997 h 6857999"/>
              <a:gd name="connsiteX170" fmla="*/ 6670932 w 8124824"/>
              <a:gd name="connsiteY170" fmla="*/ 887373 h 6857999"/>
              <a:gd name="connsiteX171" fmla="*/ 6830388 w 8124824"/>
              <a:gd name="connsiteY171" fmla="*/ 887373 h 6857999"/>
              <a:gd name="connsiteX172" fmla="*/ 6830388 w 8124824"/>
              <a:gd name="connsiteY172" fmla="*/ 831997 h 6857999"/>
              <a:gd name="connsiteX173" fmla="*/ 6888374 w 8124824"/>
              <a:gd name="connsiteY173" fmla="*/ 831997 h 6857999"/>
              <a:gd name="connsiteX174" fmla="*/ 6888374 w 8124824"/>
              <a:gd name="connsiteY174" fmla="*/ 788508 h 6857999"/>
              <a:gd name="connsiteX175" fmla="*/ 5673793 w 8124824"/>
              <a:gd name="connsiteY175" fmla="*/ 779448 h 6857999"/>
              <a:gd name="connsiteX176" fmla="*/ 5519812 w 8124824"/>
              <a:gd name="connsiteY176" fmla="*/ 933482 h 6857999"/>
              <a:gd name="connsiteX177" fmla="*/ 5519812 w 8124824"/>
              <a:gd name="connsiteY177" fmla="*/ 933742 h 6857999"/>
              <a:gd name="connsiteX178" fmla="*/ 5547239 w 8124824"/>
              <a:gd name="connsiteY178" fmla="*/ 933742 h 6857999"/>
              <a:gd name="connsiteX179" fmla="*/ 5547239 w 8124824"/>
              <a:gd name="connsiteY179" fmla="*/ 933482 h 6857999"/>
              <a:gd name="connsiteX180" fmla="*/ 5673793 w 8124824"/>
              <a:gd name="connsiteY180" fmla="*/ 806876 h 6857999"/>
              <a:gd name="connsiteX181" fmla="*/ 5800398 w 8124824"/>
              <a:gd name="connsiteY181" fmla="*/ 933482 h 6857999"/>
              <a:gd name="connsiteX182" fmla="*/ 5800398 w 8124824"/>
              <a:gd name="connsiteY182" fmla="*/ 933742 h 6857999"/>
              <a:gd name="connsiteX183" fmla="*/ 5827827 w 8124824"/>
              <a:gd name="connsiteY183" fmla="*/ 933742 h 6857999"/>
              <a:gd name="connsiteX184" fmla="*/ 5827827 w 8124824"/>
              <a:gd name="connsiteY184" fmla="*/ 933482 h 6857999"/>
              <a:gd name="connsiteX185" fmla="*/ 5673793 w 8124824"/>
              <a:gd name="connsiteY185" fmla="*/ 779448 h 6857999"/>
              <a:gd name="connsiteX186" fmla="*/ 3593568 w 8124824"/>
              <a:gd name="connsiteY186" fmla="*/ 701471 h 6857999"/>
              <a:gd name="connsiteX187" fmla="*/ 3593568 w 8124824"/>
              <a:gd name="connsiteY187" fmla="*/ 817336 h 6857999"/>
              <a:gd name="connsiteX188" fmla="*/ 3631321 w 8124824"/>
              <a:gd name="connsiteY188" fmla="*/ 817336 h 6857999"/>
              <a:gd name="connsiteX189" fmla="*/ 3631321 w 8124824"/>
              <a:gd name="connsiteY189" fmla="*/ 701471 h 6857999"/>
              <a:gd name="connsiteX190" fmla="*/ 3407727 w 8124824"/>
              <a:gd name="connsiteY190" fmla="*/ 701471 h 6857999"/>
              <a:gd name="connsiteX191" fmla="*/ 3407727 w 8124824"/>
              <a:gd name="connsiteY191" fmla="*/ 817336 h 6857999"/>
              <a:gd name="connsiteX192" fmla="*/ 3445532 w 8124824"/>
              <a:gd name="connsiteY192" fmla="*/ 817336 h 6857999"/>
              <a:gd name="connsiteX193" fmla="*/ 3445532 w 8124824"/>
              <a:gd name="connsiteY193" fmla="*/ 701471 h 6857999"/>
              <a:gd name="connsiteX194" fmla="*/ 4658414 w 8124824"/>
              <a:gd name="connsiteY194" fmla="*/ 701330 h 6857999"/>
              <a:gd name="connsiteX195" fmla="*/ 4389090 w 8124824"/>
              <a:gd name="connsiteY195" fmla="*/ 1061593 h 6857999"/>
              <a:gd name="connsiteX196" fmla="*/ 4553344 w 8124824"/>
              <a:gd name="connsiteY196" fmla="*/ 1104351 h 6857999"/>
              <a:gd name="connsiteX197" fmla="*/ 4658414 w 8124824"/>
              <a:gd name="connsiteY197" fmla="*/ 701383 h 6857999"/>
              <a:gd name="connsiteX198" fmla="*/ 1362845 w 8124824"/>
              <a:gd name="connsiteY198" fmla="*/ 591084 h 6857999"/>
              <a:gd name="connsiteX199" fmla="*/ 909086 w 8124824"/>
              <a:gd name="connsiteY199" fmla="*/ 1044842 h 6857999"/>
              <a:gd name="connsiteX200" fmla="*/ 1362845 w 8124824"/>
              <a:gd name="connsiteY200" fmla="*/ 1498600 h 6857999"/>
              <a:gd name="connsiteX201" fmla="*/ 1816602 w 8124824"/>
              <a:gd name="connsiteY201" fmla="*/ 1044842 h 6857999"/>
              <a:gd name="connsiteX202" fmla="*/ 1362845 w 8124824"/>
              <a:gd name="connsiteY202" fmla="*/ 591084 h 6857999"/>
              <a:gd name="connsiteX203" fmla="*/ 0 w 8124824"/>
              <a:gd name="connsiteY203" fmla="*/ 0 h 6857999"/>
              <a:gd name="connsiteX204" fmla="*/ 8124824 w 8124824"/>
              <a:gd name="connsiteY204" fmla="*/ 0 h 6857999"/>
              <a:gd name="connsiteX205" fmla="*/ 8124824 w 8124824"/>
              <a:gd name="connsiteY205" fmla="*/ 6857999 h 6857999"/>
              <a:gd name="connsiteX206" fmla="*/ 0 w 8124824"/>
              <a:gd name="connsiteY206"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Lst>
            <a:rect l="l" t="t" r="r" b="b"/>
            <a:pathLst>
              <a:path w="8124824" h="6857999">
                <a:moveTo>
                  <a:pt x="3500648" y="1154291"/>
                </a:moveTo>
                <a:lnTo>
                  <a:pt x="3500648" y="1224425"/>
                </a:lnTo>
                <a:lnTo>
                  <a:pt x="3519525" y="1224425"/>
                </a:lnTo>
                <a:cubicBezTo>
                  <a:pt x="3560353" y="1224425"/>
                  <a:pt x="3593568" y="1257224"/>
                  <a:pt x="3593568" y="1297478"/>
                </a:cubicBezTo>
                <a:cubicBezTo>
                  <a:pt x="3593568" y="1337734"/>
                  <a:pt x="3560353" y="1370533"/>
                  <a:pt x="3519525" y="1370533"/>
                </a:cubicBezTo>
                <a:cubicBezTo>
                  <a:pt x="3478694" y="1370533"/>
                  <a:pt x="3445479" y="1337734"/>
                  <a:pt x="3445479" y="1297478"/>
                </a:cubicBezTo>
                <a:lnTo>
                  <a:pt x="3407727" y="1297478"/>
                </a:lnTo>
                <a:cubicBezTo>
                  <a:pt x="3407727" y="1358331"/>
                  <a:pt x="3457890" y="1407816"/>
                  <a:pt x="3519525" y="1407816"/>
                </a:cubicBezTo>
                <a:lnTo>
                  <a:pt x="3519525" y="1407868"/>
                </a:lnTo>
                <a:cubicBezTo>
                  <a:pt x="3581159" y="1407868"/>
                  <a:pt x="3631321" y="1358331"/>
                  <a:pt x="3631321" y="1297531"/>
                </a:cubicBezTo>
                <a:cubicBezTo>
                  <a:pt x="3631321" y="1243040"/>
                  <a:pt x="3591066" y="1197623"/>
                  <a:pt x="3538401" y="1188759"/>
                </a:cubicBezTo>
                <a:lnTo>
                  <a:pt x="3538401" y="1154291"/>
                </a:lnTo>
                <a:close/>
                <a:moveTo>
                  <a:pt x="1478446" y="1075762"/>
                </a:moveTo>
                <a:cubicBezTo>
                  <a:pt x="1478342" y="1076492"/>
                  <a:pt x="1478239" y="1077223"/>
                  <a:pt x="1478082" y="1077901"/>
                </a:cubicBezTo>
                <a:cubicBezTo>
                  <a:pt x="1478186" y="1077901"/>
                  <a:pt x="1478342" y="1077744"/>
                  <a:pt x="1478446" y="1077744"/>
                </a:cubicBezTo>
                <a:cubicBezTo>
                  <a:pt x="1469478" y="1128689"/>
                  <a:pt x="1461083" y="1177547"/>
                  <a:pt x="1453626" y="1233603"/>
                </a:cubicBezTo>
                <a:cubicBezTo>
                  <a:pt x="1449819" y="1261604"/>
                  <a:pt x="1441528" y="1275630"/>
                  <a:pt x="1422913" y="1285277"/>
                </a:cubicBezTo>
                <a:cubicBezTo>
                  <a:pt x="1421193" y="1286164"/>
                  <a:pt x="1419628" y="1287049"/>
                  <a:pt x="1418064" y="1287988"/>
                </a:cubicBezTo>
                <a:cubicBezTo>
                  <a:pt x="1416030" y="1252322"/>
                  <a:pt x="1409303" y="1138699"/>
                  <a:pt x="1407791" y="1114244"/>
                </a:cubicBezTo>
                <a:cubicBezTo>
                  <a:pt x="1407791" y="1114192"/>
                  <a:pt x="1407895" y="1114192"/>
                  <a:pt x="1407895" y="1114192"/>
                </a:cubicBezTo>
                <a:cubicBezTo>
                  <a:pt x="1407895" y="1113670"/>
                  <a:pt x="1407791" y="1112732"/>
                  <a:pt x="1407791" y="1112315"/>
                </a:cubicBezTo>
                <a:lnTo>
                  <a:pt x="1407844" y="1112262"/>
                </a:lnTo>
                <a:cubicBezTo>
                  <a:pt x="1416761" y="1107623"/>
                  <a:pt x="1463795" y="1083323"/>
                  <a:pt x="1478446" y="1075762"/>
                </a:cubicBezTo>
                <a:close/>
                <a:moveTo>
                  <a:pt x="6746854" y="1051836"/>
                </a:moveTo>
                <a:lnTo>
                  <a:pt x="6477373" y="1080255"/>
                </a:lnTo>
                <a:lnTo>
                  <a:pt x="6472315" y="1080777"/>
                </a:lnTo>
                <a:cubicBezTo>
                  <a:pt x="6467205" y="1081402"/>
                  <a:pt x="6464494" y="1086981"/>
                  <a:pt x="6466996" y="1091309"/>
                </a:cubicBezTo>
                <a:lnTo>
                  <a:pt x="6567060" y="1296184"/>
                </a:lnTo>
                <a:lnTo>
                  <a:pt x="6932017" y="1296184"/>
                </a:lnTo>
                <a:lnTo>
                  <a:pt x="7031978" y="1091309"/>
                </a:lnTo>
                <a:cubicBezTo>
                  <a:pt x="7034533" y="1086929"/>
                  <a:pt x="7031665" y="1081349"/>
                  <a:pt x="7026607" y="1080777"/>
                </a:cubicBezTo>
                <a:lnTo>
                  <a:pt x="7024261" y="1080568"/>
                </a:lnTo>
                <a:lnTo>
                  <a:pt x="6748053" y="1051992"/>
                </a:lnTo>
                <a:close/>
                <a:moveTo>
                  <a:pt x="5673793" y="1044602"/>
                </a:moveTo>
                <a:cubicBezTo>
                  <a:pt x="5660548" y="1044602"/>
                  <a:pt x="5648764" y="1050598"/>
                  <a:pt x="5640838" y="1059984"/>
                </a:cubicBezTo>
                <a:cubicBezTo>
                  <a:pt x="5637396" y="1064051"/>
                  <a:pt x="5634738" y="1068639"/>
                  <a:pt x="5633017" y="1073698"/>
                </a:cubicBezTo>
                <a:cubicBezTo>
                  <a:pt x="5631453" y="1078026"/>
                  <a:pt x="5630670" y="1082614"/>
                  <a:pt x="5630670" y="1087412"/>
                </a:cubicBezTo>
                <a:lnTo>
                  <a:pt x="5630670" y="1087620"/>
                </a:lnTo>
                <a:cubicBezTo>
                  <a:pt x="5630670" y="1100916"/>
                  <a:pt x="5636615" y="1113171"/>
                  <a:pt x="5647043" y="1121410"/>
                </a:cubicBezTo>
                <a:lnTo>
                  <a:pt x="5653040" y="1126154"/>
                </a:lnTo>
                <a:lnTo>
                  <a:pt x="5646626" y="1181323"/>
                </a:lnTo>
                <a:lnTo>
                  <a:pt x="5700804" y="1181323"/>
                </a:lnTo>
                <a:lnTo>
                  <a:pt x="5694286" y="1126154"/>
                </a:lnTo>
                <a:lnTo>
                  <a:pt x="5700386" y="1121410"/>
                </a:lnTo>
                <a:cubicBezTo>
                  <a:pt x="5710764" y="1113171"/>
                  <a:pt x="5716760" y="1100916"/>
                  <a:pt x="5716760" y="1087620"/>
                </a:cubicBezTo>
                <a:lnTo>
                  <a:pt x="5716760" y="1087412"/>
                </a:lnTo>
                <a:lnTo>
                  <a:pt x="5716864" y="1087412"/>
                </a:lnTo>
                <a:cubicBezTo>
                  <a:pt x="5716864" y="1082614"/>
                  <a:pt x="5716030" y="1078026"/>
                  <a:pt x="5714518" y="1073698"/>
                </a:cubicBezTo>
                <a:cubicBezTo>
                  <a:pt x="5712797" y="1068639"/>
                  <a:pt x="5710137" y="1064051"/>
                  <a:pt x="5706695" y="1059984"/>
                </a:cubicBezTo>
                <a:cubicBezTo>
                  <a:pt x="5698822" y="1050598"/>
                  <a:pt x="5687038" y="1044602"/>
                  <a:pt x="5673793" y="1044602"/>
                </a:cubicBezTo>
                <a:close/>
                <a:moveTo>
                  <a:pt x="2527407" y="1036166"/>
                </a:moveTo>
                <a:lnTo>
                  <a:pt x="2463323" y="1229673"/>
                </a:lnTo>
                <a:lnTo>
                  <a:pt x="2684621" y="1229673"/>
                </a:lnTo>
                <a:lnTo>
                  <a:pt x="2684621" y="1036166"/>
                </a:lnTo>
                <a:close/>
                <a:moveTo>
                  <a:pt x="2718046" y="1036114"/>
                </a:moveTo>
                <a:lnTo>
                  <a:pt x="2718046" y="1229620"/>
                </a:lnTo>
                <a:lnTo>
                  <a:pt x="2782130" y="1229620"/>
                </a:lnTo>
                <a:close/>
                <a:moveTo>
                  <a:pt x="2359190" y="1034967"/>
                </a:moveTo>
                <a:lnTo>
                  <a:pt x="2359190" y="1228368"/>
                </a:lnTo>
                <a:lnTo>
                  <a:pt x="2423275" y="1228368"/>
                </a:lnTo>
                <a:close/>
                <a:moveTo>
                  <a:pt x="2168552" y="1034967"/>
                </a:moveTo>
                <a:lnTo>
                  <a:pt x="2104466" y="1228368"/>
                </a:lnTo>
                <a:lnTo>
                  <a:pt x="2325766" y="1228368"/>
                </a:lnTo>
                <a:lnTo>
                  <a:pt x="2325766" y="1034967"/>
                </a:lnTo>
                <a:close/>
                <a:moveTo>
                  <a:pt x="5673793" y="1017173"/>
                </a:moveTo>
                <a:cubicBezTo>
                  <a:pt x="5702889" y="1017173"/>
                  <a:pt x="5727866" y="1034799"/>
                  <a:pt x="5738607" y="1059984"/>
                </a:cubicBezTo>
                <a:cubicBezTo>
                  <a:pt x="5740537" y="1064312"/>
                  <a:pt x="5741998" y="1069004"/>
                  <a:pt x="5742936" y="1073698"/>
                </a:cubicBezTo>
                <a:cubicBezTo>
                  <a:pt x="5743822" y="1078130"/>
                  <a:pt x="5744291" y="1082771"/>
                  <a:pt x="5744291" y="1087412"/>
                </a:cubicBezTo>
                <a:lnTo>
                  <a:pt x="5744291" y="1087620"/>
                </a:lnTo>
                <a:cubicBezTo>
                  <a:pt x="5744291" y="1106705"/>
                  <a:pt x="5736730" y="1124486"/>
                  <a:pt x="5723382" y="1137678"/>
                </a:cubicBezTo>
                <a:lnTo>
                  <a:pt x="5731726" y="1208803"/>
                </a:lnTo>
                <a:lnTo>
                  <a:pt x="5615860" y="1208803"/>
                </a:lnTo>
                <a:lnTo>
                  <a:pt x="5624152" y="1137678"/>
                </a:lnTo>
                <a:cubicBezTo>
                  <a:pt x="5610803" y="1124486"/>
                  <a:pt x="5603242" y="1106653"/>
                  <a:pt x="5603242" y="1087620"/>
                </a:cubicBezTo>
                <a:lnTo>
                  <a:pt x="5603242" y="1087412"/>
                </a:lnTo>
                <a:cubicBezTo>
                  <a:pt x="5603242" y="1082771"/>
                  <a:pt x="5603764" y="1078130"/>
                  <a:pt x="5604650" y="1073698"/>
                </a:cubicBezTo>
                <a:cubicBezTo>
                  <a:pt x="5605641" y="1069004"/>
                  <a:pt x="5607049" y="1064312"/>
                  <a:pt x="5608979" y="1059984"/>
                </a:cubicBezTo>
                <a:cubicBezTo>
                  <a:pt x="5619772" y="1034799"/>
                  <a:pt x="5644696" y="1017173"/>
                  <a:pt x="5673793" y="1017173"/>
                </a:cubicBezTo>
                <a:close/>
                <a:moveTo>
                  <a:pt x="6762601" y="1000370"/>
                </a:moveTo>
                <a:lnTo>
                  <a:pt x="6762601" y="1024356"/>
                </a:lnTo>
                <a:lnTo>
                  <a:pt x="6766511" y="1024774"/>
                </a:lnTo>
                <a:lnTo>
                  <a:pt x="6862874" y="1034784"/>
                </a:lnTo>
                <a:lnTo>
                  <a:pt x="6862874" y="1000370"/>
                </a:lnTo>
                <a:close/>
                <a:moveTo>
                  <a:pt x="6891866" y="1000317"/>
                </a:moveTo>
                <a:lnTo>
                  <a:pt x="6891866" y="1037704"/>
                </a:lnTo>
                <a:lnTo>
                  <a:pt x="6895048" y="1038069"/>
                </a:lnTo>
                <a:lnTo>
                  <a:pt x="6995321" y="1048447"/>
                </a:lnTo>
                <a:lnTo>
                  <a:pt x="6995321" y="1000317"/>
                </a:lnTo>
                <a:close/>
                <a:moveTo>
                  <a:pt x="6634170" y="1000317"/>
                </a:moveTo>
                <a:lnTo>
                  <a:pt x="6634170" y="1034524"/>
                </a:lnTo>
                <a:lnTo>
                  <a:pt x="6638811" y="1034106"/>
                </a:lnTo>
                <a:lnTo>
                  <a:pt x="6733662" y="1024096"/>
                </a:lnTo>
                <a:lnTo>
                  <a:pt x="6733662" y="1000317"/>
                </a:lnTo>
                <a:lnTo>
                  <a:pt x="6634222" y="1000317"/>
                </a:lnTo>
                <a:close/>
                <a:moveTo>
                  <a:pt x="6506418" y="1000317"/>
                </a:moveTo>
                <a:lnTo>
                  <a:pt x="6506418" y="1048029"/>
                </a:lnTo>
                <a:lnTo>
                  <a:pt x="6605127" y="1037653"/>
                </a:lnTo>
                <a:lnTo>
                  <a:pt x="6605127" y="1000317"/>
                </a:lnTo>
                <a:close/>
                <a:moveTo>
                  <a:pt x="4629579" y="974096"/>
                </a:moveTo>
                <a:lnTo>
                  <a:pt x="4519033" y="1398184"/>
                </a:lnTo>
                <a:lnTo>
                  <a:pt x="4802384" y="1019096"/>
                </a:lnTo>
                <a:lnTo>
                  <a:pt x="4629631" y="974096"/>
                </a:lnTo>
                <a:close/>
                <a:moveTo>
                  <a:pt x="5476897" y="961170"/>
                </a:moveTo>
                <a:lnTo>
                  <a:pt x="5476897" y="1285663"/>
                </a:lnTo>
                <a:lnTo>
                  <a:pt x="5870742" y="1285663"/>
                </a:lnTo>
                <a:lnTo>
                  <a:pt x="5870742" y="961170"/>
                </a:lnTo>
                <a:close/>
                <a:moveTo>
                  <a:pt x="3519732" y="923709"/>
                </a:moveTo>
                <a:cubicBezTo>
                  <a:pt x="3486517" y="923709"/>
                  <a:pt x="3459611" y="950667"/>
                  <a:pt x="3459611" y="983831"/>
                </a:cubicBezTo>
                <a:cubicBezTo>
                  <a:pt x="3459611" y="1016995"/>
                  <a:pt x="3486569" y="1043901"/>
                  <a:pt x="3519732" y="1043901"/>
                </a:cubicBezTo>
                <a:cubicBezTo>
                  <a:pt x="3552896" y="1043901"/>
                  <a:pt x="3579804" y="1016995"/>
                  <a:pt x="3579804" y="983831"/>
                </a:cubicBezTo>
                <a:cubicBezTo>
                  <a:pt x="3579804" y="950616"/>
                  <a:pt x="3552949" y="923709"/>
                  <a:pt x="3519732" y="923709"/>
                </a:cubicBezTo>
                <a:close/>
                <a:moveTo>
                  <a:pt x="6891866" y="916365"/>
                </a:moveTo>
                <a:lnTo>
                  <a:pt x="6891866" y="971325"/>
                </a:lnTo>
                <a:lnTo>
                  <a:pt x="6995321" y="971325"/>
                </a:lnTo>
                <a:lnTo>
                  <a:pt x="6995321" y="916365"/>
                </a:lnTo>
                <a:close/>
                <a:moveTo>
                  <a:pt x="6762601" y="916365"/>
                </a:moveTo>
                <a:lnTo>
                  <a:pt x="6762601" y="971325"/>
                </a:lnTo>
                <a:lnTo>
                  <a:pt x="6862874" y="971325"/>
                </a:lnTo>
                <a:lnTo>
                  <a:pt x="6862874" y="916365"/>
                </a:lnTo>
                <a:close/>
                <a:moveTo>
                  <a:pt x="6634170" y="916365"/>
                </a:moveTo>
                <a:lnTo>
                  <a:pt x="6634170" y="971325"/>
                </a:lnTo>
                <a:lnTo>
                  <a:pt x="6733609" y="971325"/>
                </a:lnTo>
                <a:lnTo>
                  <a:pt x="6733609" y="916365"/>
                </a:lnTo>
                <a:close/>
                <a:moveTo>
                  <a:pt x="6506469" y="916365"/>
                </a:moveTo>
                <a:lnTo>
                  <a:pt x="6506469" y="971325"/>
                </a:lnTo>
                <a:lnTo>
                  <a:pt x="6605178" y="971325"/>
                </a:lnTo>
                <a:lnTo>
                  <a:pt x="6605178" y="916365"/>
                </a:lnTo>
                <a:close/>
                <a:moveTo>
                  <a:pt x="3519732" y="886166"/>
                </a:moveTo>
                <a:cubicBezTo>
                  <a:pt x="3573702" y="886166"/>
                  <a:pt x="3617398" y="929863"/>
                  <a:pt x="3617398" y="983780"/>
                </a:cubicBezTo>
                <a:cubicBezTo>
                  <a:pt x="3617398" y="1037697"/>
                  <a:pt x="3573702" y="1081446"/>
                  <a:pt x="3519732" y="1081446"/>
                </a:cubicBezTo>
                <a:cubicBezTo>
                  <a:pt x="3465764" y="1081446"/>
                  <a:pt x="3422066" y="1037749"/>
                  <a:pt x="3422066" y="983780"/>
                </a:cubicBezTo>
                <a:cubicBezTo>
                  <a:pt x="3422066" y="929811"/>
                  <a:pt x="3465764" y="886166"/>
                  <a:pt x="3519732" y="886166"/>
                </a:cubicBezTo>
                <a:close/>
                <a:moveTo>
                  <a:pt x="3324452" y="854671"/>
                </a:moveTo>
                <a:lnTo>
                  <a:pt x="3382905" y="1116643"/>
                </a:lnTo>
                <a:lnTo>
                  <a:pt x="3656090" y="1116643"/>
                </a:lnTo>
                <a:lnTo>
                  <a:pt x="3714595" y="854671"/>
                </a:lnTo>
                <a:lnTo>
                  <a:pt x="3324505" y="854671"/>
                </a:lnTo>
                <a:close/>
                <a:moveTo>
                  <a:pt x="1115504" y="852331"/>
                </a:moveTo>
                <a:cubicBezTo>
                  <a:pt x="1124948" y="851765"/>
                  <a:pt x="1135626" y="853890"/>
                  <a:pt x="1149001" y="858373"/>
                </a:cubicBezTo>
                <a:cubicBezTo>
                  <a:pt x="1171787" y="865986"/>
                  <a:pt x="1374627" y="927568"/>
                  <a:pt x="1395381" y="933773"/>
                </a:cubicBezTo>
                <a:lnTo>
                  <a:pt x="1293387" y="987952"/>
                </a:lnTo>
                <a:lnTo>
                  <a:pt x="1293387" y="988003"/>
                </a:lnTo>
                <a:cubicBezTo>
                  <a:pt x="1255218" y="966519"/>
                  <a:pt x="1085019" y="866351"/>
                  <a:pt x="1085019" y="866351"/>
                </a:cubicBezTo>
                <a:cubicBezTo>
                  <a:pt x="1086636" y="864683"/>
                  <a:pt x="1087939" y="863484"/>
                  <a:pt x="1089400" y="862441"/>
                </a:cubicBezTo>
                <a:cubicBezTo>
                  <a:pt x="1097847" y="856158"/>
                  <a:pt x="1106060" y="852899"/>
                  <a:pt x="1115504" y="852331"/>
                </a:cubicBezTo>
                <a:close/>
                <a:moveTo>
                  <a:pt x="1644920" y="849378"/>
                </a:moveTo>
                <a:cubicBezTo>
                  <a:pt x="1650959" y="848912"/>
                  <a:pt x="1656988" y="849639"/>
                  <a:pt x="1662672" y="851451"/>
                </a:cubicBezTo>
                <a:cubicBezTo>
                  <a:pt x="1674039" y="855075"/>
                  <a:pt x="1684025" y="863041"/>
                  <a:pt x="1689943" y="874486"/>
                </a:cubicBezTo>
                <a:cubicBezTo>
                  <a:pt x="1701728" y="897324"/>
                  <a:pt x="1692759" y="925534"/>
                  <a:pt x="1669920" y="937267"/>
                </a:cubicBezTo>
                <a:cubicBezTo>
                  <a:pt x="1652661" y="946131"/>
                  <a:pt x="1242389" y="1158305"/>
                  <a:pt x="1211104" y="1174367"/>
                </a:cubicBezTo>
                <a:cubicBezTo>
                  <a:pt x="1195304" y="1182449"/>
                  <a:pt x="1185189" y="1181979"/>
                  <a:pt x="1172725" y="1173533"/>
                </a:cubicBezTo>
                <a:cubicBezTo>
                  <a:pt x="1130332" y="1144748"/>
                  <a:pt x="1024115" y="1072842"/>
                  <a:pt x="1024115" y="1072842"/>
                </a:cubicBezTo>
                <a:cubicBezTo>
                  <a:pt x="1032510" y="1068462"/>
                  <a:pt x="1039653" y="1064812"/>
                  <a:pt x="1048571" y="1060171"/>
                </a:cubicBezTo>
                <a:cubicBezTo>
                  <a:pt x="1048571" y="1060171"/>
                  <a:pt x="1132158" y="1084991"/>
                  <a:pt x="1148479" y="1089841"/>
                </a:cubicBezTo>
                <a:cubicBezTo>
                  <a:pt x="1151868" y="1090780"/>
                  <a:pt x="1163914" y="1093804"/>
                  <a:pt x="1174759" y="1088225"/>
                </a:cubicBezTo>
                <a:cubicBezTo>
                  <a:pt x="1210426" y="1069818"/>
                  <a:pt x="1626119" y="854984"/>
                  <a:pt x="1627109" y="854462"/>
                </a:cubicBezTo>
                <a:cubicBezTo>
                  <a:pt x="1632833" y="851503"/>
                  <a:pt x="1638881" y="849844"/>
                  <a:pt x="1644920" y="849378"/>
                </a:cubicBezTo>
                <a:close/>
                <a:moveTo>
                  <a:pt x="2536950" y="805950"/>
                </a:moveTo>
                <a:lnTo>
                  <a:pt x="2536950" y="999352"/>
                </a:lnTo>
                <a:lnTo>
                  <a:pt x="2601034" y="999352"/>
                </a:lnTo>
                <a:close/>
                <a:moveTo>
                  <a:pt x="2346258" y="805950"/>
                </a:moveTo>
                <a:lnTo>
                  <a:pt x="2332388" y="847718"/>
                </a:lnTo>
                <a:lnTo>
                  <a:pt x="2325819" y="867688"/>
                </a:lnTo>
                <a:lnTo>
                  <a:pt x="2282225" y="999352"/>
                </a:lnTo>
                <a:lnTo>
                  <a:pt x="2503524" y="999352"/>
                </a:lnTo>
                <a:lnTo>
                  <a:pt x="2503524" y="805950"/>
                </a:lnTo>
                <a:lnTo>
                  <a:pt x="2503473" y="805950"/>
                </a:lnTo>
                <a:close/>
                <a:moveTo>
                  <a:pt x="6612948" y="788508"/>
                </a:moveTo>
                <a:lnTo>
                  <a:pt x="6612948" y="831997"/>
                </a:lnTo>
                <a:lnTo>
                  <a:pt x="6670932" y="831997"/>
                </a:lnTo>
                <a:lnTo>
                  <a:pt x="6670932" y="887373"/>
                </a:lnTo>
                <a:lnTo>
                  <a:pt x="6830388" y="887373"/>
                </a:lnTo>
                <a:lnTo>
                  <a:pt x="6830388" y="831997"/>
                </a:lnTo>
                <a:lnTo>
                  <a:pt x="6888374" y="831997"/>
                </a:lnTo>
                <a:lnTo>
                  <a:pt x="6888374" y="788508"/>
                </a:lnTo>
                <a:close/>
                <a:moveTo>
                  <a:pt x="5673793" y="779448"/>
                </a:moveTo>
                <a:cubicBezTo>
                  <a:pt x="5588902" y="779448"/>
                  <a:pt x="5519812" y="848591"/>
                  <a:pt x="5519812" y="933482"/>
                </a:cubicBezTo>
                <a:lnTo>
                  <a:pt x="5519812" y="933742"/>
                </a:lnTo>
                <a:lnTo>
                  <a:pt x="5547239" y="933742"/>
                </a:lnTo>
                <a:lnTo>
                  <a:pt x="5547239" y="933482"/>
                </a:lnTo>
                <a:cubicBezTo>
                  <a:pt x="5547239" y="863660"/>
                  <a:pt x="5603972" y="806876"/>
                  <a:pt x="5673793" y="806876"/>
                </a:cubicBezTo>
                <a:cubicBezTo>
                  <a:pt x="5743613" y="806876"/>
                  <a:pt x="5800398" y="863660"/>
                  <a:pt x="5800398" y="933482"/>
                </a:cubicBezTo>
                <a:lnTo>
                  <a:pt x="5800398" y="933742"/>
                </a:lnTo>
                <a:lnTo>
                  <a:pt x="5827827" y="933742"/>
                </a:lnTo>
                <a:lnTo>
                  <a:pt x="5827827" y="933482"/>
                </a:lnTo>
                <a:cubicBezTo>
                  <a:pt x="5827827" y="848591"/>
                  <a:pt x="5758683" y="779448"/>
                  <a:pt x="5673793" y="779448"/>
                </a:cubicBezTo>
                <a:close/>
                <a:moveTo>
                  <a:pt x="3593568" y="701471"/>
                </a:moveTo>
                <a:lnTo>
                  <a:pt x="3593568" y="817336"/>
                </a:lnTo>
                <a:cubicBezTo>
                  <a:pt x="3593568" y="817336"/>
                  <a:pt x="3631321" y="817336"/>
                  <a:pt x="3631321" y="817336"/>
                </a:cubicBezTo>
                <a:lnTo>
                  <a:pt x="3631321" y="701471"/>
                </a:lnTo>
                <a:close/>
                <a:moveTo>
                  <a:pt x="3407727" y="701471"/>
                </a:moveTo>
                <a:lnTo>
                  <a:pt x="3407727" y="817336"/>
                </a:lnTo>
                <a:lnTo>
                  <a:pt x="3445532" y="817336"/>
                </a:lnTo>
                <a:lnTo>
                  <a:pt x="3445532" y="701471"/>
                </a:lnTo>
                <a:close/>
                <a:moveTo>
                  <a:pt x="4658414" y="701330"/>
                </a:moveTo>
                <a:lnTo>
                  <a:pt x="4389090" y="1061593"/>
                </a:lnTo>
                <a:lnTo>
                  <a:pt x="4553344" y="1104351"/>
                </a:lnTo>
                <a:lnTo>
                  <a:pt x="4658414" y="701383"/>
                </a:lnTo>
                <a:close/>
                <a:moveTo>
                  <a:pt x="1362845" y="591084"/>
                </a:moveTo>
                <a:cubicBezTo>
                  <a:pt x="1112240" y="591084"/>
                  <a:pt x="909086" y="794237"/>
                  <a:pt x="909086" y="1044842"/>
                </a:cubicBezTo>
                <a:cubicBezTo>
                  <a:pt x="909086" y="1295446"/>
                  <a:pt x="1112240" y="1498600"/>
                  <a:pt x="1362845" y="1498600"/>
                </a:cubicBezTo>
                <a:cubicBezTo>
                  <a:pt x="1613450" y="1498600"/>
                  <a:pt x="1816602" y="1295446"/>
                  <a:pt x="1816602" y="1044842"/>
                </a:cubicBezTo>
                <a:cubicBezTo>
                  <a:pt x="1816602" y="794237"/>
                  <a:pt x="1613450" y="591084"/>
                  <a:pt x="1362845" y="591084"/>
                </a:cubicBezTo>
                <a:close/>
                <a:moveTo>
                  <a:pt x="0" y="0"/>
                </a:moveTo>
                <a:lnTo>
                  <a:pt x="8124824" y="0"/>
                </a:lnTo>
                <a:lnTo>
                  <a:pt x="8124824" y="6857999"/>
                </a:lnTo>
                <a:lnTo>
                  <a:pt x="0" y="6857999"/>
                </a:lnTo>
                <a:close/>
              </a:path>
            </a:pathLst>
          </a:custGeom>
          <a:solidFill>
            <a:schemeClr val="tx1"/>
          </a:solidFill>
        </p:spPr>
        <p:txBody>
          <a:bodyPr vert="horz" wrap="square" lIns="0" tIns="45720" rIns="0" bIns="45720" rtlCol="0" anchor="ctr">
            <a:noAutofit/>
          </a:bodyPr>
          <a:lstStyle>
            <a:lvl1pPr algn="ctr">
              <a:defRPr lang="en-GB" sz="2800" b="0" dirty="0">
                <a:solidFill>
                  <a:schemeClr val="bg1"/>
                </a:solidFill>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US" dirty="0"/>
              <a:t>ADD RELATED IMAGE </a:t>
            </a:r>
            <a:br>
              <a:rPr lang="en-US" dirty="0"/>
            </a:br>
            <a:r>
              <a:rPr lang="en-US" dirty="0"/>
              <a:t>FROM HFW IMAGE LIBRARY</a:t>
            </a:r>
            <a:endParaRPr lang="en-GB" dirty="0"/>
          </a:p>
        </p:txBody>
      </p:sp>
      <p:sp>
        <p:nvSpPr>
          <p:cNvPr id="2" name="Graphic 13">
            <a:extLst>
              <a:ext uri="{FF2B5EF4-FFF2-40B4-BE49-F238E27FC236}">
                <a16:creationId xmlns:a16="http://schemas.microsoft.com/office/drawing/2014/main" id="{91BDD3F1-6357-7F11-A054-047B4FA8DE83}"/>
              </a:ext>
            </a:extLst>
          </p:cNvPr>
          <p:cNvSpPr>
            <a:spLocks noGrp="1" noRot="1" noMove="1" noResize="1" noEditPoints="1" noAdjustHandles="1" noChangeArrowheads="1" noChangeShapeType="1"/>
          </p:cNvSpPr>
          <p:nvPr userDrawn="1"/>
        </p:nvSpPr>
        <p:spPr>
          <a:xfrm>
            <a:off x="585463" y="588011"/>
            <a:ext cx="1522695" cy="922576"/>
          </a:xfrm>
          <a:custGeom>
            <a:avLst/>
            <a:gdLst>
              <a:gd name="connsiteX0" fmla="*/ 618149 w 1522695"/>
              <a:gd name="connsiteY0" fmla="*/ 39943 h 922576"/>
              <a:gd name="connsiteX1" fmla="*/ 421345 w 1522695"/>
              <a:gd name="connsiteY1" fmla="*/ 876531 h 922576"/>
              <a:gd name="connsiteX2" fmla="*/ 388753 w 1522695"/>
              <a:gd name="connsiteY2" fmla="*/ 915365 h 922576"/>
              <a:gd name="connsiteX3" fmla="*/ 349364 w 1522695"/>
              <a:gd name="connsiteY3" fmla="*/ 922577 h 922576"/>
              <a:gd name="connsiteX4" fmla="*/ 328006 w 1522695"/>
              <a:gd name="connsiteY4" fmla="*/ 897196 h 922576"/>
              <a:gd name="connsiteX5" fmla="*/ 431608 w 1522695"/>
              <a:gd name="connsiteY5" fmla="*/ 465033 h 922576"/>
              <a:gd name="connsiteX6" fmla="*/ 224958 w 1522695"/>
              <a:gd name="connsiteY6" fmla="*/ 504838 h 922576"/>
              <a:gd name="connsiteX7" fmla="*/ 185292 w 1522695"/>
              <a:gd name="connsiteY7" fmla="*/ 702473 h 922576"/>
              <a:gd name="connsiteX8" fmla="*/ 159634 w 1522695"/>
              <a:gd name="connsiteY8" fmla="*/ 738117 h 922576"/>
              <a:gd name="connsiteX9" fmla="*/ 102771 w 1522695"/>
              <a:gd name="connsiteY9" fmla="*/ 719671 h 922576"/>
              <a:gd name="connsiteX10" fmla="*/ 150203 w 1522695"/>
              <a:gd name="connsiteY10" fmla="*/ 519816 h 922576"/>
              <a:gd name="connsiteX11" fmla="*/ 62411 w 1522695"/>
              <a:gd name="connsiteY11" fmla="*/ 533547 h 922576"/>
              <a:gd name="connsiteX12" fmla="*/ 0 w 1522695"/>
              <a:gd name="connsiteY12" fmla="*/ 507750 h 922576"/>
              <a:gd name="connsiteX13" fmla="*/ 163795 w 1522695"/>
              <a:gd name="connsiteY13" fmla="*/ 465588 h 922576"/>
              <a:gd name="connsiteX14" fmla="*/ 234805 w 1522695"/>
              <a:gd name="connsiteY14" fmla="*/ 162547 h 922576"/>
              <a:gd name="connsiteX15" fmla="*/ 258244 w 1522695"/>
              <a:gd name="connsiteY15" fmla="*/ 135502 h 922576"/>
              <a:gd name="connsiteX16" fmla="*/ 300961 w 1522695"/>
              <a:gd name="connsiteY16" fmla="*/ 126625 h 922576"/>
              <a:gd name="connsiteX17" fmla="*/ 316772 w 1522695"/>
              <a:gd name="connsiteY17" fmla="*/ 149232 h 922576"/>
              <a:gd name="connsiteX18" fmla="*/ 239104 w 1522695"/>
              <a:gd name="connsiteY18" fmla="*/ 449084 h 922576"/>
              <a:gd name="connsiteX19" fmla="*/ 447697 w 1522695"/>
              <a:gd name="connsiteY19" fmla="*/ 404564 h 922576"/>
              <a:gd name="connsiteX20" fmla="*/ 542839 w 1522695"/>
              <a:gd name="connsiteY20" fmla="*/ 34950 h 922576"/>
              <a:gd name="connsiteX21" fmla="*/ 557402 w 1522695"/>
              <a:gd name="connsiteY21" fmla="*/ 6935 h 922576"/>
              <a:gd name="connsiteX22" fmla="*/ 592907 w 1522695"/>
              <a:gd name="connsiteY22" fmla="*/ 0 h 922576"/>
              <a:gd name="connsiteX23" fmla="*/ 620506 w 1522695"/>
              <a:gd name="connsiteY23" fmla="*/ 25381 h 922576"/>
              <a:gd name="connsiteX24" fmla="*/ 618426 w 1522695"/>
              <a:gd name="connsiteY24" fmla="*/ 40359 h 922576"/>
              <a:gd name="connsiteX25" fmla="*/ 845048 w 1522695"/>
              <a:gd name="connsiteY25" fmla="*/ 445755 h 922576"/>
              <a:gd name="connsiteX26" fmla="*/ 684582 w 1522695"/>
              <a:gd name="connsiteY26" fmla="*/ 476544 h 922576"/>
              <a:gd name="connsiteX27" fmla="*/ 729241 w 1522695"/>
              <a:gd name="connsiteY27" fmla="*/ 311918 h 922576"/>
              <a:gd name="connsiteX28" fmla="*/ 1087204 w 1522695"/>
              <a:gd name="connsiteY28" fmla="*/ 231060 h 922576"/>
              <a:gd name="connsiteX29" fmla="*/ 1110643 w 1522695"/>
              <a:gd name="connsiteY29" fmla="*/ 218994 h 922576"/>
              <a:gd name="connsiteX30" fmla="*/ 1053363 w 1522695"/>
              <a:gd name="connsiteY30" fmla="*/ 185708 h 922576"/>
              <a:gd name="connsiteX31" fmla="*/ 1029785 w 1522695"/>
              <a:gd name="connsiteY31" fmla="*/ 187927 h 922576"/>
              <a:gd name="connsiteX32" fmla="*/ 636872 w 1522695"/>
              <a:gd name="connsiteY32" fmla="*/ 267536 h 922576"/>
              <a:gd name="connsiteX33" fmla="*/ 610798 w 1522695"/>
              <a:gd name="connsiteY33" fmla="*/ 284595 h 922576"/>
              <a:gd name="connsiteX34" fmla="*/ 652683 w 1522695"/>
              <a:gd name="connsiteY34" fmla="*/ 321210 h 922576"/>
              <a:gd name="connsiteX35" fmla="*/ 524948 w 1522695"/>
              <a:gd name="connsiteY35" fmla="*/ 802192 h 922576"/>
              <a:gd name="connsiteX36" fmla="*/ 537569 w 1522695"/>
              <a:gd name="connsiteY36" fmla="*/ 815646 h 922576"/>
              <a:gd name="connsiteX37" fmla="*/ 595542 w 1522695"/>
              <a:gd name="connsiteY37" fmla="*/ 802886 h 922576"/>
              <a:gd name="connsiteX38" fmla="*/ 616762 w 1522695"/>
              <a:gd name="connsiteY38" fmla="*/ 763914 h 922576"/>
              <a:gd name="connsiteX39" fmla="*/ 669603 w 1522695"/>
              <a:gd name="connsiteY39" fmla="*/ 537430 h 922576"/>
              <a:gd name="connsiteX40" fmla="*/ 808988 w 1522695"/>
              <a:gd name="connsiteY40" fmla="*/ 509276 h 922576"/>
              <a:gd name="connsiteX41" fmla="*/ 859611 w 1522695"/>
              <a:gd name="connsiteY41" fmla="*/ 477238 h 922576"/>
              <a:gd name="connsiteX42" fmla="*/ 872232 w 1522695"/>
              <a:gd name="connsiteY42" fmla="*/ 451996 h 922576"/>
              <a:gd name="connsiteX43" fmla="*/ 845187 w 1522695"/>
              <a:gd name="connsiteY43" fmla="*/ 445755 h 922576"/>
              <a:gd name="connsiteX44" fmla="*/ 1479701 w 1522695"/>
              <a:gd name="connsiteY44" fmla="*/ 159218 h 922576"/>
              <a:gd name="connsiteX45" fmla="*/ 1409801 w 1522695"/>
              <a:gd name="connsiteY45" fmla="*/ 217052 h 922576"/>
              <a:gd name="connsiteX46" fmla="*/ 1212442 w 1522695"/>
              <a:gd name="connsiteY46" fmla="*/ 666691 h 922576"/>
              <a:gd name="connsiteX47" fmla="*/ 1231721 w 1522695"/>
              <a:gd name="connsiteY47" fmla="*/ 323845 h 922576"/>
              <a:gd name="connsiteX48" fmla="*/ 1206895 w 1522695"/>
              <a:gd name="connsiteY48" fmla="*/ 300683 h 922576"/>
              <a:gd name="connsiteX49" fmla="*/ 1151002 w 1522695"/>
              <a:gd name="connsiteY49" fmla="*/ 324677 h 922576"/>
              <a:gd name="connsiteX50" fmla="*/ 1137549 w 1522695"/>
              <a:gd name="connsiteY50" fmla="*/ 353525 h 922576"/>
              <a:gd name="connsiteX51" fmla="*/ 980689 w 1522695"/>
              <a:gd name="connsiteY51" fmla="*/ 605528 h 922576"/>
              <a:gd name="connsiteX52" fmla="*/ 1041574 w 1522695"/>
              <a:gd name="connsiteY52" fmla="*/ 331196 h 922576"/>
              <a:gd name="connsiteX53" fmla="*/ 1029369 w 1522695"/>
              <a:gd name="connsiteY53" fmla="*/ 319962 h 922576"/>
              <a:gd name="connsiteX54" fmla="*/ 988871 w 1522695"/>
              <a:gd name="connsiteY54" fmla="*/ 327728 h 922576"/>
              <a:gd name="connsiteX55" fmla="*/ 954892 w 1522695"/>
              <a:gd name="connsiteY55" fmla="*/ 369752 h 922576"/>
              <a:gd name="connsiteX56" fmla="*/ 880553 w 1522695"/>
              <a:gd name="connsiteY56" fmla="*/ 711766 h 922576"/>
              <a:gd name="connsiteX57" fmla="*/ 902328 w 1522695"/>
              <a:gd name="connsiteY57" fmla="*/ 741862 h 922576"/>
              <a:gd name="connsiteX58" fmla="*/ 960024 w 1522695"/>
              <a:gd name="connsiteY58" fmla="*/ 718423 h 922576"/>
              <a:gd name="connsiteX59" fmla="*/ 1144483 w 1522695"/>
              <a:gd name="connsiteY59" fmla="*/ 419542 h 922576"/>
              <a:gd name="connsiteX60" fmla="*/ 1128950 w 1522695"/>
              <a:gd name="connsiteY60" fmla="*/ 709546 h 922576"/>
              <a:gd name="connsiteX61" fmla="*/ 1162375 w 1522695"/>
              <a:gd name="connsiteY61" fmla="*/ 786798 h 922576"/>
              <a:gd name="connsiteX62" fmla="*/ 1235049 w 1522695"/>
              <a:gd name="connsiteY62" fmla="*/ 740891 h 922576"/>
              <a:gd name="connsiteX63" fmla="*/ 1512016 w 1522695"/>
              <a:gd name="connsiteY63" fmla="*/ 203322 h 922576"/>
              <a:gd name="connsiteX64" fmla="*/ 1522696 w 1522695"/>
              <a:gd name="connsiteY64" fmla="*/ 183766 h 922576"/>
              <a:gd name="connsiteX65" fmla="*/ 1479840 w 1522695"/>
              <a:gd name="connsiteY65" fmla="*/ 159357 h 922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522695" h="922576">
                <a:moveTo>
                  <a:pt x="618149" y="39943"/>
                </a:moveTo>
                <a:cubicBezTo>
                  <a:pt x="568774" y="240214"/>
                  <a:pt x="450887" y="614404"/>
                  <a:pt x="421345" y="876531"/>
                </a:cubicBezTo>
                <a:cubicBezTo>
                  <a:pt x="418849" y="898167"/>
                  <a:pt x="420374" y="906627"/>
                  <a:pt x="388753" y="915365"/>
                </a:cubicBezTo>
                <a:cubicBezTo>
                  <a:pt x="373497" y="919526"/>
                  <a:pt x="359350" y="922577"/>
                  <a:pt x="349364" y="922577"/>
                </a:cubicBezTo>
                <a:cubicBezTo>
                  <a:pt x="333831" y="922577"/>
                  <a:pt x="328006" y="913978"/>
                  <a:pt x="328006" y="897196"/>
                </a:cubicBezTo>
                <a:cubicBezTo>
                  <a:pt x="328006" y="851567"/>
                  <a:pt x="390972" y="623280"/>
                  <a:pt x="431608" y="465033"/>
                </a:cubicBezTo>
                <a:cubicBezTo>
                  <a:pt x="377380" y="475296"/>
                  <a:pt x="300961" y="489998"/>
                  <a:pt x="224958" y="504838"/>
                </a:cubicBezTo>
                <a:cubicBezTo>
                  <a:pt x="206512" y="579870"/>
                  <a:pt x="193336" y="642697"/>
                  <a:pt x="185292" y="702473"/>
                </a:cubicBezTo>
                <a:cubicBezTo>
                  <a:pt x="183350" y="716897"/>
                  <a:pt x="185292" y="730489"/>
                  <a:pt x="159634" y="738117"/>
                </a:cubicBezTo>
                <a:cubicBezTo>
                  <a:pt x="116362" y="751015"/>
                  <a:pt x="100968" y="743803"/>
                  <a:pt x="102771" y="719671"/>
                </a:cubicBezTo>
                <a:cubicBezTo>
                  <a:pt x="105683" y="679589"/>
                  <a:pt x="118443" y="648661"/>
                  <a:pt x="150203" y="519816"/>
                </a:cubicBezTo>
                <a:cubicBezTo>
                  <a:pt x="110676" y="527722"/>
                  <a:pt x="79748" y="533547"/>
                  <a:pt x="62411" y="533547"/>
                </a:cubicBezTo>
                <a:cubicBezTo>
                  <a:pt x="38972" y="533547"/>
                  <a:pt x="0" y="517459"/>
                  <a:pt x="0" y="507750"/>
                </a:cubicBezTo>
                <a:cubicBezTo>
                  <a:pt x="0" y="496239"/>
                  <a:pt x="27184" y="496377"/>
                  <a:pt x="163795" y="465588"/>
                </a:cubicBezTo>
                <a:cubicBezTo>
                  <a:pt x="190146" y="360876"/>
                  <a:pt x="227038" y="219133"/>
                  <a:pt x="234805" y="162547"/>
                </a:cubicBezTo>
                <a:cubicBezTo>
                  <a:pt x="236192" y="152145"/>
                  <a:pt x="239798" y="140633"/>
                  <a:pt x="258244" y="135502"/>
                </a:cubicBezTo>
                <a:cubicBezTo>
                  <a:pt x="269339" y="132451"/>
                  <a:pt x="290004" y="126625"/>
                  <a:pt x="300961" y="126625"/>
                </a:cubicBezTo>
                <a:cubicBezTo>
                  <a:pt x="313304" y="126625"/>
                  <a:pt x="316772" y="137721"/>
                  <a:pt x="316772" y="149232"/>
                </a:cubicBezTo>
                <a:cubicBezTo>
                  <a:pt x="316772" y="170036"/>
                  <a:pt x="273916" y="298048"/>
                  <a:pt x="239104" y="449084"/>
                </a:cubicBezTo>
                <a:cubicBezTo>
                  <a:pt x="309837" y="433689"/>
                  <a:pt x="385424" y="417739"/>
                  <a:pt x="447697" y="404564"/>
                </a:cubicBezTo>
                <a:cubicBezTo>
                  <a:pt x="485421" y="261434"/>
                  <a:pt x="522313" y="121910"/>
                  <a:pt x="542839" y="34950"/>
                </a:cubicBezTo>
                <a:cubicBezTo>
                  <a:pt x="547277" y="16227"/>
                  <a:pt x="546445" y="10679"/>
                  <a:pt x="557402" y="6935"/>
                </a:cubicBezTo>
                <a:cubicBezTo>
                  <a:pt x="562533" y="5132"/>
                  <a:pt x="578205" y="0"/>
                  <a:pt x="592907" y="0"/>
                </a:cubicBezTo>
                <a:cubicBezTo>
                  <a:pt x="607608" y="0"/>
                  <a:pt x="620506" y="5548"/>
                  <a:pt x="620506" y="25381"/>
                </a:cubicBezTo>
                <a:cubicBezTo>
                  <a:pt x="620506" y="29680"/>
                  <a:pt x="619813" y="34673"/>
                  <a:pt x="618426" y="40359"/>
                </a:cubicBezTo>
                <a:close/>
                <a:moveTo>
                  <a:pt x="845048" y="445755"/>
                </a:moveTo>
                <a:cubicBezTo>
                  <a:pt x="796922" y="454076"/>
                  <a:pt x="739920" y="465865"/>
                  <a:pt x="684582" y="476544"/>
                </a:cubicBezTo>
                <a:cubicBezTo>
                  <a:pt x="700670" y="412608"/>
                  <a:pt x="716620" y="352970"/>
                  <a:pt x="729241" y="311918"/>
                </a:cubicBezTo>
                <a:cubicBezTo>
                  <a:pt x="838946" y="287092"/>
                  <a:pt x="1056276" y="236053"/>
                  <a:pt x="1087204" y="231060"/>
                </a:cubicBezTo>
                <a:cubicBezTo>
                  <a:pt x="1104679" y="228148"/>
                  <a:pt x="1110643" y="223155"/>
                  <a:pt x="1110643" y="218994"/>
                </a:cubicBezTo>
                <a:cubicBezTo>
                  <a:pt x="1110643" y="211089"/>
                  <a:pt x="1084985" y="185708"/>
                  <a:pt x="1053363" y="185708"/>
                </a:cubicBezTo>
                <a:cubicBezTo>
                  <a:pt x="1046428" y="185708"/>
                  <a:pt x="1038662" y="186402"/>
                  <a:pt x="1029785" y="187927"/>
                </a:cubicBezTo>
                <a:cubicBezTo>
                  <a:pt x="966542" y="199023"/>
                  <a:pt x="709269" y="252974"/>
                  <a:pt x="636872" y="267536"/>
                </a:cubicBezTo>
                <a:cubicBezTo>
                  <a:pt x="618842" y="271142"/>
                  <a:pt x="610798" y="277661"/>
                  <a:pt x="610798" y="284595"/>
                </a:cubicBezTo>
                <a:cubicBezTo>
                  <a:pt x="610798" y="295136"/>
                  <a:pt x="636317" y="316217"/>
                  <a:pt x="652683" y="321210"/>
                </a:cubicBezTo>
                <a:cubicBezTo>
                  <a:pt x="616623" y="461427"/>
                  <a:pt x="524948" y="770571"/>
                  <a:pt x="524948" y="802192"/>
                </a:cubicBezTo>
                <a:cubicBezTo>
                  <a:pt x="524948" y="809959"/>
                  <a:pt x="527583" y="815646"/>
                  <a:pt x="537569" y="815646"/>
                </a:cubicBezTo>
                <a:cubicBezTo>
                  <a:pt x="551299" y="815646"/>
                  <a:pt x="579176" y="809682"/>
                  <a:pt x="595542" y="802886"/>
                </a:cubicBezTo>
                <a:cubicBezTo>
                  <a:pt x="611908" y="795951"/>
                  <a:pt x="611630" y="787907"/>
                  <a:pt x="616762" y="763914"/>
                </a:cubicBezTo>
                <a:cubicBezTo>
                  <a:pt x="627996" y="712043"/>
                  <a:pt x="648106" y="624945"/>
                  <a:pt x="669603" y="537430"/>
                </a:cubicBezTo>
                <a:cubicBezTo>
                  <a:pt x="735620" y="523422"/>
                  <a:pt x="777505" y="516488"/>
                  <a:pt x="808988" y="509276"/>
                </a:cubicBezTo>
                <a:cubicBezTo>
                  <a:pt x="843661" y="501370"/>
                  <a:pt x="850180" y="491107"/>
                  <a:pt x="859611" y="477238"/>
                </a:cubicBezTo>
                <a:cubicBezTo>
                  <a:pt x="865852" y="468223"/>
                  <a:pt x="872232" y="456850"/>
                  <a:pt x="872232" y="451996"/>
                </a:cubicBezTo>
                <a:cubicBezTo>
                  <a:pt x="872232" y="444368"/>
                  <a:pt x="864742" y="442288"/>
                  <a:pt x="845187" y="445755"/>
                </a:cubicBezTo>
                <a:close/>
                <a:moveTo>
                  <a:pt x="1479701" y="159218"/>
                </a:moveTo>
                <a:cubicBezTo>
                  <a:pt x="1459452" y="159218"/>
                  <a:pt x="1437955" y="171978"/>
                  <a:pt x="1409801" y="217052"/>
                </a:cubicBezTo>
                <a:cubicBezTo>
                  <a:pt x="1369857" y="281128"/>
                  <a:pt x="1274854" y="509553"/>
                  <a:pt x="1212442" y="666691"/>
                </a:cubicBezTo>
                <a:cubicBezTo>
                  <a:pt x="1210639" y="502202"/>
                  <a:pt x="1231721" y="360598"/>
                  <a:pt x="1231721" y="323845"/>
                </a:cubicBezTo>
                <a:cubicBezTo>
                  <a:pt x="1231721" y="305399"/>
                  <a:pt x="1220348" y="300683"/>
                  <a:pt x="1206895" y="300683"/>
                </a:cubicBezTo>
                <a:cubicBezTo>
                  <a:pt x="1188310" y="300683"/>
                  <a:pt x="1160988" y="301516"/>
                  <a:pt x="1151002" y="324677"/>
                </a:cubicBezTo>
                <a:cubicBezTo>
                  <a:pt x="1144483" y="339795"/>
                  <a:pt x="1143374" y="343262"/>
                  <a:pt x="1137549" y="353525"/>
                </a:cubicBezTo>
                <a:cubicBezTo>
                  <a:pt x="1125205" y="375577"/>
                  <a:pt x="1053502" y="501786"/>
                  <a:pt x="980689" y="605528"/>
                </a:cubicBezTo>
                <a:cubicBezTo>
                  <a:pt x="1012588" y="432995"/>
                  <a:pt x="1041574" y="349087"/>
                  <a:pt x="1041574" y="331196"/>
                </a:cubicBezTo>
                <a:cubicBezTo>
                  <a:pt x="1041574" y="322874"/>
                  <a:pt x="1036165" y="319962"/>
                  <a:pt x="1029369" y="319962"/>
                </a:cubicBezTo>
                <a:cubicBezTo>
                  <a:pt x="1021325" y="319962"/>
                  <a:pt x="1000799" y="324816"/>
                  <a:pt x="988871" y="327728"/>
                </a:cubicBezTo>
                <a:cubicBezTo>
                  <a:pt x="974864" y="331196"/>
                  <a:pt x="963768" y="335772"/>
                  <a:pt x="954892" y="369752"/>
                </a:cubicBezTo>
                <a:cubicBezTo>
                  <a:pt x="925905" y="479734"/>
                  <a:pt x="880553" y="665720"/>
                  <a:pt x="880553" y="711766"/>
                </a:cubicBezTo>
                <a:cubicBezTo>
                  <a:pt x="880553" y="731876"/>
                  <a:pt x="884575" y="741862"/>
                  <a:pt x="902328" y="741862"/>
                </a:cubicBezTo>
                <a:cubicBezTo>
                  <a:pt x="921051" y="741862"/>
                  <a:pt x="947541" y="736591"/>
                  <a:pt x="960024" y="718423"/>
                </a:cubicBezTo>
                <a:cubicBezTo>
                  <a:pt x="1022851" y="626609"/>
                  <a:pt x="1086372" y="516349"/>
                  <a:pt x="1144483" y="419542"/>
                </a:cubicBezTo>
                <a:cubicBezTo>
                  <a:pt x="1135191" y="510801"/>
                  <a:pt x="1128950" y="628967"/>
                  <a:pt x="1128950" y="709546"/>
                </a:cubicBezTo>
                <a:cubicBezTo>
                  <a:pt x="1128950" y="765023"/>
                  <a:pt x="1130614" y="786798"/>
                  <a:pt x="1162375" y="786798"/>
                </a:cubicBezTo>
                <a:cubicBezTo>
                  <a:pt x="1191223" y="786798"/>
                  <a:pt x="1217019" y="781666"/>
                  <a:pt x="1235049" y="740891"/>
                </a:cubicBezTo>
                <a:cubicBezTo>
                  <a:pt x="1297599" y="599148"/>
                  <a:pt x="1429911" y="303735"/>
                  <a:pt x="1512016" y="203322"/>
                </a:cubicBezTo>
                <a:cubicBezTo>
                  <a:pt x="1517425" y="196803"/>
                  <a:pt x="1522696" y="191256"/>
                  <a:pt x="1522696" y="183766"/>
                </a:cubicBezTo>
                <a:cubicBezTo>
                  <a:pt x="1522696" y="173365"/>
                  <a:pt x="1498563" y="159357"/>
                  <a:pt x="1479840" y="159357"/>
                </a:cubicBezTo>
                <a:close/>
              </a:path>
            </a:pathLst>
          </a:custGeom>
          <a:solidFill>
            <a:schemeClr val="bg1"/>
          </a:solidFill>
          <a:ln w="13855" cap="flat">
            <a:noFill/>
            <a:prstDash val="solid"/>
            <a:miter/>
          </a:ln>
        </p:spPr>
        <p:txBody>
          <a:bodyPr rtlCol="0" anchor="ctr"/>
          <a:lstStyle/>
          <a:p>
            <a:endParaRPr lang="en-GB"/>
          </a:p>
        </p:txBody>
      </p:sp>
    </p:spTree>
    <p:extLst>
      <p:ext uri="{BB962C8B-B14F-4D97-AF65-F5344CB8AC3E}">
        <p14:creationId xmlns:p14="http://schemas.microsoft.com/office/powerpoint/2010/main" val="444526995"/>
      </p:ext>
    </p:extLst>
  </p:cSld>
  <p:clrMapOvr>
    <a:masterClrMapping/>
  </p:clrMapOvr>
  <p:transition spd="med">
    <p:fade/>
  </p:transition>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Slide with Icons - COMMODITIE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5F66194C-CBAB-28B7-2C12-C5118E55305A}"/>
              </a:ext>
            </a:extLst>
          </p:cNvPr>
          <p:cNvSpPr>
            <a:spLocks noGrp="1"/>
          </p:cNvSpPr>
          <p:nvPr>
            <p:ph type="pic" sz="quarter" idx="13" hasCustomPrompt="1"/>
          </p:nvPr>
        </p:nvSpPr>
        <p:spPr>
          <a:xfrm>
            <a:off x="4067176" y="2"/>
            <a:ext cx="8124824" cy="6857999"/>
          </a:xfrm>
          <a:custGeom>
            <a:avLst/>
            <a:gdLst>
              <a:gd name="connsiteX0" fmla="*/ 3500648 w 8124824"/>
              <a:gd name="connsiteY0" fmla="*/ 1154291 h 6857999"/>
              <a:gd name="connsiteX1" fmla="*/ 3500648 w 8124824"/>
              <a:gd name="connsiteY1" fmla="*/ 1224425 h 6857999"/>
              <a:gd name="connsiteX2" fmla="*/ 3519525 w 8124824"/>
              <a:gd name="connsiteY2" fmla="*/ 1224425 h 6857999"/>
              <a:gd name="connsiteX3" fmla="*/ 3593568 w 8124824"/>
              <a:gd name="connsiteY3" fmla="*/ 1297478 h 6857999"/>
              <a:gd name="connsiteX4" fmla="*/ 3519525 w 8124824"/>
              <a:gd name="connsiteY4" fmla="*/ 1370533 h 6857999"/>
              <a:gd name="connsiteX5" fmla="*/ 3445479 w 8124824"/>
              <a:gd name="connsiteY5" fmla="*/ 1297478 h 6857999"/>
              <a:gd name="connsiteX6" fmla="*/ 3407727 w 8124824"/>
              <a:gd name="connsiteY6" fmla="*/ 1297478 h 6857999"/>
              <a:gd name="connsiteX7" fmla="*/ 3519525 w 8124824"/>
              <a:gd name="connsiteY7" fmla="*/ 1407816 h 6857999"/>
              <a:gd name="connsiteX8" fmla="*/ 3519525 w 8124824"/>
              <a:gd name="connsiteY8" fmla="*/ 1407868 h 6857999"/>
              <a:gd name="connsiteX9" fmla="*/ 3631321 w 8124824"/>
              <a:gd name="connsiteY9" fmla="*/ 1297531 h 6857999"/>
              <a:gd name="connsiteX10" fmla="*/ 3538401 w 8124824"/>
              <a:gd name="connsiteY10" fmla="*/ 1188759 h 6857999"/>
              <a:gd name="connsiteX11" fmla="*/ 3538401 w 8124824"/>
              <a:gd name="connsiteY11" fmla="*/ 1154291 h 6857999"/>
              <a:gd name="connsiteX12" fmla="*/ 1479209 w 8124824"/>
              <a:gd name="connsiteY12" fmla="*/ 1074105 h 6857999"/>
              <a:gd name="connsiteX13" fmla="*/ 1408607 w 8124824"/>
              <a:gd name="connsiteY13" fmla="*/ 1110605 h 6857999"/>
              <a:gd name="connsiteX14" fmla="*/ 1408554 w 8124824"/>
              <a:gd name="connsiteY14" fmla="*/ 1110658 h 6857999"/>
              <a:gd name="connsiteX15" fmla="*/ 1408658 w 8124824"/>
              <a:gd name="connsiteY15" fmla="*/ 1112535 h 6857999"/>
              <a:gd name="connsiteX16" fmla="*/ 1408554 w 8124824"/>
              <a:gd name="connsiteY16" fmla="*/ 1112587 h 6857999"/>
              <a:gd name="connsiteX17" fmla="*/ 1418827 w 8124824"/>
              <a:gd name="connsiteY17" fmla="*/ 1286331 h 6857999"/>
              <a:gd name="connsiteX18" fmla="*/ 1423676 w 8124824"/>
              <a:gd name="connsiteY18" fmla="*/ 1283620 h 6857999"/>
              <a:gd name="connsiteX19" fmla="*/ 1454389 w 8124824"/>
              <a:gd name="connsiteY19" fmla="*/ 1231945 h 6857999"/>
              <a:gd name="connsiteX20" fmla="*/ 1479209 w 8124824"/>
              <a:gd name="connsiteY20" fmla="*/ 1076087 h 6857999"/>
              <a:gd name="connsiteX21" fmla="*/ 1478845 w 8124824"/>
              <a:gd name="connsiteY21" fmla="*/ 1076244 h 6857999"/>
              <a:gd name="connsiteX22" fmla="*/ 1479209 w 8124824"/>
              <a:gd name="connsiteY22" fmla="*/ 1074105 h 6857999"/>
              <a:gd name="connsiteX23" fmla="*/ 6746854 w 8124824"/>
              <a:gd name="connsiteY23" fmla="*/ 1051836 h 6857999"/>
              <a:gd name="connsiteX24" fmla="*/ 6477373 w 8124824"/>
              <a:gd name="connsiteY24" fmla="*/ 1080255 h 6857999"/>
              <a:gd name="connsiteX25" fmla="*/ 6472315 w 8124824"/>
              <a:gd name="connsiteY25" fmla="*/ 1080777 h 6857999"/>
              <a:gd name="connsiteX26" fmla="*/ 6466996 w 8124824"/>
              <a:gd name="connsiteY26" fmla="*/ 1091309 h 6857999"/>
              <a:gd name="connsiteX27" fmla="*/ 6567060 w 8124824"/>
              <a:gd name="connsiteY27" fmla="*/ 1296184 h 6857999"/>
              <a:gd name="connsiteX28" fmla="*/ 6932017 w 8124824"/>
              <a:gd name="connsiteY28" fmla="*/ 1296184 h 6857999"/>
              <a:gd name="connsiteX29" fmla="*/ 7031978 w 8124824"/>
              <a:gd name="connsiteY29" fmla="*/ 1091309 h 6857999"/>
              <a:gd name="connsiteX30" fmla="*/ 7026607 w 8124824"/>
              <a:gd name="connsiteY30" fmla="*/ 1080777 h 6857999"/>
              <a:gd name="connsiteX31" fmla="*/ 7024261 w 8124824"/>
              <a:gd name="connsiteY31" fmla="*/ 1080568 h 6857999"/>
              <a:gd name="connsiteX32" fmla="*/ 6748053 w 8124824"/>
              <a:gd name="connsiteY32" fmla="*/ 1051992 h 6857999"/>
              <a:gd name="connsiteX33" fmla="*/ 5673793 w 8124824"/>
              <a:gd name="connsiteY33" fmla="*/ 1044602 h 6857999"/>
              <a:gd name="connsiteX34" fmla="*/ 5640838 w 8124824"/>
              <a:gd name="connsiteY34" fmla="*/ 1059984 h 6857999"/>
              <a:gd name="connsiteX35" fmla="*/ 5633017 w 8124824"/>
              <a:gd name="connsiteY35" fmla="*/ 1073698 h 6857999"/>
              <a:gd name="connsiteX36" fmla="*/ 5630670 w 8124824"/>
              <a:gd name="connsiteY36" fmla="*/ 1087412 h 6857999"/>
              <a:gd name="connsiteX37" fmla="*/ 5630670 w 8124824"/>
              <a:gd name="connsiteY37" fmla="*/ 1087620 h 6857999"/>
              <a:gd name="connsiteX38" fmla="*/ 5647043 w 8124824"/>
              <a:gd name="connsiteY38" fmla="*/ 1121410 h 6857999"/>
              <a:gd name="connsiteX39" fmla="*/ 5653040 w 8124824"/>
              <a:gd name="connsiteY39" fmla="*/ 1126154 h 6857999"/>
              <a:gd name="connsiteX40" fmla="*/ 5646626 w 8124824"/>
              <a:gd name="connsiteY40" fmla="*/ 1181323 h 6857999"/>
              <a:gd name="connsiteX41" fmla="*/ 5700804 w 8124824"/>
              <a:gd name="connsiteY41" fmla="*/ 1181323 h 6857999"/>
              <a:gd name="connsiteX42" fmla="*/ 5694286 w 8124824"/>
              <a:gd name="connsiteY42" fmla="*/ 1126154 h 6857999"/>
              <a:gd name="connsiteX43" fmla="*/ 5700386 w 8124824"/>
              <a:gd name="connsiteY43" fmla="*/ 1121410 h 6857999"/>
              <a:gd name="connsiteX44" fmla="*/ 5716760 w 8124824"/>
              <a:gd name="connsiteY44" fmla="*/ 1087620 h 6857999"/>
              <a:gd name="connsiteX45" fmla="*/ 5716760 w 8124824"/>
              <a:gd name="connsiteY45" fmla="*/ 1087412 h 6857999"/>
              <a:gd name="connsiteX46" fmla="*/ 5716864 w 8124824"/>
              <a:gd name="connsiteY46" fmla="*/ 1087412 h 6857999"/>
              <a:gd name="connsiteX47" fmla="*/ 5714518 w 8124824"/>
              <a:gd name="connsiteY47" fmla="*/ 1073698 h 6857999"/>
              <a:gd name="connsiteX48" fmla="*/ 5706695 w 8124824"/>
              <a:gd name="connsiteY48" fmla="*/ 1059984 h 6857999"/>
              <a:gd name="connsiteX49" fmla="*/ 5673793 w 8124824"/>
              <a:gd name="connsiteY49" fmla="*/ 1044602 h 6857999"/>
              <a:gd name="connsiteX50" fmla="*/ 2527354 w 8124824"/>
              <a:gd name="connsiteY50" fmla="*/ 1033943 h 6857999"/>
              <a:gd name="connsiteX51" fmla="*/ 2684568 w 8124824"/>
              <a:gd name="connsiteY51" fmla="*/ 1033943 h 6857999"/>
              <a:gd name="connsiteX52" fmla="*/ 2684568 w 8124824"/>
              <a:gd name="connsiteY52" fmla="*/ 1227450 h 6857999"/>
              <a:gd name="connsiteX53" fmla="*/ 2463270 w 8124824"/>
              <a:gd name="connsiteY53" fmla="*/ 1227450 h 6857999"/>
              <a:gd name="connsiteX54" fmla="*/ 2717993 w 8124824"/>
              <a:gd name="connsiteY54" fmla="*/ 1033890 h 6857999"/>
              <a:gd name="connsiteX55" fmla="*/ 2782077 w 8124824"/>
              <a:gd name="connsiteY55" fmla="*/ 1227397 h 6857999"/>
              <a:gd name="connsiteX56" fmla="*/ 2717993 w 8124824"/>
              <a:gd name="connsiteY56" fmla="*/ 1227397 h 6857999"/>
              <a:gd name="connsiteX57" fmla="*/ 2359137 w 8124824"/>
              <a:gd name="connsiteY57" fmla="*/ 1032743 h 6857999"/>
              <a:gd name="connsiteX58" fmla="*/ 2423223 w 8124824"/>
              <a:gd name="connsiteY58" fmla="*/ 1226145 h 6857999"/>
              <a:gd name="connsiteX59" fmla="*/ 2359137 w 8124824"/>
              <a:gd name="connsiteY59" fmla="*/ 1226145 h 6857999"/>
              <a:gd name="connsiteX60" fmla="*/ 2168499 w 8124824"/>
              <a:gd name="connsiteY60" fmla="*/ 1032743 h 6857999"/>
              <a:gd name="connsiteX61" fmla="*/ 2325713 w 8124824"/>
              <a:gd name="connsiteY61" fmla="*/ 1032743 h 6857999"/>
              <a:gd name="connsiteX62" fmla="*/ 2325713 w 8124824"/>
              <a:gd name="connsiteY62" fmla="*/ 1226145 h 6857999"/>
              <a:gd name="connsiteX63" fmla="*/ 2104414 w 8124824"/>
              <a:gd name="connsiteY63" fmla="*/ 1226145 h 6857999"/>
              <a:gd name="connsiteX64" fmla="*/ 5673793 w 8124824"/>
              <a:gd name="connsiteY64" fmla="*/ 1017173 h 6857999"/>
              <a:gd name="connsiteX65" fmla="*/ 5738607 w 8124824"/>
              <a:gd name="connsiteY65" fmla="*/ 1059984 h 6857999"/>
              <a:gd name="connsiteX66" fmla="*/ 5742936 w 8124824"/>
              <a:gd name="connsiteY66" fmla="*/ 1073698 h 6857999"/>
              <a:gd name="connsiteX67" fmla="*/ 5744291 w 8124824"/>
              <a:gd name="connsiteY67" fmla="*/ 1087412 h 6857999"/>
              <a:gd name="connsiteX68" fmla="*/ 5744291 w 8124824"/>
              <a:gd name="connsiteY68" fmla="*/ 1087620 h 6857999"/>
              <a:gd name="connsiteX69" fmla="*/ 5723382 w 8124824"/>
              <a:gd name="connsiteY69" fmla="*/ 1137678 h 6857999"/>
              <a:gd name="connsiteX70" fmla="*/ 5731726 w 8124824"/>
              <a:gd name="connsiteY70" fmla="*/ 1208803 h 6857999"/>
              <a:gd name="connsiteX71" fmla="*/ 5615860 w 8124824"/>
              <a:gd name="connsiteY71" fmla="*/ 1208803 h 6857999"/>
              <a:gd name="connsiteX72" fmla="*/ 5624152 w 8124824"/>
              <a:gd name="connsiteY72" fmla="*/ 1137678 h 6857999"/>
              <a:gd name="connsiteX73" fmla="*/ 5603242 w 8124824"/>
              <a:gd name="connsiteY73" fmla="*/ 1087620 h 6857999"/>
              <a:gd name="connsiteX74" fmla="*/ 5603242 w 8124824"/>
              <a:gd name="connsiteY74" fmla="*/ 1087412 h 6857999"/>
              <a:gd name="connsiteX75" fmla="*/ 5604650 w 8124824"/>
              <a:gd name="connsiteY75" fmla="*/ 1073698 h 6857999"/>
              <a:gd name="connsiteX76" fmla="*/ 5608979 w 8124824"/>
              <a:gd name="connsiteY76" fmla="*/ 1059984 h 6857999"/>
              <a:gd name="connsiteX77" fmla="*/ 5673793 w 8124824"/>
              <a:gd name="connsiteY77" fmla="*/ 1017173 h 6857999"/>
              <a:gd name="connsiteX78" fmla="*/ 6762601 w 8124824"/>
              <a:gd name="connsiteY78" fmla="*/ 1000370 h 6857999"/>
              <a:gd name="connsiteX79" fmla="*/ 6762601 w 8124824"/>
              <a:gd name="connsiteY79" fmla="*/ 1024356 h 6857999"/>
              <a:gd name="connsiteX80" fmla="*/ 6766511 w 8124824"/>
              <a:gd name="connsiteY80" fmla="*/ 1024774 h 6857999"/>
              <a:gd name="connsiteX81" fmla="*/ 6862874 w 8124824"/>
              <a:gd name="connsiteY81" fmla="*/ 1034784 h 6857999"/>
              <a:gd name="connsiteX82" fmla="*/ 6862874 w 8124824"/>
              <a:gd name="connsiteY82" fmla="*/ 1000370 h 6857999"/>
              <a:gd name="connsiteX83" fmla="*/ 6891866 w 8124824"/>
              <a:gd name="connsiteY83" fmla="*/ 1000317 h 6857999"/>
              <a:gd name="connsiteX84" fmla="*/ 6891866 w 8124824"/>
              <a:gd name="connsiteY84" fmla="*/ 1037704 h 6857999"/>
              <a:gd name="connsiteX85" fmla="*/ 6895048 w 8124824"/>
              <a:gd name="connsiteY85" fmla="*/ 1038069 h 6857999"/>
              <a:gd name="connsiteX86" fmla="*/ 6995321 w 8124824"/>
              <a:gd name="connsiteY86" fmla="*/ 1048447 h 6857999"/>
              <a:gd name="connsiteX87" fmla="*/ 6995321 w 8124824"/>
              <a:gd name="connsiteY87" fmla="*/ 1000317 h 6857999"/>
              <a:gd name="connsiteX88" fmla="*/ 6634170 w 8124824"/>
              <a:gd name="connsiteY88" fmla="*/ 1000317 h 6857999"/>
              <a:gd name="connsiteX89" fmla="*/ 6634170 w 8124824"/>
              <a:gd name="connsiteY89" fmla="*/ 1034524 h 6857999"/>
              <a:gd name="connsiteX90" fmla="*/ 6638811 w 8124824"/>
              <a:gd name="connsiteY90" fmla="*/ 1034106 h 6857999"/>
              <a:gd name="connsiteX91" fmla="*/ 6733662 w 8124824"/>
              <a:gd name="connsiteY91" fmla="*/ 1024096 h 6857999"/>
              <a:gd name="connsiteX92" fmla="*/ 6733662 w 8124824"/>
              <a:gd name="connsiteY92" fmla="*/ 1000317 h 6857999"/>
              <a:gd name="connsiteX93" fmla="*/ 6634222 w 8124824"/>
              <a:gd name="connsiteY93" fmla="*/ 1000317 h 6857999"/>
              <a:gd name="connsiteX94" fmla="*/ 6506418 w 8124824"/>
              <a:gd name="connsiteY94" fmla="*/ 1000317 h 6857999"/>
              <a:gd name="connsiteX95" fmla="*/ 6506418 w 8124824"/>
              <a:gd name="connsiteY95" fmla="*/ 1048029 h 6857999"/>
              <a:gd name="connsiteX96" fmla="*/ 6605127 w 8124824"/>
              <a:gd name="connsiteY96" fmla="*/ 1037653 h 6857999"/>
              <a:gd name="connsiteX97" fmla="*/ 6605127 w 8124824"/>
              <a:gd name="connsiteY97" fmla="*/ 1000317 h 6857999"/>
              <a:gd name="connsiteX98" fmla="*/ 4629579 w 8124824"/>
              <a:gd name="connsiteY98" fmla="*/ 974096 h 6857999"/>
              <a:gd name="connsiteX99" fmla="*/ 4519033 w 8124824"/>
              <a:gd name="connsiteY99" fmla="*/ 1398184 h 6857999"/>
              <a:gd name="connsiteX100" fmla="*/ 4802384 w 8124824"/>
              <a:gd name="connsiteY100" fmla="*/ 1019096 h 6857999"/>
              <a:gd name="connsiteX101" fmla="*/ 4629631 w 8124824"/>
              <a:gd name="connsiteY101" fmla="*/ 974096 h 6857999"/>
              <a:gd name="connsiteX102" fmla="*/ 5476897 w 8124824"/>
              <a:gd name="connsiteY102" fmla="*/ 961170 h 6857999"/>
              <a:gd name="connsiteX103" fmla="*/ 5476897 w 8124824"/>
              <a:gd name="connsiteY103" fmla="*/ 1285663 h 6857999"/>
              <a:gd name="connsiteX104" fmla="*/ 5870742 w 8124824"/>
              <a:gd name="connsiteY104" fmla="*/ 1285663 h 6857999"/>
              <a:gd name="connsiteX105" fmla="*/ 5870742 w 8124824"/>
              <a:gd name="connsiteY105" fmla="*/ 961170 h 6857999"/>
              <a:gd name="connsiteX106" fmla="*/ 3519732 w 8124824"/>
              <a:gd name="connsiteY106" fmla="*/ 923709 h 6857999"/>
              <a:gd name="connsiteX107" fmla="*/ 3459611 w 8124824"/>
              <a:gd name="connsiteY107" fmla="*/ 983831 h 6857999"/>
              <a:gd name="connsiteX108" fmla="*/ 3519732 w 8124824"/>
              <a:gd name="connsiteY108" fmla="*/ 1043901 h 6857999"/>
              <a:gd name="connsiteX109" fmla="*/ 3579804 w 8124824"/>
              <a:gd name="connsiteY109" fmla="*/ 983831 h 6857999"/>
              <a:gd name="connsiteX110" fmla="*/ 3519732 w 8124824"/>
              <a:gd name="connsiteY110" fmla="*/ 923709 h 6857999"/>
              <a:gd name="connsiteX111" fmla="*/ 6891866 w 8124824"/>
              <a:gd name="connsiteY111" fmla="*/ 916365 h 6857999"/>
              <a:gd name="connsiteX112" fmla="*/ 6891866 w 8124824"/>
              <a:gd name="connsiteY112" fmla="*/ 971325 h 6857999"/>
              <a:gd name="connsiteX113" fmla="*/ 6995321 w 8124824"/>
              <a:gd name="connsiteY113" fmla="*/ 971325 h 6857999"/>
              <a:gd name="connsiteX114" fmla="*/ 6995321 w 8124824"/>
              <a:gd name="connsiteY114" fmla="*/ 916365 h 6857999"/>
              <a:gd name="connsiteX115" fmla="*/ 6762601 w 8124824"/>
              <a:gd name="connsiteY115" fmla="*/ 916365 h 6857999"/>
              <a:gd name="connsiteX116" fmla="*/ 6762601 w 8124824"/>
              <a:gd name="connsiteY116" fmla="*/ 971325 h 6857999"/>
              <a:gd name="connsiteX117" fmla="*/ 6862874 w 8124824"/>
              <a:gd name="connsiteY117" fmla="*/ 971325 h 6857999"/>
              <a:gd name="connsiteX118" fmla="*/ 6862874 w 8124824"/>
              <a:gd name="connsiteY118" fmla="*/ 916365 h 6857999"/>
              <a:gd name="connsiteX119" fmla="*/ 6634170 w 8124824"/>
              <a:gd name="connsiteY119" fmla="*/ 916365 h 6857999"/>
              <a:gd name="connsiteX120" fmla="*/ 6634170 w 8124824"/>
              <a:gd name="connsiteY120" fmla="*/ 971325 h 6857999"/>
              <a:gd name="connsiteX121" fmla="*/ 6733609 w 8124824"/>
              <a:gd name="connsiteY121" fmla="*/ 971325 h 6857999"/>
              <a:gd name="connsiteX122" fmla="*/ 6733609 w 8124824"/>
              <a:gd name="connsiteY122" fmla="*/ 916365 h 6857999"/>
              <a:gd name="connsiteX123" fmla="*/ 6506469 w 8124824"/>
              <a:gd name="connsiteY123" fmla="*/ 916365 h 6857999"/>
              <a:gd name="connsiteX124" fmla="*/ 6506469 w 8124824"/>
              <a:gd name="connsiteY124" fmla="*/ 971325 h 6857999"/>
              <a:gd name="connsiteX125" fmla="*/ 6605178 w 8124824"/>
              <a:gd name="connsiteY125" fmla="*/ 971325 h 6857999"/>
              <a:gd name="connsiteX126" fmla="*/ 6605178 w 8124824"/>
              <a:gd name="connsiteY126" fmla="*/ 916365 h 6857999"/>
              <a:gd name="connsiteX127" fmla="*/ 3519732 w 8124824"/>
              <a:gd name="connsiteY127" fmla="*/ 886166 h 6857999"/>
              <a:gd name="connsiteX128" fmla="*/ 3617398 w 8124824"/>
              <a:gd name="connsiteY128" fmla="*/ 983780 h 6857999"/>
              <a:gd name="connsiteX129" fmla="*/ 3519732 w 8124824"/>
              <a:gd name="connsiteY129" fmla="*/ 1081446 h 6857999"/>
              <a:gd name="connsiteX130" fmla="*/ 3422066 w 8124824"/>
              <a:gd name="connsiteY130" fmla="*/ 983780 h 6857999"/>
              <a:gd name="connsiteX131" fmla="*/ 3519732 w 8124824"/>
              <a:gd name="connsiteY131" fmla="*/ 886166 h 6857999"/>
              <a:gd name="connsiteX132" fmla="*/ 3324452 w 8124824"/>
              <a:gd name="connsiteY132" fmla="*/ 854671 h 6857999"/>
              <a:gd name="connsiteX133" fmla="*/ 3382905 w 8124824"/>
              <a:gd name="connsiteY133" fmla="*/ 1116643 h 6857999"/>
              <a:gd name="connsiteX134" fmla="*/ 3656090 w 8124824"/>
              <a:gd name="connsiteY134" fmla="*/ 1116643 h 6857999"/>
              <a:gd name="connsiteX135" fmla="*/ 3714595 w 8124824"/>
              <a:gd name="connsiteY135" fmla="*/ 854671 h 6857999"/>
              <a:gd name="connsiteX136" fmla="*/ 3324505 w 8124824"/>
              <a:gd name="connsiteY136" fmla="*/ 854671 h 6857999"/>
              <a:gd name="connsiteX137" fmla="*/ 1116267 w 8124824"/>
              <a:gd name="connsiteY137" fmla="*/ 850675 h 6857999"/>
              <a:gd name="connsiteX138" fmla="*/ 1090163 w 8124824"/>
              <a:gd name="connsiteY138" fmla="*/ 860785 h 6857999"/>
              <a:gd name="connsiteX139" fmla="*/ 1085782 w 8124824"/>
              <a:gd name="connsiteY139" fmla="*/ 864695 h 6857999"/>
              <a:gd name="connsiteX140" fmla="*/ 1294150 w 8124824"/>
              <a:gd name="connsiteY140" fmla="*/ 986346 h 6857999"/>
              <a:gd name="connsiteX141" fmla="*/ 1294150 w 8124824"/>
              <a:gd name="connsiteY141" fmla="*/ 986295 h 6857999"/>
              <a:gd name="connsiteX142" fmla="*/ 1396144 w 8124824"/>
              <a:gd name="connsiteY142" fmla="*/ 932117 h 6857999"/>
              <a:gd name="connsiteX143" fmla="*/ 1149764 w 8124824"/>
              <a:gd name="connsiteY143" fmla="*/ 856716 h 6857999"/>
              <a:gd name="connsiteX144" fmla="*/ 1116267 w 8124824"/>
              <a:gd name="connsiteY144" fmla="*/ 850675 h 6857999"/>
              <a:gd name="connsiteX145" fmla="*/ 1645683 w 8124824"/>
              <a:gd name="connsiteY145" fmla="*/ 847722 h 6857999"/>
              <a:gd name="connsiteX146" fmla="*/ 1627872 w 8124824"/>
              <a:gd name="connsiteY146" fmla="*/ 852806 h 6857999"/>
              <a:gd name="connsiteX147" fmla="*/ 1175522 w 8124824"/>
              <a:gd name="connsiteY147" fmla="*/ 1086568 h 6857999"/>
              <a:gd name="connsiteX148" fmla="*/ 1149243 w 8124824"/>
              <a:gd name="connsiteY148" fmla="*/ 1088184 h 6857999"/>
              <a:gd name="connsiteX149" fmla="*/ 1049335 w 8124824"/>
              <a:gd name="connsiteY149" fmla="*/ 1058514 h 6857999"/>
              <a:gd name="connsiteX150" fmla="*/ 1024878 w 8124824"/>
              <a:gd name="connsiteY150" fmla="*/ 1071185 h 6857999"/>
              <a:gd name="connsiteX151" fmla="*/ 1173488 w 8124824"/>
              <a:gd name="connsiteY151" fmla="*/ 1171876 h 6857999"/>
              <a:gd name="connsiteX152" fmla="*/ 1211867 w 8124824"/>
              <a:gd name="connsiteY152" fmla="*/ 1172710 h 6857999"/>
              <a:gd name="connsiteX153" fmla="*/ 1670683 w 8124824"/>
              <a:gd name="connsiteY153" fmla="*/ 935611 h 6857999"/>
              <a:gd name="connsiteX154" fmla="*/ 1690706 w 8124824"/>
              <a:gd name="connsiteY154" fmla="*/ 872830 h 6857999"/>
              <a:gd name="connsiteX155" fmla="*/ 1645683 w 8124824"/>
              <a:gd name="connsiteY155" fmla="*/ 847722 h 6857999"/>
              <a:gd name="connsiteX156" fmla="*/ 2536897 w 8124824"/>
              <a:gd name="connsiteY156" fmla="*/ 803727 h 6857999"/>
              <a:gd name="connsiteX157" fmla="*/ 2600981 w 8124824"/>
              <a:gd name="connsiteY157" fmla="*/ 997128 h 6857999"/>
              <a:gd name="connsiteX158" fmla="*/ 2536897 w 8124824"/>
              <a:gd name="connsiteY158" fmla="*/ 997128 h 6857999"/>
              <a:gd name="connsiteX159" fmla="*/ 2346205 w 8124824"/>
              <a:gd name="connsiteY159" fmla="*/ 803727 h 6857999"/>
              <a:gd name="connsiteX160" fmla="*/ 2503421 w 8124824"/>
              <a:gd name="connsiteY160" fmla="*/ 803727 h 6857999"/>
              <a:gd name="connsiteX161" fmla="*/ 2503472 w 8124824"/>
              <a:gd name="connsiteY161" fmla="*/ 803727 h 6857999"/>
              <a:gd name="connsiteX162" fmla="*/ 2503472 w 8124824"/>
              <a:gd name="connsiteY162" fmla="*/ 997128 h 6857999"/>
              <a:gd name="connsiteX163" fmla="*/ 2282172 w 8124824"/>
              <a:gd name="connsiteY163" fmla="*/ 997128 h 6857999"/>
              <a:gd name="connsiteX164" fmla="*/ 2325766 w 8124824"/>
              <a:gd name="connsiteY164" fmla="*/ 865465 h 6857999"/>
              <a:gd name="connsiteX165" fmla="*/ 2332335 w 8124824"/>
              <a:gd name="connsiteY165" fmla="*/ 845494 h 6857999"/>
              <a:gd name="connsiteX166" fmla="*/ 6612948 w 8124824"/>
              <a:gd name="connsiteY166" fmla="*/ 788508 h 6857999"/>
              <a:gd name="connsiteX167" fmla="*/ 6612948 w 8124824"/>
              <a:gd name="connsiteY167" fmla="*/ 831997 h 6857999"/>
              <a:gd name="connsiteX168" fmla="*/ 6670932 w 8124824"/>
              <a:gd name="connsiteY168" fmla="*/ 831997 h 6857999"/>
              <a:gd name="connsiteX169" fmla="*/ 6670932 w 8124824"/>
              <a:gd name="connsiteY169" fmla="*/ 887373 h 6857999"/>
              <a:gd name="connsiteX170" fmla="*/ 6830388 w 8124824"/>
              <a:gd name="connsiteY170" fmla="*/ 887373 h 6857999"/>
              <a:gd name="connsiteX171" fmla="*/ 6830388 w 8124824"/>
              <a:gd name="connsiteY171" fmla="*/ 831997 h 6857999"/>
              <a:gd name="connsiteX172" fmla="*/ 6888374 w 8124824"/>
              <a:gd name="connsiteY172" fmla="*/ 831997 h 6857999"/>
              <a:gd name="connsiteX173" fmla="*/ 6888374 w 8124824"/>
              <a:gd name="connsiteY173" fmla="*/ 788508 h 6857999"/>
              <a:gd name="connsiteX174" fmla="*/ 5673793 w 8124824"/>
              <a:gd name="connsiteY174" fmla="*/ 779448 h 6857999"/>
              <a:gd name="connsiteX175" fmla="*/ 5519812 w 8124824"/>
              <a:gd name="connsiteY175" fmla="*/ 933482 h 6857999"/>
              <a:gd name="connsiteX176" fmla="*/ 5519812 w 8124824"/>
              <a:gd name="connsiteY176" fmla="*/ 933742 h 6857999"/>
              <a:gd name="connsiteX177" fmla="*/ 5547239 w 8124824"/>
              <a:gd name="connsiteY177" fmla="*/ 933742 h 6857999"/>
              <a:gd name="connsiteX178" fmla="*/ 5547239 w 8124824"/>
              <a:gd name="connsiteY178" fmla="*/ 933482 h 6857999"/>
              <a:gd name="connsiteX179" fmla="*/ 5673793 w 8124824"/>
              <a:gd name="connsiteY179" fmla="*/ 806876 h 6857999"/>
              <a:gd name="connsiteX180" fmla="*/ 5800398 w 8124824"/>
              <a:gd name="connsiteY180" fmla="*/ 933482 h 6857999"/>
              <a:gd name="connsiteX181" fmla="*/ 5800398 w 8124824"/>
              <a:gd name="connsiteY181" fmla="*/ 933742 h 6857999"/>
              <a:gd name="connsiteX182" fmla="*/ 5827827 w 8124824"/>
              <a:gd name="connsiteY182" fmla="*/ 933742 h 6857999"/>
              <a:gd name="connsiteX183" fmla="*/ 5827827 w 8124824"/>
              <a:gd name="connsiteY183" fmla="*/ 933482 h 6857999"/>
              <a:gd name="connsiteX184" fmla="*/ 5673793 w 8124824"/>
              <a:gd name="connsiteY184" fmla="*/ 779448 h 6857999"/>
              <a:gd name="connsiteX185" fmla="*/ 3593568 w 8124824"/>
              <a:gd name="connsiteY185" fmla="*/ 701471 h 6857999"/>
              <a:gd name="connsiteX186" fmla="*/ 3593568 w 8124824"/>
              <a:gd name="connsiteY186" fmla="*/ 817336 h 6857999"/>
              <a:gd name="connsiteX187" fmla="*/ 3631321 w 8124824"/>
              <a:gd name="connsiteY187" fmla="*/ 817336 h 6857999"/>
              <a:gd name="connsiteX188" fmla="*/ 3631321 w 8124824"/>
              <a:gd name="connsiteY188" fmla="*/ 701471 h 6857999"/>
              <a:gd name="connsiteX189" fmla="*/ 3407727 w 8124824"/>
              <a:gd name="connsiteY189" fmla="*/ 701471 h 6857999"/>
              <a:gd name="connsiteX190" fmla="*/ 3407727 w 8124824"/>
              <a:gd name="connsiteY190" fmla="*/ 817336 h 6857999"/>
              <a:gd name="connsiteX191" fmla="*/ 3445532 w 8124824"/>
              <a:gd name="connsiteY191" fmla="*/ 817336 h 6857999"/>
              <a:gd name="connsiteX192" fmla="*/ 3445532 w 8124824"/>
              <a:gd name="connsiteY192" fmla="*/ 701471 h 6857999"/>
              <a:gd name="connsiteX193" fmla="*/ 4658414 w 8124824"/>
              <a:gd name="connsiteY193" fmla="*/ 701330 h 6857999"/>
              <a:gd name="connsiteX194" fmla="*/ 4389090 w 8124824"/>
              <a:gd name="connsiteY194" fmla="*/ 1061593 h 6857999"/>
              <a:gd name="connsiteX195" fmla="*/ 4553344 w 8124824"/>
              <a:gd name="connsiteY195" fmla="*/ 1104351 h 6857999"/>
              <a:gd name="connsiteX196" fmla="*/ 4658414 w 8124824"/>
              <a:gd name="connsiteY196" fmla="*/ 701383 h 6857999"/>
              <a:gd name="connsiteX197" fmla="*/ 2443298 w 8124824"/>
              <a:gd name="connsiteY197" fmla="*/ 591083 h 6857999"/>
              <a:gd name="connsiteX198" fmla="*/ 1989540 w 8124824"/>
              <a:gd name="connsiteY198" fmla="*/ 1044841 h 6857999"/>
              <a:gd name="connsiteX199" fmla="*/ 2443298 w 8124824"/>
              <a:gd name="connsiteY199" fmla="*/ 1498600 h 6857999"/>
              <a:gd name="connsiteX200" fmla="*/ 2897056 w 8124824"/>
              <a:gd name="connsiteY200" fmla="*/ 1044841 h 6857999"/>
              <a:gd name="connsiteX201" fmla="*/ 2443298 w 8124824"/>
              <a:gd name="connsiteY201" fmla="*/ 591083 h 6857999"/>
              <a:gd name="connsiteX202" fmla="*/ 0 w 8124824"/>
              <a:gd name="connsiteY202" fmla="*/ 0 h 6857999"/>
              <a:gd name="connsiteX203" fmla="*/ 8124824 w 8124824"/>
              <a:gd name="connsiteY203" fmla="*/ 0 h 6857999"/>
              <a:gd name="connsiteX204" fmla="*/ 8124824 w 8124824"/>
              <a:gd name="connsiteY204" fmla="*/ 6857999 h 6857999"/>
              <a:gd name="connsiteX205" fmla="*/ 0 w 8124824"/>
              <a:gd name="connsiteY20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Lst>
            <a:rect l="l" t="t" r="r" b="b"/>
            <a:pathLst>
              <a:path w="8124824" h="6857999">
                <a:moveTo>
                  <a:pt x="3500648" y="1154291"/>
                </a:moveTo>
                <a:lnTo>
                  <a:pt x="3500648" y="1224425"/>
                </a:lnTo>
                <a:lnTo>
                  <a:pt x="3519525" y="1224425"/>
                </a:lnTo>
                <a:cubicBezTo>
                  <a:pt x="3560353" y="1224425"/>
                  <a:pt x="3593568" y="1257224"/>
                  <a:pt x="3593568" y="1297478"/>
                </a:cubicBezTo>
                <a:cubicBezTo>
                  <a:pt x="3593568" y="1337734"/>
                  <a:pt x="3560353" y="1370533"/>
                  <a:pt x="3519525" y="1370533"/>
                </a:cubicBezTo>
                <a:cubicBezTo>
                  <a:pt x="3478694" y="1370533"/>
                  <a:pt x="3445479" y="1337734"/>
                  <a:pt x="3445479" y="1297478"/>
                </a:cubicBezTo>
                <a:lnTo>
                  <a:pt x="3407727" y="1297478"/>
                </a:lnTo>
                <a:cubicBezTo>
                  <a:pt x="3407727" y="1358331"/>
                  <a:pt x="3457890" y="1407816"/>
                  <a:pt x="3519525" y="1407816"/>
                </a:cubicBezTo>
                <a:lnTo>
                  <a:pt x="3519525" y="1407868"/>
                </a:lnTo>
                <a:cubicBezTo>
                  <a:pt x="3581159" y="1407868"/>
                  <a:pt x="3631321" y="1358331"/>
                  <a:pt x="3631321" y="1297531"/>
                </a:cubicBezTo>
                <a:cubicBezTo>
                  <a:pt x="3631321" y="1243040"/>
                  <a:pt x="3591066" y="1197623"/>
                  <a:pt x="3538401" y="1188759"/>
                </a:cubicBezTo>
                <a:lnTo>
                  <a:pt x="3538401" y="1154291"/>
                </a:lnTo>
                <a:close/>
                <a:moveTo>
                  <a:pt x="1479209" y="1074105"/>
                </a:moveTo>
                <a:cubicBezTo>
                  <a:pt x="1464558" y="1081666"/>
                  <a:pt x="1417524" y="1105966"/>
                  <a:pt x="1408607" y="1110605"/>
                </a:cubicBezTo>
                <a:lnTo>
                  <a:pt x="1408554" y="1110658"/>
                </a:lnTo>
                <a:cubicBezTo>
                  <a:pt x="1408554" y="1111076"/>
                  <a:pt x="1408658" y="1112013"/>
                  <a:pt x="1408658" y="1112535"/>
                </a:cubicBezTo>
                <a:cubicBezTo>
                  <a:pt x="1408658" y="1112535"/>
                  <a:pt x="1408554" y="1112535"/>
                  <a:pt x="1408554" y="1112587"/>
                </a:cubicBezTo>
                <a:cubicBezTo>
                  <a:pt x="1410066" y="1137042"/>
                  <a:pt x="1416793" y="1250665"/>
                  <a:pt x="1418827" y="1286331"/>
                </a:cubicBezTo>
                <a:cubicBezTo>
                  <a:pt x="1420391" y="1285392"/>
                  <a:pt x="1421956" y="1284507"/>
                  <a:pt x="1423676" y="1283620"/>
                </a:cubicBezTo>
                <a:cubicBezTo>
                  <a:pt x="1442291" y="1273973"/>
                  <a:pt x="1450582" y="1259947"/>
                  <a:pt x="1454389" y="1231945"/>
                </a:cubicBezTo>
                <a:cubicBezTo>
                  <a:pt x="1461846" y="1175890"/>
                  <a:pt x="1470241" y="1127032"/>
                  <a:pt x="1479209" y="1076087"/>
                </a:cubicBezTo>
                <a:cubicBezTo>
                  <a:pt x="1479105" y="1076087"/>
                  <a:pt x="1478949" y="1076244"/>
                  <a:pt x="1478845" y="1076244"/>
                </a:cubicBezTo>
                <a:cubicBezTo>
                  <a:pt x="1479002" y="1075566"/>
                  <a:pt x="1479105" y="1074835"/>
                  <a:pt x="1479209" y="1074105"/>
                </a:cubicBezTo>
                <a:close/>
                <a:moveTo>
                  <a:pt x="6746854" y="1051836"/>
                </a:moveTo>
                <a:lnTo>
                  <a:pt x="6477373" y="1080255"/>
                </a:lnTo>
                <a:lnTo>
                  <a:pt x="6472315" y="1080777"/>
                </a:lnTo>
                <a:cubicBezTo>
                  <a:pt x="6467205" y="1081402"/>
                  <a:pt x="6464494" y="1086981"/>
                  <a:pt x="6466996" y="1091309"/>
                </a:cubicBezTo>
                <a:lnTo>
                  <a:pt x="6567060" y="1296184"/>
                </a:lnTo>
                <a:lnTo>
                  <a:pt x="6932017" y="1296184"/>
                </a:lnTo>
                <a:lnTo>
                  <a:pt x="7031978" y="1091309"/>
                </a:lnTo>
                <a:cubicBezTo>
                  <a:pt x="7034533" y="1086929"/>
                  <a:pt x="7031665" y="1081349"/>
                  <a:pt x="7026607" y="1080777"/>
                </a:cubicBezTo>
                <a:lnTo>
                  <a:pt x="7024261" y="1080568"/>
                </a:lnTo>
                <a:lnTo>
                  <a:pt x="6748053" y="1051992"/>
                </a:lnTo>
                <a:close/>
                <a:moveTo>
                  <a:pt x="5673793" y="1044602"/>
                </a:moveTo>
                <a:cubicBezTo>
                  <a:pt x="5660548" y="1044602"/>
                  <a:pt x="5648764" y="1050598"/>
                  <a:pt x="5640838" y="1059984"/>
                </a:cubicBezTo>
                <a:cubicBezTo>
                  <a:pt x="5637396" y="1064051"/>
                  <a:pt x="5634738" y="1068639"/>
                  <a:pt x="5633017" y="1073698"/>
                </a:cubicBezTo>
                <a:cubicBezTo>
                  <a:pt x="5631453" y="1078026"/>
                  <a:pt x="5630670" y="1082614"/>
                  <a:pt x="5630670" y="1087412"/>
                </a:cubicBezTo>
                <a:lnTo>
                  <a:pt x="5630670" y="1087620"/>
                </a:lnTo>
                <a:cubicBezTo>
                  <a:pt x="5630670" y="1100916"/>
                  <a:pt x="5636615" y="1113171"/>
                  <a:pt x="5647043" y="1121410"/>
                </a:cubicBezTo>
                <a:lnTo>
                  <a:pt x="5653040" y="1126154"/>
                </a:lnTo>
                <a:lnTo>
                  <a:pt x="5646626" y="1181323"/>
                </a:lnTo>
                <a:lnTo>
                  <a:pt x="5700804" y="1181323"/>
                </a:lnTo>
                <a:lnTo>
                  <a:pt x="5694286" y="1126154"/>
                </a:lnTo>
                <a:lnTo>
                  <a:pt x="5700386" y="1121410"/>
                </a:lnTo>
                <a:cubicBezTo>
                  <a:pt x="5710764" y="1113171"/>
                  <a:pt x="5716760" y="1100916"/>
                  <a:pt x="5716760" y="1087620"/>
                </a:cubicBezTo>
                <a:lnTo>
                  <a:pt x="5716760" y="1087412"/>
                </a:lnTo>
                <a:lnTo>
                  <a:pt x="5716864" y="1087412"/>
                </a:lnTo>
                <a:cubicBezTo>
                  <a:pt x="5716864" y="1082614"/>
                  <a:pt x="5716030" y="1078026"/>
                  <a:pt x="5714518" y="1073698"/>
                </a:cubicBezTo>
                <a:cubicBezTo>
                  <a:pt x="5712797" y="1068639"/>
                  <a:pt x="5710137" y="1064051"/>
                  <a:pt x="5706695" y="1059984"/>
                </a:cubicBezTo>
                <a:cubicBezTo>
                  <a:pt x="5698822" y="1050598"/>
                  <a:pt x="5687038" y="1044602"/>
                  <a:pt x="5673793" y="1044602"/>
                </a:cubicBezTo>
                <a:close/>
                <a:moveTo>
                  <a:pt x="2527354" y="1033943"/>
                </a:moveTo>
                <a:lnTo>
                  <a:pt x="2684568" y="1033943"/>
                </a:lnTo>
                <a:lnTo>
                  <a:pt x="2684568" y="1227450"/>
                </a:lnTo>
                <a:lnTo>
                  <a:pt x="2463270" y="1227450"/>
                </a:lnTo>
                <a:close/>
                <a:moveTo>
                  <a:pt x="2717993" y="1033890"/>
                </a:moveTo>
                <a:lnTo>
                  <a:pt x="2782077" y="1227397"/>
                </a:lnTo>
                <a:lnTo>
                  <a:pt x="2717993" y="1227397"/>
                </a:lnTo>
                <a:close/>
                <a:moveTo>
                  <a:pt x="2359137" y="1032743"/>
                </a:moveTo>
                <a:lnTo>
                  <a:pt x="2423223" y="1226145"/>
                </a:lnTo>
                <a:lnTo>
                  <a:pt x="2359137" y="1226145"/>
                </a:lnTo>
                <a:close/>
                <a:moveTo>
                  <a:pt x="2168499" y="1032743"/>
                </a:moveTo>
                <a:lnTo>
                  <a:pt x="2325713" y="1032743"/>
                </a:lnTo>
                <a:lnTo>
                  <a:pt x="2325713" y="1226145"/>
                </a:lnTo>
                <a:lnTo>
                  <a:pt x="2104414" y="1226145"/>
                </a:lnTo>
                <a:close/>
                <a:moveTo>
                  <a:pt x="5673793" y="1017173"/>
                </a:moveTo>
                <a:cubicBezTo>
                  <a:pt x="5702889" y="1017173"/>
                  <a:pt x="5727866" y="1034799"/>
                  <a:pt x="5738607" y="1059984"/>
                </a:cubicBezTo>
                <a:cubicBezTo>
                  <a:pt x="5740537" y="1064312"/>
                  <a:pt x="5741998" y="1069004"/>
                  <a:pt x="5742936" y="1073698"/>
                </a:cubicBezTo>
                <a:cubicBezTo>
                  <a:pt x="5743822" y="1078130"/>
                  <a:pt x="5744291" y="1082771"/>
                  <a:pt x="5744291" y="1087412"/>
                </a:cubicBezTo>
                <a:lnTo>
                  <a:pt x="5744291" y="1087620"/>
                </a:lnTo>
                <a:cubicBezTo>
                  <a:pt x="5744291" y="1106705"/>
                  <a:pt x="5736730" y="1124486"/>
                  <a:pt x="5723382" y="1137678"/>
                </a:cubicBezTo>
                <a:lnTo>
                  <a:pt x="5731726" y="1208803"/>
                </a:lnTo>
                <a:lnTo>
                  <a:pt x="5615860" y="1208803"/>
                </a:lnTo>
                <a:lnTo>
                  <a:pt x="5624152" y="1137678"/>
                </a:lnTo>
                <a:cubicBezTo>
                  <a:pt x="5610803" y="1124486"/>
                  <a:pt x="5603242" y="1106653"/>
                  <a:pt x="5603242" y="1087620"/>
                </a:cubicBezTo>
                <a:lnTo>
                  <a:pt x="5603242" y="1087412"/>
                </a:lnTo>
                <a:cubicBezTo>
                  <a:pt x="5603242" y="1082771"/>
                  <a:pt x="5603764" y="1078130"/>
                  <a:pt x="5604650" y="1073698"/>
                </a:cubicBezTo>
                <a:cubicBezTo>
                  <a:pt x="5605641" y="1069004"/>
                  <a:pt x="5607049" y="1064312"/>
                  <a:pt x="5608979" y="1059984"/>
                </a:cubicBezTo>
                <a:cubicBezTo>
                  <a:pt x="5619772" y="1034799"/>
                  <a:pt x="5644696" y="1017173"/>
                  <a:pt x="5673793" y="1017173"/>
                </a:cubicBezTo>
                <a:close/>
                <a:moveTo>
                  <a:pt x="6762601" y="1000370"/>
                </a:moveTo>
                <a:lnTo>
                  <a:pt x="6762601" y="1024356"/>
                </a:lnTo>
                <a:lnTo>
                  <a:pt x="6766511" y="1024774"/>
                </a:lnTo>
                <a:lnTo>
                  <a:pt x="6862874" y="1034784"/>
                </a:lnTo>
                <a:lnTo>
                  <a:pt x="6862874" y="1000370"/>
                </a:lnTo>
                <a:close/>
                <a:moveTo>
                  <a:pt x="6891866" y="1000317"/>
                </a:moveTo>
                <a:lnTo>
                  <a:pt x="6891866" y="1037704"/>
                </a:lnTo>
                <a:lnTo>
                  <a:pt x="6895048" y="1038069"/>
                </a:lnTo>
                <a:lnTo>
                  <a:pt x="6995321" y="1048447"/>
                </a:lnTo>
                <a:lnTo>
                  <a:pt x="6995321" y="1000317"/>
                </a:lnTo>
                <a:close/>
                <a:moveTo>
                  <a:pt x="6634170" y="1000317"/>
                </a:moveTo>
                <a:lnTo>
                  <a:pt x="6634170" y="1034524"/>
                </a:lnTo>
                <a:lnTo>
                  <a:pt x="6638811" y="1034106"/>
                </a:lnTo>
                <a:lnTo>
                  <a:pt x="6733662" y="1024096"/>
                </a:lnTo>
                <a:lnTo>
                  <a:pt x="6733662" y="1000317"/>
                </a:lnTo>
                <a:lnTo>
                  <a:pt x="6634222" y="1000317"/>
                </a:lnTo>
                <a:close/>
                <a:moveTo>
                  <a:pt x="6506418" y="1000317"/>
                </a:moveTo>
                <a:lnTo>
                  <a:pt x="6506418" y="1048029"/>
                </a:lnTo>
                <a:lnTo>
                  <a:pt x="6605127" y="1037653"/>
                </a:lnTo>
                <a:lnTo>
                  <a:pt x="6605127" y="1000317"/>
                </a:lnTo>
                <a:close/>
                <a:moveTo>
                  <a:pt x="4629579" y="974096"/>
                </a:moveTo>
                <a:lnTo>
                  <a:pt x="4519033" y="1398184"/>
                </a:lnTo>
                <a:lnTo>
                  <a:pt x="4802384" y="1019096"/>
                </a:lnTo>
                <a:lnTo>
                  <a:pt x="4629631" y="974096"/>
                </a:lnTo>
                <a:close/>
                <a:moveTo>
                  <a:pt x="5476897" y="961170"/>
                </a:moveTo>
                <a:lnTo>
                  <a:pt x="5476897" y="1285663"/>
                </a:lnTo>
                <a:lnTo>
                  <a:pt x="5870742" y="1285663"/>
                </a:lnTo>
                <a:lnTo>
                  <a:pt x="5870742" y="961170"/>
                </a:lnTo>
                <a:close/>
                <a:moveTo>
                  <a:pt x="3519732" y="923709"/>
                </a:moveTo>
                <a:cubicBezTo>
                  <a:pt x="3486517" y="923709"/>
                  <a:pt x="3459611" y="950667"/>
                  <a:pt x="3459611" y="983831"/>
                </a:cubicBezTo>
                <a:cubicBezTo>
                  <a:pt x="3459611" y="1016995"/>
                  <a:pt x="3486569" y="1043901"/>
                  <a:pt x="3519732" y="1043901"/>
                </a:cubicBezTo>
                <a:cubicBezTo>
                  <a:pt x="3552896" y="1043901"/>
                  <a:pt x="3579804" y="1016995"/>
                  <a:pt x="3579804" y="983831"/>
                </a:cubicBezTo>
                <a:cubicBezTo>
                  <a:pt x="3579804" y="950616"/>
                  <a:pt x="3552949" y="923709"/>
                  <a:pt x="3519732" y="923709"/>
                </a:cubicBezTo>
                <a:close/>
                <a:moveTo>
                  <a:pt x="6891866" y="916365"/>
                </a:moveTo>
                <a:lnTo>
                  <a:pt x="6891866" y="971325"/>
                </a:lnTo>
                <a:lnTo>
                  <a:pt x="6995321" y="971325"/>
                </a:lnTo>
                <a:lnTo>
                  <a:pt x="6995321" y="916365"/>
                </a:lnTo>
                <a:close/>
                <a:moveTo>
                  <a:pt x="6762601" y="916365"/>
                </a:moveTo>
                <a:lnTo>
                  <a:pt x="6762601" y="971325"/>
                </a:lnTo>
                <a:lnTo>
                  <a:pt x="6862874" y="971325"/>
                </a:lnTo>
                <a:lnTo>
                  <a:pt x="6862874" y="916365"/>
                </a:lnTo>
                <a:close/>
                <a:moveTo>
                  <a:pt x="6634170" y="916365"/>
                </a:moveTo>
                <a:lnTo>
                  <a:pt x="6634170" y="971325"/>
                </a:lnTo>
                <a:lnTo>
                  <a:pt x="6733609" y="971325"/>
                </a:lnTo>
                <a:lnTo>
                  <a:pt x="6733609" y="916365"/>
                </a:lnTo>
                <a:close/>
                <a:moveTo>
                  <a:pt x="6506469" y="916365"/>
                </a:moveTo>
                <a:lnTo>
                  <a:pt x="6506469" y="971325"/>
                </a:lnTo>
                <a:lnTo>
                  <a:pt x="6605178" y="971325"/>
                </a:lnTo>
                <a:lnTo>
                  <a:pt x="6605178" y="916365"/>
                </a:lnTo>
                <a:close/>
                <a:moveTo>
                  <a:pt x="3519732" y="886166"/>
                </a:moveTo>
                <a:cubicBezTo>
                  <a:pt x="3573702" y="886166"/>
                  <a:pt x="3617398" y="929863"/>
                  <a:pt x="3617398" y="983780"/>
                </a:cubicBezTo>
                <a:cubicBezTo>
                  <a:pt x="3617398" y="1037697"/>
                  <a:pt x="3573702" y="1081446"/>
                  <a:pt x="3519732" y="1081446"/>
                </a:cubicBezTo>
                <a:cubicBezTo>
                  <a:pt x="3465764" y="1081446"/>
                  <a:pt x="3422066" y="1037749"/>
                  <a:pt x="3422066" y="983780"/>
                </a:cubicBezTo>
                <a:cubicBezTo>
                  <a:pt x="3422066" y="929811"/>
                  <a:pt x="3465764" y="886166"/>
                  <a:pt x="3519732" y="886166"/>
                </a:cubicBezTo>
                <a:close/>
                <a:moveTo>
                  <a:pt x="3324452" y="854671"/>
                </a:moveTo>
                <a:lnTo>
                  <a:pt x="3382905" y="1116643"/>
                </a:lnTo>
                <a:lnTo>
                  <a:pt x="3656090" y="1116643"/>
                </a:lnTo>
                <a:lnTo>
                  <a:pt x="3714595" y="854671"/>
                </a:lnTo>
                <a:lnTo>
                  <a:pt x="3324505" y="854671"/>
                </a:lnTo>
                <a:close/>
                <a:moveTo>
                  <a:pt x="1116267" y="850675"/>
                </a:moveTo>
                <a:cubicBezTo>
                  <a:pt x="1106823" y="851242"/>
                  <a:pt x="1098610" y="854501"/>
                  <a:pt x="1090163" y="860785"/>
                </a:cubicBezTo>
                <a:cubicBezTo>
                  <a:pt x="1088702" y="861827"/>
                  <a:pt x="1087399" y="863027"/>
                  <a:pt x="1085782" y="864695"/>
                </a:cubicBezTo>
                <a:cubicBezTo>
                  <a:pt x="1085782" y="864695"/>
                  <a:pt x="1255981" y="964863"/>
                  <a:pt x="1294150" y="986346"/>
                </a:cubicBezTo>
                <a:lnTo>
                  <a:pt x="1294150" y="986295"/>
                </a:lnTo>
                <a:lnTo>
                  <a:pt x="1396144" y="932117"/>
                </a:lnTo>
                <a:cubicBezTo>
                  <a:pt x="1375391" y="925911"/>
                  <a:pt x="1172551" y="864330"/>
                  <a:pt x="1149764" y="856716"/>
                </a:cubicBezTo>
                <a:cubicBezTo>
                  <a:pt x="1136389" y="852232"/>
                  <a:pt x="1125712" y="850108"/>
                  <a:pt x="1116267" y="850675"/>
                </a:cubicBezTo>
                <a:close/>
                <a:moveTo>
                  <a:pt x="1645683" y="847722"/>
                </a:moveTo>
                <a:cubicBezTo>
                  <a:pt x="1639644" y="848188"/>
                  <a:pt x="1633595" y="849847"/>
                  <a:pt x="1627872" y="852806"/>
                </a:cubicBezTo>
                <a:cubicBezTo>
                  <a:pt x="1626881" y="853327"/>
                  <a:pt x="1211190" y="1068161"/>
                  <a:pt x="1175522" y="1086568"/>
                </a:cubicBezTo>
                <a:cubicBezTo>
                  <a:pt x="1164677" y="1092147"/>
                  <a:pt x="1152632" y="1089123"/>
                  <a:pt x="1149243" y="1088184"/>
                </a:cubicBezTo>
                <a:cubicBezTo>
                  <a:pt x="1132921" y="1083334"/>
                  <a:pt x="1049335" y="1058514"/>
                  <a:pt x="1049335" y="1058514"/>
                </a:cubicBezTo>
                <a:cubicBezTo>
                  <a:pt x="1040416" y="1063155"/>
                  <a:pt x="1033273" y="1066805"/>
                  <a:pt x="1024878" y="1071185"/>
                </a:cubicBezTo>
                <a:cubicBezTo>
                  <a:pt x="1024878" y="1071185"/>
                  <a:pt x="1131095" y="1143091"/>
                  <a:pt x="1173488" y="1171876"/>
                </a:cubicBezTo>
                <a:cubicBezTo>
                  <a:pt x="1185952" y="1180322"/>
                  <a:pt x="1196068" y="1180792"/>
                  <a:pt x="1211867" y="1172710"/>
                </a:cubicBezTo>
                <a:cubicBezTo>
                  <a:pt x="1243153" y="1156649"/>
                  <a:pt x="1653424" y="944475"/>
                  <a:pt x="1670683" y="935611"/>
                </a:cubicBezTo>
                <a:cubicBezTo>
                  <a:pt x="1693522" y="923878"/>
                  <a:pt x="1702491" y="895668"/>
                  <a:pt x="1690706" y="872830"/>
                </a:cubicBezTo>
                <a:cubicBezTo>
                  <a:pt x="1681828" y="855661"/>
                  <a:pt x="1663800" y="846324"/>
                  <a:pt x="1645683" y="847722"/>
                </a:cubicBezTo>
                <a:close/>
                <a:moveTo>
                  <a:pt x="2536897" y="803727"/>
                </a:moveTo>
                <a:lnTo>
                  <a:pt x="2600981" y="997128"/>
                </a:lnTo>
                <a:lnTo>
                  <a:pt x="2536897" y="997128"/>
                </a:lnTo>
                <a:close/>
                <a:moveTo>
                  <a:pt x="2346205" y="803727"/>
                </a:moveTo>
                <a:lnTo>
                  <a:pt x="2503421" y="803727"/>
                </a:lnTo>
                <a:lnTo>
                  <a:pt x="2503472" y="803727"/>
                </a:lnTo>
                <a:lnTo>
                  <a:pt x="2503472" y="997128"/>
                </a:lnTo>
                <a:lnTo>
                  <a:pt x="2282172" y="997128"/>
                </a:lnTo>
                <a:lnTo>
                  <a:pt x="2325766" y="865465"/>
                </a:lnTo>
                <a:lnTo>
                  <a:pt x="2332335" y="845494"/>
                </a:lnTo>
                <a:close/>
                <a:moveTo>
                  <a:pt x="6612948" y="788508"/>
                </a:moveTo>
                <a:lnTo>
                  <a:pt x="6612948" y="831997"/>
                </a:lnTo>
                <a:lnTo>
                  <a:pt x="6670932" y="831997"/>
                </a:lnTo>
                <a:lnTo>
                  <a:pt x="6670932" y="887373"/>
                </a:lnTo>
                <a:lnTo>
                  <a:pt x="6830388" y="887373"/>
                </a:lnTo>
                <a:lnTo>
                  <a:pt x="6830388" y="831997"/>
                </a:lnTo>
                <a:lnTo>
                  <a:pt x="6888374" y="831997"/>
                </a:lnTo>
                <a:lnTo>
                  <a:pt x="6888374" y="788508"/>
                </a:lnTo>
                <a:close/>
                <a:moveTo>
                  <a:pt x="5673793" y="779448"/>
                </a:moveTo>
                <a:cubicBezTo>
                  <a:pt x="5588902" y="779448"/>
                  <a:pt x="5519812" y="848591"/>
                  <a:pt x="5519812" y="933482"/>
                </a:cubicBezTo>
                <a:lnTo>
                  <a:pt x="5519812" y="933742"/>
                </a:lnTo>
                <a:lnTo>
                  <a:pt x="5547239" y="933742"/>
                </a:lnTo>
                <a:lnTo>
                  <a:pt x="5547239" y="933482"/>
                </a:lnTo>
                <a:cubicBezTo>
                  <a:pt x="5547239" y="863660"/>
                  <a:pt x="5603972" y="806876"/>
                  <a:pt x="5673793" y="806876"/>
                </a:cubicBezTo>
                <a:cubicBezTo>
                  <a:pt x="5743613" y="806876"/>
                  <a:pt x="5800398" y="863660"/>
                  <a:pt x="5800398" y="933482"/>
                </a:cubicBezTo>
                <a:lnTo>
                  <a:pt x="5800398" y="933742"/>
                </a:lnTo>
                <a:lnTo>
                  <a:pt x="5827827" y="933742"/>
                </a:lnTo>
                <a:lnTo>
                  <a:pt x="5827827" y="933482"/>
                </a:lnTo>
                <a:cubicBezTo>
                  <a:pt x="5827827" y="848591"/>
                  <a:pt x="5758683" y="779448"/>
                  <a:pt x="5673793" y="779448"/>
                </a:cubicBezTo>
                <a:close/>
                <a:moveTo>
                  <a:pt x="3593568" y="701471"/>
                </a:moveTo>
                <a:lnTo>
                  <a:pt x="3593568" y="817336"/>
                </a:lnTo>
                <a:cubicBezTo>
                  <a:pt x="3593568" y="817336"/>
                  <a:pt x="3631321" y="817336"/>
                  <a:pt x="3631321" y="817336"/>
                </a:cubicBezTo>
                <a:lnTo>
                  <a:pt x="3631321" y="701471"/>
                </a:lnTo>
                <a:close/>
                <a:moveTo>
                  <a:pt x="3407727" y="701471"/>
                </a:moveTo>
                <a:lnTo>
                  <a:pt x="3407727" y="817336"/>
                </a:lnTo>
                <a:lnTo>
                  <a:pt x="3445532" y="817336"/>
                </a:lnTo>
                <a:lnTo>
                  <a:pt x="3445532" y="701471"/>
                </a:lnTo>
                <a:close/>
                <a:moveTo>
                  <a:pt x="4658414" y="701330"/>
                </a:moveTo>
                <a:lnTo>
                  <a:pt x="4389090" y="1061593"/>
                </a:lnTo>
                <a:lnTo>
                  <a:pt x="4553344" y="1104351"/>
                </a:lnTo>
                <a:lnTo>
                  <a:pt x="4658414" y="701383"/>
                </a:lnTo>
                <a:close/>
                <a:moveTo>
                  <a:pt x="2443298" y="591083"/>
                </a:moveTo>
                <a:cubicBezTo>
                  <a:pt x="2192694" y="591083"/>
                  <a:pt x="1989540" y="794237"/>
                  <a:pt x="1989540" y="1044841"/>
                </a:cubicBezTo>
                <a:cubicBezTo>
                  <a:pt x="1989540" y="1295446"/>
                  <a:pt x="2192694" y="1498600"/>
                  <a:pt x="2443298" y="1498600"/>
                </a:cubicBezTo>
                <a:cubicBezTo>
                  <a:pt x="2693902" y="1498600"/>
                  <a:pt x="2897056" y="1295446"/>
                  <a:pt x="2897056" y="1044841"/>
                </a:cubicBezTo>
                <a:cubicBezTo>
                  <a:pt x="2897056" y="794237"/>
                  <a:pt x="2693902" y="591083"/>
                  <a:pt x="2443298" y="591083"/>
                </a:cubicBezTo>
                <a:close/>
                <a:moveTo>
                  <a:pt x="0" y="0"/>
                </a:moveTo>
                <a:lnTo>
                  <a:pt x="8124824" y="0"/>
                </a:lnTo>
                <a:lnTo>
                  <a:pt x="8124824" y="6857999"/>
                </a:lnTo>
                <a:lnTo>
                  <a:pt x="0" y="6857999"/>
                </a:lnTo>
                <a:close/>
              </a:path>
            </a:pathLst>
          </a:custGeom>
          <a:solidFill>
            <a:schemeClr val="tx1"/>
          </a:solidFill>
        </p:spPr>
        <p:txBody>
          <a:bodyPr vert="horz" wrap="square" lIns="0" tIns="45720" rIns="0" bIns="45720" rtlCol="0" anchor="ctr">
            <a:noAutofit/>
          </a:bodyPr>
          <a:lstStyle>
            <a:lvl1pPr algn="ctr">
              <a:defRPr lang="en-GB" sz="2800" b="0" dirty="0">
                <a:solidFill>
                  <a:schemeClr val="bg1"/>
                </a:solidFill>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US" dirty="0"/>
              <a:t>ADD RELATED IMAGE </a:t>
            </a:r>
            <a:br>
              <a:rPr lang="en-US" dirty="0"/>
            </a:br>
            <a:r>
              <a:rPr lang="en-US" dirty="0"/>
              <a:t>FROM HFW IMAGE LIBRARY</a:t>
            </a:r>
            <a:endParaRPr lang="en-GB" dirty="0"/>
          </a:p>
        </p:txBody>
      </p:sp>
      <p:sp>
        <p:nvSpPr>
          <p:cNvPr id="9" name="Rectangle 8">
            <a:extLst>
              <a:ext uri="{FF2B5EF4-FFF2-40B4-BE49-F238E27FC236}">
                <a16:creationId xmlns:a16="http://schemas.microsoft.com/office/drawing/2014/main" id="{708FD88D-9C74-4D94-62A5-47E768F9DCD7}"/>
              </a:ext>
            </a:extLst>
          </p:cNvPr>
          <p:cNvSpPr/>
          <p:nvPr userDrawn="1"/>
        </p:nvSpPr>
        <p:spPr>
          <a:xfrm>
            <a:off x="0" y="0"/>
            <a:ext cx="406717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Text Placeholder 12">
            <a:extLst>
              <a:ext uri="{FF2B5EF4-FFF2-40B4-BE49-F238E27FC236}">
                <a16:creationId xmlns:a16="http://schemas.microsoft.com/office/drawing/2014/main" id="{BBA3AA40-3440-5851-3972-390D3DEB2219}"/>
              </a:ext>
            </a:extLst>
          </p:cNvPr>
          <p:cNvSpPr>
            <a:spLocks noGrp="1"/>
          </p:cNvSpPr>
          <p:nvPr>
            <p:ph type="body" sz="quarter" idx="14" hasCustomPrompt="1"/>
          </p:nvPr>
        </p:nvSpPr>
        <p:spPr>
          <a:xfrm>
            <a:off x="508939" y="5989638"/>
            <a:ext cx="3387140" cy="230187"/>
          </a:xfrm>
        </p:spPr>
        <p:txBody>
          <a:bodyPr tIns="0" bIns="0">
            <a:noAutofit/>
          </a:bodyPr>
          <a:lstStyle>
            <a:lvl1pPr>
              <a:defRPr sz="1400">
                <a:solidFill>
                  <a:schemeClr val="accent2"/>
                </a:solidFill>
                <a:latin typeface="+mj-lt"/>
              </a:defRPr>
            </a:lvl1pPr>
            <a:lvl2pPr>
              <a:defRPr>
                <a:solidFill>
                  <a:schemeClr val="bg1"/>
                </a:solidFill>
                <a:latin typeface="+mn-lt"/>
              </a:defRPr>
            </a:lvl2pPr>
            <a:lvl3pPr>
              <a:defRPr>
                <a:solidFill>
                  <a:schemeClr val="bg1"/>
                </a:solidFill>
                <a:latin typeface="+mn-lt"/>
              </a:defRPr>
            </a:lvl3pPr>
            <a:lvl4pPr>
              <a:defRPr>
                <a:solidFill>
                  <a:schemeClr val="bg1"/>
                </a:solidFill>
                <a:latin typeface="+mn-lt"/>
              </a:defRPr>
            </a:lvl4pPr>
            <a:lvl5pPr>
              <a:defRPr>
                <a:solidFill>
                  <a:schemeClr val="bg1"/>
                </a:solidFill>
                <a:latin typeface="+mn-lt"/>
              </a:defRPr>
            </a:lvl5pPr>
          </a:lstStyle>
          <a:p>
            <a:pPr lvl="0"/>
            <a:r>
              <a:rPr lang="en-US" dirty="0"/>
              <a:t>DAY MONTH YEAR</a:t>
            </a:r>
            <a:endParaRPr lang="en-GB" dirty="0"/>
          </a:p>
        </p:txBody>
      </p:sp>
      <p:sp>
        <p:nvSpPr>
          <p:cNvPr id="4" name="TextBox 4">
            <a:extLst>
              <a:ext uri="{FF2B5EF4-FFF2-40B4-BE49-F238E27FC236}">
                <a16:creationId xmlns:a16="http://schemas.microsoft.com/office/drawing/2014/main" id="{265B2CA7-EDCD-E4A1-AC81-AB1BF0FA5D17}"/>
              </a:ext>
            </a:extLst>
          </p:cNvPr>
          <p:cNvSpPr txBox="1"/>
          <p:nvPr userDrawn="1"/>
        </p:nvSpPr>
        <p:spPr>
          <a:xfrm>
            <a:off x="12346713" y="109538"/>
            <a:ext cx="1934437" cy="31700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INSERTING IMAGES:</a:t>
            </a:r>
          </a:p>
          <a:p>
            <a:pPr marL="179388" indent="-179388">
              <a:spcBef>
                <a:spcPts val="200"/>
              </a:spcBef>
              <a:spcAft>
                <a:spcPts val="200"/>
              </a:spcAft>
              <a:buFont typeface="+mj-lt"/>
              <a:buAutoNum type="arabicPeriod"/>
            </a:pPr>
            <a:r>
              <a:rPr lang="en-US" sz="900" dirty="0">
                <a:solidFill>
                  <a:schemeClr val="tx1"/>
                </a:solidFill>
                <a:latin typeface="+mn-lt"/>
              </a:rPr>
              <a:t>Simply click the image placeholder and select your image.</a:t>
            </a:r>
          </a:p>
          <a:p>
            <a:pPr marL="179388" indent="-179388">
              <a:spcBef>
                <a:spcPts val="200"/>
              </a:spcBef>
              <a:spcAft>
                <a:spcPts val="200"/>
              </a:spcAft>
              <a:buFont typeface="+mj-lt"/>
              <a:buAutoNum type="arabicPeriod"/>
            </a:pPr>
            <a:r>
              <a:rPr lang="en-US" sz="900" dirty="0">
                <a:solidFill>
                  <a:schemeClr val="tx1"/>
                </a:solidFill>
                <a:latin typeface="+mn-lt"/>
              </a:rPr>
              <a:t>Once your image is inserted into the shape it may be distorted. (Stretched or Squashed)</a:t>
            </a:r>
          </a:p>
          <a:p>
            <a:pPr marL="179388" indent="-179388">
              <a:spcBef>
                <a:spcPts val="200"/>
              </a:spcBef>
              <a:spcAft>
                <a:spcPts val="200"/>
              </a:spcAft>
              <a:buFont typeface="+mj-lt"/>
              <a:buAutoNum type="arabicPeriod"/>
            </a:pPr>
            <a:endParaRPr lang="en-US" sz="900" dirty="0">
              <a:solidFill>
                <a:schemeClr val="tx1"/>
              </a:solidFill>
              <a:latin typeface="+mn-lt"/>
            </a:endParaRPr>
          </a:p>
          <a:p>
            <a:pPr>
              <a:spcBef>
                <a:spcPts val="200"/>
              </a:spcBef>
              <a:spcAft>
                <a:spcPts val="200"/>
              </a:spcAft>
            </a:pPr>
            <a:r>
              <a:rPr lang="en-US" sz="900" b="1" dirty="0">
                <a:solidFill>
                  <a:schemeClr val="tx1"/>
                </a:solidFill>
                <a:latin typeface="+mn-lt"/>
              </a:rPr>
              <a:t>To fix this:</a:t>
            </a:r>
          </a:p>
          <a:p>
            <a:pPr marL="179388" indent="-179388">
              <a:spcBef>
                <a:spcPts val="200"/>
              </a:spcBef>
              <a:spcAft>
                <a:spcPts val="200"/>
              </a:spcAft>
              <a:buFont typeface="+mj-lt"/>
              <a:buAutoNum type="arabicPeriod"/>
            </a:pPr>
            <a:r>
              <a:rPr lang="en-US" sz="900" dirty="0">
                <a:solidFill>
                  <a:schemeClr val="tx1"/>
                </a:solidFill>
                <a:latin typeface="+mn-lt"/>
              </a:rPr>
              <a:t>Click on the image and from the top menu under </a:t>
            </a:r>
            <a:r>
              <a:rPr lang="en-US" sz="900" b="1" dirty="0">
                <a:solidFill>
                  <a:schemeClr val="tx1"/>
                </a:solidFill>
                <a:latin typeface="+mn-lt"/>
              </a:rPr>
              <a:t>PICTURE FORMAT </a:t>
            </a:r>
            <a:r>
              <a:rPr lang="en-US" sz="900" dirty="0">
                <a:solidFill>
                  <a:schemeClr val="tx1"/>
                </a:solidFill>
                <a:latin typeface="+mn-lt"/>
              </a:rPr>
              <a:t>select the </a:t>
            </a:r>
            <a:r>
              <a:rPr lang="en-US" sz="900" b="1" dirty="0">
                <a:solidFill>
                  <a:schemeClr val="tx1"/>
                </a:solidFill>
                <a:latin typeface="+mn-lt"/>
              </a:rPr>
              <a:t>CROP</a:t>
            </a:r>
            <a:r>
              <a:rPr lang="en-US" sz="900" dirty="0">
                <a:solidFill>
                  <a:schemeClr val="tx1"/>
                </a:solidFill>
                <a:latin typeface="+mn-lt"/>
              </a:rPr>
              <a:t> on the right and from the drop down menu select </a:t>
            </a:r>
            <a:r>
              <a:rPr lang="en-US" sz="900" b="1" kern="1200" dirty="0">
                <a:solidFill>
                  <a:schemeClr val="tx1"/>
                </a:solidFill>
                <a:latin typeface="+mn-lt"/>
                <a:ea typeface="+mn-ea"/>
                <a:cs typeface="+mn-cs"/>
              </a:rPr>
              <a:t>FILL</a:t>
            </a:r>
          </a:p>
          <a:p>
            <a:pPr marL="179388" indent="-179388">
              <a:spcBef>
                <a:spcPts val="200"/>
              </a:spcBef>
              <a:spcAft>
                <a:spcPts val="200"/>
              </a:spcAft>
              <a:buFont typeface="+mj-lt"/>
              <a:buAutoNum type="arabicPeriod"/>
            </a:pPr>
            <a:r>
              <a:rPr lang="en-US" sz="900" b="0" kern="1200" dirty="0">
                <a:solidFill>
                  <a:schemeClr val="tx1"/>
                </a:solidFill>
                <a:latin typeface="+mn-lt"/>
                <a:ea typeface="+mn-ea"/>
                <a:cs typeface="+mn-cs"/>
              </a:rPr>
              <a:t>From here you can move the image within the shape for best visual appearance</a:t>
            </a:r>
          </a:p>
        </p:txBody>
      </p:sp>
      <p:sp>
        <p:nvSpPr>
          <p:cNvPr id="10" name="Title 1">
            <a:extLst>
              <a:ext uri="{FF2B5EF4-FFF2-40B4-BE49-F238E27FC236}">
                <a16:creationId xmlns:a16="http://schemas.microsoft.com/office/drawing/2014/main" id="{1D9960C9-AE88-FF64-7340-9EC8DF655E87}"/>
              </a:ext>
            </a:extLst>
          </p:cNvPr>
          <p:cNvSpPr>
            <a:spLocks noGrp="1"/>
          </p:cNvSpPr>
          <p:nvPr>
            <p:ph type="ctrTitle" hasCustomPrompt="1"/>
          </p:nvPr>
        </p:nvSpPr>
        <p:spPr>
          <a:xfrm>
            <a:off x="508939" y="2430692"/>
            <a:ext cx="2792526" cy="2387600"/>
          </a:xfrm>
        </p:spPr>
        <p:txBody>
          <a:bodyPr vert="horz" lIns="0" tIns="0" rIns="0" bIns="0" rtlCol="0" anchor="t" anchorCtr="0">
            <a:noAutofit/>
          </a:bodyPr>
          <a:lstStyle>
            <a:lvl1pPr>
              <a:lnSpc>
                <a:spcPct val="100000"/>
              </a:lnSpc>
              <a:defRPr lang="en-US" sz="3300" dirty="0">
                <a:solidFill>
                  <a:schemeClr val="bg1"/>
                </a:solidFill>
              </a:defRPr>
            </a:lvl1pPr>
          </a:lstStyle>
          <a:p>
            <a:pPr lvl="0"/>
            <a:r>
              <a:rPr lang="en-US" dirty="0"/>
              <a:t>PROPOSAL TO [CLIENT] FOR LEGAL SERVICES</a:t>
            </a:r>
          </a:p>
        </p:txBody>
      </p:sp>
      <p:sp>
        <p:nvSpPr>
          <p:cNvPr id="2" name="Graphic 13">
            <a:extLst>
              <a:ext uri="{FF2B5EF4-FFF2-40B4-BE49-F238E27FC236}">
                <a16:creationId xmlns:a16="http://schemas.microsoft.com/office/drawing/2014/main" id="{EE1C1B2A-85BE-ABC3-AD6A-C9C22BCACF33}"/>
              </a:ext>
            </a:extLst>
          </p:cNvPr>
          <p:cNvSpPr>
            <a:spLocks noGrp="1" noRot="1" noMove="1" noResize="1" noEditPoints="1" noAdjustHandles="1" noChangeArrowheads="1" noChangeShapeType="1"/>
          </p:cNvSpPr>
          <p:nvPr userDrawn="1"/>
        </p:nvSpPr>
        <p:spPr>
          <a:xfrm>
            <a:off x="585463" y="588011"/>
            <a:ext cx="1522695" cy="922576"/>
          </a:xfrm>
          <a:custGeom>
            <a:avLst/>
            <a:gdLst>
              <a:gd name="connsiteX0" fmla="*/ 618149 w 1522695"/>
              <a:gd name="connsiteY0" fmla="*/ 39943 h 922576"/>
              <a:gd name="connsiteX1" fmla="*/ 421345 w 1522695"/>
              <a:gd name="connsiteY1" fmla="*/ 876531 h 922576"/>
              <a:gd name="connsiteX2" fmla="*/ 388753 w 1522695"/>
              <a:gd name="connsiteY2" fmla="*/ 915365 h 922576"/>
              <a:gd name="connsiteX3" fmla="*/ 349364 w 1522695"/>
              <a:gd name="connsiteY3" fmla="*/ 922577 h 922576"/>
              <a:gd name="connsiteX4" fmla="*/ 328006 w 1522695"/>
              <a:gd name="connsiteY4" fmla="*/ 897196 h 922576"/>
              <a:gd name="connsiteX5" fmla="*/ 431608 w 1522695"/>
              <a:gd name="connsiteY5" fmla="*/ 465033 h 922576"/>
              <a:gd name="connsiteX6" fmla="*/ 224958 w 1522695"/>
              <a:gd name="connsiteY6" fmla="*/ 504838 h 922576"/>
              <a:gd name="connsiteX7" fmla="*/ 185292 w 1522695"/>
              <a:gd name="connsiteY7" fmla="*/ 702473 h 922576"/>
              <a:gd name="connsiteX8" fmla="*/ 159634 w 1522695"/>
              <a:gd name="connsiteY8" fmla="*/ 738117 h 922576"/>
              <a:gd name="connsiteX9" fmla="*/ 102771 w 1522695"/>
              <a:gd name="connsiteY9" fmla="*/ 719671 h 922576"/>
              <a:gd name="connsiteX10" fmla="*/ 150203 w 1522695"/>
              <a:gd name="connsiteY10" fmla="*/ 519816 h 922576"/>
              <a:gd name="connsiteX11" fmla="*/ 62411 w 1522695"/>
              <a:gd name="connsiteY11" fmla="*/ 533547 h 922576"/>
              <a:gd name="connsiteX12" fmla="*/ 0 w 1522695"/>
              <a:gd name="connsiteY12" fmla="*/ 507750 h 922576"/>
              <a:gd name="connsiteX13" fmla="*/ 163795 w 1522695"/>
              <a:gd name="connsiteY13" fmla="*/ 465588 h 922576"/>
              <a:gd name="connsiteX14" fmla="*/ 234805 w 1522695"/>
              <a:gd name="connsiteY14" fmla="*/ 162547 h 922576"/>
              <a:gd name="connsiteX15" fmla="*/ 258244 w 1522695"/>
              <a:gd name="connsiteY15" fmla="*/ 135502 h 922576"/>
              <a:gd name="connsiteX16" fmla="*/ 300961 w 1522695"/>
              <a:gd name="connsiteY16" fmla="*/ 126625 h 922576"/>
              <a:gd name="connsiteX17" fmla="*/ 316772 w 1522695"/>
              <a:gd name="connsiteY17" fmla="*/ 149232 h 922576"/>
              <a:gd name="connsiteX18" fmla="*/ 239104 w 1522695"/>
              <a:gd name="connsiteY18" fmla="*/ 449084 h 922576"/>
              <a:gd name="connsiteX19" fmla="*/ 447697 w 1522695"/>
              <a:gd name="connsiteY19" fmla="*/ 404564 h 922576"/>
              <a:gd name="connsiteX20" fmla="*/ 542839 w 1522695"/>
              <a:gd name="connsiteY20" fmla="*/ 34950 h 922576"/>
              <a:gd name="connsiteX21" fmla="*/ 557402 w 1522695"/>
              <a:gd name="connsiteY21" fmla="*/ 6935 h 922576"/>
              <a:gd name="connsiteX22" fmla="*/ 592907 w 1522695"/>
              <a:gd name="connsiteY22" fmla="*/ 0 h 922576"/>
              <a:gd name="connsiteX23" fmla="*/ 620506 w 1522695"/>
              <a:gd name="connsiteY23" fmla="*/ 25381 h 922576"/>
              <a:gd name="connsiteX24" fmla="*/ 618426 w 1522695"/>
              <a:gd name="connsiteY24" fmla="*/ 40359 h 922576"/>
              <a:gd name="connsiteX25" fmla="*/ 845048 w 1522695"/>
              <a:gd name="connsiteY25" fmla="*/ 445755 h 922576"/>
              <a:gd name="connsiteX26" fmla="*/ 684582 w 1522695"/>
              <a:gd name="connsiteY26" fmla="*/ 476544 h 922576"/>
              <a:gd name="connsiteX27" fmla="*/ 729241 w 1522695"/>
              <a:gd name="connsiteY27" fmla="*/ 311918 h 922576"/>
              <a:gd name="connsiteX28" fmla="*/ 1087204 w 1522695"/>
              <a:gd name="connsiteY28" fmla="*/ 231060 h 922576"/>
              <a:gd name="connsiteX29" fmla="*/ 1110643 w 1522695"/>
              <a:gd name="connsiteY29" fmla="*/ 218994 h 922576"/>
              <a:gd name="connsiteX30" fmla="*/ 1053363 w 1522695"/>
              <a:gd name="connsiteY30" fmla="*/ 185708 h 922576"/>
              <a:gd name="connsiteX31" fmla="*/ 1029785 w 1522695"/>
              <a:gd name="connsiteY31" fmla="*/ 187927 h 922576"/>
              <a:gd name="connsiteX32" fmla="*/ 636872 w 1522695"/>
              <a:gd name="connsiteY32" fmla="*/ 267536 h 922576"/>
              <a:gd name="connsiteX33" fmla="*/ 610798 w 1522695"/>
              <a:gd name="connsiteY33" fmla="*/ 284595 h 922576"/>
              <a:gd name="connsiteX34" fmla="*/ 652683 w 1522695"/>
              <a:gd name="connsiteY34" fmla="*/ 321210 h 922576"/>
              <a:gd name="connsiteX35" fmla="*/ 524948 w 1522695"/>
              <a:gd name="connsiteY35" fmla="*/ 802192 h 922576"/>
              <a:gd name="connsiteX36" fmla="*/ 537569 w 1522695"/>
              <a:gd name="connsiteY36" fmla="*/ 815646 h 922576"/>
              <a:gd name="connsiteX37" fmla="*/ 595542 w 1522695"/>
              <a:gd name="connsiteY37" fmla="*/ 802886 h 922576"/>
              <a:gd name="connsiteX38" fmla="*/ 616762 w 1522695"/>
              <a:gd name="connsiteY38" fmla="*/ 763914 h 922576"/>
              <a:gd name="connsiteX39" fmla="*/ 669603 w 1522695"/>
              <a:gd name="connsiteY39" fmla="*/ 537430 h 922576"/>
              <a:gd name="connsiteX40" fmla="*/ 808988 w 1522695"/>
              <a:gd name="connsiteY40" fmla="*/ 509276 h 922576"/>
              <a:gd name="connsiteX41" fmla="*/ 859611 w 1522695"/>
              <a:gd name="connsiteY41" fmla="*/ 477238 h 922576"/>
              <a:gd name="connsiteX42" fmla="*/ 872232 w 1522695"/>
              <a:gd name="connsiteY42" fmla="*/ 451996 h 922576"/>
              <a:gd name="connsiteX43" fmla="*/ 845187 w 1522695"/>
              <a:gd name="connsiteY43" fmla="*/ 445755 h 922576"/>
              <a:gd name="connsiteX44" fmla="*/ 1479701 w 1522695"/>
              <a:gd name="connsiteY44" fmla="*/ 159218 h 922576"/>
              <a:gd name="connsiteX45" fmla="*/ 1409801 w 1522695"/>
              <a:gd name="connsiteY45" fmla="*/ 217052 h 922576"/>
              <a:gd name="connsiteX46" fmla="*/ 1212442 w 1522695"/>
              <a:gd name="connsiteY46" fmla="*/ 666691 h 922576"/>
              <a:gd name="connsiteX47" fmla="*/ 1231721 w 1522695"/>
              <a:gd name="connsiteY47" fmla="*/ 323845 h 922576"/>
              <a:gd name="connsiteX48" fmla="*/ 1206895 w 1522695"/>
              <a:gd name="connsiteY48" fmla="*/ 300683 h 922576"/>
              <a:gd name="connsiteX49" fmla="*/ 1151002 w 1522695"/>
              <a:gd name="connsiteY49" fmla="*/ 324677 h 922576"/>
              <a:gd name="connsiteX50" fmla="*/ 1137549 w 1522695"/>
              <a:gd name="connsiteY50" fmla="*/ 353525 h 922576"/>
              <a:gd name="connsiteX51" fmla="*/ 980689 w 1522695"/>
              <a:gd name="connsiteY51" fmla="*/ 605528 h 922576"/>
              <a:gd name="connsiteX52" fmla="*/ 1041574 w 1522695"/>
              <a:gd name="connsiteY52" fmla="*/ 331196 h 922576"/>
              <a:gd name="connsiteX53" fmla="*/ 1029369 w 1522695"/>
              <a:gd name="connsiteY53" fmla="*/ 319962 h 922576"/>
              <a:gd name="connsiteX54" fmla="*/ 988871 w 1522695"/>
              <a:gd name="connsiteY54" fmla="*/ 327728 h 922576"/>
              <a:gd name="connsiteX55" fmla="*/ 954892 w 1522695"/>
              <a:gd name="connsiteY55" fmla="*/ 369752 h 922576"/>
              <a:gd name="connsiteX56" fmla="*/ 880553 w 1522695"/>
              <a:gd name="connsiteY56" fmla="*/ 711766 h 922576"/>
              <a:gd name="connsiteX57" fmla="*/ 902328 w 1522695"/>
              <a:gd name="connsiteY57" fmla="*/ 741862 h 922576"/>
              <a:gd name="connsiteX58" fmla="*/ 960024 w 1522695"/>
              <a:gd name="connsiteY58" fmla="*/ 718423 h 922576"/>
              <a:gd name="connsiteX59" fmla="*/ 1144483 w 1522695"/>
              <a:gd name="connsiteY59" fmla="*/ 419542 h 922576"/>
              <a:gd name="connsiteX60" fmla="*/ 1128950 w 1522695"/>
              <a:gd name="connsiteY60" fmla="*/ 709546 h 922576"/>
              <a:gd name="connsiteX61" fmla="*/ 1162375 w 1522695"/>
              <a:gd name="connsiteY61" fmla="*/ 786798 h 922576"/>
              <a:gd name="connsiteX62" fmla="*/ 1235049 w 1522695"/>
              <a:gd name="connsiteY62" fmla="*/ 740891 h 922576"/>
              <a:gd name="connsiteX63" fmla="*/ 1512016 w 1522695"/>
              <a:gd name="connsiteY63" fmla="*/ 203322 h 922576"/>
              <a:gd name="connsiteX64" fmla="*/ 1522696 w 1522695"/>
              <a:gd name="connsiteY64" fmla="*/ 183766 h 922576"/>
              <a:gd name="connsiteX65" fmla="*/ 1479840 w 1522695"/>
              <a:gd name="connsiteY65" fmla="*/ 159357 h 922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522695" h="922576">
                <a:moveTo>
                  <a:pt x="618149" y="39943"/>
                </a:moveTo>
                <a:cubicBezTo>
                  <a:pt x="568774" y="240214"/>
                  <a:pt x="450887" y="614404"/>
                  <a:pt x="421345" y="876531"/>
                </a:cubicBezTo>
                <a:cubicBezTo>
                  <a:pt x="418849" y="898167"/>
                  <a:pt x="420374" y="906627"/>
                  <a:pt x="388753" y="915365"/>
                </a:cubicBezTo>
                <a:cubicBezTo>
                  <a:pt x="373497" y="919526"/>
                  <a:pt x="359350" y="922577"/>
                  <a:pt x="349364" y="922577"/>
                </a:cubicBezTo>
                <a:cubicBezTo>
                  <a:pt x="333831" y="922577"/>
                  <a:pt x="328006" y="913978"/>
                  <a:pt x="328006" y="897196"/>
                </a:cubicBezTo>
                <a:cubicBezTo>
                  <a:pt x="328006" y="851567"/>
                  <a:pt x="390972" y="623280"/>
                  <a:pt x="431608" y="465033"/>
                </a:cubicBezTo>
                <a:cubicBezTo>
                  <a:pt x="377380" y="475296"/>
                  <a:pt x="300961" y="489998"/>
                  <a:pt x="224958" y="504838"/>
                </a:cubicBezTo>
                <a:cubicBezTo>
                  <a:pt x="206512" y="579870"/>
                  <a:pt x="193336" y="642697"/>
                  <a:pt x="185292" y="702473"/>
                </a:cubicBezTo>
                <a:cubicBezTo>
                  <a:pt x="183350" y="716897"/>
                  <a:pt x="185292" y="730489"/>
                  <a:pt x="159634" y="738117"/>
                </a:cubicBezTo>
                <a:cubicBezTo>
                  <a:pt x="116362" y="751015"/>
                  <a:pt x="100968" y="743803"/>
                  <a:pt x="102771" y="719671"/>
                </a:cubicBezTo>
                <a:cubicBezTo>
                  <a:pt x="105683" y="679589"/>
                  <a:pt x="118443" y="648661"/>
                  <a:pt x="150203" y="519816"/>
                </a:cubicBezTo>
                <a:cubicBezTo>
                  <a:pt x="110676" y="527722"/>
                  <a:pt x="79748" y="533547"/>
                  <a:pt x="62411" y="533547"/>
                </a:cubicBezTo>
                <a:cubicBezTo>
                  <a:pt x="38972" y="533547"/>
                  <a:pt x="0" y="517459"/>
                  <a:pt x="0" y="507750"/>
                </a:cubicBezTo>
                <a:cubicBezTo>
                  <a:pt x="0" y="496239"/>
                  <a:pt x="27184" y="496377"/>
                  <a:pt x="163795" y="465588"/>
                </a:cubicBezTo>
                <a:cubicBezTo>
                  <a:pt x="190146" y="360876"/>
                  <a:pt x="227038" y="219133"/>
                  <a:pt x="234805" y="162547"/>
                </a:cubicBezTo>
                <a:cubicBezTo>
                  <a:pt x="236192" y="152145"/>
                  <a:pt x="239798" y="140633"/>
                  <a:pt x="258244" y="135502"/>
                </a:cubicBezTo>
                <a:cubicBezTo>
                  <a:pt x="269339" y="132451"/>
                  <a:pt x="290004" y="126625"/>
                  <a:pt x="300961" y="126625"/>
                </a:cubicBezTo>
                <a:cubicBezTo>
                  <a:pt x="313304" y="126625"/>
                  <a:pt x="316772" y="137721"/>
                  <a:pt x="316772" y="149232"/>
                </a:cubicBezTo>
                <a:cubicBezTo>
                  <a:pt x="316772" y="170036"/>
                  <a:pt x="273916" y="298048"/>
                  <a:pt x="239104" y="449084"/>
                </a:cubicBezTo>
                <a:cubicBezTo>
                  <a:pt x="309837" y="433689"/>
                  <a:pt x="385424" y="417739"/>
                  <a:pt x="447697" y="404564"/>
                </a:cubicBezTo>
                <a:cubicBezTo>
                  <a:pt x="485421" y="261434"/>
                  <a:pt x="522313" y="121910"/>
                  <a:pt x="542839" y="34950"/>
                </a:cubicBezTo>
                <a:cubicBezTo>
                  <a:pt x="547277" y="16227"/>
                  <a:pt x="546445" y="10679"/>
                  <a:pt x="557402" y="6935"/>
                </a:cubicBezTo>
                <a:cubicBezTo>
                  <a:pt x="562533" y="5132"/>
                  <a:pt x="578205" y="0"/>
                  <a:pt x="592907" y="0"/>
                </a:cubicBezTo>
                <a:cubicBezTo>
                  <a:pt x="607608" y="0"/>
                  <a:pt x="620506" y="5548"/>
                  <a:pt x="620506" y="25381"/>
                </a:cubicBezTo>
                <a:cubicBezTo>
                  <a:pt x="620506" y="29680"/>
                  <a:pt x="619813" y="34673"/>
                  <a:pt x="618426" y="40359"/>
                </a:cubicBezTo>
                <a:close/>
                <a:moveTo>
                  <a:pt x="845048" y="445755"/>
                </a:moveTo>
                <a:cubicBezTo>
                  <a:pt x="796922" y="454076"/>
                  <a:pt x="739920" y="465865"/>
                  <a:pt x="684582" y="476544"/>
                </a:cubicBezTo>
                <a:cubicBezTo>
                  <a:pt x="700670" y="412608"/>
                  <a:pt x="716620" y="352970"/>
                  <a:pt x="729241" y="311918"/>
                </a:cubicBezTo>
                <a:cubicBezTo>
                  <a:pt x="838946" y="287092"/>
                  <a:pt x="1056276" y="236053"/>
                  <a:pt x="1087204" y="231060"/>
                </a:cubicBezTo>
                <a:cubicBezTo>
                  <a:pt x="1104679" y="228148"/>
                  <a:pt x="1110643" y="223155"/>
                  <a:pt x="1110643" y="218994"/>
                </a:cubicBezTo>
                <a:cubicBezTo>
                  <a:pt x="1110643" y="211089"/>
                  <a:pt x="1084985" y="185708"/>
                  <a:pt x="1053363" y="185708"/>
                </a:cubicBezTo>
                <a:cubicBezTo>
                  <a:pt x="1046428" y="185708"/>
                  <a:pt x="1038662" y="186402"/>
                  <a:pt x="1029785" y="187927"/>
                </a:cubicBezTo>
                <a:cubicBezTo>
                  <a:pt x="966542" y="199023"/>
                  <a:pt x="709269" y="252974"/>
                  <a:pt x="636872" y="267536"/>
                </a:cubicBezTo>
                <a:cubicBezTo>
                  <a:pt x="618842" y="271142"/>
                  <a:pt x="610798" y="277661"/>
                  <a:pt x="610798" y="284595"/>
                </a:cubicBezTo>
                <a:cubicBezTo>
                  <a:pt x="610798" y="295136"/>
                  <a:pt x="636317" y="316217"/>
                  <a:pt x="652683" y="321210"/>
                </a:cubicBezTo>
                <a:cubicBezTo>
                  <a:pt x="616623" y="461427"/>
                  <a:pt x="524948" y="770571"/>
                  <a:pt x="524948" y="802192"/>
                </a:cubicBezTo>
                <a:cubicBezTo>
                  <a:pt x="524948" y="809959"/>
                  <a:pt x="527583" y="815646"/>
                  <a:pt x="537569" y="815646"/>
                </a:cubicBezTo>
                <a:cubicBezTo>
                  <a:pt x="551299" y="815646"/>
                  <a:pt x="579176" y="809682"/>
                  <a:pt x="595542" y="802886"/>
                </a:cubicBezTo>
                <a:cubicBezTo>
                  <a:pt x="611908" y="795951"/>
                  <a:pt x="611630" y="787907"/>
                  <a:pt x="616762" y="763914"/>
                </a:cubicBezTo>
                <a:cubicBezTo>
                  <a:pt x="627996" y="712043"/>
                  <a:pt x="648106" y="624945"/>
                  <a:pt x="669603" y="537430"/>
                </a:cubicBezTo>
                <a:cubicBezTo>
                  <a:pt x="735620" y="523422"/>
                  <a:pt x="777505" y="516488"/>
                  <a:pt x="808988" y="509276"/>
                </a:cubicBezTo>
                <a:cubicBezTo>
                  <a:pt x="843661" y="501370"/>
                  <a:pt x="850180" y="491107"/>
                  <a:pt x="859611" y="477238"/>
                </a:cubicBezTo>
                <a:cubicBezTo>
                  <a:pt x="865852" y="468223"/>
                  <a:pt x="872232" y="456850"/>
                  <a:pt x="872232" y="451996"/>
                </a:cubicBezTo>
                <a:cubicBezTo>
                  <a:pt x="872232" y="444368"/>
                  <a:pt x="864742" y="442288"/>
                  <a:pt x="845187" y="445755"/>
                </a:cubicBezTo>
                <a:close/>
                <a:moveTo>
                  <a:pt x="1479701" y="159218"/>
                </a:moveTo>
                <a:cubicBezTo>
                  <a:pt x="1459452" y="159218"/>
                  <a:pt x="1437955" y="171978"/>
                  <a:pt x="1409801" y="217052"/>
                </a:cubicBezTo>
                <a:cubicBezTo>
                  <a:pt x="1369857" y="281128"/>
                  <a:pt x="1274854" y="509553"/>
                  <a:pt x="1212442" y="666691"/>
                </a:cubicBezTo>
                <a:cubicBezTo>
                  <a:pt x="1210639" y="502202"/>
                  <a:pt x="1231721" y="360598"/>
                  <a:pt x="1231721" y="323845"/>
                </a:cubicBezTo>
                <a:cubicBezTo>
                  <a:pt x="1231721" y="305399"/>
                  <a:pt x="1220348" y="300683"/>
                  <a:pt x="1206895" y="300683"/>
                </a:cubicBezTo>
                <a:cubicBezTo>
                  <a:pt x="1188310" y="300683"/>
                  <a:pt x="1160988" y="301516"/>
                  <a:pt x="1151002" y="324677"/>
                </a:cubicBezTo>
                <a:cubicBezTo>
                  <a:pt x="1144483" y="339795"/>
                  <a:pt x="1143374" y="343262"/>
                  <a:pt x="1137549" y="353525"/>
                </a:cubicBezTo>
                <a:cubicBezTo>
                  <a:pt x="1125205" y="375577"/>
                  <a:pt x="1053502" y="501786"/>
                  <a:pt x="980689" y="605528"/>
                </a:cubicBezTo>
                <a:cubicBezTo>
                  <a:pt x="1012588" y="432995"/>
                  <a:pt x="1041574" y="349087"/>
                  <a:pt x="1041574" y="331196"/>
                </a:cubicBezTo>
                <a:cubicBezTo>
                  <a:pt x="1041574" y="322874"/>
                  <a:pt x="1036165" y="319962"/>
                  <a:pt x="1029369" y="319962"/>
                </a:cubicBezTo>
                <a:cubicBezTo>
                  <a:pt x="1021325" y="319962"/>
                  <a:pt x="1000799" y="324816"/>
                  <a:pt x="988871" y="327728"/>
                </a:cubicBezTo>
                <a:cubicBezTo>
                  <a:pt x="974864" y="331196"/>
                  <a:pt x="963768" y="335772"/>
                  <a:pt x="954892" y="369752"/>
                </a:cubicBezTo>
                <a:cubicBezTo>
                  <a:pt x="925905" y="479734"/>
                  <a:pt x="880553" y="665720"/>
                  <a:pt x="880553" y="711766"/>
                </a:cubicBezTo>
                <a:cubicBezTo>
                  <a:pt x="880553" y="731876"/>
                  <a:pt x="884575" y="741862"/>
                  <a:pt x="902328" y="741862"/>
                </a:cubicBezTo>
                <a:cubicBezTo>
                  <a:pt x="921051" y="741862"/>
                  <a:pt x="947541" y="736591"/>
                  <a:pt x="960024" y="718423"/>
                </a:cubicBezTo>
                <a:cubicBezTo>
                  <a:pt x="1022851" y="626609"/>
                  <a:pt x="1086372" y="516349"/>
                  <a:pt x="1144483" y="419542"/>
                </a:cubicBezTo>
                <a:cubicBezTo>
                  <a:pt x="1135191" y="510801"/>
                  <a:pt x="1128950" y="628967"/>
                  <a:pt x="1128950" y="709546"/>
                </a:cubicBezTo>
                <a:cubicBezTo>
                  <a:pt x="1128950" y="765023"/>
                  <a:pt x="1130614" y="786798"/>
                  <a:pt x="1162375" y="786798"/>
                </a:cubicBezTo>
                <a:cubicBezTo>
                  <a:pt x="1191223" y="786798"/>
                  <a:pt x="1217019" y="781666"/>
                  <a:pt x="1235049" y="740891"/>
                </a:cubicBezTo>
                <a:cubicBezTo>
                  <a:pt x="1297599" y="599148"/>
                  <a:pt x="1429911" y="303735"/>
                  <a:pt x="1512016" y="203322"/>
                </a:cubicBezTo>
                <a:cubicBezTo>
                  <a:pt x="1517425" y="196803"/>
                  <a:pt x="1522696" y="191256"/>
                  <a:pt x="1522696" y="183766"/>
                </a:cubicBezTo>
                <a:cubicBezTo>
                  <a:pt x="1522696" y="173365"/>
                  <a:pt x="1498563" y="159357"/>
                  <a:pt x="1479840" y="159357"/>
                </a:cubicBezTo>
                <a:close/>
              </a:path>
            </a:pathLst>
          </a:custGeom>
          <a:solidFill>
            <a:schemeClr val="bg1"/>
          </a:solidFill>
          <a:ln w="13855" cap="flat">
            <a:noFill/>
            <a:prstDash val="solid"/>
            <a:miter/>
          </a:ln>
        </p:spPr>
        <p:txBody>
          <a:bodyPr rtlCol="0" anchor="ctr"/>
          <a:lstStyle/>
          <a:p>
            <a:endParaRPr lang="en-GB"/>
          </a:p>
        </p:txBody>
      </p:sp>
    </p:spTree>
    <p:extLst>
      <p:ext uri="{BB962C8B-B14F-4D97-AF65-F5344CB8AC3E}">
        <p14:creationId xmlns:p14="http://schemas.microsoft.com/office/powerpoint/2010/main" val="1216079920"/>
      </p:ext>
    </p:extLst>
  </p:cSld>
  <p:clrMapOvr>
    <a:masterClrMapping/>
  </p:clrMapOvr>
  <p:transition spd="med">
    <p:fade/>
  </p:transition>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Slide with Icons - CONSTRUCTION">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AD77F60E-B86C-C647-DC15-1DF8FAC192D2}"/>
              </a:ext>
            </a:extLst>
          </p:cNvPr>
          <p:cNvSpPr>
            <a:spLocks noGrp="1"/>
          </p:cNvSpPr>
          <p:nvPr>
            <p:ph type="pic" sz="quarter" idx="13" hasCustomPrompt="1"/>
          </p:nvPr>
        </p:nvSpPr>
        <p:spPr>
          <a:xfrm>
            <a:off x="4067176" y="2"/>
            <a:ext cx="8124824" cy="6857999"/>
          </a:xfrm>
          <a:custGeom>
            <a:avLst/>
            <a:gdLst>
              <a:gd name="connsiteX0" fmla="*/ 3500643 w 8124824"/>
              <a:gd name="connsiteY0" fmla="*/ 1156531 h 6857999"/>
              <a:gd name="connsiteX1" fmla="*/ 3538395 w 8124824"/>
              <a:gd name="connsiteY1" fmla="*/ 1156531 h 6857999"/>
              <a:gd name="connsiteX2" fmla="*/ 3538395 w 8124824"/>
              <a:gd name="connsiteY2" fmla="*/ 1190999 h 6857999"/>
              <a:gd name="connsiteX3" fmla="*/ 3631315 w 8124824"/>
              <a:gd name="connsiteY3" fmla="*/ 1299771 h 6857999"/>
              <a:gd name="connsiteX4" fmla="*/ 3519519 w 8124824"/>
              <a:gd name="connsiteY4" fmla="*/ 1410108 h 6857999"/>
              <a:gd name="connsiteX5" fmla="*/ 3519519 w 8124824"/>
              <a:gd name="connsiteY5" fmla="*/ 1410057 h 6857999"/>
              <a:gd name="connsiteX6" fmla="*/ 3407722 w 8124824"/>
              <a:gd name="connsiteY6" fmla="*/ 1299719 h 6857999"/>
              <a:gd name="connsiteX7" fmla="*/ 3445474 w 8124824"/>
              <a:gd name="connsiteY7" fmla="*/ 1299719 h 6857999"/>
              <a:gd name="connsiteX8" fmla="*/ 3519519 w 8124824"/>
              <a:gd name="connsiteY8" fmla="*/ 1372774 h 6857999"/>
              <a:gd name="connsiteX9" fmla="*/ 3593563 w 8124824"/>
              <a:gd name="connsiteY9" fmla="*/ 1299719 h 6857999"/>
              <a:gd name="connsiteX10" fmla="*/ 3519519 w 8124824"/>
              <a:gd name="connsiteY10" fmla="*/ 1226666 h 6857999"/>
              <a:gd name="connsiteX11" fmla="*/ 3500643 w 8124824"/>
              <a:gd name="connsiteY11" fmla="*/ 1226666 h 6857999"/>
              <a:gd name="connsiteX12" fmla="*/ 1479209 w 8124824"/>
              <a:gd name="connsiteY12" fmla="*/ 1074105 h 6857999"/>
              <a:gd name="connsiteX13" fmla="*/ 1408607 w 8124824"/>
              <a:gd name="connsiteY13" fmla="*/ 1110605 h 6857999"/>
              <a:gd name="connsiteX14" fmla="*/ 1408554 w 8124824"/>
              <a:gd name="connsiteY14" fmla="*/ 1110658 h 6857999"/>
              <a:gd name="connsiteX15" fmla="*/ 1408658 w 8124824"/>
              <a:gd name="connsiteY15" fmla="*/ 1112535 h 6857999"/>
              <a:gd name="connsiteX16" fmla="*/ 1408554 w 8124824"/>
              <a:gd name="connsiteY16" fmla="*/ 1112587 h 6857999"/>
              <a:gd name="connsiteX17" fmla="*/ 1418827 w 8124824"/>
              <a:gd name="connsiteY17" fmla="*/ 1286331 h 6857999"/>
              <a:gd name="connsiteX18" fmla="*/ 1423676 w 8124824"/>
              <a:gd name="connsiteY18" fmla="*/ 1283620 h 6857999"/>
              <a:gd name="connsiteX19" fmla="*/ 1454389 w 8124824"/>
              <a:gd name="connsiteY19" fmla="*/ 1231945 h 6857999"/>
              <a:gd name="connsiteX20" fmla="*/ 1479209 w 8124824"/>
              <a:gd name="connsiteY20" fmla="*/ 1076087 h 6857999"/>
              <a:gd name="connsiteX21" fmla="*/ 1478845 w 8124824"/>
              <a:gd name="connsiteY21" fmla="*/ 1076244 h 6857999"/>
              <a:gd name="connsiteX22" fmla="*/ 1479209 w 8124824"/>
              <a:gd name="connsiteY22" fmla="*/ 1074105 h 6857999"/>
              <a:gd name="connsiteX23" fmla="*/ 6746854 w 8124824"/>
              <a:gd name="connsiteY23" fmla="*/ 1051836 h 6857999"/>
              <a:gd name="connsiteX24" fmla="*/ 6477373 w 8124824"/>
              <a:gd name="connsiteY24" fmla="*/ 1080255 h 6857999"/>
              <a:gd name="connsiteX25" fmla="*/ 6472315 w 8124824"/>
              <a:gd name="connsiteY25" fmla="*/ 1080777 h 6857999"/>
              <a:gd name="connsiteX26" fmla="*/ 6466996 w 8124824"/>
              <a:gd name="connsiteY26" fmla="*/ 1091309 h 6857999"/>
              <a:gd name="connsiteX27" fmla="*/ 6567060 w 8124824"/>
              <a:gd name="connsiteY27" fmla="*/ 1296184 h 6857999"/>
              <a:gd name="connsiteX28" fmla="*/ 6932017 w 8124824"/>
              <a:gd name="connsiteY28" fmla="*/ 1296184 h 6857999"/>
              <a:gd name="connsiteX29" fmla="*/ 7031978 w 8124824"/>
              <a:gd name="connsiteY29" fmla="*/ 1091309 h 6857999"/>
              <a:gd name="connsiteX30" fmla="*/ 7026607 w 8124824"/>
              <a:gd name="connsiteY30" fmla="*/ 1080777 h 6857999"/>
              <a:gd name="connsiteX31" fmla="*/ 7024261 w 8124824"/>
              <a:gd name="connsiteY31" fmla="*/ 1080568 h 6857999"/>
              <a:gd name="connsiteX32" fmla="*/ 6748053 w 8124824"/>
              <a:gd name="connsiteY32" fmla="*/ 1051992 h 6857999"/>
              <a:gd name="connsiteX33" fmla="*/ 5673793 w 8124824"/>
              <a:gd name="connsiteY33" fmla="*/ 1044602 h 6857999"/>
              <a:gd name="connsiteX34" fmla="*/ 5640838 w 8124824"/>
              <a:gd name="connsiteY34" fmla="*/ 1059984 h 6857999"/>
              <a:gd name="connsiteX35" fmla="*/ 5633017 w 8124824"/>
              <a:gd name="connsiteY35" fmla="*/ 1073698 h 6857999"/>
              <a:gd name="connsiteX36" fmla="*/ 5630670 w 8124824"/>
              <a:gd name="connsiteY36" fmla="*/ 1087412 h 6857999"/>
              <a:gd name="connsiteX37" fmla="*/ 5630670 w 8124824"/>
              <a:gd name="connsiteY37" fmla="*/ 1087620 h 6857999"/>
              <a:gd name="connsiteX38" fmla="*/ 5647043 w 8124824"/>
              <a:gd name="connsiteY38" fmla="*/ 1121410 h 6857999"/>
              <a:gd name="connsiteX39" fmla="*/ 5653040 w 8124824"/>
              <a:gd name="connsiteY39" fmla="*/ 1126154 h 6857999"/>
              <a:gd name="connsiteX40" fmla="*/ 5646626 w 8124824"/>
              <a:gd name="connsiteY40" fmla="*/ 1181323 h 6857999"/>
              <a:gd name="connsiteX41" fmla="*/ 5700804 w 8124824"/>
              <a:gd name="connsiteY41" fmla="*/ 1181323 h 6857999"/>
              <a:gd name="connsiteX42" fmla="*/ 5694286 w 8124824"/>
              <a:gd name="connsiteY42" fmla="*/ 1126154 h 6857999"/>
              <a:gd name="connsiteX43" fmla="*/ 5700386 w 8124824"/>
              <a:gd name="connsiteY43" fmla="*/ 1121410 h 6857999"/>
              <a:gd name="connsiteX44" fmla="*/ 5716760 w 8124824"/>
              <a:gd name="connsiteY44" fmla="*/ 1087620 h 6857999"/>
              <a:gd name="connsiteX45" fmla="*/ 5716760 w 8124824"/>
              <a:gd name="connsiteY45" fmla="*/ 1087412 h 6857999"/>
              <a:gd name="connsiteX46" fmla="*/ 5716864 w 8124824"/>
              <a:gd name="connsiteY46" fmla="*/ 1087412 h 6857999"/>
              <a:gd name="connsiteX47" fmla="*/ 5714518 w 8124824"/>
              <a:gd name="connsiteY47" fmla="*/ 1073698 h 6857999"/>
              <a:gd name="connsiteX48" fmla="*/ 5706695 w 8124824"/>
              <a:gd name="connsiteY48" fmla="*/ 1059984 h 6857999"/>
              <a:gd name="connsiteX49" fmla="*/ 5673793 w 8124824"/>
              <a:gd name="connsiteY49" fmla="*/ 1044602 h 6857999"/>
              <a:gd name="connsiteX50" fmla="*/ 2527407 w 8124824"/>
              <a:gd name="connsiteY50" fmla="*/ 1036166 h 6857999"/>
              <a:gd name="connsiteX51" fmla="*/ 2463323 w 8124824"/>
              <a:gd name="connsiteY51" fmla="*/ 1229673 h 6857999"/>
              <a:gd name="connsiteX52" fmla="*/ 2684621 w 8124824"/>
              <a:gd name="connsiteY52" fmla="*/ 1229673 h 6857999"/>
              <a:gd name="connsiteX53" fmla="*/ 2684621 w 8124824"/>
              <a:gd name="connsiteY53" fmla="*/ 1036166 h 6857999"/>
              <a:gd name="connsiteX54" fmla="*/ 2718046 w 8124824"/>
              <a:gd name="connsiteY54" fmla="*/ 1036114 h 6857999"/>
              <a:gd name="connsiteX55" fmla="*/ 2718046 w 8124824"/>
              <a:gd name="connsiteY55" fmla="*/ 1229620 h 6857999"/>
              <a:gd name="connsiteX56" fmla="*/ 2782130 w 8124824"/>
              <a:gd name="connsiteY56" fmla="*/ 1229620 h 6857999"/>
              <a:gd name="connsiteX57" fmla="*/ 2359190 w 8124824"/>
              <a:gd name="connsiteY57" fmla="*/ 1034967 h 6857999"/>
              <a:gd name="connsiteX58" fmla="*/ 2359190 w 8124824"/>
              <a:gd name="connsiteY58" fmla="*/ 1228368 h 6857999"/>
              <a:gd name="connsiteX59" fmla="*/ 2423275 w 8124824"/>
              <a:gd name="connsiteY59" fmla="*/ 1228368 h 6857999"/>
              <a:gd name="connsiteX60" fmla="*/ 2168552 w 8124824"/>
              <a:gd name="connsiteY60" fmla="*/ 1034967 h 6857999"/>
              <a:gd name="connsiteX61" fmla="*/ 2104466 w 8124824"/>
              <a:gd name="connsiteY61" fmla="*/ 1228368 h 6857999"/>
              <a:gd name="connsiteX62" fmla="*/ 2325766 w 8124824"/>
              <a:gd name="connsiteY62" fmla="*/ 1228368 h 6857999"/>
              <a:gd name="connsiteX63" fmla="*/ 2325766 w 8124824"/>
              <a:gd name="connsiteY63" fmla="*/ 1034967 h 6857999"/>
              <a:gd name="connsiteX64" fmla="*/ 5673793 w 8124824"/>
              <a:gd name="connsiteY64" fmla="*/ 1017173 h 6857999"/>
              <a:gd name="connsiteX65" fmla="*/ 5738607 w 8124824"/>
              <a:gd name="connsiteY65" fmla="*/ 1059984 h 6857999"/>
              <a:gd name="connsiteX66" fmla="*/ 5742936 w 8124824"/>
              <a:gd name="connsiteY66" fmla="*/ 1073698 h 6857999"/>
              <a:gd name="connsiteX67" fmla="*/ 5744291 w 8124824"/>
              <a:gd name="connsiteY67" fmla="*/ 1087412 h 6857999"/>
              <a:gd name="connsiteX68" fmla="*/ 5744291 w 8124824"/>
              <a:gd name="connsiteY68" fmla="*/ 1087620 h 6857999"/>
              <a:gd name="connsiteX69" fmla="*/ 5723382 w 8124824"/>
              <a:gd name="connsiteY69" fmla="*/ 1137678 h 6857999"/>
              <a:gd name="connsiteX70" fmla="*/ 5731726 w 8124824"/>
              <a:gd name="connsiteY70" fmla="*/ 1208803 h 6857999"/>
              <a:gd name="connsiteX71" fmla="*/ 5615860 w 8124824"/>
              <a:gd name="connsiteY71" fmla="*/ 1208803 h 6857999"/>
              <a:gd name="connsiteX72" fmla="*/ 5624152 w 8124824"/>
              <a:gd name="connsiteY72" fmla="*/ 1137678 h 6857999"/>
              <a:gd name="connsiteX73" fmla="*/ 5603242 w 8124824"/>
              <a:gd name="connsiteY73" fmla="*/ 1087620 h 6857999"/>
              <a:gd name="connsiteX74" fmla="*/ 5603242 w 8124824"/>
              <a:gd name="connsiteY74" fmla="*/ 1087412 h 6857999"/>
              <a:gd name="connsiteX75" fmla="*/ 5604650 w 8124824"/>
              <a:gd name="connsiteY75" fmla="*/ 1073698 h 6857999"/>
              <a:gd name="connsiteX76" fmla="*/ 5608979 w 8124824"/>
              <a:gd name="connsiteY76" fmla="*/ 1059984 h 6857999"/>
              <a:gd name="connsiteX77" fmla="*/ 5673793 w 8124824"/>
              <a:gd name="connsiteY77" fmla="*/ 1017173 h 6857999"/>
              <a:gd name="connsiteX78" fmla="*/ 6762601 w 8124824"/>
              <a:gd name="connsiteY78" fmla="*/ 1000370 h 6857999"/>
              <a:gd name="connsiteX79" fmla="*/ 6762601 w 8124824"/>
              <a:gd name="connsiteY79" fmla="*/ 1024356 h 6857999"/>
              <a:gd name="connsiteX80" fmla="*/ 6766511 w 8124824"/>
              <a:gd name="connsiteY80" fmla="*/ 1024774 h 6857999"/>
              <a:gd name="connsiteX81" fmla="*/ 6862874 w 8124824"/>
              <a:gd name="connsiteY81" fmla="*/ 1034784 h 6857999"/>
              <a:gd name="connsiteX82" fmla="*/ 6862874 w 8124824"/>
              <a:gd name="connsiteY82" fmla="*/ 1000370 h 6857999"/>
              <a:gd name="connsiteX83" fmla="*/ 6891866 w 8124824"/>
              <a:gd name="connsiteY83" fmla="*/ 1000317 h 6857999"/>
              <a:gd name="connsiteX84" fmla="*/ 6891866 w 8124824"/>
              <a:gd name="connsiteY84" fmla="*/ 1037704 h 6857999"/>
              <a:gd name="connsiteX85" fmla="*/ 6895048 w 8124824"/>
              <a:gd name="connsiteY85" fmla="*/ 1038069 h 6857999"/>
              <a:gd name="connsiteX86" fmla="*/ 6995321 w 8124824"/>
              <a:gd name="connsiteY86" fmla="*/ 1048447 h 6857999"/>
              <a:gd name="connsiteX87" fmla="*/ 6995321 w 8124824"/>
              <a:gd name="connsiteY87" fmla="*/ 1000317 h 6857999"/>
              <a:gd name="connsiteX88" fmla="*/ 6634170 w 8124824"/>
              <a:gd name="connsiteY88" fmla="*/ 1000317 h 6857999"/>
              <a:gd name="connsiteX89" fmla="*/ 6634170 w 8124824"/>
              <a:gd name="connsiteY89" fmla="*/ 1034524 h 6857999"/>
              <a:gd name="connsiteX90" fmla="*/ 6638811 w 8124824"/>
              <a:gd name="connsiteY90" fmla="*/ 1034106 h 6857999"/>
              <a:gd name="connsiteX91" fmla="*/ 6733662 w 8124824"/>
              <a:gd name="connsiteY91" fmla="*/ 1024096 h 6857999"/>
              <a:gd name="connsiteX92" fmla="*/ 6733662 w 8124824"/>
              <a:gd name="connsiteY92" fmla="*/ 1000317 h 6857999"/>
              <a:gd name="connsiteX93" fmla="*/ 6634222 w 8124824"/>
              <a:gd name="connsiteY93" fmla="*/ 1000317 h 6857999"/>
              <a:gd name="connsiteX94" fmla="*/ 6506418 w 8124824"/>
              <a:gd name="connsiteY94" fmla="*/ 1000317 h 6857999"/>
              <a:gd name="connsiteX95" fmla="*/ 6506418 w 8124824"/>
              <a:gd name="connsiteY95" fmla="*/ 1048029 h 6857999"/>
              <a:gd name="connsiteX96" fmla="*/ 6605127 w 8124824"/>
              <a:gd name="connsiteY96" fmla="*/ 1037653 h 6857999"/>
              <a:gd name="connsiteX97" fmla="*/ 6605127 w 8124824"/>
              <a:gd name="connsiteY97" fmla="*/ 1000317 h 6857999"/>
              <a:gd name="connsiteX98" fmla="*/ 4629579 w 8124824"/>
              <a:gd name="connsiteY98" fmla="*/ 974096 h 6857999"/>
              <a:gd name="connsiteX99" fmla="*/ 4519033 w 8124824"/>
              <a:gd name="connsiteY99" fmla="*/ 1398184 h 6857999"/>
              <a:gd name="connsiteX100" fmla="*/ 4802384 w 8124824"/>
              <a:gd name="connsiteY100" fmla="*/ 1019096 h 6857999"/>
              <a:gd name="connsiteX101" fmla="*/ 4629631 w 8124824"/>
              <a:gd name="connsiteY101" fmla="*/ 974096 h 6857999"/>
              <a:gd name="connsiteX102" fmla="*/ 5476897 w 8124824"/>
              <a:gd name="connsiteY102" fmla="*/ 961170 h 6857999"/>
              <a:gd name="connsiteX103" fmla="*/ 5476897 w 8124824"/>
              <a:gd name="connsiteY103" fmla="*/ 1285663 h 6857999"/>
              <a:gd name="connsiteX104" fmla="*/ 5870742 w 8124824"/>
              <a:gd name="connsiteY104" fmla="*/ 1285663 h 6857999"/>
              <a:gd name="connsiteX105" fmla="*/ 5870742 w 8124824"/>
              <a:gd name="connsiteY105" fmla="*/ 961170 h 6857999"/>
              <a:gd name="connsiteX106" fmla="*/ 3519726 w 8124824"/>
              <a:gd name="connsiteY106" fmla="*/ 925949 h 6857999"/>
              <a:gd name="connsiteX107" fmla="*/ 3579798 w 8124824"/>
              <a:gd name="connsiteY107" fmla="*/ 986072 h 6857999"/>
              <a:gd name="connsiteX108" fmla="*/ 3519726 w 8124824"/>
              <a:gd name="connsiteY108" fmla="*/ 1046142 h 6857999"/>
              <a:gd name="connsiteX109" fmla="*/ 3459605 w 8124824"/>
              <a:gd name="connsiteY109" fmla="*/ 986072 h 6857999"/>
              <a:gd name="connsiteX110" fmla="*/ 3519726 w 8124824"/>
              <a:gd name="connsiteY110" fmla="*/ 925949 h 6857999"/>
              <a:gd name="connsiteX111" fmla="*/ 6891866 w 8124824"/>
              <a:gd name="connsiteY111" fmla="*/ 916365 h 6857999"/>
              <a:gd name="connsiteX112" fmla="*/ 6891866 w 8124824"/>
              <a:gd name="connsiteY112" fmla="*/ 971325 h 6857999"/>
              <a:gd name="connsiteX113" fmla="*/ 6995321 w 8124824"/>
              <a:gd name="connsiteY113" fmla="*/ 971325 h 6857999"/>
              <a:gd name="connsiteX114" fmla="*/ 6995321 w 8124824"/>
              <a:gd name="connsiteY114" fmla="*/ 916365 h 6857999"/>
              <a:gd name="connsiteX115" fmla="*/ 6762601 w 8124824"/>
              <a:gd name="connsiteY115" fmla="*/ 916365 h 6857999"/>
              <a:gd name="connsiteX116" fmla="*/ 6762601 w 8124824"/>
              <a:gd name="connsiteY116" fmla="*/ 971325 h 6857999"/>
              <a:gd name="connsiteX117" fmla="*/ 6862874 w 8124824"/>
              <a:gd name="connsiteY117" fmla="*/ 971325 h 6857999"/>
              <a:gd name="connsiteX118" fmla="*/ 6862874 w 8124824"/>
              <a:gd name="connsiteY118" fmla="*/ 916365 h 6857999"/>
              <a:gd name="connsiteX119" fmla="*/ 6634170 w 8124824"/>
              <a:gd name="connsiteY119" fmla="*/ 916365 h 6857999"/>
              <a:gd name="connsiteX120" fmla="*/ 6634170 w 8124824"/>
              <a:gd name="connsiteY120" fmla="*/ 971325 h 6857999"/>
              <a:gd name="connsiteX121" fmla="*/ 6733609 w 8124824"/>
              <a:gd name="connsiteY121" fmla="*/ 971325 h 6857999"/>
              <a:gd name="connsiteX122" fmla="*/ 6733609 w 8124824"/>
              <a:gd name="connsiteY122" fmla="*/ 916365 h 6857999"/>
              <a:gd name="connsiteX123" fmla="*/ 6506469 w 8124824"/>
              <a:gd name="connsiteY123" fmla="*/ 916365 h 6857999"/>
              <a:gd name="connsiteX124" fmla="*/ 6506469 w 8124824"/>
              <a:gd name="connsiteY124" fmla="*/ 971325 h 6857999"/>
              <a:gd name="connsiteX125" fmla="*/ 6605178 w 8124824"/>
              <a:gd name="connsiteY125" fmla="*/ 971325 h 6857999"/>
              <a:gd name="connsiteX126" fmla="*/ 6605178 w 8124824"/>
              <a:gd name="connsiteY126" fmla="*/ 916365 h 6857999"/>
              <a:gd name="connsiteX127" fmla="*/ 3519726 w 8124824"/>
              <a:gd name="connsiteY127" fmla="*/ 888406 h 6857999"/>
              <a:gd name="connsiteX128" fmla="*/ 3422061 w 8124824"/>
              <a:gd name="connsiteY128" fmla="*/ 986021 h 6857999"/>
              <a:gd name="connsiteX129" fmla="*/ 3519726 w 8124824"/>
              <a:gd name="connsiteY129" fmla="*/ 1083687 h 6857999"/>
              <a:gd name="connsiteX130" fmla="*/ 3617392 w 8124824"/>
              <a:gd name="connsiteY130" fmla="*/ 986021 h 6857999"/>
              <a:gd name="connsiteX131" fmla="*/ 3519726 w 8124824"/>
              <a:gd name="connsiteY131" fmla="*/ 888406 h 6857999"/>
              <a:gd name="connsiteX132" fmla="*/ 3324447 w 8124824"/>
              <a:gd name="connsiteY132" fmla="*/ 856912 h 6857999"/>
              <a:gd name="connsiteX133" fmla="*/ 3324500 w 8124824"/>
              <a:gd name="connsiteY133" fmla="*/ 856912 h 6857999"/>
              <a:gd name="connsiteX134" fmla="*/ 3714589 w 8124824"/>
              <a:gd name="connsiteY134" fmla="*/ 856912 h 6857999"/>
              <a:gd name="connsiteX135" fmla="*/ 3656084 w 8124824"/>
              <a:gd name="connsiteY135" fmla="*/ 1118884 h 6857999"/>
              <a:gd name="connsiteX136" fmla="*/ 3382900 w 8124824"/>
              <a:gd name="connsiteY136" fmla="*/ 1118884 h 6857999"/>
              <a:gd name="connsiteX137" fmla="*/ 1116267 w 8124824"/>
              <a:gd name="connsiteY137" fmla="*/ 850675 h 6857999"/>
              <a:gd name="connsiteX138" fmla="*/ 1090163 w 8124824"/>
              <a:gd name="connsiteY138" fmla="*/ 860785 h 6857999"/>
              <a:gd name="connsiteX139" fmla="*/ 1085782 w 8124824"/>
              <a:gd name="connsiteY139" fmla="*/ 864695 h 6857999"/>
              <a:gd name="connsiteX140" fmla="*/ 1294150 w 8124824"/>
              <a:gd name="connsiteY140" fmla="*/ 986346 h 6857999"/>
              <a:gd name="connsiteX141" fmla="*/ 1294150 w 8124824"/>
              <a:gd name="connsiteY141" fmla="*/ 986295 h 6857999"/>
              <a:gd name="connsiteX142" fmla="*/ 1396144 w 8124824"/>
              <a:gd name="connsiteY142" fmla="*/ 932117 h 6857999"/>
              <a:gd name="connsiteX143" fmla="*/ 1149764 w 8124824"/>
              <a:gd name="connsiteY143" fmla="*/ 856716 h 6857999"/>
              <a:gd name="connsiteX144" fmla="*/ 1116267 w 8124824"/>
              <a:gd name="connsiteY144" fmla="*/ 850675 h 6857999"/>
              <a:gd name="connsiteX145" fmla="*/ 1645683 w 8124824"/>
              <a:gd name="connsiteY145" fmla="*/ 847722 h 6857999"/>
              <a:gd name="connsiteX146" fmla="*/ 1627872 w 8124824"/>
              <a:gd name="connsiteY146" fmla="*/ 852806 h 6857999"/>
              <a:gd name="connsiteX147" fmla="*/ 1175522 w 8124824"/>
              <a:gd name="connsiteY147" fmla="*/ 1086568 h 6857999"/>
              <a:gd name="connsiteX148" fmla="*/ 1149243 w 8124824"/>
              <a:gd name="connsiteY148" fmla="*/ 1088184 h 6857999"/>
              <a:gd name="connsiteX149" fmla="*/ 1049335 w 8124824"/>
              <a:gd name="connsiteY149" fmla="*/ 1058514 h 6857999"/>
              <a:gd name="connsiteX150" fmla="*/ 1024878 w 8124824"/>
              <a:gd name="connsiteY150" fmla="*/ 1071185 h 6857999"/>
              <a:gd name="connsiteX151" fmla="*/ 1173488 w 8124824"/>
              <a:gd name="connsiteY151" fmla="*/ 1171876 h 6857999"/>
              <a:gd name="connsiteX152" fmla="*/ 1211867 w 8124824"/>
              <a:gd name="connsiteY152" fmla="*/ 1172710 h 6857999"/>
              <a:gd name="connsiteX153" fmla="*/ 1670683 w 8124824"/>
              <a:gd name="connsiteY153" fmla="*/ 935611 h 6857999"/>
              <a:gd name="connsiteX154" fmla="*/ 1690706 w 8124824"/>
              <a:gd name="connsiteY154" fmla="*/ 872830 h 6857999"/>
              <a:gd name="connsiteX155" fmla="*/ 1645683 w 8124824"/>
              <a:gd name="connsiteY155" fmla="*/ 847722 h 6857999"/>
              <a:gd name="connsiteX156" fmla="*/ 2536950 w 8124824"/>
              <a:gd name="connsiteY156" fmla="*/ 805950 h 6857999"/>
              <a:gd name="connsiteX157" fmla="*/ 2536950 w 8124824"/>
              <a:gd name="connsiteY157" fmla="*/ 999352 h 6857999"/>
              <a:gd name="connsiteX158" fmla="*/ 2601034 w 8124824"/>
              <a:gd name="connsiteY158" fmla="*/ 999352 h 6857999"/>
              <a:gd name="connsiteX159" fmla="*/ 2346258 w 8124824"/>
              <a:gd name="connsiteY159" fmla="*/ 805950 h 6857999"/>
              <a:gd name="connsiteX160" fmla="*/ 2332388 w 8124824"/>
              <a:gd name="connsiteY160" fmla="*/ 847718 h 6857999"/>
              <a:gd name="connsiteX161" fmla="*/ 2325819 w 8124824"/>
              <a:gd name="connsiteY161" fmla="*/ 867688 h 6857999"/>
              <a:gd name="connsiteX162" fmla="*/ 2282225 w 8124824"/>
              <a:gd name="connsiteY162" fmla="*/ 999352 h 6857999"/>
              <a:gd name="connsiteX163" fmla="*/ 2503524 w 8124824"/>
              <a:gd name="connsiteY163" fmla="*/ 999352 h 6857999"/>
              <a:gd name="connsiteX164" fmla="*/ 2503524 w 8124824"/>
              <a:gd name="connsiteY164" fmla="*/ 805950 h 6857999"/>
              <a:gd name="connsiteX165" fmla="*/ 2503473 w 8124824"/>
              <a:gd name="connsiteY165" fmla="*/ 805950 h 6857999"/>
              <a:gd name="connsiteX166" fmla="*/ 6612948 w 8124824"/>
              <a:gd name="connsiteY166" fmla="*/ 788508 h 6857999"/>
              <a:gd name="connsiteX167" fmla="*/ 6612948 w 8124824"/>
              <a:gd name="connsiteY167" fmla="*/ 831997 h 6857999"/>
              <a:gd name="connsiteX168" fmla="*/ 6670932 w 8124824"/>
              <a:gd name="connsiteY168" fmla="*/ 831997 h 6857999"/>
              <a:gd name="connsiteX169" fmla="*/ 6670932 w 8124824"/>
              <a:gd name="connsiteY169" fmla="*/ 887373 h 6857999"/>
              <a:gd name="connsiteX170" fmla="*/ 6830388 w 8124824"/>
              <a:gd name="connsiteY170" fmla="*/ 887373 h 6857999"/>
              <a:gd name="connsiteX171" fmla="*/ 6830388 w 8124824"/>
              <a:gd name="connsiteY171" fmla="*/ 831997 h 6857999"/>
              <a:gd name="connsiteX172" fmla="*/ 6888374 w 8124824"/>
              <a:gd name="connsiteY172" fmla="*/ 831997 h 6857999"/>
              <a:gd name="connsiteX173" fmla="*/ 6888374 w 8124824"/>
              <a:gd name="connsiteY173" fmla="*/ 788508 h 6857999"/>
              <a:gd name="connsiteX174" fmla="*/ 5673793 w 8124824"/>
              <a:gd name="connsiteY174" fmla="*/ 779448 h 6857999"/>
              <a:gd name="connsiteX175" fmla="*/ 5519812 w 8124824"/>
              <a:gd name="connsiteY175" fmla="*/ 933482 h 6857999"/>
              <a:gd name="connsiteX176" fmla="*/ 5519812 w 8124824"/>
              <a:gd name="connsiteY176" fmla="*/ 933742 h 6857999"/>
              <a:gd name="connsiteX177" fmla="*/ 5547239 w 8124824"/>
              <a:gd name="connsiteY177" fmla="*/ 933742 h 6857999"/>
              <a:gd name="connsiteX178" fmla="*/ 5547239 w 8124824"/>
              <a:gd name="connsiteY178" fmla="*/ 933482 h 6857999"/>
              <a:gd name="connsiteX179" fmla="*/ 5673793 w 8124824"/>
              <a:gd name="connsiteY179" fmla="*/ 806876 h 6857999"/>
              <a:gd name="connsiteX180" fmla="*/ 5800398 w 8124824"/>
              <a:gd name="connsiteY180" fmla="*/ 933482 h 6857999"/>
              <a:gd name="connsiteX181" fmla="*/ 5800398 w 8124824"/>
              <a:gd name="connsiteY181" fmla="*/ 933742 h 6857999"/>
              <a:gd name="connsiteX182" fmla="*/ 5827827 w 8124824"/>
              <a:gd name="connsiteY182" fmla="*/ 933742 h 6857999"/>
              <a:gd name="connsiteX183" fmla="*/ 5827827 w 8124824"/>
              <a:gd name="connsiteY183" fmla="*/ 933482 h 6857999"/>
              <a:gd name="connsiteX184" fmla="*/ 5673793 w 8124824"/>
              <a:gd name="connsiteY184" fmla="*/ 779448 h 6857999"/>
              <a:gd name="connsiteX185" fmla="*/ 3593563 w 8124824"/>
              <a:gd name="connsiteY185" fmla="*/ 703712 h 6857999"/>
              <a:gd name="connsiteX186" fmla="*/ 3631315 w 8124824"/>
              <a:gd name="connsiteY186" fmla="*/ 703712 h 6857999"/>
              <a:gd name="connsiteX187" fmla="*/ 3631315 w 8124824"/>
              <a:gd name="connsiteY187" fmla="*/ 819576 h 6857999"/>
              <a:gd name="connsiteX188" fmla="*/ 3593563 w 8124824"/>
              <a:gd name="connsiteY188" fmla="*/ 819576 h 6857999"/>
              <a:gd name="connsiteX189" fmla="*/ 3407722 w 8124824"/>
              <a:gd name="connsiteY189" fmla="*/ 703712 h 6857999"/>
              <a:gd name="connsiteX190" fmla="*/ 3445527 w 8124824"/>
              <a:gd name="connsiteY190" fmla="*/ 703712 h 6857999"/>
              <a:gd name="connsiteX191" fmla="*/ 3445527 w 8124824"/>
              <a:gd name="connsiteY191" fmla="*/ 819576 h 6857999"/>
              <a:gd name="connsiteX192" fmla="*/ 3407722 w 8124824"/>
              <a:gd name="connsiteY192" fmla="*/ 819576 h 6857999"/>
              <a:gd name="connsiteX193" fmla="*/ 4658414 w 8124824"/>
              <a:gd name="connsiteY193" fmla="*/ 701330 h 6857999"/>
              <a:gd name="connsiteX194" fmla="*/ 4389090 w 8124824"/>
              <a:gd name="connsiteY194" fmla="*/ 1061593 h 6857999"/>
              <a:gd name="connsiteX195" fmla="*/ 4553344 w 8124824"/>
              <a:gd name="connsiteY195" fmla="*/ 1104351 h 6857999"/>
              <a:gd name="connsiteX196" fmla="*/ 4658414 w 8124824"/>
              <a:gd name="connsiteY196" fmla="*/ 701383 h 6857999"/>
              <a:gd name="connsiteX197" fmla="*/ 3519518 w 8124824"/>
              <a:gd name="connsiteY197" fmla="*/ 591082 h 6857999"/>
              <a:gd name="connsiteX198" fmla="*/ 3065759 w 8124824"/>
              <a:gd name="connsiteY198" fmla="*/ 1044840 h 6857999"/>
              <a:gd name="connsiteX199" fmla="*/ 3519518 w 8124824"/>
              <a:gd name="connsiteY199" fmla="*/ 1498599 h 6857999"/>
              <a:gd name="connsiteX200" fmla="*/ 3973274 w 8124824"/>
              <a:gd name="connsiteY200" fmla="*/ 1044840 h 6857999"/>
              <a:gd name="connsiteX201" fmla="*/ 3519518 w 8124824"/>
              <a:gd name="connsiteY201" fmla="*/ 591082 h 6857999"/>
              <a:gd name="connsiteX202" fmla="*/ 0 w 8124824"/>
              <a:gd name="connsiteY202" fmla="*/ 0 h 6857999"/>
              <a:gd name="connsiteX203" fmla="*/ 8124824 w 8124824"/>
              <a:gd name="connsiteY203" fmla="*/ 0 h 6857999"/>
              <a:gd name="connsiteX204" fmla="*/ 8124824 w 8124824"/>
              <a:gd name="connsiteY204" fmla="*/ 6857999 h 6857999"/>
              <a:gd name="connsiteX205" fmla="*/ 0 w 8124824"/>
              <a:gd name="connsiteY20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Lst>
            <a:rect l="l" t="t" r="r" b="b"/>
            <a:pathLst>
              <a:path w="8124824" h="6857999">
                <a:moveTo>
                  <a:pt x="3500643" y="1156531"/>
                </a:moveTo>
                <a:lnTo>
                  <a:pt x="3538395" y="1156531"/>
                </a:lnTo>
                <a:lnTo>
                  <a:pt x="3538395" y="1190999"/>
                </a:lnTo>
                <a:cubicBezTo>
                  <a:pt x="3591060" y="1199863"/>
                  <a:pt x="3631315" y="1245280"/>
                  <a:pt x="3631315" y="1299771"/>
                </a:cubicBezTo>
                <a:cubicBezTo>
                  <a:pt x="3631315" y="1360572"/>
                  <a:pt x="3581153" y="1410108"/>
                  <a:pt x="3519519" y="1410108"/>
                </a:cubicBezTo>
                <a:lnTo>
                  <a:pt x="3519519" y="1410057"/>
                </a:lnTo>
                <a:cubicBezTo>
                  <a:pt x="3457885" y="1410057"/>
                  <a:pt x="3407722" y="1360572"/>
                  <a:pt x="3407722" y="1299719"/>
                </a:cubicBezTo>
                <a:lnTo>
                  <a:pt x="3445474" y="1299719"/>
                </a:lnTo>
                <a:cubicBezTo>
                  <a:pt x="3445474" y="1339975"/>
                  <a:pt x="3478689" y="1372774"/>
                  <a:pt x="3519519" y="1372774"/>
                </a:cubicBezTo>
                <a:cubicBezTo>
                  <a:pt x="3560348" y="1372774"/>
                  <a:pt x="3593563" y="1339975"/>
                  <a:pt x="3593563" y="1299719"/>
                </a:cubicBezTo>
                <a:cubicBezTo>
                  <a:pt x="3593563" y="1259464"/>
                  <a:pt x="3560348" y="1226666"/>
                  <a:pt x="3519519" y="1226666"/>
                </a:cubicBezTo>
                <a:lnTo>
                  <a:pt x="3500643" y="1226666"/>
                </a:lnTo>
                <a:close/>
                <a:moveTo>
                  <a:pt x="1479209" y="1074105"/>
                </a:moveTo>
                <a:cubicBezTo>
                  <a:pt x="1464558" y="1081666"/>
                  <a:pt x="1417524" y="1105966"/>
                  <a:pt x="1408607" y="1110605"/>
                </a:cubicBezTo>
                <a:lnTo>
                  <a:pt x="1408554" y="1110658"/>
                </a:lnTo>
                <a:cubicBezTo>
                  <a:pt x="1408554" y="1111076"/>
                  <a:pt x="1408658" y="1112013"/>
                  <a:pt x="1408658" y="1112535"/>
                </a:cubicBezTo>
                <a:cubicBezTo>
                  <a:pt x="1408658" y="1112535"/>
                  <a:pt x="1408554" y="1112535"/>
                  <a:pt x="1408554" y="1112587"/>
                </a:cubicBezTo>
                <a:cubicBezTo>
                  <a:pt x="1410066" y="1137042"/>
                  <a:pt x="1416793" y="1250665"/>
                  <a:pt x="1418827" y="1286331"/>
                </a:cubicBezTo>
                <a:cubicBezTo>
                  <a:pt x="1420391" y="1285392"/>
                  <a:pt x="1421956" y="1284507"/>
                  <a:pt x="1423676" y="1283620"/>
                </a:cubicBezTo>
                <a:cubicBezTo>
                  <a:pt x="1442291" y="1273973"/>
                  <a:pt x="1450582" y="1259947"/>
                  <a:pt x="1454389" y="1231945"/>
                </a:cubicBezTo>
                <a:cubicBezTo>
                  <a:pt x="1461846" y="1175890"/>
                  <a:pt x="1470241" y="1127032"/>
                  <a:pt x="1479209" y="1076087"/>
                </a:cubicBezTo>
                <a:cubicBezTo>
                  <a:pt x="1479105" y="1076087"/>
                  <a:pt x="1478949" y="1076244"/>
                  <a:pt x="1478845" y="1076244"/>
                </a:cubicBezTo>
                <a:cubicBezTo>
                  <a:pt x="1479002" y="1075566"/>
                  <a:pt x="1479105" y="1074835"/>
                  <a:pt x="1479209" y="1074105"/>
                </a:cubicBezTo>
                <a:close/>
                <a:moveTo>
                  <a:pt x="6746854" y="1051836"/>
                </a:moveTo>
                <a:lnTo>
                  <a:pt x="6477373" y="1080255"/>
                </a:lnTo>
                <a:lnTo>
                  <a:pt x="6472315" y="1080777"/>
                </a:lnTo>
                <a:cubicBezTo>
                  <a:pt x="6467205" y="1081402"/>
                  <a:pt x="6464494" y="1086981"/>
                  <a:pt x="6466996" y="1091309"/>
                </a:cubicBezTo>
                <a:lnTo>
                  <a:pt x="6567060" y="1296184"/>
                </a:lnTo>
                <a:lnTo>
                  <a:pt x="6932017" y="1296184"/>
                </a:lnTo>
                <a:lnTo>
                  <a:pt x="7031978" y="1091309"/>
                </a:lnTo>
                <a:cubicBezTo>
                  <a:pt x="7034533" y="1086929"/>
                  <a:pt x="7031665" y="1081349"/>
                  <a:pt x="7026607" y="1080777"/>
                </a:cubicBezTo>
                <a:lnTo>
                  <a:pt x="7024261" y="1080568"/>
                </a:lnTo>
                <a:lnTo>
                  <a:pt x="6748053" y="1051992"/>
                </a:lnTo>
                <a:close/>
                <a:moveTo>
                  <a:pt x="5673793" y="1044602"/>
                </a:moveTo>
                <a:cubicBezTo>
                  <a:pt x="5660548" y="1044602"/>
                  <a:pt x="5648764" y="1050598"/>
                  <a:pt x="5640838" y="1059984"/>
                </a:cubicBezTo>
                <a:cubicBezTo>
                  <a:pt x="5637396" y="1064051"/>
                  <a:pt x="5634738" y="1068639"/>
                  <a:pt x="5633017" y="1073698"/>
                </a:cubicBezTo>
                <a:cubicBezTo>
                  <a:pt x="5631453" y="1078026"/>
                  <a:pt x="5630670" y="1082614"/>
                  <a:pt x="5630670" y="1087412"/>
                </a:cubicBezTo>
                <a:lnTo>
                  <a:pt x="5630670" y="1087620"/>
                </a:lnTo>
                <a:cubicBezTo>
                  <a:pt x="5630670" y="1100916"/>
                  <a:pt x="5636615" y="1113171"/>
                  <a:pt x="5647043" y="1121410"/>
                </a:cubicBezTo>
                <a:lnTo>
                  <a:pt x="5653040" y="1126154"/>
                </a:lnTo>
                <a:lnTo>
                  <a:pt x="5646626" y="1181323"/>
                </a:lnTo>
                <a:lnTo>
                  <a:pt x="5700804" y="1181323"/>
                </a:lnTo>
                <a:lnTo>
                  <a:pt x="5694286" y="1126154"/>
                </a:lnTo>
                <a:lnTo>
                  <a:pt x="5700386" y="1121410"/>
                </a:lnTo>
                <a:cubicBezTo>
                  <a:pt x="5710764" y="1113171"/>
                  <a:pt x="5716760" y="1100916"/>
                  <a:pt x="5716760" y="1087620"/>
                </a:cubicBezTo>
                <a:lnTo>
                  <a:pt x="5716760" y="1087412"/>
                </a:lnTo>
                <a:lnTo>
                  <a:pt x="5716864" y="1087412"/>
                </a:lnTo>
                <a:cubicBezTo>
                  <a:pt x="5716864" y="1082614"/>
                  <a:pt x="5716030" y="1078026"/>
                  <a:pt x="5714518" y="1073698"/>
                </a:cubicBezTo>
                <a:cubicBezTo>
                  <a:pt x="5712797" y="1068639"/>
                  <a:pt x="5710137" y="1064051"/>
                  <a:pt x="5706695" y="1059984"/>
                </a:cubicBezTo>
                <a:cubicBezTo>
                  <a:pt x="5698822" y="1050598"/>
                  <a:pt x="5687038" y="1044602"/>
                  <a:pt x="5673793" y="1044602"/>
                </a:cubicBezTo>
                <a:close/>
                <a:moveTo>
                  <a:pt x="2527407" y="1036166"/>
                </a:moveTo>
                <a:lnTo>
                  <a:pt x="2463323" y="1229673"/>
                </a:lnTo>
                <a:lnTo>
                  <a:pt x="2684621" y="1229673"/>
                </a:lnTo>
                <a:lnTo>
                  <a:pt x="2684621" y="1036166"/>
                </a:lnTo>
                <a:close/>
                <a:moveTo>
                  <a:pt x="2718046" y="1036114"/>
                </a:moveTo>
                <a:lnTo>
                  <a:pt x="2718046" y="1229620"/>
                </a:lnTo>
                <a:lnTo>
                  <a:pt x="2782130" y="1229620"/>
                </a:lnTo>
                <a:close/>
                <a:moveTo>
                  <a:pt x="2359190" y="1034967"/>
                </a:moveTo>
                <a:lnTo>
                  <a:pt x="2359190" y="1228368"/>
                </a:lnTo>
                <a:lnTo>
                  <a:pt x="2423275" y="1228368"/>
                </a:lnTo>
                <a:close/>
                <a:moveTo>
                  <a:pt x="2168552" y="1034967"/>
                </a:moveTo>
                <a:lnTo>
                  <a:pt x="2104466" y="1228368"/>
                </a:lnTo>
                <a:lnTo>
                  <a:pt x="2325766" y="1228368"/>
                </a:lnTo>
                <a:lnTo>
                  <a:pt x="2325766" y="1034967"/>
                </a:lnTo>
                <a:close/>
                <a:moveTo>
                  <a:pt x="5673793" y="1017173"/>
                </a:moveTo>
                <a:cubicBezTo>
                  <a:pt x="5702889" y="1017173"/>
                  <a:pt x="5727866" y="1034799"/>
                  <a:pt x="5738607" y="1059984"/>
                </a:cubicBezTo>
                <a:cubicBezTo>
                  <a:pt x="5740537" y="1064312"/>
                  <a:pt x="5741998" y="1069004"/>
                  <a:pt x="5742936" y="1073698"/>
                </a:cubicBezTo>
                <a:cubicBezTo>
                  <a:pt x="5743822" y="1078130"/>
                  <a:pt x="5744291" y="1082771"/>
                  <a:pt x="5744291" y="1087412"/>
                </a:cubicBezTo>
                <a:lnTo>
                  <a:pt x="5744291" y="1087620"/>
                </a:lnTo>
                <a:cubicBezTo>
                  <a:pt x="5744291" y="1106705"/>
                  <a:pt x="5736730" y="1124486"/>
                  <a:pt x="5723382" y="1137678"/>
                </a:cubicBezTo>
                <a:lnTo>
                  <a:pt x="5731726" y="1208803"/>
                </a:lnTo>
                <a:lnTo>
                  <a:pt x="5615860" y="1208803"/>
                </a:lnTo>
                <a:lnTo>
                  <a:pt x="5624152" y="1137678"/>
                </a:lnTo>
                <a:cubicBezTo>
                  <a:pt x="5610803" y="1124486"/>
                  <a:pt x="5603242" y="1106653"/>
                  <a:pt x="5603242" y="1087620"/>
                </a:cubicBezTo>
                <a:lnTo>
                  <a:pt x="5603242" y="1087412"/>
                </a:lnTo>
                <a:cubicBezTo>
                  <a:pt x="5603242" y="1082771"/>
                  <a:pt x="5603764" y="1078130"/>
                  <a:pt x="5604650" y="1073698"/>
                </a:cubicBezTo>
                <a:cubicBezTo>
                  <a:pt x="5605641" y="1069004"/>
                  <a:pt x="5607049" y="1064312"/>
                  <a:pt x="5608979" y="1059984"/>
                </a:cubicBezTo>
                <a:cubicBezTo>
                  <a:pt x="5619772" y="1034799"/>
                  <a:pt x="5644696" y="1017173"/>
                  <a:pt x="5673793" y="1017173"/>
                </a:cubicBezTo>
                <a:close/>
                <a:moveTo>
                  <a:pt x="6762601" y="1000370"/>
                </a:moveTo>
                <a:lnTo>
                  <a:pt x="6762601" y="1024356"/>
                </a:lnTo>
                <a:lnTo>
                  <a:pt x="6766511" y="1024774"/>
                </a:lnTo>
                <a:lnTo>
                  <a:pt x="6862874" y="1034784"/>
                </a:lnTo>
                <a:lnTo>
                  <a:pt x="6862874" y="1000370"/>
                </a:lnTo>
                <a:close/>
                <a:moveTo>
                  <a:pt x="6891866" y="1000317"/>
                </a:moveTo>
                <a:lnTo>
                  <a:pt x="6891866" y="1037704"/>
                </a:lnTo>
                <a:lnTo>
                  <a:pt x="6895048" y="1038069"/>
                </a:lnTo>
                <a:lnTo>
                  <a:pt x="6995321" y="1048447"/>
                </a:lnTo>
                <a:lnTo>
                  <a:pt x="6995321" y="1000317"/>
                </a:lnTo>
                <a:close/>
                <a:moveTo>
                  <a:pt x="6634170" y="1000317"/>
                </a:moveTo>
                <a:lnTo>
                  <a:pt x="6634170" y="1034524"/>
                </a:lnTo>
                <a:lnTo>
                  <a:pt x="6638811" y="1034106"/>
                </a:lnTo>
                <a:lnTo>
                  <a:pt x="6733662" y="1024096"/>
                </a:lnTo>
                <a:lnTo>
                  <a:pt x="6733662" y="1000317"/>
                </a:lnTo>
                <a:lnTo>
                  <a:pt x="6634222" y="1000317"/>
                </a:lnTo>
                <a:close/>
                <a:moveTo>
                  <a:pt x="6506418" y="1000317"/>
                </a:moveTo>
                <a:lnTo>
                  <a:pt x="6506418" y="1048029"/>
                </a:lnTo>
                <a:lnTo>
                  <a:pt x="6605127" y="1037653"/>
                </a:lnTo>
                <a:lnTo>
                  <a:pt x="6605127" y="1000317"/>
                </a:lnTo>
                <a:close/>
                <a:moveTo>
                  <a:pt x="4629579" y="974096"/>
                </a:moveTo>
                <a:lnTo>
                  <a:pt x="4519033" y="1398184"/>
                </a:lnTo>
                <a:lnTo>
                  <a:pt x="4802384" y="1019096"/>
                </a:lnTo>
                <a:lnTo>
                  <a:pt x="4629631" y="974096"/>
                </a:lnTo>
                <a:close/>
                <a:moveTo>
                  <a:pt x="5476897" y="961170"/>
                </a:moveTo>
                <a:lnTo>
                  <a:pt x="5476897" y="1285663"/>
                </a:lnTo>
                <a:lnTo>
                  <a:pt x="5870742" y="1285663"/>
                </a:lnTo>
                <a:lnTo>
                  <a:pt x="5870742" y="961170"/>
                </a:lnTo>
                <a:close/>
                <a:moveTo>
                  <a:pt x="3519726" y="925949"/>
                </a:moveTo>
                <a:cubicBezTo>
                  <a:pt x="3552943" y="925949"/>
                  <a:pt x="3579798" y="952857"/>
                  <a:pt x="3579798" y="986072"/>
                </a:cubicBezTo>
                <a:cubicBezTo>
                  <a:pt x="3579798" y="1019236"/>
                  <a:pt x="3552890" y="1046142"/>
                  <a:pt x="3519726" y="1046142"/>
                </a:cubicBezTo>
                <a:cubicBezTo>
                  <a:pt x="3486564" y="1046142"/>
                  <a:pt x="3459605" y="1019236"/>
                  <a:pt x="3459605" y="986072"/>
                </a:cubicBezTo>
                <a:cubicBezTo>
                  <a:pt x="3459605" y="952908"/>
                  <a:pt x="3486511" y="925949"/>
                  <a:pt x="3519726" y="925949"/>
                </a:cubicBezTo>
                <a:close/>
                <a:moveTo>
                  <a:pt x="6891866" y="916365"/>
                </a:moveTo>
                <a:lnTo>
                  <a:pt x="6891866" y="971325"/>
                </a:lnTo>
                <a:lnTo>
                  <a:pt x="6995321" y="971325"/>
                </a:lnTo>
                <a:lnTo>
                  <a:pt x="6995321" y="916365"/>
                </a:lnTo>
                <a:close/>
                <a:moveTo>
                  <a:pt x="6762601" y="916365"/>
                </a:moveTo>
                <a:lnTo>
                  <a:pt x="6762601" y="971325"/>
                </a:lnTo>
                <a:lnTo>
                  <a:pt x="6862874" y="971325"/>
                </a:lnTo>
                <a:lnTo>
                  <a:pt x="6862874" y="916365"/>
                </a:lnTo>
                <a:close/>
                <a:moveTo>
                  <a:pt x="6634170" y="916365"/>
                </a:moveTo>
                <a:lnTo>
                  <a:pt x="6634170" y="971325"/>
                </a:lnTo>
                <a:lnTo>
                  <a:pt x="6733609" y="971325"/>
                </a:lnTo>
                <a:lnTo>
                  <a:pt x="6733609" y="916365"/>
                </a:lnTo>
                <a:close/>
                <a:moveTo>
                  <a:pt x="6506469" y="916365"/>
                </a:moveTo>
                <a:lnTo>
                  <a:pt x="6506469" y="971325"/>
                </a:lnTo>
                <a:lnTo>
                  <a:pt x="6605178" y="971325"/>
                </a:lnTo>
                <a:lnTo>
                  <a:pt x="6605178" y="916365"/>
                </a:lnTo>
                <a:close/>
                <a:moveTo>
                  <a:pt x="3519726" y="888406"/>
                </a:moveTo>
                <a:cubicBezTo>
                  <a:pt x="3465758" y="888406"/>
                  <a:pt x="3422061" y="932051"/>
                  <a:pt x="3422061" y="986021"/>
                </a:cubicBezTo>
                <a:cubicBezTo>
                  <a:pt x="3422061" y="1039989"/>
                  <a:pt x="3465758" y="1083687"/>
                  <a:pt x="3519726" y="1083687"/>
                </a:cubicBezTo>
                <a:cubicBezTo>
                  <a:pt x="3573696" y="1083687"/>
                  <a:pt x="3617392" y="1039938"/>
                  <a:pt x="3617392" y="986021"/>
                </a:cubicBezTo>
                <a:cubicBezTo>
                  <a:pt x="3617392" y="932104"/>
                  <a:pt x="3573696" y="888406"/>
                  <a:pt x="3519726" y="888406"/>
                </a:cubicBezTo>
                <a:close/>
                <a:moveTo>
                  <a:pt x="3324447" y="856912"/>
                </a:moveTo>
                <a:lnTo>
                  <a:pt x="3324500" y="856912"/>
                </a:lnTo>
                <a:lnTo>
                  <a:pt x="3714589" y="856912"/>
                </a:lnTo>
                <a:lnTo>
                  <a:pt x="3656084" y="1118884"/>
                </a:lnTo>
                <a:lnTo>
                  <a:pt x="3382900" y="1118884"/>
                </a:lnTo>
                <a:close/>
                <a:moveTo>
                  <a:pt x="1116267" y="850675"/>
                </a:moveTo>
                <a:cubicBezTo>
                  <a:pt x="1106823" y="851242"/>
                  <a:pt x="1098610" y="854501"/>
                  <a:pt x="1090163" y="860785"/>
                </a:cubicBezTo>
                <a:cubicBezTo>
                  <a:pt x="1088702" y="861827"/>
                  <a:pt x="1087399" y="863027"/>
                  <a:pt x="1085782" y="864695"/>
                </a:cubicBezTo>
                <a:cubicBezTo>
                  <a:pt x="1085782" y="864695"/>
                  <a:pt x="1255981" y="964863"/>
                  <a:pt x="1294150" y="986346"/>
                </a:cubicBezTo>
                <a:lnTo>
                  <a:pt x="1294150" y="986295"/>
                </a:lnTo>
                <a:lnTo>
                  <a:pt x="1396144" y="932117"/>
                </a:lnTo>
                <a:cubicBezTo>
                  <a:pt x="1375391" y="925911"/>
                  <a:pt x="1172551" y="864330"/>
                  <a:pt x="1149764" y="856716"/>
                </a:cubicBezTo>
                <a:cubicBezTo>
                  <a:pt x="1136389" y="852232"/>
                  <a:pt x="1125712" y="850108"/>
                  <a:pt x="1116267" y="850675"/>
                </a:cubicBezTo>
                <a:close/>
                <a:moveTo>
                  <a:pt x="1645683" y="847722"/>
                </a:moveTo>
                <a:cubicBezTo>
                  <a:pt x="1639644" y="848188"/>
                  <a:pt x="1633595" y="849847"/>
                  <a:pt x="1627872" y="852806"/>
                </a:cubicBezTo>
                <a:cubicBezTo>
                  <a:pt x="1626881" y="853327"/>
                  <a:pt x="1211190" y="1068161"/>
                  <a:pt x="1175522" y="1086568"/>
                </a:cubicBezTo>
                <a:cubicBezTo>
                  <a:pt x="1164677" y="1092147"/>
                  <a:pt x="1152632" y="1089123"/>
                  <a:pt x="1149243" y="1088184"/>
                </a:cubicBezTo>
                <a:cubicBezTo>
                  <a:pt x="1132921" y="1083334"/>
                  <a:pt x="1049335" y="1058514"/>
                  <a:pt x="1049335" y="1058514"/>
                </a:cubicBezTo>
                <a:cubicBezTo>
                  <a:pt x="1040416" y="1063155"/>
                  <a:pt x="1033273" y="1066805"/>
                  <a:pt x="1024878" y="1071185"/>
                </a:cubicBezTo>
                <a:cubicBezTo>
                  <a:pt x="1024878" y="1071185"/>
                  <a:pt x="1131095" y="1143091"/>
                  <a:pt x="1173488" y="1171876"/>
                </a:cubicBezTo>
                <a:cubicBezTo>
                  <a:pt x="1185952" y="1180322"/>
                  <a:pt x="1196068" y="1180792"/>
                  <a:pt x="1211867" y="1172710"/>
                </a:cubicBezTo>
                <a:cubicBezTo>
                  <a:pt x="1243153" y="1156649"/>
                  <a:pt x="1653424" y="944475"/>
                  <a:pt x="1670683" y="935611"/>
                </a:cubicBezTo>
                <a:cubicBezTo>
                  <a:pt x="1693522" y="923878"/>
                  <a:pt x="1702491" y="895668"/>
                  <a:pt x="1690706" y="872830"/>
                </a:cubicBezTo>
                <a:cubicBezTo>
                  <a:pt x="1681828" y="855661"/>
                  <a:pt x="1663800" y="846324"/>
                  <a:pt x="1645683" y="847722"/>
                </a:cubicBezTo>
                <a:close/>
                <a:moveTo>
                  <a:pt x="2536950" y="805950"/>
                </a:moveTo>
                <a:lnTo>
                  <a:pt x="2536950" y="999352"/>
                </a:lnTo>
                <a:lnTo>
                  <a:pt x="2601034" y="999352"/>
                </a:lnTo>
                <a:close/>
                <a:moveTo>
                  <a:pt x="2346258" y="805950"/>
                </a:moveTo>
                <a:lnTo>
                  <a:pt x="2332388" y="847718"/>
                </a:lnTo>
                <a:lnTo>
                  <a:pt x="2325819" y="867688"/>
                </a:lnTo>
                <a:lnTo>
                  <a:pt x="2282225" y="999352"/>
                </a:lnTo>
                <a:lnTo>
                  <a:pt x="2503524" y="999352"/>
                </a:lnTo>
                <a:lnTo>
                  <a:pt x="2503524" y="805950"/>
                </a:lnTo>
                <a:lnTo>
                  <a:pt x="2503473" y="805950"/>
                </a:lnTo>
                <a:close/>
                <a:moveTo>
                  <a:pt x="6612948" y="788508"/>
                </a:moveTo>
                <a:lnTo>
                  <a:pt x="6612948" y="831997"/>
                </a:lnTo>
                <a:lnTo>
                  <a:pt x="6670932" y="831997"/>
                </a:lnTo>
                <a:lnTo>
                  <a:pt x="6670932" y="887373"/>
                </a:lnTo>
                <a:lnTo>
                  <a:pt x="6830388" y="887373"/>
                </a:lnTo>
                <a:lnTo>
                  <a:pt x="6830388" y="831997"/>
                </a:lnTo>
                <a:lnTo>
                  <a:pt x="6888374" y="831997"/>
                </a:lnTo>
                <a:lnTo>
                  <a:pt x="6888374" y="788508"/>
                </a:lnTo>
                <a:close/>
                <a:moveTo>
                  <a:pt x="5673793" y="779448"/>
                </a:moveTo>
                <a:cubicBezTo>
                  <a:pt x="5588902" y="779448"/>
                  <a:pt x="5519812" y="848591"/>
                  <a:pt x="5519812" y="933482"/>
                </a:cubicBezTo>
                <a:lnTo>
                  <a:pt x="5519812" y="933742"/>
                </a:lnTo>
                <a:lnTo>
                  <a:pt x="5547239" y="933742"/>
                </a:lnTo>
                <a:lnTo>
                  <a:pt x="5547239" y="933482"/>
                </a:lnTo>
                <a:cubicBezTo>
                  <a:pt x="5547239" y="863660"/>
                  <a:pt x="5603972" y="806876"/>
                  <a:pt x="5673793" y="806876"/>
                </a:cubicBezTo>
                <a:cubicBezTo>
                  <a:pt x="5743613" y="806876"/>
                  <a:pt x="5800398" y="863660"/>
                  <a:pt x="5800398" y="933482"/>
                </a:cubicBezTo>
                <a:lnTo>
                  <a:pt x="5800398" y="933742"/>
                </a:lnTo>
                <a:lnTo>
                  <a:pt x="5827827" y="933742"/>
                </a:lnTo>
                <a:lnTo>
                  <a:pt x="5827827" y="933482"/>
                </a:lnTo>
                <a:cubicBezTo>
                  <a:pt x="5827827" y="848591"/>
                  <a:pt x="5758683" y="779448"/>
                  <a:pt x="5673793" y="779448"/>
                </a:cubicBezTo>
                <a:close/>
                <a:moveTo>
                  <a:pt x="3593563" y="703712"/>
                </a:moveTo>
                <a:lnTo>
                  <a:pt x="3631315" y="703712"/>
                </a:lnTo>
                <a:lnTo>
                  <a:pt x="3631315" y="819576"/>
                </a:lnTo>
                <a:cubicBezTo>
                  <a:pt x="3631315" y="819576"/>
                  <a:pt x="3593563" y="819576"/>
                  <a:pt x="3593563" y="819576"/>
                </a:cubicBezTo>
                <a:close/>
                <a:moveTo>
                  <a:pt x="3407722" y="703712"/>
                </a:moveTo>
                <a:lnTo>
                  <a:pt x="3445527" y="703712"/>
                </a:lnTo>
                <a:lnTo>
                  <a:pt x="3445527" y="819576"/>
                </a:lnTo>
                <a:lnTo>
                  <a:pt x="3407722" y="819576"/>
                </a:lnTo>
                <a:close/>
                <a:moveTo>
                  <a:pt x="4658414" y="701330"/>
                </a:moveTo>
                <a:lnTo>
                  <a:pt x="4389090" y="1061593"/>
                </a:lnTo>
                <a:lnTo>
                  <a:pt x="4553344" y="1104351"/>
                </a:lnTo>
                <a:lnTo>
                  <a:pt x="4658414" y="701383"/>
                </a:lnTo>
                <a:close/>
                <a:moveTo>
                  <a:pt x="3519518" y="591082"/>
                </a:moveTo>
                <a:cubicBezTo>
                  <a:pt x="3268913" y="591082"/>
                  <a:pt x="3065759" y="794236"/>
                  <a:pt x="3065759" y="1044840"/>
                </a:cubicBezTo>
                <a:cubicBezTo>
                  <a:pt x="3065759" y="1295445"/>
                  <a:pt x="3268913" y="1498599"/>
                  <a:pt x="3519518" y="1498599"/>
                </a:cubicBezTo>
                <a:cubicBezTo>
                  <a:pt x="3770122" y="1498599"/>
                  <a:pt x="3973274" y="1295445"/>
                  <a:pt x="3973274" y="1044840"/>
                </a:cubicBezTo>
                <a:cubicBezTo>
                  <a:pt x="3973274" y="794236"/>
                  <a:pt x="3770122" y="591082"/>
                  <a:pt x="3519518" y="591082"/>
                </a:cubicBezTo>
                <a:close/>
                <a:moveTo>
                  <a:pt x="0" y="0"/>
                </a:moveTo>
                <a:lnTo>
                  <a:pt x="8124824" y="0"/>
                </a:lnTo>
                <a:lnTo>
                  <a:pt x="8124824" y="6857999"/>
                </a:lnTo>
                <a:lnTo>
                  <a:pt x="0" y="6857999"/>
                </a:lnTo>
                <a:close/>
              </a:path>
            </a:pathLst>
          </a:custGeom>
          <a:solidFill>
            <a:schemeClr val="tx1"/>
          </a:solidFill>
        </p:spPr>
        <p:txBody>
          <a:bodyPr vert="horz" wrap="square" lIns="0" tIns="45720" rIns="0" bIns="45720" rtlCol="0" anchor="ctr">
            <a:noAutofit/>
          </a:bodyPr>
          <a:lstStyle>
            <a:lvl1pPr algn="ctr">
              <a:defRPr lang="en-GB" sz="2800" b="0" dirty="0">
                <a:solidFill>
                  <a:schemeClr val="bg1"/>
                </a:solidFill>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US" dirty="0"/>
              <a:t>ADD RELATED IMAGE </a:t>
            </a:r>
            <a:br>
              <a:rPr lang="en-US" dirty="0"/>
            </a:br>
            <a:r>
              <a:rPr lang="en-US" dirty="0"/>
              <a:t>FROM HFW IMAGE LIBRARY</a:t>
            </a:r>
            <a:endParaRPr lang="en-GB" dirty="0"/>
          </a:p>
        </p:txBody>
      </p:sp>
      <p:sp>
        <p:nvSpPr>
          <p:cNvPr id="9" name="Rectangle 8">
            <a:extLst>
              <a:ext uri="{FF2B5EF4-FFF2-40B4-BE49-F238E27FC236}">
                <a16:creationId xmlns:a16="http://schemas.microsoft.com/office/drawing/2014/main" id="{708FD88D-9C74-4D94-62A5-47E768F9DCD7}"/>
              </a:ext>
            </a:extLst>
          </p:cNvPr>
          <p:cNvSpPr/>
          <p:nvPr userDrawn="1"/>
        </p:nvSpPr>
        <p:spPr>
          <a:xfrm>
            <a:off x="0" y="0"/>
            <a:ext cx="406717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Text Placeholder 12">
            <a:extLst>
              <a:ext uri="{FF2B5EF4-FFF2-40B4-BE49-F238E27FC236}">
                <a16:creationId xmlns:a16="http://schemas.microsoft.com/office/drawing/2014/main" id="{BBA3AA40-3440-5851-3972-390D3DEB2219}"/>
              </a:ext>
            </a:extLst>
          </p:cNvPr>
          <p:cNvSpPr>
            <a:spLocks noGrp="1"/>
          </p:cNvSpPr>
          <p:nvPr>
            <p:ph type="body" sz="quarter" idx="14" hasCustomPrompt="1"/>
          </p:nvPr>
        </p:nvSpPr>
        <p:spPr>
          <a:xfrm>
            <a:off x="508939" y="5989638"/>
            <a:ext cx="3387140" cy="230187"/>
          </a:xfrm>
        </p:spPr>
        <p:txBody>
          <a:bodyPr tIns="0" bIns="0">
            <a:noAutofit/>
          </a:bodyPr>
          <a:lstStyle>
            <a:lvl1pPr>
              <a:defRPr sz="1400">
                <a:solidFill>
                  <a:schemeClr val="accent2"/>
                </a:solidFill>
                <a:latin typeface="+mj-lt"/>
              </a:defRPr>
            </a:lvl1pPr>
            <a:lvl2pPr>
              <a:defRPr>
                <a:solidFill>
                  <a:schemeClr val="bg1"/>
                </a:solidFill>
                <a:latin typeface="+mn-lt"/>
              </a:defRPr>
            </a:lvl2pPr>
            <a:lvl3pPr>
              <a:defRPr>
                <a:solidFill>
                  <a:schemeClr val="bg1"/>
                </a:solidFill>
                <a:latin typeface="+mn-lt"/>
              </a:defRPr>
            </a:lvl3pPr>
            <a:lvl4pPr>
              <a:defRPr>
                <a:solidFill>
                  <a:schemeClr val="bg1"/>
                </a:solidFill>
                <a:latin typeface="+mn-lt"/>
              </a:defRPr>
            </a:lvl4pPr>
            <a:lvl5pPr>
              <a:defRPr>
                <a:solidFill>
                  <a:schemeClr val="bg1"/>
                </a:solidFill>
                <a:latin typeface="+mn-lt"/>
              </a:defRPr>
            </a:lvl5pPr>
          </a:lstStyle>
          <a:p>
            <a:pPr lvl="0"/>
            <a:r>
              <a:rPr lang="en-US" dirty="0"/>
              <a:t>DAY MONTH YEAR</a:t>
            </a:r>
            <a:endParaRPr lang="en-GB" dirty="0"/>
          </a:p>
        </p:txBody>
      </p:sp>
      <p:sp>
        <p:nvSpPr>
          <p:cNvPr id="4" name="TextBox 4">
            <a:extLst>
              <a:ext uri="{FF2B5EF4-FFF2-40B4-BE49-F238E27FC236}">
                <a16:creationId xmlns:a16="http://schemas.microsoft.com/office/drawing/2014/main" id="{265B2CA7-EDCD-E4A1-AC81-AB1BF0FA5D17}"/>
              </a:ext>
            </a:extLst>
          </p:cNvPr>
          <p:cNvSpPr txBox="1"/>
          <p:nvPr userDrawn="1"/>
        </p:nvSpPr>
        <p:spPr>
          <a:xfrm>
            <a:off x="12346713" y="109538"/>
            <a:ext cx="1934437" cy="31700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INSERTING IMAGES:</a:t>
            </a:r>
          </a:p>
          <a:p>
            <a:pPr marL="179388" indent="-179388">
              <a:spcBef>
                <a:spcPts val="200"/>
              </a:spcBef>
              <a:spcAft>
                <a:spcPts val="200"/>
              </a:spcAft>
              <a:buFont typeface="+mj-lt"/>
              <a:buAutoNum type="arabicPeriod"/>
            </a:pPr>
            <a:r>
              <a:rPr lang="en-US" sz="900" dirty="0">
                <a:solidFill>
                  <a:schemeClr val="tx1"/>
                </a:solidFill>
                <a:latin typeface="+mn-lt"/>
              </a:rPr>
              <a:t>Simply click the image placeholder and select your image.</a:t>
            </a:r>
          </a:p>
          <a:p>
            <a:pPr marL="179388" indent="-179388">
              <a:spcBef>
                <a:spcPts val="200"/>
              </a:spcBef>
              <a:spcAft>
                <a:spcPts val="200"/>
              </a:spcAft>
              <a:buFont typeface="+mj-lt"/>
              <a:buAutoNum type="arabicPeriod"/>
            </a:pPr>
            <a:r>
              <a:rPr lang="en-US" sz="900" dirty="0">
                <a:solidFill>
                  <a:schemeClr val="tx1"/>
                </a:solidFill>
                <a:latin typeface="+mn-lt"/>
              </a:rPr>
              <a:t>Once your image is inserted into the shape it may be distorted. (Stretched or Squashed)</a:t>
            </a:r>
          </a:p>
          <a:p>
            <a:pPr marL="179388" indent="-179388">
              <a:spcBef>
                <a:spcPts val="200"/>
              </a:spcBef>
              <a:spcAft>
                <a:spcPts val="200"/>
              </a:spcAft>
              <a:buFont typeface="+mj-lt"/>
              <a:buAutoNum type="arabicPeriod"/>
            </a:pPr>
            <a:endParaRPr lang="en-US" sz="900" dirty="0">
              <a:solidFill>
                <a:schemeClr val="tx1"/>
              </a:solidFill>
              <a:latin typeface="+mn-lt"/>
            </a:endParaRPr>
          </a:p>
          <a:p>
            <a:pPr>
              <a:spcBef>
                <a:spcPts val="200"/>
              </a:spcBef>
              <a:spcAft>
                <a:spcPts val="200"/>
              </a:spcAft>
            </a:pPr>
            <a:r>
              <a:rPr lang="en-US" sz="900" b="1" dirty="0">
                <a:solidFill>
                  <a:schemeClr val="tx1"/>
                </a:solidFill>
                <a:latin typeface="+mn-lt"/>
              </a:rPr>
              <a:t>To fix this:</a:t>
            </a:r>
          </a:p>
          <a:p>
            <a:pPr marL="179388" indent="-179388">
              <a:spcBef>
                <a:spcPts val="200"/>
              </a:spcBef>
              <a:spcAft>
                <a:spcPts val="200"/>
              </a:spcAft>
              <a:buFont typeface="+mj-lt"/>
              <a:buAutoNum type="arabicPeriod"/>
            </a:pPr>
            <a:r>
              <a:rPr lang="en-US" sz="900" dirty="0">
                <a:solidFill>
                  <a:schemeClr val="tx1"/>
                </a:solidFill>
                <a:latin typeface="+mn-lt"/>
              </a:rPr>
              <a:t>Click on the image and from the top menu under </a:t>
            </a:r>
            <a:r>
              <a:rPr lang="en-US" sz="900" b="1" dirty="0">
                <a:solidFill>
                  <a:schemeClr val="tx1"/>
                </a:solidFill>
                <a:latin typeface="+mn-lt"/>
              </a:rPr>
              <a:t>PICTURE FORMAT </a:t>
            </a:r>
            <a:r>
              <a:rPr lang="en-US" sz="900" dirty="0">
                <a:solidFill>
                  <a:schemeClr val="tx1"/>
                </a:solidFill>
                <a:latin typeface="+mn-lt"/>
              </a:rPr>
              <a:t>select the </a:t>
            </a:r>
            <a:r>
              <a:rPr lang="en-US" sz="900" b="1" dirty="0">
                <a:solidFill>
                  <a:schemeClr val="tx1"/>
                </a:solidFill>
                <a:latin typeface="+mn-lt"/>
              </a:rPr>
              <a:t>CROP</a:t>
            </a:r>
            <a:r>
              <a:rPr lang="en-US" sz="900" dirty="0">
                <a:solidFill>
                  <a:schemeClr val="tx1"/>
                </a:solidFill>
                <a:latin typeface="+mn-lt"/>
              </a:rPr>
              <a:t> on the right and from the drop down menu select </a:t>
            </a:r>
            <a:r>
              <a:rPr lang="en-US" sz="900" b="1" kern="1200" dirty="0">
                <a:solidFill>
                  <a:schemeClr val="tx1"/>
                </a:solidFill>
                <a:latin typeface="+mn-lt"/>
                <a:ea typeface="+mn-ea"/>
                <a:cs typeface="+mn-cs"/>
              </a:rPr>
              <a:t>FILL</a:t>
            </a:r>
          </a:p>
          <a:p>
            <a:pPr marL="179388" indent="-179388">
              <a:spcBef>
                <a:spcPts val="200"/>
              </a:spcBef>
              <a:spcAft>
                <a:spcPts val="200"/>
              </a:spcAft>
              <a:buFont typeface="+mj-lt"/>
              <a:buAutoNum type="arabicPeriod"/>
            </a:pPr>
            <a:r>
              <a:rPr lang="en-US" sz="900" b="0" kern="1200" dirty="0">
                <a:solidFill>
                  <a:schemeClr val="tx1"/>
                </a:solidFill>
                <a:latin typeface="+mn-lt"/>
                <a:ea typeface="+mn-ea"/>
                <a:cs typeface="+mn-cs"/>
              </a:rPr>
              <a:t>From here you can move the image within the shape for best visual appearance</a:t>
            </a:r>
          </a:p>
        </p:txBody>
      </p:sp>
      <p:sp>
        <p:nvSpPr>
          <p:cNvPr id="10" name="Title 1">
            <a:extLst>
              <a:ext uri="{FF2B5EF4-FFF2-40B4-BE49-F238E27FC236}">
                <a16:creationId xmlns:a16="http://schemas.microsoft.com/office/drawing/2014/main" id="{1D9960C9-AE88-FF64-7340-9EC8DF655E87}"/>
              </a:ext>
            </a:extLst>
          </p:cNvPr>
          <p:cNvSpPr>
            <a:spLocks noGrp="1"/>
          </p:cNvSpPr>
          <p:nvPr>
            <p:ph type="ctrTitle" hasCustomPrompt="1"/>
          </p:nvPr>
        </p:nvSpPr>
        <p:spPr>
          <a:xfrm>
            <a:off x="508939" y="2430692"/>
            <a:ext cx="2792526" cy="2387600"/>
          </a:xfrm>
        </p:spPr>
        <p:txBody>
          <a:bodyPr vert="horz" lIns="0" tIns="0" rIns="0" bIns="0" rtlCol="0" anchor="t" anchorCtr="0">
            <a:noAutofit/>
          </a:bodyPr>
          <a:lstStyle>
            <a:lvl1pPr>
              <a:lnSpc>
                <a:spcPct val="100000"/>
              </a:lnSpc>
              <a:defRPr lang="en-US" sz="3300" dirty="0">
                <a:solidFill>
                  <a:schemeClr val="bg1"/>
                </a:solidFill>
              </a:defRPr>
            </a:lvl1pPr>
          </a:lstStyle>
          <a:p>
            <a:pPr lvl="0"/>
            <a:r>
              <a:rPr lang="en-US" dirty="0"/>
              <a:t>PROPOSAL TO [CLIENT] FOR LEGAL SERVICES</a:t>
            </a:r>
          </a:p>
        </p:txBody>
      </p:sp>
      <p:sp>
        <p:nvSpPr>
          <p:cNvPr id="2" name="Graphic 13">
            <a:extLst>
              <a:ext uri="{FF2B5EF4-FFF2-40B4-BE49-F238E27FC236}">
                <a16:creationId xmlns:a16="http://schemas.microsoft.com/office/drawing/2014/main" id="{C7A70F9C-F895-4995-28BD-9B0570D8F11E}"/>
              </a:ext>
            </a:extLst>
          </p:cNvPr>
          <p:cNvSpPr>
            <a:spLocks noGrp="1" noRot="1" noMove="1" noResize="1" noEditPoints="1" noAdjustHandles="1" noChangeArrowheads="1" noChangeShapeType="1"/>
          </p:cNvSpPr>
          <p:nvPr userDrawn="1"/>
        </p:nvSpPr>
        <p:spPr>
          <a:xfrm>
            <a:off x="585463" y="588011"/>
            <a:ext cx="1522695" cy="922576"/>
          </a:xfrm>
          <a:custGeom>
            <a:avLst/>
            <a:gdLst>
              <a:gd name="connsiteX0" fmla="*/ 618149 w 1522695"/>
              <a:gd name="connsiteY0" fmla="*/ 39943 h 922576"/>
              <a:gd name="connsiteX1" fmla="*/ 421345 w 1522695"/>
              <a:gd name="connsiteY1" fmla="*/ 876531 h 922576"/>
              <a:gd name="connsiteX2" fmla="*/ 388753 w 1522695"/>
              <a:gd name="connsiteY2" fmla="*/ 915365 h 922576"/>
              <a:gd name="connsiteX3" fmla="*/ 349364 w 1522695"/>
              <a:gd name="connsiteY3" fmla="*/ 922577 h 922576"/>
              <a:gd name="connsiteX4" fmla="*/ 328006 w 1522695"/>
              <a:gd name="connsiteY4" fmla="*/ 897196 h 922576"/>
              <a:gd name="connsiteX5" fmla="*/ 431608 w 1522695"/>
              <a:gd name="connsiteY5" fmla="*/ 465033 h 922576"/>
              <a:gd name="connsiteX6" fmla="*/ 224958 w 1522695"/>
              <a:gd name="connsiteY6" fmla="*/ 504838 h 922576"/>
              <a:gd name="connsiteX7" fmla="*/ 185292 w 1522695"/>
              <a:gd name="connsiteY7" fmla="*/ 702473 h 922576"/>
              <a:gd name="connsiteX8" fmla="*/ 159634 w 1522695"/>
              <a:gd name="connsiteY8" fmla="*/ 738117 h 922576"/>
              <a:gd name="connsiteX9" fmla="*/ 102771 w 1522695"/>
              <a:gd name="connsiteY9" fmla="*/ 719671 h 922576"/>
              <a:gd name="connsiteX10" fmla="*/ 150203 w 1522695"/>
              <a:gd name="connsiteY10" fmla="*/ 519816 h 922576"/>
              <a:gd name="connsiteX11" fmla="*/ 62411 w 1522695"/>
              <a:gd name="connsiteY11" fmla="*/ 533547 h 922576"/>
              <a:gd name="connsiteX12" fmla="*/ 0 w 1522695"/>
              <a:gd name="connsiteY12" fmla="*/ 507750 h 922576"/>
              <a:gd name="connsiteX13" fmla="*/ 163795 w 1522695"/>
              <a:gd name="connsiteY13" fmla="*/ 465588 h 922576"/>
              <a:gd name="connsiteX14" fmla="*/ 234805 w 1522695"/>
              <a:gd name="connsiteY14" fmla="*/ 162547 h 922576"/>
              <a:gd name="connsiteX15" fmla="*/ 258244 w 1522695"/>
              <a:gd name="connsiteY15" fmla="*/ 135502 h 922576"/>
              <a:gd name="connsiteX16" fmla="*/ 300961 w 1522695"/>
              <a:gd name="connsiteY16" fmla="*/ 126625 h 922576"/>
              <a:gd name="connsiteX17" fmla="*/ 316772 w 1522695"/>
              <a:gd name="connsiteY17" fmla="*/ 149232 h 922576"/>
              <a:gd name="connsiteX18" fmla="*/ 239104 w 1522695"/>
              <a:gd name="connsiteY18" fmla="*/ 449084 h 922576"/>
              <a:gd name="connsiteX19" fmla="*/ 447697 w 1522695"/>
              <a:gd name="connsiteY19" fmla="*/ 404564 h 922576"/>
              <a:gd name="connsiteX20" fmla="*/ 542839 w 1522695"/>
              <a:gd name="connsiteY20" fmla="*/ 34950 h 922576"/>
              <a:gd name="connsiteX21" fmla="*/ 557402 w 1522695"/>
              <a:gd name="connsiteY21" fmla="*/ 6935 h 922576"/>
              <a:gd name="connsiteX22" fmla="*/ 592907 w 1522695"/>
              <a:gd name="connsiteY22" fmla="*/ 0 h 922576"/>
              <a:gd name="connsiteX23" fmla="*/ 620506 w 1522695"/>
              <a:gd name="connsiteY23" fmla="*/ 25381 h 922576"/>
              <a:gd name="connsiteX24" fmla="*/ 618426 w 1522695"/>
              <a:gd name="connsiteY24" fmla="*/ 40359 h 922576"/>
              <a:gd name="connsiteX25" fmla="*/ 845048 w 1522695"/>
              <a:gd name="connsiteY25" fmla="*/ 445755 h 922576"/>
              <a:gd name="connsiteX26" fmla="*/ 684582 w 1522695"/>
              <a:gd name="connsiteY26" fmla="*/ 476544 h 922576"/>
              <a:gd name="connsiteX27" fmla="*/ 729241 w 1522695"/>
              <a:gd name="connsiteY27" fmla="*/ 311918 h 922576"/>
              <a:gd name="connsiteX28" fmla="*/ 1087204 w 1522695"/>
              <a:gd name="connsiteY28" fmla="*/ 231060 h 922576"/>
              <a:gd name="connsiteX29" fmla="*/ 1110643 w 1522695"/>
              <a:gd name="connsiteY29" fmla="*/ 218994 h 922576"/>
              <a:gd name="connsiteX30" fmla="*/ 1053363 w 1522695"/>
              <a:gd name="connsiteY30" fmla="*/ 185708 h 922576"/>
              <a:gd name="connsiteX31" fmla="*/ 1029785 w 1522695"/>
              <a:gd name="connsiteY31" fmla="*/ 187927 h 922576"/>
              <a:gd name="connsiteX32" fmla="*/ 636872 w 1522695"/>
              <a:gd name="connsiteY32" fmla="*/ 267536 h 922576"/>
              <a:gd name="connsiteX33" fmla="*/ 610798 w 1522695"/>
              <a:gd name="connsiteY33" fmla="*/ 284595 h 922576"/>
              <a:gd name="connsiteX34" fmla="*/ 652683 w 1522695"/>
              <a:gd name="connsiteY34" fmla="*/ 321210 h 922576"/>
              <a:gd name="connsiteX35" fmla="*/ 524948 w 1522695"/>
              <a:gd name="connsiteY35" fmla="*/ 802192 h 922576"/>
              <a:gd name="connsiteX36" fmla="*/ 537569 w 1522695"/>
              <a:gd name="connsiteY36" fmla="*/ 815646 h 922576"/>
              <a:gd name="connsiteX37" fmla="*/ 595542 w 1522695"/>
              <a:gd name="connsiteY37" fmla="*/ 802886 h 922576"/>
              <a:gd name="connsiteX38" fmla="*/ 616762 w 1522695"/>
              <a:gd name="connsiteY38" fmla="*/ 763914 h 922576"/>
              <a:gd name="connsiteX39" fmla="*/ 669603 w 1522695"/>
              <a:gd name="connsiteY39" fmla="*/ 537430 h 922576"/>
              <a:gd name="connsiteX40" fmla="*/ 808988 w 1522695"/>
              <a:gd name="connsiteY40" fmla="*/ 509276 h 922576"/>
              <a:gd name="connsiteX41" fmla="*/ 859611 w 1522695"/>
              <a:gd name="connsiteY41" fmla="*/ 477238 h 922576"/>
              <a:gd name="connsiteX42" fmla="*/ 872232 w 1522695"/>
              <a:gd name="connsiteY42" fmla="*/ 451996 h 922576"/>
              <a:gd name="connsiteX43" fmla="*/ 845187 w 1522695"/>
              <a:gd name="connsiteY43" fmla="*/ 445755 h 922576"/>
              <a:gd name="connsiteX44" fmla="*/ 1479701 w 1522695"/>
              <a:gd name="connsiteY44" fmla="*/ 159218 h 922576"/>
              <a:gd name="connsiteX45" fmla="*/ 1409801 w 1522695"/>
              <a:gd name="connsiteY45" fmla="*/ 217052 h 922576"/>
              <a:gd name="connsiteX46" fmla="*/ 1212442 w 1522695"/>
              <a:gd name="connsiteY46" fmla="*/ 666691 h 922576"/>
              <a:gd name="connsiteX47" fmla="*/ 1231721 w 1522695"/>
              <a:gd name="connsiteY47" fmla="*/ 323845 h 922576"/>
              <a:gd name="connsiteX48" fmla="*/ 1206895 w 1522695"/>
              <a:gd name="connsiteY48" fmla="*/ 300683 h 922576"/>
              <a:gd name="connsiteX49" fmla="*/ 1151002 w 1522695"/>
              <a:gd name="connsiteY49" fmla="*/ 324677 h 922576"/>
              <a:gd name="connsiteX50" fmla="*/ 1137549 w 1522695"/>
              <a:gd name="connsiteY50" fmla="*/ 353525 h 922576"/>
              <a:gd name="connsiteX51" fmla="*/ 980689 w 1522695"/>
              <a:gd name="connsiteY51" fmla="*/ 605528 h 922576"/>
              <a:gd name="connsiteX52" fmla="*/ 1041574 w 1522695"/>
              <a:gd name="connsiteY52" fmla="*/ 331196 h 922576"/>
              <a:gd name="connsiteX53" fmla="*/ 1029369 w 1522695"/>
              <a:gd name="connsiteY53" fmla="*/ 319962 h 922576"/>
              <a:gd name="connsiteX54" fmla="*/ 988871 w 1522695"/>
              <a:gd name="connsiteY54" fmla="*/ 327728 h 922576"/>
              <a:gd name="connsiteX55" fmla="*/ 954892 w 1522695"/>
              <a:gd name="connsiteY55" fmla="*/ 369752 h 922576"/>
              <a:gd name="connsiteX56" fmla="*/ 880553 w 1522695"/>
              <a:gd name="connsiteY56" fmla="*/ 711766 h 922576"/>
              <a:gd name="connsiteX57" fmla="*/ 902328 w 1522695"/>
              <a:gd name="connsiteY57" fmla="*/ 741862 h 922576"/>
              <a:gd name="connsiteX58" fmla="*/ 960024 w 1522695"/>
              <a:gd name="connsiteY58" fmla="*/ 718423 h 922576"/>
              <a:gd name="connsiteX59" fmla="*/ 1144483 w 1522695"/>
              <a:gd name="connsiteY59" fmla="*/ 419542 h 922576"/>
              <a:gd name="connsiteX60" fmla="*/ 1128950 w 1522695"/>
              <a:gd name="connsiteY60" fmla="*/ 709546 h 922576"/>
              <a:gd name="connsiteX61" fmla="*/ 1162375 w 1522695"/>
              <a:gd name="connsiteY61" fmla="*/ 786798 h 922576"/>
              <a:gd name="connsiteX62" fmla="*/ 1235049 w 1522695"/>
              <a:gd name="connsiteY62" fmla="*/ 740891 h 922576"/>
              <a:gd name="connsiteX63" fmla="*/ 1512016 w 1522695"/>
              <a:gd name="connsiteY63" fmla="*/ 203322 h 922576"/>
              <a:gd name="connsiteX64" fmla="*/ 1522696 w 1522695"/>
              <a:gd name="connsiteY64" fmla="*/ 183766 h 922576"/>
              <a:gd name="connsiteX65" fmla="*/ 1479840 w 1522695"/>
              <a:gd name="connsiteY65" fmla="*/ 159357 h 922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522695" h="922576">
                <a:moveTo>
                  <a:pt x="618149" y="39943"/>
                </a:moveTo>
                <a:cubicBezTo>
                  <a:pt x="568774" y="240214"/>
                  <a:pt x="450887" y="614404"/>
                  <a:pt x="421345" y="876531"/>
                </a:cubicBezTo>
                <a:cubicBezTo>
                  <a:pt x="418849" y="898167"/>
                  <a:pt x="420374" y="906627"/>
                  <a:pt x="388753" y="915365"/>
                </a:cubicBezTo>
                <a:cubicBezTo>
                  <a:pt x="373497" y="919526"/>
                  <a:pt x="359350" y="922577"/>
                  <a:pt x="349364" y="922577"/>
                </a:cubicBezTo>
                <a:cubicBezTo>
                  <a:pt x="333831" y="922577"/>
                  <a:pt x="328006" y="913978"/>
                  <a:pt x="328006" y="897196"/>
                </a:cubicBezTo>
                <a:cubicBezTo>
                  <a:pt x="328006" y="851567"/>
                  <a:pt x="390972" y="623280"/>
                  <a:pt x="431608" y="465033"/>
                </a:cubicBezTo>
                <a:cubicBezTo>
                  <a:pt x="377380" y="475296"/>
                  <a:pt x="300961" y="489998"/>
                  <a:pt x="224958" y="504838"/>
                </a:cubicBezTo>
                <a:cubicBezTo>
                  <a:pt x="206512" y="579870"/>
                  <a:pt x="193336" y="642697"/>
                  <a:pt x="185292" y="702473"/>
                </a:cubicBezTo>
                <a:cubicBezTo>
                  <a:pt x="183350" y="716897"/>
                  <a:pt x="185292" y="730489"/>
                  <a:pt x="159634" y="738117"/>
                </a:cubicBezTo>
                <a:cubicBezTo>
                  <a:pt x="116362" y="751015"/>
                  <a:pt x="100968" y="743803"/>
                  <a:pt x="102771" y="719671"/>
                </a:cubicBezTo>
                <a:cubicBezTo>
                  <a:pt x="105683" y="679589"/>
                  <a:pt x="118443" y="648661"/>
                  <a:pt x="150203" y="519816"/>
                </a:cubicBezTo>
                <a:cubicBezTo>
                  <a:pt x="110676" y="527722"/>
                  <a:pt x="79748" y="533547"/>
                  <a:pt x="62411" y="533547"/>
                </a:cubicBezTo>
                <a:cubicBezTo>
                  <a:pt x="38972" y="533547"/>
                  <a:pt x="0" y="517459"/>
                  <a:pt x="0" y="507750"/>
                </a:cubicBezTo>
                <a:cubicBezTo>
                  <a:pt x="0" y="496239"/>
                  <a:pt x="27184" y="496377"/>
                  <a:pt x="163795" y="465588"/>
                </a:cubicBezTo>
                <a:cubicBezTo>
                  <a:pt x="190146" y="360876"/>
                  <a:pt x="227038" y="219133"/>
                  <a:pt x="234805" y="162547"/>
                </a:cubicBezTo>
                <a:cubicBezTo>
                  <a:pt x="236192" y="152145"/>
                  <a:pt x="239798" y="140633"/>
                  <a:pt x="258244" y="135502"/>
                </a:cubicBezTo>
                <a:cubicBezTo>
                  <a:pt x="269339" y="132451"/>
                  <a:pt x="290004" y="126625"/>
                  <a:pt x="300961" y="126625"/>
                </a:cubicBezTo>
                <a:cubicBezTo>
                  <a:pt x="313304" y="126625"/>
                  <a:pt x="316772" y="137721"/>
                  <a:pt x="316772" y="149232"/>
                </a:cubicBezTo>
                <a:cubicBezTo>
                  <a:pt x="316772" y="170036"/>
                  <a:pt x="273916" y="298048"/>
                  <a:pt x="239104" y="449084"/>
                </a:cubicBezTo>
                <a:cubicBezTo>
                  <a:pt x="309837" y="433689"/>
                  <a:pt x="385424" y="417739"/>
                  <a:pt x="447697" y="404564"/>
                </a:cubicBezTo>
                <a:cubicBezTo>
                  <a:pt x="485421" y="261434"/>
                  <a:pt x="522313" y="121910"/>
                  <a:pt x="542839" y="34950"/>
                </a:cubicBezTo>
                <a:cubicBezTo>
                  <a:pt x="547277" y="16227"/>
                  <a:pt x="546445" y="10679"/>
                  <a:pt x="557402" y="6935"/>
                </a:cubicBezTo>
                <a:cubicBezTo>
                  <a:pt x="562533" y="5132"/>
                  <a:pt x="578205" y="0"/>
                  <a:pt x="592907" y="0"/>
                </a:cubicBezTo>
                <a:cubicBezTo>
                  <a:pt x="607608" y="0"/>
                  <a:pt x="620506" y="5548"/>
                  <a:pt x="620506" y="25381"/>
                </a:cubicBezTo>
                <a:cubicBezTo>
                  <a:pt x="620506" y="29680"/>
                  <a:pt x="619813" y="34673"/>
                  <a:pt x="618426" y="40359"/>
                </a:cubicBezTo>
                <a:close/>
                <a:moveTo>
                  <a:pt x="845048" y="445755"/>
                </a:moveTo>
                <a:cubicBezTo>
                  <a:pt x="796922" y="454076"/>
                  <a:pt x="739920" y="465865"/>
                  <a:pt x="684582" y="476544"/>
                </a:cubicBezTo>
                <a:cubicBezTo>
                  <a:pt x="700670" y="412608"/>
                  <a:pt x="716620" y="352970"/>
                  <a:pt x="729241" y="311918"/>
                </a:cubicBezTo>
                <a:cubicBezTo>
                  <a:pt x="838946" y="287092"/>
                  <a:pt x="1056276" y="236053"/>
                  <a:pt x="1087204" y="231060"/>
                </a:cubicBezTo>
                <a:cubicBezTo>
                  <a:pt x="1104679" y="228148"/>
                  <a:pt x="1110643" y="223155"/>
                  <a:pt x="1110643" y="218994"/>
                </a:cubicBezTo>
                <a:cubicBezTo>
                  <a:pt x="1110643" y="211089"/>
                  <a:pt x="1084985" y="185708"/>
                  <a:pt x="1053363" y="185708"/>
                </a:cubicBezTo>
                <a:cubicBezTo>
                  <a:pt x="1046428" y="185708"/>
                  <a:pt x="1038662" y="186402"/>
                  <a:pt x="1029785" y="187927"/>
                </a:cubicBezTo>
                <a:cubicBezTo>
                  <a:pt x="966542" y="199023"/>
                  <a:pt x="709269" y="252974"/>
                  <a:pt x="636872" y="267536"/>
                </a:cubicBezTo>
                <a:cubicBezTo>
                  <a:pt x="618842" y="271142"/>
                  <a:pt x="610798" y="277661"/>
                  <a:pt x="610798" y="284595"/>
                </a:cubicBezTo>
                <a:cubicBezTo>
                  <a:pt x="610798" y="295136"/>
                  <a:pt x="636317" y="316217"/>
                  <a:pt x="652683" y="321210"/>
                </a:cubicBezTo>
                <a:cubicBezTo>
                  <a:pt x="616623" y="461427"/>
                  <a:pt x="524948" y="770571"/>
                  <a:pt x="524948" y="802192"/>
                </a:cubicBezTo>
                <a:cubicBezTo>
                  <a:pt x="524948" y="809959"/>
                  <a:pt x="527583" y="815646"/>
                  <a:pt x="537569" y="815646"/>
                </a:cubicBezTo>
                <a:cubicBezTo>
                  <a:pt x="551299" y="815646"/>
                  <a:pt x="579176" y="809682"/>
                  <a:pt x="595542" y="802886"/>
                </a:cubicBezTo>
                <a:cubicBezTo>
                  <a:pt x="611908" y="795951"/>
                  <a:pt x="611630" y="787907"/>
                  <a:pt x="616762" y="763914"/>
                </a:cubicBezTo>
                <a:cubicBezTo>
                  <a:pt x="627996" y="712043"/>
                  <a:pt x="648106" y="624945"/>
                  <a:pt x="669603" y="537430"/>
                </a:cubicBezTo>
                <a:cubicBezTo>
                  <a:pt x="735620" y="523422"/>
                  <a:pt x="777505" y="516488"/>
                  <a:pt x="808988" y="509276"/>
                </a:cubicBezTo>
                <a:cubicBezTo>
                  <a:pt x="843661" y="501370"/>
                  <a:pt x="850180" y="491107"/>
                  <a:pt x="859611" y="477238"/>
                </a:cubicBezTo>
                <a:cubicBezTo>
                  <a:pt x="865852" y="468223"/>
                  <a:pt x="872232" y="456850"/>
                  <a:pt x="872232" y="451996"/>
                </a:cubicBezTo>
                <a:cubicBezTo>
                  <a:pt x="872232" y="444368"/>
                  <a:pt x="864742" y="442288"/>
                  <a:pt x="845187" y="445755"/>
                </a:cubicBezTo>
                <a:close/>
                <a:moveTo>
                  <a:pt x="1479701" y="159218"/>
                </a:moveTo>
                <a:cubicBezTo>
                  <a:pt x="1459452" y="159218"/>
                  <a:pt x="1437955" y="171978"/>
                  <a:pt x="1409801" y="217052"/>
                </a:cubicBezTo>
                <a:cubicBezTo>
                  <a:pt x="1369857" y="281128"/>
                  <a:pt x="1274854" y="509553"/>
                  <a:pt x="1212442" y="666691"/>
                </a:cubicBezTo>
                <a:cubicBezTo>
                  <a:pt x="1210639" y="502202"/>
                  <a:pt x="1231721" y="360598"/>
                  <a:pt x="1231721" y="323845"/>
                </a:cubicBezTo>
                <a:cubicBezTo>
                  <a:pt x="1231721" y="305399"/>
                  <a:pt x="1220348" y="300683"/>
                  <a:pt x="1206895" y="300683"/>
                </a:cubicBezTo>
                <a:cubicBezTo>
                  <a:pt x="1188310" y="300683"/>
                  <a:pt x="1160988" y="301516"/>
                  <a:pt x="1151002" y="324677"/>
                </a:cubicBezTo>
                <a:cubicBezTo>
                  <a:pt x="1144483" y="339795"/>
                  <a:pt x="1143374" y="343262"/>
                  <a:pt x="1137549" y="353525"/>
                </a:cubicBezTo>
                <a:cubicBezTo>
                  <a:pt x="1125205" y="375577"/>
                  <a:pt x="1053502" y="501786"/>
                  <a:pt x="980689" y="605528"/>
                </a:cubicBezTo>
                <a:cubicBezTo>
                  <a:pt x="1012588" y="432995"/>
                  <a:pt x="1041574" y="349087"/>
                  <a:pt x="1041574" y="331196"/>
                </a:cubicBezTo>
                <a:cubicBezTo>
                  <a:pt x="1041574" y="322874"/>
                  <a:pt x="1036165" y="319962"/>
                  <a:pt x="1029369" y="319962"/>
                </a:cubicBezTo>
                <a:cubicBezTo>
                  <a:pt x="1021325" y="319962"/>
                  <a:pt x="1000799" y="324816"/>
                  <a:pt x="988871" y="327728"/>
                </a:cubicBezTo>
                <a:cubicBezTo>
                  <a:pt x="974864" y="331196"/>
                  <a:pt x="963768" y="335772"/>
                  <a:pt x="954892" y="369752"/>
                </a:cubicBezTo>
                <a:cubicBezTo>
                  <a:pt x="925905" y="479734"/>
                  <a:pt x="880553" y="665720"/>
                  <a:pt x="880553" y="711766"/>
                </a:cubicBezTo>
                <a:cubicBezTo>
                  <a:pt x="880553" y="731876"/>
                  <a:pt x="884575" y="741862"/>
                  <a:pt x="902328" y="741862"/>
                </a:cubicBezTo>
                <a:cubicBezTo>
                  <a:pt x="921051" y="741862"/>
                  <a:pt x="947541" y="736591"/>
                  <a:pt x="960024" y="718423"/>
                </a:cubicBezTo>
                <a:cubicBezTo>
                  <a:pt x="1022851" y="626609"/>
                  <a:pt x="1086372" y="516349"/>
                  <a:pt x="1144483" y="419542"/>
                </a:cubicBezTo>
                <a:cubicBezTo>
                  <a:pt x="1135191" y="510801"/>
                  <a:pt x="1128950" y="628967"/>
                  <a:pt x="1128950" y="709546"/>
                </a:cubicBezTo>
                <a:cubicBezTo>
                  <a:pt x="1128950" y="765023"/>
                  <a:pt x="1130614" y="786798"/>
                  <a:pt x="1162375" y="786798"/>
                </a:cubicBezTo>
                <a:cubicBezTo>
                  <a:pt x="1191223" y="786798"/>
                  <a:pt x="1217019" y="781666"/>
                  <a:pt x="1235049" y="740891"/>
                </a:cubicBezTo>
                <a:cubicBezTo>
                  <a:pt x="1297599" y="599148"/>
                  <a:pt x="1429911" y="303735"/>
                  <a:pt x="1512016" y="203322"/>
                </a:cubicBezTo>
                <a:cubicBezTo>
                  <a:pt x="1517425" y="196803"/>
                  <a:pt x="1522696" y="191256"/>
                  <a:pt x="1522696" y="183766"/>
                </a:cubicBezTo>
                <a:cubicBezTo>
                  <a:pt x="1522696" y="173365"/>
                  <a:pt x="1498563" y="159357"/>
                  <a:pt x="1479840" y="159357"/>
                </a:cubicBezTo>
                <a:close/>
              </a:path>
            </a:pathLst>
          </a:custGeom>
          <a:solidFill>
            <a:schemeClr val="bg1"/>
          </a:solidFill>
          <a:ln w="13855" cap="flat">
            <a:noFill/>
            <a:prstDash val="solid"/>
            <a:miter/>
          </a:ln>
        </p:spPr>
        <p:txBody>
          <a:bodyPr rtlCol="0" anchor="ctr"/>
          <a:lstStyle/>
          <a:p>
            <a:endParaRPr lang="en-GB"/>
          </a:p>
        </p:txBody>
      </p:sp>
    </p:spTree>
    <p:extLst>
      <p:ext uri="{BB962C8B-B14F-4D97-AF65-F5344CB8AC3E}">
        <p14:creationId xmlns:p14="http://schemas.microsoft.com/office/powerpoint/2010/main" val="2781822252"/>
      </p:ext>
    </p:extLst>
  </p:cSld>
  <p:clrMapOvr>
    <a:masterClrMapping/>
  </p:clrMapOvr>
  <p:transition spd="med">
    <p:fade/>
  </p:transition>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Slide with Icons - ENERGY">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E5E6CFCC-6E4A-6785-3407-799B2CBAEBB0}"/>
              </a:ext>
            </a:extLst>
          </p:cNvPr>
          <p:cNvSpPr>
            <a:spLocks noGrp="1"/>
          </p:cNvSpPr>
          <p:nvPr>
            <p:ph type="pic" sz="quarter" idx="13" hasCustomPrompt="1"/>
          </p:nvPr>
        </p:nvSpPr>
        <p:spPr>
          <a:xfrm>
            <a:off x="4067176" y="2"/>
            <a:ext cx="8124824" cy="6857999"/>
          </a:xfrm>
          <a:custGeom>
            <a:avLst/>
            <a:gdLst>
              <a:gd name="connsiteX0" fmla="*/ 3500648 w 8124824"/>
              <a:gd name="connsiteY0" fmla="*/ 1154291 h 6857999"/>
              <a:gd name="connsiteX1" fmla="*/ 3500648 w 8124824"/>
              <a:gd name="connsiteY1" fmla="*/ 1224425 h 6857999"/>
              <a:gd name="connsiteX2" fmla="*/ 3519525 w 8124824"/>
              <a:gd name="connsiteY2" fmla="*/ 1224425 h 6857999"/>
              <a:gd name="connsiteX3" fmla="*/ 3593568 w 8124824"/>
              <a:gd name="connsiteY3" fmla="*/ 1297478 h 6857999"/>
              <a:gd name="connsiteX4" fmla="*/ 3519525 w 8124824"/>
              <a:gd name="connsiteY4" fmla="*/ 1370533 h 6857999"/>
              <a:gd name="connsiteX5" fmla="*/ 3445479 w 8124824"/>
              <a:gd name="connsiteY5" fmla="*/ 1297478 h 6857999"/>
              <a:gd name="connsiteX6" fmla="*/ 3407727 w 8124824"/>
              <a:gd name="connsiteY6" fmla="*/ 1297478 h 6857999"/>
              <a:gd name="connsiteX7" fmla="*/ 3519525 w 8124824"/>
              <a:gd name="connsiteY7" fmla="*/ 1407816 h 6857999"/>
              <a:gd name="connsiteX8" fmla="*/ 3519525 w 8124824"/>
              <a:gd name="connsiteY8" fmla="*/ 1407868 h 6857999"/>
              <a:gd name="connsiteX9" fmla="*/ 3631321 w 8124824"/>
              <a:gd name="connsiteY9" fmla="*/ 1297531 h 6857999"/>
              <a:gd name="connsiteX10" fmla="*/ 3538401 w 8124824"/>
              <a:gd name="connsiteY10" fmla="*/ 1188759 h 6857999"/>
              <a:gd name="connsiteX11" fmla="*/ 3538401 w 8124824"/>
              <a:gd name="connsiteY11" fmla="*/ 1154291 h 6857999"/>
              <a:gd name="connsiteX12" fmla="*/ 1479209 w 8124824"/>
              <a:gd name="connsiteY12" fmla="*/ 1074105 h 6857999"/>
              <a:gd name="connsiteX13" fmla="*/ 1408607 w 8124824"/>
              <a:gd name="connsiteY13" fmla="*/ 1110605 h 6857999"/>
              <a:gd name="connsiteX14" fmla="*/ 1408554 w 8124824"/>
              <a:gd name="connsiteY14" fmla="*/ 1110658 h 6857999"/>
              <a:gd name="connsiteX15" fmla="*/ 1408658 w 8124824"/>
              <a:gd name="connsiteY15" fmla="*/ 1112535 h 6857999"/>
              <a:gd name="connsiteX16" fmla="*/ 1408554 w 8124824"/>
              <a:gd name="connsiteY16" fmla="*/ 1112587 h 6857999"/>
              <a:gd name="connsiteX17" fmla="*/ 1418827 w 8124824"/>
              <a:gd name="connsiteY17" fmla="*/ 1286331 h 6857999"/>
              <a:gd name="connsiteX18" fmla="*/ 1423676 w 8124824"/>
              <a:gd name="connsiteY18" fmla="*/ 1283620 h 6857999"/>
              <a:gd name="connsiteX19" fmla="*/ 1454389 w 8124824"/>
              <a:gd name="connsiteY19" fmla="*/ 1231945 h 6857999"/>
              <a:gd name="connsiteX20" fmla="*/ 1479209 w 8124824"/>
              <a:gd name="connsiteY20" fmla="*/ 1076087 h 6857999"/>
              <a:gd name="connsiteX21" fmla="*/ 1478845 w 8124824"/>
              <a:gd name="connsiteY21" fmla="*/ 1076244 h 6857999"/>
              <a:gd name="connsiteX22" fmla="*/ 1479209 w 8124824"/>
              <a:gd name="connsiteY22" fmla="*/ 1074105 h 6857999"/>
              <a:gd name="connsiteX23" fmla="*/ 6746854 w 8124824"/>
              <a:gd name="connsiteY23" fmla="*/ 1051836 h 6857999"/>
              <a:gd name="connsiteX24" fmla="*/ 6477373 w 8124824"/>
              <a:gd name="connsiteY24" fmla="*/ 1080255 h 6857999"/>
              <a:gd name="connsiteX25" fmla="*/ 6472315 w 8124824"/>
              <a:gd name="connsiteY25" fmla="*/ 1080777 h 6857999"/>
              <a:gd name="connsiteX26" fmla="*/ 6466996 w 8124824"/>
              <a:gd name="connsiteY26" fmla="*/ 1091309 h 6857999"/>
              <a:gd name="connsiteX27" fmla="*/ 6567060 w 8124824"/>
              <a:gd name="connsiteY27" fmla="*/ 1296184 h 6857999"/>
              <a:gd name="connsiteX28" fmla="*/ 6932017 w 8124824"/>
              <a:gd name="connsiteY28" fmla="*/ 1296184 h 6857999"/>
              <a:gd name="connsiteX29" fmla="*/ 7031978 w 8124824"/>
              <a:gd name="connsiteY29" fmla="*/ 1091309 h 6857999"/>
              <a:gd name="connsiteX30" fmla="*/ 7026607 w 8124824"/>
              <a:gd name="connsiteY30" fmla="*/ 1080777 h 6857999"/>
              <a:gd name="connsiteX31" fmla="*/ 7024261 w 8124824"/>
              <a:gd name="connsiteY31" fmla="*/ 1080568 h 6857999"/>
              <a:gd name="connsiteX32" fmla="*/ 6748053 w 8124824"/>
              <a:gd name="connsiteY32" fmla="*/ 1051992 h 6857999"/>
              <a:gd name="connsiteX33" fmla="*/ 5673793 w 8124824"/>
              <a:gd name="connsiteY33" fmla="*/ 1044602 h 6857999"/>
              <a:gd name="connsiteX34" fmla="*/ 5640838 w 8124824"/>
              <a:gd name="connsiteY34" fmla="*/ 1059984 h 6857999"/>
              <a:gd name="connsiteX35" fmla="*/ 5633017 w 8124824"/>
              <a:gd name="connsiteY35" fmla="*/ 1073698 h 6857999"/>
              <a:gd name="connsiteX36" fmla="*/ 5630670 w 8124824"/>
              <a:gd name="connsiteY36" fmla="*/ 1087412 h 6857999"/>
              <a:gd name="connsiteX37" fmla="*/ 5630670 w 8124824"/>
              <a:gd name="connsiteY37" fmla="*/ 1087620 h 6857999"/>
              <a:gd name="connsiteX38" fmla="*/ 5647043 w 8124824"/>
              <a:gd name="connsiteY38" fmla="*/ 1121410 h 6857999"/>
              <a:gd name="connsiteX39" fmla="*/ 5653040 w 8124824"/>
              <a:gd name="connsiteY39" fmla="*/ 1126154 h 6857999"/>
              <a:gd name="connsiteX40" fmla="*/ 5646626 w 8124824"/>
              <a:gd name="connsiteY40" fmla="*/ 1181323 h 6857999"/>
              <a:gd name="connsiteX41" fmla="*/ 5700804 w 8124824"/>
              <a:gd name="connsiteY41" fmla="*/ 1181323 h 6857999"/>
              <a:gd name="connsiteX42" fmla="*/ 5694286 w 8124824"/>
              <a:gd name="connsiteY42" fmla="*/ 1126154 h 6857999"/>
              <a:gd name="connsiteX43" fmla="*/ 5700386 w 8124824"/>
              <a:gd name="connsiteY43" fmla="*/ 1121410 h 6857999"/>
              <a:gd name="connsiteX44" fmla="*/ 5716760 w 8124824"/>
              <a:gd name="connsiteY44" fmla="*/ 1087620 h 6857999"/>
              <a:gd name="connsiteX45" fmla="*/ 5716760 w 8124824"/>
              <a:gd name="connsiteY45" fmla="*/ 1087412 h 6857999"/>
              <a:gd name="connsiteX46" fmla="*/ 5716864 w 8124824"/>
              <a:gd name="connsiteY46" fmla="*/ 1087412 h 6857999"/>
              <a:gd name="connsiteX47" fmla="*/ 5714518 w 8124824"/>
              <a:gd name="connsiteY47" fmla="*/ 1073698 h 6857999"/>
              <a:gd name="connsiteX48" fmla="*/ 5706695 w 8124824"/>
              <a:gd name="connsiteY48" fmla="*/ 1059984 h 6857999"/>
              <a:gd name="connsiteX49" fmla="*/ 5673793 w 8124824"/>
              <a:gd name="connsiteY49" fmla="*/ 1044602 h 6857999"/>
              <a:gd name="connsiteX50" fmla="*/ 2527407 w 8124824"/>
              <a:gd name="connsiteY50" fmla="*/ 1036166 h 6857999"/>
              <a:gd name="connsiteX51" fmla="*/ 2463323 w 8124824"/>
              <a:gd name="connsiteY51" fmla="*/ 1229673 h 6857999"/>
              <a:gd name="connsiteX52" fmla="*/ 2684621 w 8124824"/>
              <a:gd name="connsiteY52" fmla="*/ 1229673 h 6857999"/>
              <a:gd name="connsiteX53" fmla="*/ 2684621 w 8124824"/>
              <a:gd name="connsiteY53" fmla="*/ 1036166 h 6857999"/>
              <a:gd name="connsiteX54" fmla="*/ 2718046 w 8124824"/>
              <a:gd name="connsiteY54" fmla="*/ 1036114 h 6857999"/>
              <a:gd name="connsiteX55" fmla="*/ 2718046 w 8124824"/>
              <a:gd name="connsiteY55" fmla="*/ 1229620 h 6857999"/>
              <a:gd name="connsiteX56" fmla="*/ 2782130 w 8124824"/>
              <a:gd name="connsiteY56" fmla="*/ 1229620 h 6857999"/>
              <a:gd name="connsiteX57" fmla="*/ 2359190 w 8124824"/>
              <a:gd name="connsiteY57" fmla="*/ 1034967 h 6857999"/>
              <a:gd name="connsiteX58" fmla="*/ 2359190 w 8124824"/>
              <a:gd name="connsiteY58" fmla="*/ 1228368 h 6857999"/>
              <a:gd name="connsiteX59" fmla="*/ 2423275 w 8124824"/>
              <a:gd name="connsiteY59" fmla="*/ 1228368 h 6857999"/>
              <a:gd name="connsiteX60" fmla="*/ 2168552 w 8124824"/>
              <a:gd name="connsiteY60" fmla="*/ 1034967 h 6857999"/>
              <a:gd name="connsiteX61" fmla="*/ 2104466 w 8124824"/>
              <a:gd name="connsiteY61" fmla="*/ 1228368 h 6857999"/>
              <a:gd name="connsiteX62" fmla="*/ 2325766 w 8124824"/>
              <a:gd name="connsiteY62" fmla="*/ 1228368 h 6857999"/>
              <a:gd name="connsiteX63" fmla="*/ 2325766 w 8124824"/>
              <a:gd name="connsiteY63" fmla="*/ 1034967 h 6857999"/>
              <a:gd name="connsiteX64" fmla="*/ 5673793 w 8124824"/>
              <a:gd name="connsiteY64" fmla="*/ 1017173 h 6857999"/>
              <a:gd name="connsiteX65" fmla="*/ 5738607 w 8124824"/>
              <a:gd name="connsiteY65" fmla="*/ 1059984 h 6857999"/>
              <a:gd name="connsiteX66" fmla="*/ 5742936 w 8124824"/>
              <a:gd name="connsiteY66" fmla="*/ 1073698 h 6857999"/>
              <a:gd name="connsiteX67" fmla="*/ 5744291 w 8124824"/>
              <a:gd name="connsiteY67" fmla="*/ 1087412 h 6857999"/>
              <a:gd name="connsiteX68" fmla="*/ 5744291 w 8124824"/>
              <a:gd name="connsiteY68" fmla="*/ 1087620 h 6857999"/>
              <a:gd name="connsiteX69" fmla="*/ 5723382 w 8124824"/>
              <a:gd name="connsiteY69" fmla="*/ 1137678 h 6857999"/>
              <a:gd name="connsiteX70" fmla="*/ 5731726 w 8124824"/>
              <a:gd name="connsiteY70" fmla="*/ 1208803 h 6857999"/>
              <a:gd name="connsiteX71" fmla="*/ 5615860 w 8124824"/>
              <a:gd name="connsiteY71" fmla="*/ 1208803 h 6857999"/>
              <a:gd name="connsiteX72" fmla="*/ 5624152 w 8124824"/>
              <a:gd name="connsiteY72" fmla="*/ 1137678 h 6857999"/>
              <a:gd name="connsiteX73" fmla="*/ 5603242 w 8124824"/>
              <a:gd name="connsiteY73" fmla="*/ 1087620 h 6857999"/>
              <a:gd name="connsiteX74" fmla="*/ 5603242 w 8124824"/>
              <a:gd name="connsiteY74" fmla="*/ 1087412 h 6857999"/>
              <a:gd name="connsiteX75" fmla="*/ 5604650 w 8124824"/>
              <a:gd name="connsiteY75" fmla="*/ 1073698 h 6857999"/>
              <a:gd name="connsiteX76" fmla="*/ 5608979 w 8124824"/>
              <a:gd name="connsiteY76" fmla="*/ 1059984 h 6857999"/>
              <a:gd name="connsiteX77" fmla="*/ 5673793 w 8124824"/>
              <a:gd name="connsiteY77" fmla="*/ 1017173 h 6857999"/>
              <a:gd name="connsiteX78" fmla="*/ 6762601 w 8124824"/>
              <a:gd name="connsiteY78" fmla="*/ 1000370 h 6857999"/>
              <a:gd name="connsiteX79" fmla="*/ 6762601 w 8124824"/>
              <a:gd name="connsiteY79" fmla="*/ 1024356 h 6857999"/>
              <a:gd name="connsiteX80" fmla="*/ 6766511 w 8124824"/>
              <a:gd name="connsiteY80" fmla="*/ 1024774 h 6857999"/>
              <a:gd name="connsiteX81" fmla="*/ 6862874 w 8124824"/>
              <a:gd name="connsiteY81" fmla="*/ 1034784 h 6857999"/>
              <a:gd name="connsiteX82" fmla="*/ 6862874 w 8124824"/>
              <a:gd name="connsiteY82" fmla="*/ 1000370 h 6857999"/>
              <a:gd name="connsiteX83" fmla="*/ 6891866 w 8124824"/>
              <a:gd name="connsiteY83" fmla="*/ 1000317 h 6857999"/>
              <a:gd name="connsiteX84" fmla="*/ 6891866 w 8124824"/>
              <a:gd name="connsiteY84" fmla="*/ 1037704 h 6857999"/>
              <a:gd name="connsiteX85" fmla="*/ 6895048 w 8124824"/>
              <a:gd name="connsiteY85" fmla="*/ 1038069 h 6857999"/>
              <a:gd name="connsiteX86" fmla="*/ 6995321 w 8124824"/>
              <a:gd name="connsiteY86" fmla="*/ 1048447 h 6857999"/>
              <a:gd name="connsiteX87" fmla="*/ 6995321 w 8124824"/>
              <a:gd name="connsiteY87" fmla="*/ 1000317 h 6857999"/>
              <a:gd name="connsiteX88" fmla="*/ 6634170 w 8124824"/>
              <a:gd name="connsiteY88" fmla="*/ 1000317 h 6857999"/>
              <a:gd name="connsiteX89" fmla="*/ 6634170 w 8124824"/>
              <a:gd name="connsiteY89" fmla="*/ 1034524 h 6857999"/>
              <a:gd name="connsiteX90" fmla="*/ 6638811 w 8124824"/>
              <a:gd name="connsiteY90" fmla="*/ 1034106 h 6857999"/>
              <a:gd name="connsiteX91" fmla="*/ 6733662 w 8124824"/>
              <a:gd name="connsiteY91" fmla="*/ 1024096 h 6857999"/>
              <a:gd name="connsiteX92" fmla="*/ 6733662 w 8124824"/>
              <a:gd name="connsiteY92" fmla="*/ 1000317 h 6857999"/>
              <a:gd name="connsiteX93" fmla="*/ 6634222 w 8124824"/>
              <a:gd name="connsiteY93" fmla="*/ 1000317 h 6857999"/>
              <a:gd name="connsiteX94" fmla="*/ 6506418 w 8124824"/>
              <a:gd name="connsiteY94" fmla="*/ 1000317 h 6857999"/>
              <a:gd name="connsiteX95" fmla="*/ 6506418 w 8124824"/>
              <a:gd name="connsiteY95" fmla="*/ 1048029 h 6857999"/>
              <a:gd name="connsiteX96" fmla="*/ 6605127 w 8124824"/>
              <a:gd name="connsiteY96" fmla="*/ 1037653 h 6857999"/>
              <a:gd name="connsiteX97" fmla="*/ 6605127 w 8124824"/>
              <a:gd name="connsiteY97" fmla="*/ 1000317 h 6857999"/>
              <a:gd name="connsiteX98" fmla="*/ 4629578 w 8124824"/>
              <a:gd name="connsiteY98" fmla="*/ 973402 h 6857999"/>
              <a:gd name="connsiteX99" fmla="*/ 4629631 w 8124824"/>
              <a:gd name="connsiteY99" fmla="*/ 973402 h 6857999"/>
              <a:gd name="connsiteX100" fmla="*/ 4802383 w 8124824"/>
              <a:gd name="connsiteY100" fmla="*/ 1018403 h 6857999"/>
              <a:gd name="connsiteX101" fmla="*/ 4519032 w 8124824"/>
              <a:gd name="connsiteY101" fmla="*/ 1397491 h 6857999"/>
              <a:gd name="connsiteX102" fmla="*/ 5476897 w 8124824"/>
              <a:gd name="connsiteY102" fmla="*/ 961170 h 6857999"/>
              <a:gd name="connsiteX103" fmla="*/ 5476897 w 8124824"/>
              <a:gd name="connsiteY103" fmla="*/ 1285663 h 6857999"/>
              <a:gd name="connsiteX104" fmla="*/ 5870742 w 8124824"/>
              <a:gd name="connsiteY104" fmla="*/ 1285663 h 6857999"/>
              <a:gd name="connsiteX105" fmla="*/ 5870742 w 8124824"/>
              <a:gd name="connsiteY105" fmla="*/ 961170 h 6857999"/>
              <a:gd name="connsiteX106" fmla="*/ 3519732 w 8124824"/>
              <a:gd name="connsiteY106" fmla="*/ 923709 h 6857999"/>
              <a:gd name="connsiteX107" fmla="*/ 3459611 w 8124824"/>
              <a:gd name="connsiteY107" fmla="*/ 983831 h 6857999"/>
              <a:gd name="connsiteX108" fmla="*/ 3519732 w 8124824"/>
              <a:gd name="connsiteY108" fmla="*/ 1043901 h 6857999"/>
              <a:gd name="connsiteX109" fmla="*/ 3579804 w 8124824"/>
              <a:gd name="connsiteY109" fmla="*/ 983831 h 6857999"/>
              <a:gd name="connsiteX110" fmla="*/ 3519732 w 8124824"/>
              <a:gd name="connsiteY110" fmla="*/ 923709 h 6857999"/>
              <a:gd name="connsiteX111" fmla="*/ 6891866 w 8124824"/>
              <a:gd name="connsiteY111" fmla="*/ 916365 h 6857999"/>
              <a:gd name="connsiteX112" fmla="*/ 6891866 w 8124824"/>
              <a:gd name="connsiteY112" fmla="*/ 971325 h 6857999"/>
              <a:gd name="connsiteX113" fmla="*/ 6995321 w 8124824"/>
              <a:gd name="connsiteY113" fmla="*/ 971325 h 6857999"/>
              <a:gd name="connsiteX114" fmla="*/ 6995321 w 8124824"/>
              <a:gd name="connsiteY114" fmla="*/ 916365 h 6857999"/>
              <a:gd name="connsiteX115" fmla="*/ 6762601 w 8124824"/>
              <a:gd name="connsiteY115" fmla="*/ 916365 h 6857999"/>
              <a:gd name="connsiteX116" fmla="*/ 6762601 w 8124824"/>
              <a:gd name="connsiteY116" fmla="*/ 971325 h 6857999"/>
              <a:gd name="connsiteX117" fmla="*/ 6862874 w 8124824"/>
              <a:gd name="connsiteY117" fmla="*/ 971325 h 6857999"/>
              <a:gd name="connsiteX118" fmla="*/ 6862874 w 8124824"/>
              <a:gd name="connsiteY118" fmla="*/ 916365 h 6857999"/>
              <a:gd name="connsiteX119" fmla="*/ 6634170 w 8124824"/>
              <a:gd name="connsiteY119" fmla="*/ 916365 h 6857999"/>
              <a:gd name="connsiteX120" fmla="*/ 6634170 w 8124824"/>
              <a:gd name="connsiteY120" fmla="*/ 971325 h 6857999"/>
              <a:gd name="connsiteX121" fmla="*/ 6733609 w 8124824"/>
              <a:gd name="connsiteY121" fmla="*/ 971325 h 6857999"/>
              <a:gd name="connsiteX122" fmla="*/ 6733609 w 8124824"/>
              <a:gd name="connsiteY122" fmla="*/ 916365 h 6857999"/>
              <a:gd name="connsiteX123" fmla="*/ 6506469 w 8124824"/>
              <a:gd name="connsiteY123" fmla="*/ 916365 h 6857999"/>
              <a:gd name="connsiteX124" fmla="*/ 6506469 w 8124824"/>
              <a:gd name="connsiteY124" fmla="*/ 971325 h 6857999"/>
              <a:gd name="connsiteX125" fmla="*/ 6605178 w 8124824"/>
              <a:gd name="connsiteY125" fmla="*/ 971325 h 6857999"/>
              <a:gd name="connsiteX126" fmla="*/ 6605178 w 8124824"/>
              <a:gd name="connsiteY126" fmla="*/ 916365 h 6857999"/>
              <a:gd name="connsiteX127" fmla="*/ 3519732 w 8124824"/>
              <a:gd name="connsiteY127" fmla="*/ 886166 h 6857999"/>
              <a:gd name="connsiteX128" fmla="*/ 3617398 w 8124824"/>
              <a:gd name="connsiteY128" fmla="*/ 983780 h 6857999"/>
              <a:gd name="connsiteX129" fmla="*/ 3519732 w 8124824"/>
              <a:gd name="connsiteY129" fmla="*/ 1081446 h 6857999"/>
              <a:gd name="connsiteX130" fmla="*/ 3422066 w 8124824"/>
              <a:gd name="connsiteY130" fmla="*/ 983780 h 6857999"/>
              <a:gd name="connsiteX131" fmla="*/ 3519732 w 8124824"/>
              <a:gd name="connsiteY131" fmla="*/ 886166 h 6857999"/>
              <a:gd name="connsiteX132" fmla="*/ 3324452 w 8124824"/>
              <a:gd name="connsiteY132" fmla="*/ 854671 h 6857999"/>
              <a:gd name="connsiteX133" fmla="*/ 3382905 w 8124824"/>
              <a:gd name="connsiteY133" fmla="*/ 1116643 h 6857999"/>
              <a:gd name="connsiteX134" fmla="*/ 3656090 w 8124824"/>
              <a:gd name="connsiteY134" fmla="*/ 1116643 h 6857999"/>
              <a:gd name="connsiteX135" fmla="*/ 3714595 w 8124824"/>
              <a:gd name="connsiteY135" fmla="*/ 854671 h 6857999"/>
              <a:gd name="connsiteX136" fmla="*/ 3324505 w 8124824"/>
              <a:gd name="connsiteY136" fmla="*/ 854671 h 6857999"/>
              <a:gd name="connsiteX137" fmla="*/ 1116267 w 8124824"/>
              <a:gd name="connsiteY137" fmla="*/ 850675 h 6857999"/>
              <a:gd name="connsiteX138" fmla="*/ 1090163 w 8124824"/>
              <a:gd name="connsiteY138" fmla="*/ 860785 h 6857999"/>
              <a:gd name="connsiteX139" fmla="*/ 1085782 w 8124824"/>
              <a:gd name="connsiteY139" fmla="*/ 864695 h 6857999"/>
              <a:gd name="connsiteX140" fmla="*/ 1294150 w 8124824"/>
              <a:gd name="connsiteY140" fmla="*/ 986346 h 6857999"/>
              <a:gd name="connsiteX141" fmla="*/ 1294150 w 8124824"/>
              <a:gd name="connsiteY141" fmla="*/ 986295 h 6857999"/>
              <a:gd name="connsiteX142" fmla="*/ 1396144 w 8124824"/>
              <a:gd name="connsiteY142" fmla="*/ 932117 h 6857999"/>
              <a:gd name="connsiteX143" fmla="*/ 1149764 w 8124824"/>
              <a:gd name="connsiteY143" fmla="*/ 856716 h 6857999"/>
              <a:gd name="connsiteX144" fmla="*/ 1116267 w 8124824"/>
              <a:gd name="connsiteY144" fmla="*/ 850675 h 6857999"/>
              <a:gd name="connsiteX145" fmla="*/ 1645683 w 8124824"/>
              <a:gd name="connsiteY145" fmla="*/ 847722 h 6857999"/>
              <a:gd name="connsiteX146" fmla="*/ 1627872 w 8124824"/>
              <a:gd name="connsiteY146" fmla="*/ 852806 h 6857999"/>
              <a:gd name="connsiteX147" fmla="*/ 1175522 w 8124824"/>
              <a:gd name="connsiteY147" fmla="*/ 1086568 h 6857999"/>
              <a:gd name="connsiteX148" fmla="*/ 1149243 w 8124824"/>
              <a:gd name="connsiteY148" fmla="*/ 1088184 h 6857999"/>
              <a:gd name="connsiteX149" fmla="*/ 1049335 w 8124824"/>
              <a:gd name="connsiteY149" fmla="*/ 1058514 h 6857999"/>
              <a:gd name="connsiteX150" fmla="*/ 1024878 w 8124824"/>
              <a:gd name="connsiteY150" fmla="*/ 1071185 h 6857999"/>
              <a:gd name="connsiteX151" fmla="*/ 1173488 w 8124824"/>
              <a:gd name="connsiteY151" fmla="*/ 1171876 h 6857999"/>
              <a:gd name="connsiteX152" fmla="*/ 1211867 w 8124824"/>
              <a:gd name="connsiteY152" fmla="*/ 1172710 h 6857999"/>
              <a:gd name="connsiteX153" fmla="*/ 1670683 w 8124824"/>
              <a:gd name="connsiteY153" fmla="*/ 935611 h 6857999"/>
              <a:gd name="connsiteX154" fmla="*/ 1690706 w 8124824"/>
              <a:gd name="connsiteY154" fmla="*/ 872830 h 6857999"/>
              <a:gd name="connsiteX155" fmla="*/ 1645683 w 8124824"/>
              <a:gd name="connsiteY155" fmla="*/ 847722 h 6857999"/>
              <a:gd name="connsiteX156" fmla="*/ 2536950 w 8124824"/>
              <a:gd name="connsiteY156" fmla="*/ 805950 h 6857999"/>
              <a:gd name="connsiteX157" fmla="*/ 2536950 w 8124824"/>
              <a:gd name="connsiteY157" fmla="*/ 999352 h 6857999"/>
              <a:gd name="connsiteX158" fmla="*/ 2601034 w 8124824"/>
              <a:gd name="connsiteY158" fmla="*/ 999352 h 6857999"/>
              <a:gd name="connsiteX159" fmla="*/ 2346258 w 8124824"/>
              <a:gd name="connsiteY159" fmla="*/ 805950 h 6857999"/>
              <a:gd name="connsiteX160" fmla="*/ 2332388 w 8124824"/>
              <a:gd name="connsiteY160" fmla="*/ 847718 h 6857999"/>
              <a:gd name="connsiteX161" fmla="*/ 2325819 w 8124824"/>
              <a:gd name="connsiteY161" fmla="*/ 867688 h 6857999"/>
              <a:gd name="connsiteX162" fmla="*/ 2282225 w 8124824"/>
              <a:gd name="connsiteY162" fmla="*/ 999352 h 6857999"/>
              <a:gd name="connsiteX163" fmla="*/ 2503524 w 8124824"/>
              <a:gd name="connsiteY163" fmla="*/ 999352 h 6857999"/>
              <a:gd name="connsiteX164" fmla="*/ 2503524 w 8124824"/>
              <a:gd name="connsiteY164" fmla="*/ 805950 h 6857999"/>
              <a:gd name="connsiteX165" fmla="*/ 2503473 w 8124824"/>
              <a:gd name="connsiteY165" fmla="*/ 805950 h 6857999"/>
              <a:gd name="connsiteX166" fmla="*/ 6612948 w 8124824"/>
              <a:gd name="connsiteY166" fmla="*/ 788508 h 6857999"/>
              <a:gd name="connsiteX167" fmla="*/ 6612948 w 8124824"/>
              <a:gd name="connsiteY167" fmla="*/ 831997 h 6857999"/>
              <a:gd name="connsiteX168" fmla="*/ 6670932 w 8124824"/>
              <a:gd name="connsiteY168" fmla="*/ 831997 h 6857999"/>
              <a:gd name="connsiteX169" fmla="*/ 6670932 w 8124824"/>
              <a:gd name="connsiteY169" fmla="*/ 887373 h 6857999"/>
              <a:gd name="connsiteX170" fmla="*/ 6830388 w 8124824"/>
              <a:gd name="connsiteY170" fmla="*/ 887373 h 6857999"/>
              <a:gd name="connsiteX171" fmla="*/ 6830388 w 8124824"/>
              <a:gd name="connsiteY171" fmla="*/ 831997 h 6857999"/>
              <a:gd name="connsiteX172" fmla="*/ 6888374 w 8124824"/>
              <a:gd name="connsiteY172" fmla="*/ 831997 h 6857999"/>
              <a:gd name="connsiteX173" fmla="*/ 6888374 w 8124824"/>
              <a:gd name="connsiteY173" fmla="*/ 788508 h 6857999"/>
              <a:gd name="connsiteX174" fmla="*/ 5673793 w 8124824"/>
              <a:gd name="connsiteY174" fmla="*/ 779448 h 6857999"/>
              <a:gd name="connsiteX175" fmla="*/ 5519812 w 8124824"/>
              <a:gd name="connsiteY175" fmla="*/ 933482 h 6857999"/>
              <a:gd name="connsiteX176" fmla="*/ 5519812 w 8124824"/>
              <a:gd name="connsiteY176" fmla="*/ 933742 h 6857999"/>
              <a:gd name="connsiteX177" fmla="*/ 5547239 w 8124824"/>
              <a:gd name="connsiteY177" fmla="*/ 933742 h 6857999"/>
              <a:gd name="connsiteX178" fmla="*/ 5547239 w 8124824"/>
              <a:gd name="connsiteY178" fmla="*/ 933482 h 6857999"/>
              <a:gd name="connsiteX179" fmla="*/ 5673793 w 8124824"/>
              <a:gd name="connsiteY179" fmla="*/ 806876 h 6857999"/>
              <a:gd name="connsiteX180" fmla="*/ 5800398 w 8124824"/>
              <a:gd name="connsiteY180" fmla="*/ 933482 h 6857999"/>
              <a:gd name="connsiteX181" fmla="*/ 5800398 w 8124824"/>
              <a:gd name="connsiteY181" fmla="*/ 933742 h 6857999"/>
              <a:gd name="connsiteX182" fmla="*/ 5827827 w 8124824"/>
              <a:gd name="connsiteY182" fmla="*/ 933742 h 6857999"/>
              <a:gd name="connsiteX183" fmla="*/ 5827827 w 8124824"/>
              <a:gd name="connsiteY183" fmla="*/ 933482 h 6857999"/>
              <a:gd name="connsiteX184" fmla="*/ 5673793 w 8124824"/>
              <a:gd name="connsiteY184" fmla="*/ 779448 h 6857999"/>
              <a:gd name="connsiteX185" fmla="*/ 3593568 w 8124824"/>
              <a:gd name="connsiteY185" fmla="*/ 701471 h 6857999"/>
              <a:gd name="connsiteX186" fmla="*/ 3593568 w 8124824"/>
              <a:gd name="connsiteY186" fmla="*/ 817336 h 6857999"/>
              <a:gd name="connsiteX187" fmla="*/ 3631321 w 8124824"/>
              <a:gd name="connsiteY187" fmla="*/ 817336 h 6857999"/>
              <a:gd name="connsiteX188" fmla="*/ 3631321 w 8124824"/>
              <a:gd name="connsiteY188" fmla="*/ 701471 h 6857999"/>
              <a:gd name="connsiteX189" fmla="*/ 3407727 w 8124824"/>
              <a:gd name="connsiteY189" fmla="*/ 701471 h 6857999"/>
              <a:gd name="connsiteX190" fmla="*/ 3407727 w 8124824"/>
              <a:gd name="connsiteY190" fmla="*/ 817336 h 6857999"/>
              <a:gd name="connsiteX191" fmla="*/ 3445532 w 8124824"/>
              <a:gd name="connsiteY191" fmla="*/ 817336 h 6857999"/>
              <a:gd name="connsiteX192" fmla="*/ 3445532 w 8124824"/>
              <a:gd name="connsiteY192" fmla="*/ 701471 h 6857999"/>
              <a:gd name="connsiteX193" fmla="*/ 4658414 w 8124824"/>
              <a:gd name="connsiteY193" fmla="*/ 700637 h 6857999"/>
              <a:gd name="connsiteX194" fmla="*/ 4658414 w 8124824"/>
              <a:gd name="connsiteY194" fmla="*/ 700689 h 6857999"/>
              <a:gd name="connsiteX195" fmla="*/ 4553343 w 8124824"/>
              <a:gd name="connsiteY195" fmla="*/ 1103658 h 6857999"/>
              <a:gd name="connsiteX196" fmla="*/ 4389089 w 8124824"/>
              <a:gd name="connsiteY196" fmla="*/ 1060900 h 6857999"/>
              <a:gd name="connsiteX197" fmla="*/ 4595738 w 8124824"/>
              <a:gd name="connsiteY197" fmla="*/ 591083 h 6857999"/>
              <a:gd name="connsiteX198" fmla="*/ 4141979 w 8124824"/>
              <a:gd name="connsiteY198" fmla="*/ 1044841 h 6857999"/>
              <a:gd name="connsiteX199" fmla="*/ 4595738 w 8124824"/>
              <a:gd name="connsiteY199" fmla="*/ 1498599 h 6857999"/>
              <a:gd name="connsiteX200" fmla="*/ 5049495 w 8124824"/>
              <a:gd name="connsiteY200" fmla="*/ 1044841 h 6857999"/>
              <a:gd name="connsiteX201" fmla="*/ 4595738 w 8124824"/>
              <a:gd name="connsiteY201" fmla="*/ 591083 h 6857999"/>
              <a:gd name="connsiteX202" fmla="*/ 0 w 8124824"/>
              <a:gd name="connsiteY202" fmla="*/ 0 h 6857999"/>
              <a:gd name="connsiteX203" fmla="*/ 8124824 w 8124824"/>
              <a:gd name="connsiteY203" fmla="*/ 0 h 6857999"/>
              <a:gd name="connsiteX204" fmla="*/ 8124824 w 8124824"/>
              <a:gd name="connsiteY204" fmla="*/ 6857999 h 6857999"/>
              <a:gd name="connsiteX205" fmla="*/ 0 w 8124824"/>
              <a:gd name="connsiteY20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Lst>
            <a:rect l="l" t="t" r="r" b="b"/>
            <a:pathLst>
              <a:path w="8124824" h="6857999">
                <a:moveTo>
                  <a:pt x="3500648" y="1154291"/>
                </a:moveTo>
                <a:lnTo>
                  <a:pt x="3500648" y="1224425"/>
                </a:lnTo>
                <a:lnTo>
                  <a:pt x="3519525" y="1224425"/>
                </a:lnTo>
                <a:cubicBezTo>
                  <a:pt x="3560353" y="1224425"/>
                  <a:pt x="3593568" y="1257224"/>
                  <a:pt x="3593568" y="1297478"/>
                </a:cubicBezTo>
                <a:cubicBezTo>
                  <a:pt x="3593568" y="1337734"/>
                  <a:pt x="3560353" y="1370533"/>
                  <a:pt x="3519525" y="1370533"/>
                </a:cubicBezTo>
                <a:cubicBezTo>
                  <a:pt x="3478694" y="1370533"/>
                  <a:pt x="3445479" y="1337734"/>
                  <a:pt x="3445479" y="1297478"/>
                </a:cubicBezTo>
                <a:lnTo>
                  <a:pt x="3407727" y="1297478"/>
                </a:lnTo>
                <a:cubicBezTo>
                  <a:pt x="3407727" y="1358331"/>
                  <a:pt x="3457890" y="1407816"/>
                  <a:pt x="3519525" y="1407816"/>
                </a:cubicBezTo>
                <a:lnTo>
                  <a:pt x="3519525" y="1407868"/>
                </a:lnTo>
                <a:cubicBezTo>
                  <a:pt x="3581159" y="1407868"/>
                  <a:pt x="3631321" y="1358331"/>
                  <a:pt x="3631321" y="1297531"/>
                </a:cubicBezTo>
                <a:cubicBezTo>
                  <a:pt x="3631321" y="1243040"/>
                  <a:pt x="3591066" y="1197623"/>
                  <a:pt x="3538401" y="1188759"/>
                </a:cubicBezTo>
                <a:lnTo>
                  <a:pt x="3538401" y="1154291"/>
                </a:lnTo>
                <a:close/>
                <a:moveTo>
                  <a:pt x="1479209" y="1074105"/>
                </a:moveTo>
                <a:cubicBezTo>
                  <a:pt x="1464558" y="1081666"/>
                  <a:pt x="1417524" y="1105966"/>
                  <a:pt x="1408607" y="1110605"/>
                </a:cubicBezTo>
                <a:lnTo>
                  <a:pt x="1408554" y="1110658"/>
                </a:lnTo>
                <a:cubicBezTo>
                  <a:pt x="1408554" y="1111076"/>
                  <a:pt x="1408658" y="1112013"/>
                  <a:pt x="1408658" y="1112535"/>
                </a:cubicBezTo>
                <a:cubicBezTo>
                  <a:pt x="1408658" y="1112535"/>
                  <a:pt x="1408554" y="1112535"/>
                  <a:pt x="1408554" y="1112587"/>
                </a:cubicBezTo>
                <a:cubicBezTo>
                  <a:pt x="1410066" y="1137042"/>
                  <a:pt x="1416793" y="1250665"/>
                  <a:pt x="1418827" y="1286331"/>
                </a:cubicBezTo>
                <a:cubicBezTo>
                  <a:pt x="1420391" y="1285392"/>
                  <a:pt x="1421956" y="1284507"/>
                  <a:pt x="1423676" y="1283620"/>
                </a:cubicBezTo>
                <a:cubicBezTo>
                  <a:pt x="1442291" y="1273973"/>
                  <a:pt x="1450582" y="1259947"/>
                  <a:pt x="1454389" y="1231945"/>
                </a:cubicBezTo>
                <a:cubicBezTo>
                  <a:pt x="1461846" y="1175890"/>
                  <a:pt x="1470241" y="1127032"/>
                  <a:pt x="1479209" y="1076087"/>
                </a:cubicBezTo>
                <a:cubicBezTo>
                  <a:pt x="1479105" y="1076087"/>
                  <a:pt x="1478949" y="1076244"/>
                  <a:pt x="1478845" y="1076244"/>
                </a:cubicBezTo>
                <a:cubicBezTo>
                  <a:pt x="1479002" y="1075566"/>
                  <a:pt x="1479105" y="1074835"/>
                  <a:pt x="1479209" y="1074105"/>
                </a:cubicBezTo>
                <a:close/>
                <a:moveTo>
                  <a:pt x="6746854" y="1051836"/>
                </a:moveTo>
                <a:lnTo>
                  <a:pt x="6477373" y="1080255"/>
                </a:lnTo>
                <a:lnTo>
                  <a:pt x="6472315" y="1080777"/>
                </a:lnTo>
                <a:cubicBezTo>
                  <a:pt x="6467205" y="1081402"/>
                  <a:pt x="6464494" y="1086981"/>
                  <a:pt x="6466996" y="1091309"/>
                </a:cubicBezTo>
                <a:lnTo>
                  <a:pt x="6567060" y="1296184"/>
                </a:lnTo>
                <a:lnTo>
                  <a:pt x="6932017" y="1296184"/>
                </a:lnTo>
                <a:lnTo>
                  <a:pt x="7031978" y="1091309"/>
                </a:lnTo>
                <a:cubicBezTo>
                  <a:pt x="7034533" y="1086929"/>
                  <a:pt x="7031665" y="1081349"/>
                  <a:pt x="7026607" y="1080777"/>
                </a:cubicBezTo>
                <a:lnTo>
                  <a:pt x="7024261" y="1080568"/>
                </a:lnTo>
                <a:lnTo>
                  <a:pt x="6748053" y="1051992"/>
                </a:lnTo>
                <a:close/>
                <a:moveTo>
                  <a:pt x="5673793" y="1044602"/>
                </a:moveTo>
                <a:cubicBezTo>
                  <a:pt x="5660548" y="1044602"/>
                  <a:pt x="5648764" y="1050598"/>
                  <a:pt x="5640838" y="1059984"/>
                </a:cubicBezTo>
                <a:cubicBezTo>
                  <a:pt x="5637396" y="1064051"/>
                  <a:pt x="5634738" y="1068639"/>
                  <a:pt x="5633017" y="1073698"/>
                </a:cubicBezTo>
                <a:cubicBezTo>
                  <a:pt x="5631453" y="1078026"/>
                  <a:pt x="5630670" y="1082614"/>
                  <a:pt x="5630670" y="1087412"/>
                </a:cubicBezTo>
                <a:lnTo>
                  <a:pt x="5630670" y="1087620"/>
                </a:lnTo>
                <a:cubicBezTo>
                  <a:pt x="5630670" y="1100916"/>
                  <a:pt x="5636615" y="1113171"/>
                  <a:pt x="5647043" y="1121410"/>
                </a:cubicBezTo>
                <a:lnTo>
                  <a:pt x="5653040" y="1126154"/>
                </a:lnTo>
                <a:lnTo>
                  <a:pt x="5646626" y="1181323"/>
                </a:lnTo>
                <a:lnTo>
                  <a:pt x="5700804" y="1181323"/>
                </a:lnTo>
                <a:lnTo>
                  <a:pt x="5694286" y="1126154"/>
                </a:lnTo>
                <a:lnTo>
                  <a:pt x="5700386" y="1121410"/>
                </a:lnTo>
                <a:cubicBezTo>
                  <a:pt x="5710764" y="1113171"/>
                  <a:pt x="5716760" y="1100916"/>
                  <a:pt x="5716760" y="1087620"/>
                </a:cubicBezTo>
                <a:lnTo>
                  <a:pt x="5716760" y="1087412"/>
                </a:lnTo>
                <a:lnTo>
                  <a:pt x="5716864" y="1087412"/>
                </a:lnTo>
                <a:cubicBezTo>
                  <a:pt x="5716864" y="1082614"/>
                  <a:pt x="5716030" y="1078026"/>
                  <a:pt x="5714518" y="1073698"/>
                </a:cubicBezTo>
                <a:cubicBezTo>
                  <a:pt x="5712797" y="1068639"/>
                  <a:pt x="5710137" y="1064051"/>
                  <a:pt x="5706695" y="1059984"/>
                </a:cubicBezTo>
                <a:cubicBezTo>
                  <a:pt x="5698822" y="1050598"/>
                  <a:pt x="5687038" y="1044602"/>
                  <a:pt x="5673793" y="1044602"/>
                </a:cubicBezTo>
                <a:close/>
                <a:moveTo>
                  <a:pt x="2527407" y="1036166"/>
                </a:moveTo>
                <a:lnTo>
                  <a:pt x="2463323" y="1229673"/>
                </a:lnTo>
                <a:lnTo>
                  <a:pt x="2684621" y="1229673"/>
                </a:lnTo>
                <a:lnTo>
                  <a:pt x="2684621" y="1036166"/>
                </a:lnTo>
                <a:close/>
                <a:moveTo>
                  <a:pt x="2718046" y="1036114"/>
                </a:moveTo>
                <a:lnTo>
                  <a:pt x="2718046" y="1229620"/>
                </a:lnTo>
                <a:lnTo>
                  <a:pt x="2782130" y="1229620"/>
                </a:lnTo>
                <a:close/>
                <a:moveTo>
                  <a:pt x="2359190" y="1034967"/>
                </a:moveTo>
                <a:lnTo>
                  <a:pt x="2359190" y="1228368"/>
                </a:lnTo>
                <a:lnTo>
                  <a:pt x="2423275" y="1228368"/>
                </a:lnTo>
                <a:close/>
                <a:moveTo>
                  <a:pt x="2168552" y="1034967"/>
                </a:moveTo>
                <a:lnTo>
                  <a:pt x="2104466" y="1228368"/>
                </a:lnTo>
                <a:lnTo>
                  <a:pt x="2325766" y="1228368"/>
                </a:lnTo>
                <a:lnTo>
                  <a:pt x="2325766" y="1034967"/>
                </a:lnTo>
                <a:close/>
                <a:moveTo>
                  <a:pt x="5673793" y="1017173"/>
                </a:moveTo>
                <a:cubicBezTo>
                  <a:pt x="5702889" y="1017173"/>
                  <a:pt x="5727866" y="1034799"/>
                  <a:pt x="5738607" y="1059984"/>
                </a:cubicBezTo>
                <a:cubicBezTo>
                  <a:pt x="5740537" y="1064312"/>
                  <a:pt x="5741998" y="1069004"/>
                  <a:pt x="5742936" y="1073698"/>
                </a:cubicBezTo>
                <a:cubicBezTo>
                  <a:pt x="5743822" y="1078130"/>
                  <a:pt x="5744291" y="1082771"/>
                  <a:pt x="5744291" y="1087412"/>
                </a:cubicBezTo>
                <a:lnTo>
                  <a:pt x="5744291" y="1087620"/>
                </a:lnTo>
                <a:cubicBezTo>
                  <a:pt x="5744291" y="1106705"/>
                  <a:pt x="5736730" y="1124486"/>
                  <a:pt x="5723382" y="1137678"/>
                </a:cubicBezTo>
                <a:lnTo>
                  <a:pt x="5731726" y="1208803"/>
                </a:lnTo>
                <a:lnTo>
                  <a:pt x="5615860" y="1208803"/>
                </a:lnTo>
                <a:lnTo>
                  <a:pt x="5624152" y="1137678"/>
                </a:lnTo>
                <a:cubicBezTo>
                  <a:pt x="5610803" y="1124486"/>
                  <a:pt x="5603242" y="1106653"/>
                  <a:pt x="5603242" y="1087620"/>
                </a:cubicBezTo>
                <a:lnTo>
                  <a:pt x="5603242" y="1087412"/>
                </a:lnTo>
                <a:cubicBezTo>
                  <a:pt x="5603242" y="1082771"/>
                  <a:pt x="5603764" y="1078130"/>
                  <a:pt x="5604650" y="1073698"/>
                </a:cubicBezTo>
                <a:cubicBezTo>
                  <a:pt x="5605641" y="1069004"/>
                  <a:pt x="5607049" y="1064312"/>
                  <a:pt x="5608979" y="1059984"/>
                </a:cubicBezTo>
                <a:cubicBezTo>
                  <a:pt x="5619772" y="1034799"/>
                  <a:pt x="5644696" y="1017173"/>
                  <a:pt x="5673793" y="1017173"/>
                </a:cubicBezTo>
                <a:close/>
                <a:moveTo>
                  <a:pt x="6762601" y="1000370"/>
                </a:moveTo>
                <a:lnTo>
                  <a:pt x="6762601" y="1024356"/>
                </a:lnTo>
                <a:lnTo>
                  <a:pt x="6766511" y="1024774"/>
                </a:lnTo>
                <a:lnTo>
                  <a:pt x="6862874" y="1034784"/>
                </a:lnTo>
                <a:lnTo>
                  <a:pt x="6862874" y="1000370"/>
                </a:lnTo>
                <a:close/>
                <a:moveTo>
                  <a:pt x="6891866" y="1000317"/>
                </a:moveTo>
                <a:lnTo>
                  <a:pt x="6891866" y="1037704"/>
                </a:lnTo>
                <a:lnTo>
                  <a:pt x="6895048" y="1038069"/>
                </a:lnTo>
                <a:lnTo>
                  <a:pt x="6995321" y="1048447"/>
                </a:lnTo>
                <a:lnTo>
                  <a:pt x="6995321" y="1000317"/>
                </a:lnTo>
                <a:close/>
                <a:moveTo>
                  <a:pt x="6634170" y="1000317"/>
                </a:moveTo>
                <a:lnTo>
                  <a:pt x="6634170" y="1034524"/>
                </a:lnTo>
                <a:lnTo>
                  <a:pt x="6638811" y="1034106"/>
                </a:lnTo>
                <a:lnTo>
                  <a:pt x="6733662" y="1024096"/>
                </a:lnTo>
                <a:lnTo>
                  <a:pt x="6733662" y="1000317"/>
                </a:lnTo>
                <a:lnTo>
                  <a:pt x="6634222" y="1000317"/>
                </a:lnTo>
                <a:close/>
                <a:moveTo>
                  <a:pt x="6506418" y="1000317"/>
                </a:moveTo>
                <a:lnTo>
                  <a:pt x="6506418" y="1048029"/>
                </a:lnTo>
                <a:lnTo>
                  <a:pt x="6605127" y="1037653"/>
                </a:lnTo>
                <a:lnTo>
                  <a:pt x="6605127" y="1000317"/>
                </a:lnTo>
                <a:close/>
                <a:moveTo>
                  <a:pt x="4629578" y="973402"/>
                </a:moveTo>
                <a:lnTo>
                  <a:pt x="4629631" y="973402"/>
                </a:lnTo>
                <a:lnTo>
                  <a:pt x="4802383" y="1018403"/>
                </a:lnTo>
                <a:lnTo>
                  <a:pt x="4519032" y="1397491"/>
                </a:lnTo>
                <a:close/>
                <a:moveTo>
                  <a:pt x="5476897" y="961170"/>
                </a:moveTo>
                <a:lnTo>
                  <a:pt x="5476897" y="1285663"/>
                </a:lnTo>
                <a:lnTo>
                  <a:pt x="5870742" y="1285663"/>
                </a:lnTo>
                <a:lnTo>
                  <a:pt x="5870742" y="961170"/>
                </a:lnTo>
                <a:close/>
                <a:moveTo>
                  <a:pt x="3519732" y="923709"/>
                </a:moveTo>
                <a:cubicBezTo>
                  <a:pt x="3486517" y="923709"/>
                  <a:pt x="3459611" y="950667"/>
                  <a:pt x="3459611" y="983831"/>
                </a:cubicBezTo>
                <a:cubicBezTo>
                  <a:pt x="3459611" y="1016995"/>
                  <a:pt x="3486569" y="1043901"/>
                  <a:pt x="3519732" y="1043901"/>
                </a:cubicBezTo>
                <a:cubicBezTo>
                  <a:pt x="3552896" y="1043901"/>
                  <a:pt x="3579804" y="1016995"/>
                  <a:pt x="3579804" y="983831"/>
                </a:cubicBezTo>
                <a:cubicBezTo>
                  <a:pt x="3579804" y="950616"/>
                  <a:pt x="3552949" y="923709"/>
                  <a:pt x="3519732" y="923709"/>
                </a:cubicBezTo>
                <a:close/>
                <a:moveTo>
                  <a:pt x="6891866" y="916365"/>
                </a:moveTo>
                <a:lnTo>
                  <a:pt x="6891866" y="971325"/>
                </a:lnTo>
                <a:lnTo>
                  <a:pt x="6995321" y="971325"/>
                </a:lnTo>
                <a:lnTo>
                  <a:pt x="6995321" y="916365"/>
                </a:lnTo>
                <a:close/>
                <a:moveTo>
                  <a:pt x="6762601" y="916365"/>
                </a:moveTo>
                <a:lnTo>
                  <a:pt x="6762601" y="971325"/>
                </a:lnTo>
                <a:lnTo>
                  <a:pt x="6862874" y="971325"/>
                </a:lnTo>
                <a:lnTo>
                  <a:pt x="6862874" y="916365"/>
                </a:lnTo>
                <a:close/>
                <a:moveTo>
                  <a:pt x="6634170" y="916365"/>
                </a:moveTo>
                <a:lnTo>
                  <a:pt x="6634170" y="971325"/>
                </a:lnTo>
                <a:lnTo>
                  <a:pt x="6733609" y="971325"/>
                </a:lnTo>
                <a:lnTo>
                  <a:pt x="6733609" y="916365"/>
                </a:lnTo>
                <a:close/>
                <a:moveTo>
                  <a:pt x="6506469" y="916365"/>
                </a:moveTo>
                <a:lnTo>
                  <a:pt x="6506469" y="971325"/>
                </a:lnTo>
                <a:lnTo>
                  <a:pt x="6605178" y="971325"/>
                </a:lnTo>
                <a:lnTo>
                  <a:pt x="6605178" y="916365"/>
                </a:lnTo>
                <a:close/>
                <a:moveTo>
                  <a:pt x="3519732" y="886166"/>
                </a:moveTo>
                <a:cubicBezTo>
                  <a:pt x="3573702" y="886166"/>
                  <a:pt x="3617398" y="929863"/>
                  <a:pt x="3617398" y="983780"/>
                </a:cubicBezTo>
                <a:cubicBezTo>
                  <a:pt x="3617398" y="1037697"/>
                  <a:pt x="3573702" y="1081446"/>
                  <a:pt x="3519732" y="1081446"/>
                </a:cubicBezTo>
                <a:cubicBezTo>
                  <a:pt x="3465764" y="1081446"/>
                  <a:pt x="3422066" y="1037749"/>
                  <a:pt x="3422066" y="983780"/>
                </a:cubicBezTo>
                <a:cubicBezTo>
                  <a:pt x="3422066" y="929811"/>
                  <a:pt x="3465764" y="886166"/>
                  <a:pt x="3519732" y="886166"/>
                </a:cubicBezTo>
                <a:close/>
                <a:moveTo>
                  <a:pt x="3324452" y="854671"/>
                </a:moveTo>
                <a:lnTo>
                  <a:pt x="3382905" y="1116643"/>
                </a:lnTo>
                <a:lnTo>
                  <a:pt x="3656090" y="1116643"/>
                </a:lnTo>
                <a:lnTo>
                  <a:pt x="3714595" y="854671"/>
                </a:lnTo>
                <a:lnTo>
                  <a:pt x="3324505" y="854671"/>
                </a:lnTo>
                <a:close/>
                <a:moveTo>
                  <a:pt x="1116267" y="850675"/>
                </a:moveTo>
                <a:cubicBezTo>
                  <a:pt x="1106823" y="851242"/>
                  <a:pt x="1098610" y="854501"/>
                  <a:pt x="1090163" y="860785"/>
                </a:cubicBezTo>
                <a:cubicBezTo>
                  <a:pt x="1088702" y="861827"/>
                  <a:pt x="1087399" y="863027"/>
                  <a:pt x="1085782" y="864695"/>
                </a:cubicBezTo>
                <a:cubicBezTo>
                  <a:pt x="1085782" y="864695"/>
                  <a:pt x="1255981" y="964863"/>
                  <a:pt x="1294150" y="986346"/>
                </a:cubicBezTo>
                <a:lnTo>
                  <a:pt x="1294150" y="986295"/>
                </a:lnTo>
                <a:lnTo>
                  <a:pt x="1396144" y="932117"/>
                </a:lnTo>
                <a:cubicBezTo>
                  <a:pt x="1375391" y="925911"/>
                  <a:pt x="1172551" y="864330"/>
                  <a:pt x="1149764" y="856716"/>
                </a:cubicBezTo>
                <a:cubicBezTo>
                  <a:pt x="1136389" y="852232"/>
                  <a:pt x="1125712" y="850108"/>
                  <a:pt x="1116267" y="850675"/>
                </a:cubicBezTo>
                <a:close/>
                <a:moveTo>
                  <a:pt x="1645683" y="847722"/>
                </a:moveTo>
                <a:cubicBezTo>
                  <a:pt x="1639644" y="848188"/>
                  <a:pt x="1633595" y="849847"/>
                  <a:pt x="1627872" y="852806"/>
                </a:cubicBezTo>
                <a:cubicBezTo>
                  <a:pt x="1626881" y="853327"/>
                  <a:pt x="1211190" y="1068161"/>
                  <a:pt x="1175522" y="1086568"/>
                </a:cubicBezTo>
                <a:cubicBezTo>
                  <a:pt x="1164677" y="1092147"/>
                  <a:pt x="1152632" y="1089123"/>
                  <a:pt x="1149243" y="1088184"/>
                </a:cubicBezTo>
                <a:cubicBezTo>
                  <a:pt x="1132921" y="1083334"/>
                  <a:pt x="1049335" y="1058514"/>
                  <a:pt x="1049335" y="1058514"/>
                </a:cubicBezTo>
                <a:cubicBezTo>
                  <a:pt x="1040416" y="1063155"/>
                  <a:pt x="1033273" y="1066805"/>
                  <a:pt x="1024878" y="1071185"/>
                </a:cubicBezTo>
                <a:cubicBezTo>
                  <a:pt x="1024878" y="1071185"/>
                  <a:pt x="1131095" y="1143091"/>
                  <a:pt x="1173488" y="1171876"/>
                </a:cubicBezTo>
                <a:cubicBezTo>
                  <a:pt x="1185952" y="1180322"/>
                  <a:pt x="1196068" y="1180792"/>
                  <a:pt x="1211867" y="1172710"/>
                </a:cubicBezTo>
                <a:cubicBezTo>
                  <a:pt x="1243153" y="1156649"/>
                  <a:pt x="1653424" y="944475"/>
                  <a:pt x="1670683" y="935611"/>
                </a:cubicBezTo>
                <a:cubicBezTo>
                  <a:pt x="1693522" y="923878"/>
                  <a:pt x="1702491" y="895668"/>
                  <a:pt x="1690706" y="872830"/>
                </a:cubicBezTo>
                <a:cubicBezTo>
                  <a:pt x="1681828" y="855661"/>
                  <a:pt x="1663800" y="846324"/>
                  <a:pt x="1645683" y="847722"/>
                </a:cubicBezTo>
                <a:close/>
                <a:moveTo>
                  <a:pt x="2536950" y="805950"/>
                </a:moveTo>
                <a:lnTo>
                  <a:pt x="2536950" y="999352"/>
                </a:lnTo>
                <a:lnTo>
                  <a:pt x="2601034" y="999352"/>
                </a:lnTo>
                <a:close/>
                <a:moveTo>
                  <a:pt x="2346258" y="805950"/>
                </a:moveTo>
                <a:lnTo>
                  <a:pt x="2332388" y="847718"/>
                </a:lnTo>
                <a:lnTo>
                  <a:pt x="2325819" y="867688"/>
                </a:lnTo>
                <a:lnTo>
                  <a:pt x="2282225" y="999352"/>
                </a:lnTo>
                <a:lnTo>
                  <a:pt x="2503524" y="999352"/>
                </a:lnTo>
                <a:lnTo>
                  <a:pt x="2503524" y="805950"/>
                </a:lnTo>
                <a:lnTo>
                  <a:pt x="2503473" y="805950"/>
                </a:lnTo>
                <a:close/>
                <a:moveTo>
                  <a:pt x="6612948" y="788508"/>
                </a:moveTo>
                <a:lnTo>
                  <a:pt x="6612948" y="831997"/>
                </a:lnTo>
                <a:lnTo>
                  <a:pt x="6670932" y="831997"/>
                </a:lnTo>
                <a:lnTo>
                  <a:pt x="6670932" y="887373"/>
                </a:lnTo>
                <a:lnTo>
                  <a:pt x="6830388" y="887373"/>
                </a:lnTo>
                <a:lnTo>
                  <a:pt x="6830388" y="831997"/>
                </a:lnTo>
                <a:lnTo>
                  <a:pt x="6888374" y="831997"/>
                </a:lnTo>
                <a:lnTo>
                  <a:pt x="6888374" y="788508"/>
                </a:lnTo>
                <a:close/>
                <a:moveTo>
                  <a:pt x="5673793" y="779448"/>
                </a:moveTo>
                <a:cubicBezTo>
                  <a:pt x="5588902" y="779448"/>
                  <a:pt x="5519812" y="848591"/>
                  <a:pt x="5519812" y="933482"/>
                </a:cubicBezTo>
                <a:lnTo>
                  <a:pt x="5519812" y="933742"/>
                </a:lnTo>
                <a:lnTo>
                  <a:pt x="5547239" y="933742"/>
                </a:lnTo>
                <a:lnTo>
                  <a:pt x="5547239" y="933482"/>
                </a:lnTo>
                <a:cubicBezTo>
                  <a:pt x="5547239" y="863660"/>
                  <a:pt x="5603972" y="806876"/>
                  <a:pt x="5673793" y="806876"/>
                </a:cubicBezTo>
                <a:cubicBezTo>
                  <a:pt x="5743613" y="806876"/>
                  <a:pt x="5800398" y="863660"/>
                  <a:pt x="5800398" y="933482"/>
                </a:cubicBezTo>
                <a:lnTo>
                  <a:pt x="5800398" y="933742"/>
                </a:lnTo>
                <a:lnTo>
                  <a:pt x="5827827" y="933742"/>
                </a:lnTo>
                <a:lnTo>
                  <a:pt x="5827827" y="933482"/>
                </a:lnTo>
                <a:cubicBezTo>
                  <a:pt x="5827827" y="848591"/>
                  <a:pt x="5758683" y="779448"/>
                  <a:pt x="5673793" y="779448"/>
                </a:cubicBezTo>
                <a:close/>
                <a:moveTo>
                  <a:pt x="3593568" y="701471"/>
                </a:moveTo>
                <a:lnTo>
                  <a:pt x="3593568" y="817336"/>
                </a:lnTo>
                <a:cubicBezTo>
                  <a:pt x="3593568" y="817336"/>
                  <a:pt x="3631321" y="817336"/>
                  <a:pt x="3631321" y="817336"/>
                </a:cubicBezTo>
                <a:lnTo>
                  <a:pt x="3631321" y="701471"/>
                </a:lnTo>
                <a:close/>
                <a:moveTo>
                  <a:pt x="3407727" y="701471"/>
                </a:moveTo>
                <a:lnTo>
                  <a:pt x="3407727" y="817336"/>
                </a:lnTo>
                <a:lnTo>
                  <a:pt x="3445532" y="817336"/>
                </a:lnTo>
                <a:lnTo>
                  <a:pt x="3445532" y="701471"/>
                </a:lnTo>
                <a:close/>
                <a:moveTo>
                  <a:pt x="4658414" y="700637"/>
                </a:moveTo>
                <a:lnTo>
                  <a:pt x="4658414" y="700689"/>
                </a:lnTo>
                <a:lnTo>
                  <a:pt x="4553343" y="1103658"/>
                </a:lnTo>
                <a:lnTo>
                  <a:pt x="4389089" y="1060900"/>
                </a:lnTo>
                <a:close/>
                <a:moveTo>
                  <a:pt x="4595738" y="591083"/>
                </a:moveTo>
                <a:cubicBezTo>
                  <a:pt x="4345133" y="591083"/>
                  <a:pt x="4141979" y="794237"/>
                  <a:pt x="4141979" y="1044841"/>
                </a:cubicBezTo>
                <a:cubicBezTo>
                  <a:pt x="4141979" y="1295446"/>
                  <a:pt x="4345133" y="1498599"/>
                  <a:pt x="4595738" y="1498599"/>
                </a:cubicBezTo>
                <a:cubicBezTo>
                  <a:pt x="4846342" y="1498599"/>
                  <a:pt x="5049495" y="1295446"/>
                  <a:pt x="5049495" y="1044841"/>
                </a:cubicBezTo>
                <a:cubicBezTo>
                  <a:pt x="5049495" y="794237"/>
                  <a:pt x="4846342" y="591083"/>
                  <a:pt x="4595738" y="591083"/>
                </a:cubicBezTo>
                <a:close/>
                <a:moveTo>
                  <a:pt x="0" y="0"/>
                </a:moveTo>
                <a:lnTo>
                  <a:pt x="8124824" y="0"/>
                </a:lnTo>
                <a:lnTo>
                  <a:pt x="8124824" y="6857999"/>
                </a:lnTo>
                <a:lnTo>
                  <a:pt x="0" y="6857999"/>
                </a:lnTo>
                <a:close/>
              </a:path>
            </a:pathLst>
          </a:custGeom>
          <a:solidFill>
            <a:schemeClr val="tx1"/>
          </a:solidFill>
        </p:spPr>
        <p:txBody>
          <a:bodyPr vert="horz" wrap="square" lIns="0" tIns="45720" rIns="0" bIns="45720" rtlCol="0" anchor="ctr">
            <a:noAutofit/>
          </a:bodyPr>
          <a:lstStyle>
            <a:lvl1pPr algn="ctr">
              <a:defRPr lang="en-GB" sz="2800" b="0" dirty="0">
                <a:solidFill>
                  <a:schemeClr val="bg1"/>
                </a:solidFill>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US" dirty="0"/>
              <a:t>ADD RELATED IMAGE </a:t>
            </a:r>
            <a:br>
              <a:rPr lang="en-US" dirty="0"/>
            </a:br>
            <a:r>
              <a:rPr lang="en-US" dirty="0"/>
              <a:t>FROM HFW IMAGE LIBRARY</a:t>
            </a:r>
            <a:endParaRPr lang="en-GB" dirty="0"/>
          </a:p>
        </p:txBody>
      </p:sp>
      <p:sp>
        <p:nvSpPr>
          <p:cNvPr id="9" name="Rectangle 8">
            <a:extLst>
              <a:ext uri="{FF2B5EF4-FFF2-40B4-BE49-F238E27FC236}">
                <a16:creationId xmlns:a16="http://schemas.microsoft.com/office/drawing/2014/main" id="{708FD88D-9C74-4D94-62A5-47E768F9DCD7}"/>
              </a:ext>
            </a:extLst>
          </p:cNvPr>
          <p:cNvSpPr/>
          <p:nvPr userDrawn="1"/>
        </p:nvSpPr>
        <p:spPr>
          <a:xfrm>
            <a:off x="0" y="0"/>
            <a:ext cx="406717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Text Placeholder 12">
            <a:extLst>
              <a:ext uri="{FF2B5EF4-FFF2-40B4-BE49-F238E27FC236}">
                <a16:creationId xmlns:a16="http://schemas.microsoft.com/office/drawing/2014/main" id="{BBA3AA40-3440-5851-3972-390D3DEB2219}"/>
              </a:ext>
            </a:extLst>
          </p:cNvPr>
          <p:cNvSpPr>
            <a:spLocks noGrp="1"/>
          </p:cNvSpPr>
          <p:nvPr>
            <p:ph type="body" sz="quarter" idx="14" hasCustomPrompt="1"/>
          </p:nvPr>
        </p:nvSpPr>
        <p:spPr>
          <a:xfrm>
            <a:off x="508939" y="5989638"/>
            <a:ext cx="3387140" cy="230187"/>
          </a:xfrm>
        </p:spPr>
        <p:txBody>
          <a:bodyPr tIns="0" bIns="0">
            <a:noAutofit/>
          </a:bodyPr>
          <a:lstStyle>
            <a:lvl1pPr>
              <a:defRPr sz="1400">
                <a:solidFill>
                  <a:schemeClr val="accent2"/>
                </a:solidFill>
                <a:latin typeface="+mj-lt"/>
              </a:defRPr>
            </a:lvl1pPr>
            <a:lvl2pPr>
              <a:defRPr>
                <a:solidFill>
                  <a:schemeClr val="bg1"/>
                </a:solidFill>
                <a:latin typeface="+mn-lt"/>
              </a:defRPr>
            </a:lvl2pPr>
            <a:lvl3pPr>
              <a:defRPr>
                <a:solidFill>
                  <a:schemeClr val="bg1"/>
                </a:solidFill>
                <a:latin typeface="+mn-lt"/>
              </a:defRPr>
            </a:lvl3pPr>
            <a:lvl4pPr>
              <a:defRPr>
                <a:solidFill>
                  <a:schemeClr val="bg1"/>
                </a:solidFill>
                <a:latin typeface="+mn-lt"/>
              </a:defRPr>
            </a:lvl4pPr>
            <a:lvl5pPr>
              <a:defRPr>
                <a:solidFill>
                  <a:schemeClr val="bg1"/>
                </a:solidFill>
                <a:latin typeface="+mn-lt"/>
              </a:defRPr>
            </a:lvl5pPr>
          </a:lstStyle>
          <a:p>
            <a:pPr lvl="0"/>
            <a:r>
              <a:rPr lang="en-US" dirty="0"/>
              <a:t>DAY MONTH YEAR</a:t>
            </a:r>
            <a:endParaRPr lang="en-GB" dirty="0"/>
          </a:p>
        </p:txBody>
      </p:sp>
      <p:sp>
        <p:nvSpPr>
          <p:cNvPr id="4" name="TextBox 4">
            <a:extLst>
              <a:ext uri="{FF2B5EF4-FFF2-40B4-BE49-F238E27FC236}">
                <a16:creationId xmlns:a16="http://schemas.microsoft.com/office/drawing/2014/main" id="{265B2CA7-EDCD-E4A1-AC81-AB1BF0FA5D17}"/>
              </a:ext>
            </a:extLst>
          </p:cNvPr>
          <p:cNvSpPr txBox="1"/>
          <p:nvPr userDrawn="1"/>
        </p:nvSpPr>
        <p:spPr>
          <a:xfrm>
            <a:off x="12346713" y="109538"/>
            <a:ext cx="1934437" cy="31700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INSERTING IMAGES:</a:t>
            </a:r>
          </a:p>
          <a:p>
            <a:pPr marL="179388" indent="-179388">
              <a:spcBef>
                <a:spcPts val="200"/>
              </a:spcBef>
              <a:spcAft>
                <a:spcPts val="200"/>
              </a:spcAft>
              <a:buFont typeface="+mj-lt"/>
              <a:buAutoNum type="arabicPeriod"/>
            </a:pPr>
            <a:r>
              <a:rPr lang="en-US" sz="900" dirty="0">
                <a:solidFill>
                  <a:schemeClr val="tx1"/>
                </a:solidFill>
                <a:latin typeface="+mn-lt"/>
              </a:rPr>
              <a:t>Simply click the image placeholder and select your image.</a:t>
            </a:r>
          </a:p>
          <a:p>
            <a:pPr marL="179388" indent="-179388">
              <a:spcBef>
                <a:spcPts val="200"/>
              </a:spcBef>
              <a:spcAft>
                <a:spcPts val="200"/>
              </a:spcAft>
              <a:buFont typeface="+mj-lt"/>
              <a:buAutoNum type="arabicPeriod"/>
            </a:pPr>
            <a:r>
              <a:rPr lang="en-US" sz="900" dirty="0">
                <a:solidFill>
                  <a:schemeClr val="tx1"/>
                </a:solidFill>
                <a:latin typeface="+mn-lt"/>
              </a:rPr>
              <a:t>Once your image is inserted into the shape it may be distorted. (Stretched or Squashed)</a:t>
            </a:r>
          </a:p>
          <a:p>
            <a:pPr marL="179388" indent="-179388">
              <a:spcBef>
                <a:spcPts val="200"/>
              </a:spcBef>
              <a:spcAft>
                <a:spcPts val="200"/>
              </a:spcAft>
              <a:buFont typeface="+mj-lt"/>
              <a:buAutoNum type="arabicPeriod"/>
            </a:pPr>
            <a:endParaRPr lang="en-US" sz="900" dirty="0">
              <a:solidFill>
                <a:schemeClr val="tx1"/>
              </a:solidFill>
              <a:latin typeface="+mn-lt"/>
            </a:endParaRPr>
          </a:p>
          <a:p>
            <a:pPr>
              <a:spcBef>
                <a:spcPts val="200"/>
              </a:spcBef>
              <a:spcAft>
                <a:spcPts val="200"/>
              </a:spcAft>
            </a:pPr>
            <a:r>
              <a:rPr lang="en-US" sz="900" b="1" dirty="0">
                <a:solidFill>
                  <a:schemeClr val="tx1"/>
                </a:solidFill>
                <a:latin typeface="+mn-lt"/>
              </a:rPr>
              <a:t>To fix this:</a:t>
            </a:r>
          </a:p>
          <a:p>
            <a:pPr marL="179388" indent="-179388">
              <a:spcBef>
                <a:spcPts val="200"/>
              </a:spcBef>
              <a:spcAft>
                <a:spcPts val="200"/>
              </a:spcAft>
              <a:buFont typeface="+mj-lt"/>
              <a:buAutoNum type="arabicPeriod"/>
            </a:pPr>
            <a:r>
              <a:rPr lang="en-US" sz="900" dirty="0">
                <a:solidFill>
                  <a:schemeClr val="tx1"/>
                </a:solidFill>
                <a:latin typeface="+mn-lt"/>
              </a:rPr>
              <a:t>Click on the image and from the top menu under </a:t>
            </a:r>
            <a:r>
              <a:rPr lang="en-US" sz="900" b="1" dirty="0">
                <a:solidFill>
                  <a:schemeClr val="tx1"/>
                </a:solidFill>
                <a:latin typeface="+mn-lt"/>
              </a:rPr>
              <a:t>PICTURE FORMAT </a:t>
            </a:r>
            <a:r>
              <a:rPr lang="en-US" sz="900" dirty="0">
                <a:solidFill>
                  <a:schemeClr val="tx1"/>
                </a:solidFill>
                <a:latin typeface="+mn-lt"/>
              </a:rPr>
              <a:t>select the </a:t>
            </a:r>
            <a:r>
              <a:rPr lang="en-US" sz="900" b="1" dirty="0">
                <a:solidFill>
                  <a:schemeClr val="tx1"/>
                </a:solidFill>
                <a:latin typeface="+mn-lt"/>
              </a:rPr>
              <a:t>CROP</a:t>
            </a:r>
            <a:r>
              <a:rPr lang="en-US" sz="900" dirty="0">
                <a:solidFill>
                  <a:schemeClr val="tx1"/>
                </a:solidFill>
                <a:latin typeface="+mn-lt"/>
              </a:rPr>
              <a:t> on the right and from the drop down menu select </a:t>
            </a:r>
            <a:r>
              <a:rPr lang="en-US" sz="900" b="1" kern="1200" dirty="0">
                <a:solidFill>
                  <a:schemeClr val="tx1"/>
                </a:solidFill>
                <a:latin typeface="+mn-lt"/>
                <a:ea typeface="+mn-ea"/>
                <a:cs typeface="+mn-cs"/>
              </a:rPr>
              <a:t>FILL</a:t>
            </a:r>
          </a:p>
          <a:p>
            <a:pPr marL="179388" indent="-179388">
              <a:spcBef>
                <a:spcPts val="200"/>
              </a:spcBef>
              <a:spcAft>
                <a:spcPts val="200"/>
              </a:spcAft>
              <a:buFont typeface="+mj-lt"/>
              <a:buAutoNum type="arabicPeriod"/>
            </a:pPr>
            <a:r>
              <a:rPr lang="en-US" sz="900" b="0" kern="1200" dirty="0">
                <a:solidFill>
                  <a:schemeClr val="tx1"/>
                </a:solidFill>
                <a:latin typeface="+mn-lt"/>
                <a:ea typeface="+mn-ea"/>
                <a:cs typeface="+mn-cs"/>
              </a:rPr>
              <a:t>From here you can move the image within the shape for best visual appearance</a:t>
            </a:r>
          </a:p>
        </p:txBody>
      </p:sp>
      <p:sp>
        <p:nvSpPr>
          <p:cNvPr id="10" name="Title 1">
            <a:extLst>
              <a:ext uri="{FF2B5EF4-FFF2-40B4-BE49-F238E27FC236}">
                <a16:creationId xmlns:a16="http://schemas.microsoft.com/office/drawing/2014/main" id="{1D9960C9-AE88-FF64-7340-9EC8DF655E87}"/>
              </a:ext>
            </a:extLst>
          </p:cNvPr>
          <p:cNvSpPr>
            <a:spLocks noGrp="1"/>
          </p:cNvSpPr>
          <p:nvPr>
            <p:ph type="ctrTitle" hasCustomPrompt="1"/>
          </p:nvPr>
        </p:nvSpPr>
        <p:spPr>
          <a:xfrm>
            <a:off x="508939" y="2430692"/>
            <a:ext cx="2792526" cy="2387600"/>
          </a:xfrm>
        </p:spPr>
        <p:txBody>
          <a:bodyPr vert="horz" lIns="0" tIns="0" rIns="0" bIns="0" rtlCol="0" anchor="t" anchorCtr="0">
            <a:noAutofit/>
          </a:bodyPr>
          <a:lstStyle>
            <a:lvl1pPr>
              <a:lnSpc>
                <a:spcPct val="100000"/>
              </a:lnSpc>
              <a:defRPr lang="en-US" sz="3300" dirty="0">
                <a:solidFill>
                  <a:schemeClr val="bg1"/>
                </a:solidFill>
              </a:defRPr>
            </a:lvl1pPr>
          </a:lstStyle>
          <a:p>
            <a:pPr lvl="0"/>
            <a:r>
              <a:rPr lang="en-US" dirty="0"/>
              <a:t>PROPOSAL TO [CLIENT] FOR LEGAL SERVICES</a:t>
            </a:r>
          </a:p>
        </p:txBody>
      </p:sp>
      <p:sp>
        <p:nvSpPr>
          <p:cNvPr id="8" name="Graphic 13">
            <a:extLst>
              <a:ext uri="{FF2B5EF4-FFF2-40B4-BE49-F238E27FC236}">
                <a16:creationId xmlns:a16="http://schemas.microsoft.com/office/drawing/2014/main" id="{457F6E76-D184-ACC1-8814-858AF48FD187}"/>
              </a:ext>
            </a:extLst>
          </p:cNvPr>
          <p:cNvSpPr>
            <a:spLocks noGrp="1" noRot="1" noMove="1" noResize="1" noEditPoints="1" noAdjustHandles="1" noChangeArrowheads="1" noChangeShapeType="1"/>
          </p:cNvSpPr>
          <p:nvPr userDrawn="1"/>
        </p:nvSpPr>
        <p:spPr>
          <a:xfrm>
            <a:off x="585463" y="588011"/>
            <a:ext cx="1522695" cy="922576"/>
          </a:xfrm>
          <a:custGeom>
            <a:avLst/>
            <a:gdLst>
              <a:gd name="connsiteX0" fmla="*/ 618149 w 1522695"/>
              <a:gd name="connsiteY0" fmla="*/ 39943 h 922576"/>
              <a:gd name="connsiteX1" fmla="*/ 421345 w 1522695"/>
              <a:gd name="connsiteY1" fmla="*/ 876531 h 922576"/>
              <a:gd name="connsiteX2" fmla="*/ 388753 w 1522695"/>
              <a:gd name="connsiteY2" fmla="*/ 915365 h 922576"/>
              <a:gd name="connsiteX3" fmla="*/ 349364 w 1522695"/>
              <a:gd name="connsiteY3" fmla="*/ 922577 h 922576"/>
              <a:gd name="connsiteX4" fmla="*/ 328006 w 1522695"/>
              <a:gd name="connsiteY4" fmla="*/ 897196 h 922576"/>
              <a:gd name="connsiteX5" fmla="*/ 431608 w 1522695"/>
              <a:gd name="connsiteY5" fmla="*/ 465033 h 922576"/>
              <a:gd name="connsiteX6" fmla="*/ 224958 w 1522695"/>
              <a:gd name="connsiteY6" fmla="*/ 504838 h 922576"/>
              <a:gd name="connsiteX7" fmla="*/ 185292 w 1522695"/>
              <a:gd name="connsiteY7" fmla="*/ 702473 h 922576"/>
              <a:gd name="connsiteX8" fmla="*/ 159634 w 1522695"/>
              <a:gd name="connsiteY8" fmla="*/ 738117 h 922576"/>
              <a:gd name="connsiteX9" fmla="*/ 102771 w 1522695"/>
              <a:gd name="connsiteY9" fmla="*/ 719671 h 922576"/>
              <a:gd name="connsiteX10" fmla="*/ 150203 w 1522695"/>
              <a:gd name="connsiteY10" fmla="*/ 519816 h 922576"/>
              <a:gd name="connsiteX11" fmla="*/ 62411 w 1522695"/>
              <a:gd name="connsiteY11" fmla="*/ 533547 h 922576"/>
              <a:gd name="connsiteX12" fmla="*/ 0 w 1522695"/>
              <a:gd name="connsiteY12" fmla="*/ 507750 h 922576"/>
              <a:gd name="connsiteX13" fmla="*/ 163795 w 1522695"/>
              <a:gd name="connsiteY13" fmla="*/ 465588 h 922576"/>
              <a:gd name="connsiteX14" fmla="*/ 234805 w 1522695"/>
              <a:gd name="connsiteY14" fmla="*/ 162547 h 922576"/>
              <a:gd name="connsiteX15" fmla="*/ 258244 w 1522695"/>
              <a:gd name="connsiteY15" fmla="*/ 135502 h 922576"/>
              <a:gd name="connsiteX16" fmla="*/ 300961 w 1522695"/>
              <a:gd name="connsiteY16" fmla="*/ 126625 h 922576"/>
              <a:gd name="connsiteX17" fmla="*/ 316772 w 1522695"/>
              <a:gd name="connsiteY17" fmla="*/ 149232 h 922576"/>
              <a:gd name="connsiteX18" fmla="*/ 239104 w 1522695"/>
              <a:gd name="connsiteY18" fmla="*/ 449084 h 922576"/>
              <a:gd name="connsiteX19" fmla="*/ 447697 w 1522695"/>
              <a:gd name="connsiteY19" fmla="*/ 404564 h 922576"/>
              <a:gd name="connsiteX20" fmla="*/ 542839 w 1522695"/>
              <a:gd name="connsiteY20" fmla="*/ 34950 h 922576"/>
              <a:gd name="connsiteX21" fmla="*/ 557402 w 1522695"/>
              <a:gd name="connsiteY21" fmla="*/ 6935 h 922576"/>
              <a:gd name="connsiteX22" fmla="*/ 592907 w 1522695"/>
              <a:gd name="connsiteY22" fmla="*/ 0 h 922576"/>
              <a:gd name="connsiteX23" fmla="*/ 620506 w 1522695"/>
              <a:gd name="connsiteY23" fmla="*/ 25381 h 922576"/>
              <a:gd name="connsiteX24" fmla="*/ 618426 w 1522695"/>
              <a:gd name="connsiteY24" fmla="*/ 40359 h 922576"/>
              <a:gd name="connsiteX25" fmla="*/ 845048 w 1522695"/>
              <a:gd name="connsiteY25" fmla="*/ 445755 h 922576"/>
              <a:gd name="connsiteX26" fmla="*/ 684582 w 1522695"/>
              <a:gd name="connsiteY26" fmla="*/ 476544 h 922576"/>
              <a:gd name="connsiteX27" fmla="*/ 729241 w 1522695"/>
              <a:gd name="connsiteY27" fmla="*/ 311918 h 922576"/>
              <a:gd name="connsiteX28" fmla="*/ 1087204 w 1522695"/>
              <a:gd name="connsiteY28" fmla="*/ 231060 h 922576"/>
              <a:gd name="connsiteX29" fmla="*/ 1110643 w 1522695"/>
              <a:gd name="connsiteY29" fmla="*/ 218994 h 922576"/>
              <a:gd name="connsiteX30" fmla="*/ 1053363 w 1522695"/>
              <a:gd name="connsiteY30" fmla="*/ 185708 h 922576"/>
              <a:gd name="connsiteX31" fmla="*/ 1029785 w 1522695"/>
              <a:gd name="connsiteY31" fmla="*/ 187927 h 922576"/>
              <a:gd name="connsiteX32" fmla="*/ 636872 w 1522695"/>
              <a:gd name="connsiteY32" fmla="*/ 267536 h 922576"/>
              <a:gd name="connsiteX33" fmla="*/ 610798 w 1522695"/>
              <a:gd name="connsiteY33" fmla="*/ 284595 h 922576"/>
              <a:gd name="connsiteX34" fmla="*/ 652683 w 1522695"/>
              <a:gd name="connsiteY34" fmla="*/ 321210 h 922576"/>
              <a:gd name="connsiteX35" fmla="*/ 524948 w 1522695"/>
              <a:gd name="connsiteY35" fmla="*/ 802192 h 922576"/>
              <a:gd name="connsiteX36" fmla="*/ 537569 w 1522695"/>
              <a:gd name="connsiteY36" fmla="*/ 815646 h 922576"/>
              <a:gd name="connsiteX37" fmla="*/ 595542 w 1522695"/>
              <a:gd name="connsiteY37" fmla="*/ 802886 h 922576"/>
              <a:gd name="connsiteX38" fmla="*/ 616762 w 1522695"/>
              <a:gd name="connsiteY38" fmla="*/ 763914 h 922576"/>
              <a:gd name="connsiteX39" fmla="*/ 669603 w 1522695"/>
              <a:gd name="connsiteY39" fmla="*/ 537430 h 922576"/>
              <a:gd name="connsiteX40" fmla="*/ 808988 w 1522695"/>
              <a:gd name="connsiteY40" fmla="*/ 509276 h 922576"/>
              <a:gd name="connsiteX41" fmla="*/ 859611 w 1522695"/>
              <a:gd name="connsiteY41" fmla="*/ 477238 h 922576"/>
              <a:gd name="connsiteX42" fmla="*/ 872232 w 1522695"/>
              <a:gd name="connsiteY42" fmla="*/ 451996 h 922576"/>
              <a:gd name="connsiteX43" fmla="*/ 845187 w 1522695"/>
              <a:gd name="connsiteY43" fmla="*/ 445755 h 922576"/>
              <a:gd name="connsiteX44" fmla="*/ 1479701 w 1522695"/>
              <a:gd name="connsiteY44" fmla="*/ 159218 h 922576"/>
              <a:gd name="connsiteX45" fmla="*/ 1409801 w 1522695"/>
              <a:gd name="connsiteY45" fmla="*/ 217052 h 922576"/>
              <a:gd name="connsiteX46" fmla="*/ 1212442 w 1522695"/>
              <a:gd name="connsiteY46" fmla="*/ 666691 h 922576"/>
              <a:gd name="connsiteX47" fmla="*/ 1231721 w 1522695"/>
              <a:gd name="connsiteY47" fmla="*/ 323845 h 922576"/>
              <a:gd name="connsiteX48" fmla="*/ 1206895 w 1522695"/>
              <a:gd name="connsiteY48" fmla="*/ 300683 h 922576"/>
              <a:gd name="connsiteX49" fmla="*/ 1151002 w 1522695"/>
              <a:gd name="connsiteY49" fmla="*/ 324677 h 922576"/>
              <a:gd name="connsiteX50" fmla="*/ 1137549 w 1522695"/>
              <a:gd name="connsiteY50" fmla="*/ 353525 h 922576"/>
              <a:gd name="connsiteX51" fmla="*/ 980689 w 1522695"/>
              <a:gd name="connsiteY51" fmla="*/ 605528 h 922576"/>
              <a:gd name="connsiteX52" fmla="*/ 1041574 w 1522695"/>
              <a:gd name="connsiteY52" fmla="*/ 331196 h 922576"/>
              <a:gd name="connsiteX53" fmla="*/ 1029369 w 1522695"/>
              <a:gd name="connsiteY53" fmla="*/ 319962 h 922576"/>
              <a:gd name="connsiteX54" fmla="*/ 988871 w 1522695"/>
              <a:gd name="connsiteY54" fmla="*/ 327728 h 922576"/>
              <a:gd name="connsiteX55" fmla="*/ 954892 w 1522695"/>
              <a:gd name="connsiteY55" fmla="*/ 369752 h 922576"/>
              <a:gd name="connsiteX56" fmla="*/ 880553 w 1522695"/>
              <a:gd name="connsiteY56" fmla="*/ 711766 h 922576"/>
              <a:gd name="connsiteX57" fmla="*/ 902328 w 1522695"/>
              <a:gd name="connsiteY57" fmla="*/ 741862 h 922576"/>
              <a:gd name="connsiteX58" fmla="*/ 960024 w 1522695"/>
              <a:gd name="connsiteY58" fmla="*/ 718423 h 922576"/>
              <a:gd name="connsiteX59" fmla="*/ 1144483 w 1522695"/>
              <a:gd name="connsiteY59" fmla="*/ 419542 h 922576"/>
              <a:gd name="connsiteX60" fmla="*/ 1128950 w 1522695"/>
              <a:gd name="connsiteY60" fmla="*/ 709546 h 922576"/>
              <a:gd name="connsiteX61" fmla="*/ 1162375 w 1522695"/>
              <a:gd name="connsiteY61" fmla="*/ 786798 h 922576"/>
              <a:gd name="connsiteX62" fmla="*/ 1235049 w 1522695"/>
              <a:gd name="connsiteY62" fmla="*/ 740891 h 922576"/>
              <a:gd name="connsiteX63" fmla="*/ 1512016 w 1522695"/>
              <a:gd name="connsiteY63" fmla="*/ 203322 h 922576"/>
              <a:gd name="connsiteX64" fmla="*/ 1522696 w 1522695"/>
              <a:gd name="connsiteY64" fmla="*/ 183766 h 922576"/>
              <a:gd name="connsiteX65" fmla="*/ 1479840 w 1522695"/>
              <a:gd name="connsiteY65" fmla="*/ 159357 h 922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522695" h="922576">
                <a:moveTo>
                  <a:pt x="618149" y="39943"/>
                </a:moveTo>
                <a:cubicBezTo>
                  <a:pt x="568774" y="240214"/>
                  <a:pt x="450887" y="614404"/>
                  <a:pt x="421345" y="876531"/>
                </a:cubicBezTo>
                <a:cubicBezTo>
                  <a:pt x="418849" y="898167"/>
                  <a:pt x="420374" y="906627"/>
                  <a:pt x="388753" y="915365"/>
                </a:cubicBezTo>
                <a:cubicBezTo>
                  <a:pt x="373497" y="919526"/>
                  <a:pt x="359350" y="922577"/>
                  <a:pt x="349364" y="922577"/>
                </a:cubicBezTo>
                <a:cubicBezTo>
                  <a:pt x="333831" y="922577"/>
                  <a:pt x="328006" y="913978"/>
                  <a:pt x="328006" y="897196"/>
                </a:cubicBezTo>
                <a:cubicBezTo>
                  <a:pt x="328006" y="851567"/>
                  <a:pt x="390972" y="623280"/>
                  <a:pt x="431608" y="465033"/>
                </a:cubicBezTo>
                <a:cubicBezTo>
                  <a:pt x="377380" y="475296"/>
                  <a:pt x="300961" y="489998"/>
                  <a:pt x="224958" y="504838"/>
                </a:cubicBezTo>
                <a:cubicBezTo>
                  <a:pt x="206512" y="579870"/>
                  <a:pt x="193336" y="642697"/>
                  <a:pt x="185292" y="702473"/>
                </a:cubicBezTo>
                <a:cubicBezTo>
                  <a:pt x="183350" y="716897"/>
                  <a:pt x="185292" y="730489"/>
                  <a:pt x="159634" y="738117"/>
                </a:cubicBezTo>
                <a:cubicBezTo>
                  <a:pt x="116362" y="751015"/>
                  <a:pt x="100968" y="743803"/>
                  <a:pt x="102771" y="719671"/>
                </a:cubicBezTo>
                <a:cubicBezTo>
                  <a:pt x="105683" y="679589"/>
                  <a:pt x="118443" y="648661"/>
                  <a:pt x="150203" y="519816"/>
                </a:cubicBezTo>
                <a:cubicBezTo>
                  <a:pt x="110676" y="527722"/>
                  <a:pt x="79748" y="533547"/>
                  <a:pt x="62411" y="533547"/>
                </a:cubicBezTo>
                <a:cubicBezTo>
                  <a:pt x="38972" y="533547"/>
                  <a:pt x="0" y="517459"/>
                  <a:pt x="0" y="507750"/>
                </a:cubicBezTo>
                <a:cubicBezTo>
                  <a:pt x="0" y="496239"/>
                  <a:pt x="27184" y="496377"/>
                  <a:pt x="163795" y="465588"/>
                </a:cubicBezTo>
                <a:cubicBezTo>
                  <a:pt x="190146" y="360876"/>
                  <a:pt x="227038" y="219133"/>
                  <a:pt x="234805" y="162547"/>
                </a:cubicBezTo>
                <a:cubicBezTo>
                  <a:pt x="236192" y="152145"/>
                  <a:pt x="239798" y="140633"/>
                  <a:pt x="258244" y="135502"/>
                </a:cubicBezTo>
                <a:cubicBezTo>
                  <a:pt x="269339" y="132451"/>
                  <a:pt x="290004" y="126625"/>
                  <a:pt x="300961" y="126625"/>
                </a:cubicBezTo>
                <a:cubicBezTo>
                  <a:pt x="313304" y="126625"/>
                  <a:pt x="316772" y="137721"/>
                  <a:pt x="316772" y="149232"/>
                </a:cubicBezTo>
                <a:cubicBezTo>
                  <a:pt x="316772" y="170036"/>
                  <a:pt x="273916" y="298048"/>
                  <a:pt x="239104" y="449084"/>
                </a:cubicBezTo>
                <a:cubicBezTo>
                  <a:pt x="309837" y="433689"/>
                  <a:pt x="385424" y="417739"/>
                  <a:pt x="447697" y="404564"/>
                </a:cubicBezTo>
                <a:cubicBezTo>
                  <a:pt x="485421" y="261434"/>
                  <a:pt x="522313" y="121910"/>
                  <a:pt x="542839" y="34950"/>
                </a:cubicBezTo>
                <a:cubicBezTo>
                  <a:pt x="547277" y="16227"/>
                  <a:pt x="546445" y="10679"/>
                  <a:pt x="557402" y="6935"/>
                </a:cubicBezTo>
                <a:cubicBezTo>
                  <a:pt x="562533" y="5132"/>
                  <a:pt x="578205" y="0"/>
                  <a:pt x="592907" y="0"/>
                </a:cubicBezTo>
                <a:cubicBezTo>
                  <a:pt x="607608" y="0"/>
                  <a:pt x="620506" y="5548"/>
                  <a:pt x="620506" y="25381"/>
                </a:cubicBezTo>
                <a:cubicBezTo>
                  <a:pt x="620506" y="29680"/>
                  <a:pt x="619813" y="34673"/>
                  <a:pt x="618426" y="40359"/>
                </a:cubicBezTo>
                <a:close/>
                <a:moveTo>
                  <a:pt x="845048" y="445755"/>
                </a:moveTo>
                <a:cubicBezTo>
                  <a:pt x="796922" y="454076"/>
                  <a:pt x="739920" y="465865"/>
                  <a:pt x="684582" y="476544"/>
                </a:cubicBezTo>
                <a:cubicBezTo>
                  <a:pt x="700670" y="412608"/>
                  <a:pt x="716620" y="352970"/>
                  <a:pt x="729241" y="311918"/>
                </a:cubicBezTo>
                <a:cubicBezTo>
                  <a:pt x="838946" y="287092"/>
                  <a:pt x="1056276" y="236053"/>
                  <a:pt x="1087204" y="231060"/>
                </a:cubicBezTo>
                <a:cubicBezTo>
                  <a:pt x="1104679" y="228148"/>
                  <a:pt x="1110643" y="223155"/>
                  <a:pt x="1110643" y="218994"/>
                </a:cubicBezTo>
                <a:cubicBezTo>
                  <a:pt x="1110643" y="211089"/>
                  <a:pt x="1084985" y="185708"/>
                  <a:pt x="1053363" y="185708"/>
                </a:cubicBezTo>
                <a:cubicBezTo>
                  <a:pt x="1046428" y="185708"/>
                  <a:pt x="1038662" y="186402"/>
                  <a:pt x="1029785" y="187927"/>
                </a:cubicBezTo>
                <a:cubicBezTo>
                  <a:pt x="966542" y="199023"/>
                  <a:pt x="709269" y="252974"/>
                  <a:pt x="636872" y="267536"/>
                </a:cubicBezTo>
                <a:cubicBezTo>
                  <a:pt x="618842" y="271142"/>
                  <a:pt x="610798" y="277661"/>
                  <a:pt x="610798" y="284595"/>
                </a:cubicBezTo>
                <a:cubicBezTo>
                  <a:pt x="610798" y="295136"/>
                  <a:pt x="636317" y="316217"/>
                  <a:pt x="652683" y="321210"/>
                </a:cubicBezTo>
                <a:cubicBezTo>
                  <a:pt x="616623" y="461427"/>
                  <a:pt x="524948" y="770571"/>
                  <a:pt x="524948" y="802192"/>
                </a:cubicBezTo>
                <a:cubicBezTo>
                  <a:pt x="524948" y="809959"/>
                  <a:pt x="527583" y="815646"/>
                  <a:pt x="537569" y="815646"/>
                </a:cubicBezTo>
                <a:cubicBezTo>
                  <a:pt x="551299" y="815646"/>
                  <a:pt x="579176" y="809682"/>
                  <a:pt x="595542" y="802886"/>
                </a:cubicBezTo>
                <a:cubicBezTo>
                  <a:pt x="611908" y="795951"/>
                  <a:pt x="611630" y="787907"/>
                  <a:pt x="616762" y="763914"/>
                </a:cubicBezTo>
                <a:cubicBezTo>
                  <a:pt x="627996" y="712043"/>
                  <a:pt x="648106" y="624945"/>
                  <a:pt x="669603" y="537430"/>
                </a:cubicBezTo>
                <a:cubicBezTo>
                  <a:pt x="735620" y="523422"/>
                  <a:pt x="777505" y="516488"/>
                  <a:pt x="808988" y="509276"/>
                </a:cubicBezTo>
                <a:cubicBezTo>
                  <a:pt x="843661" y="501370"/>
                  <a:pt x="850180" y="491107"/>
                  <a:pt x="859611" y="477238"/>
                </a:cubicBezTo>
                <a:cubicBezTo>
                  <a:pt x="865852" y="468223"/>
                  <a:pt x="872232" y="456850"/>
                  <a:pt x="872232" y="451996"/>
                </a:cubicBezTo>
                <a:cubicBezTo>
                  <a:pt x="872232" y="444368"/>
                  <a:pt x="864742" y="442288"/>
                  <a:pt x="845187" y="445755"/>
                </a:cubicBezTo>
                <a:close/>
                <a:moveTo>
                  <a:pt x="1479701" y="159218"/>
                </a:moveTo>
                <a:cubicBezTo>
                  <a:pt x="1459452" y="159218"/>
                  <a:pt x="1437955" y="171978"/>
                  <a:pt x="1409801" y="217052"/>
                </a:cubicBezTo>
                <a:cubicBezTo>
                  <a:pt x="1369857" y="281128"/>
                  <a:pt x="1274854" y="509553"/>
                  <a:pt x="1212442" y="666691"/>
                </a:cubicBezTo>
                <a:cubicBezTo>
                  <a:pt x="1210639" y="502202"/>
                  <a:pt x="1231721" y="360598"/>
                  <a:pt x="1231721" y="323845"/>
                </a:cubicBezTo>
                <a:cubicBezTo>
                  <a:pt x="1231721" y="305399"/>
                  <a:pt x="1220348" y="300683"/>
                  <a:pt x="1206895" y="300683"/>
                </a:cubicBezTo>
                <a:cubicBezTo>
                  <a:pt x="1188310" y="300683"/>
                  <a:pt x="1160988" y="301516"/>
                  <a:pt x="1151002" y="324677"/>
                </a:cubicBezTo>
                <a:cubicBezTo>
                  <a:pt x="1144483" y="339795"/>
                  <a:pt x="1143374" y="343262"/>
                  <a:pt x="1137549" y="353525"/>
                </a:cubicBezTo>
                <a:cubicBezTo>
                  <a:pt x="1125205" y="375577"/>
                  <a:pt x="1053502" y="501786"/>
                  <a:pt x="980689" y="605528"/>
                </a:cubicBezTo>
                <a:cubicBezTo>
                  <a:pt x="1012588" y="432995"/>
                  <a:pt x="1041574" y="349087"/>
                  <a:pt x="1041574" y="331196"/>
                </a:cubicBezTo>
                <a:cubicBezTo>
                  <a:pt x="1041574" y="322874"/>
                  <a:pt x="1036165" y="319962"/>
                  <a:pt x="1029369" y="319962"/>
                </a:cubicBezTo>
                <a:cubicBezTo>
                  <a:pt x="1021325" y="319962"/>
                  <a:pt x="1000799" y="324816"/>
                  <a:pt x="988871" y="327728"/>
                </a:cubicBezTo>
                <a:cubicBezTo>
                  <a:pt x="974864" y="331196"/>
                  <a:pt x="963768" y="335772"/>
                  <a:pt x="954892" y="369752"/>
                </a:cubicBezTo>
                <a:cubicBezTo>
                  <a:pt x="925905" y="479734"/>
                  <a:pt x="880553" y="665720"/>
                  <a:pt x="880553" y="711766"/>
                </a:cubicBezTo>
                <a:cubicBezTo>
                  <a:pt x="880553" y="731876"/>
                  <a:pt x="884575" y="741862"/>
                  <a:pt x="902328" y="741862"/>
                </a:cubicBezTo>
                <a:cubicBezTo>
                  <a:pt x="921051" y="741862"/>
                  <a:pt x="947541" y="736591"/>
                  <a:pt x="960024" y="718423"/>
                </a:cubicBezTo>
                <a:cubicBezTo>
                  <a:pt x="1022851" y="626609"/>
                  <a:pt x="1086372" y="516349"/>
                  <a:pt x="1144483" y="419542"/>
                </a:cubicBezTo>
                <a:cubicBezTo>
                  <a:pt x="1135191" y="510801"/>
                  <a:pt x="1128950" y="628967"/>
                  <a:pt x="1128950" y="709546"/>
                </a:cubicBezTo>
                <a:cubicBezTo>
                  <a:pt x="1128950" y="765023"/>
                  <a:pt x="1130614" y="786798"/>
                  <a:pt x="1162375" y="786798"/>
                </a:cubicBezTo>
                <a:cubicBezTo>
                  <a:pt x="1191223" y="786798"/>
                  <a:pt x="1217019" y="781666"/>
                  <a:pt x="1235049" y="740891"/>
                </a:cubicBezTo>
                <a:cubicBezTo>
                  <a:pt x="1297599" y="599148"/>
                  <a:pt x="1429911" y="303735"/>
                  <a:pt x="1512016" y="203322"/>
                </a:cubicBezTo>
                <a:cubicBezTo>
                  <a:pt x="1517425" y="196803"/>
                  <a:pt x="1522696" y="191256"/>
                  <a:pt x="1522696" y="183766"/>
                </a:cubicBezTo>
                <a:cubicBezTo>
                  <a:pt x="1522696" y="173365"/>
                  <a:pt x="1498563" y="159357"/>
                  <a:pt x="1479840" y="159357"/>
                </a:cubicBezTo>
                <a:close/>
              </a:path>
            </a:pathLst>
          </a:custGeom>
          <a:solidFill>
            <a:schemeClr val="bg1"/>
          </a:solidFill>
          <a:ln w="13855" cap="flat">
            <a:noFill/>
            <a:prstDash val="solid"/>
            <a:miter/>
          </a:ln>
        </p:spPr>
        <p:txBody>
          <a:bodyPr rtlCol="0" anchor="ctr"/>
          <a:lstStyle/>
          <a:p>
            <a:endParaRPr lang="en-GB"/>
          </a:p>
        </p:txBody>
      </p:sp>
    </p:spTree>
    <p:extLst>
      <p:ext uri="{BB962C8B-B14F-4D97-AF65-F5344CB8AC3E}">
        <p14:creationId xmlns:p14="http://schemas.microsoft.com/office/powerpoint/2010/main" val="2365657895"/>
      </p:ext>
    </p:extLst>
  </p:cSld>
  <p:clrMapOvr>
    <a:masterClrMapping/>
  </p:clrMapOvr>
  <p:transition spd="med">
    <p:fade/>
  </p:transition>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lide with Icons - INSURNACE">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057256A9-D668-6616-3E46-02AAE2AAF196}"/>
              </a:ext>
            </a:extLst>
          </p:cNvPr>
          <p:cNvSpPr>
            <a:spLocks noGrp="1"/>
          </p:cNvSpPr>
          <p:nvPr>
            <p:ph type="pic" sz="quarter" idx="13" hasCustomPrompt="1"/>
          </p:nvPr>
        </p:nvSpPr>
        <p:spPr>
          <a:xfrm>
            <a:off x="4067176" y="2"/>
            <a:ext cx="8124824" cy="6857999"/>
          </a:xfrm>
          <a:custGeom>
            <a:avLst/>
            <a:gdLst>
              <a:gd name="connsiteX0" fmla="*/ 3500648 w 8124824"/>
              <a:gd name="connsiteY0" fmla="*/ 1154291 h 6857999"/>
              <a:gd name="connsiteX1" fmla="*/ 3500648 w 8124824"/>
              <a:gd name="connsiteY1" fmla="*/ 1224425 h 6857999"/>
              <a:gd name="connsiteX2" fmla="*/ 3519525 w 8124824"/>
              <a:gd name="connsiteY2" fmla="*/ 1224425 h 6857999"/>
              <a:gd name="connsiteX3" fmla="*/ 3593568 w 8124824"/>
              <a:gd name="connsiteY3" fmla="*/ 1297478 h 6857999"/>
              <a:gd name="connsiteX4" fmla="*/ 3519525 w 8124824"/>
              <a:gd name="connsiteY4" fmla="*/ 1370533 h 6857999"/>
              <a:gd name="connsiteX5" fmla="*/ 3445479 w 8124824"/>
              <a:gd name="connsiteY5" fmla="*/ 1297478 h 6857999"/>
              <a:gd name="connsiteX6" fmla="*/ 3407727 w 8124824"/>
              <a:gd name="connsiteY6" fmla="*/ 1297478 h 6857999"/>
              <a:gd name="connsiteX7" fmla="*/ 3519525 w 8124824"/>
              <a:gd name="connsiteY7" fmla="*/ 1407816 h 6857999"/>
              <a:gd name="connsiteX8" fmla="*/ 3519525 w 8124824"/>
              <a:gd name="connsiteY8" fmla="*/ 1407868 h 6857999"/>
              <a:gd name="connsiteX9" fmla="*/ 3631321 w 8124824"/>
              <a:gd name="connsiteY9" fmla="*/ 1297531 h 6857999"/>
              <a:gd name="connsiteX10" fmla="*/ 3538401 w 8124824"/>
              <a:gd name="connsiteY10" fmla="*/ 1188759 h 6857999"/>
              <a:gd name="connsiteX11" fmla="*/ 3538401 w 8124824"/>
              <a:gd name="connsiteY11" fmla="*/ 1154291 h 6857999"/>
              <a:gd name="connsiteX12" fmla="*/ 1479209 w 8124824"/>
              <a:gd name="connsiteY12" fmla="*/ 1074105 h 6857999"/>
              <a:gd name="connsiteX13" fmla="*/ 1408607 w 8124824"/>
              <a:gd name="connsiteY13" fmla="*/ 1110605 h 6857999"/>
              <a:gd name="connsiteX14" fmla="*/ 1408554 w 8124824"/>
              <a:gd name="connsiteY14" fmla="*/ 1110658 h 6857999"/>
              <a:gd name="connsiteX15" fmla="*/ 1408658 w 8124824"/>
              <a:gd name="connsiteY15" fmla="*/ 1112535 h 6857999"/>
              <a:gd name="connsiteX16" fmla="*/ 1408554 w 8124824"/>
              <a:gd name="connsiteY16" fmla="*/ 1112587 h 6857999"/>
              <a:gd name="connsiteX17" fmla="*/ 1418827 w 8124824"/>
              <a:gd name="connsiteY17" fmla="*/ 1286331 h 6857999"/>
              <a:gd name="connsiteX18" fmla="*/ 1423676 w 8124824"/>
              <a:gd name="connsiteY18" fmla="*/ 1283620 h 6857999"/>
              <a:gd name="connsiteX19" fmla="*/ 1454389 w 8124824"/>
              <a:gd name="connsiteY19" fmla="*/ 1231945 h 6857999"/>
              <a:gd name="connsiteX20" fmla="*/ 1479209 w 8124824"/>
              <a:gd name="connsiteY20" fmla="*/ 1076087 h 6857999"/>
              <a:gd name="connsiteX21" fmla="*/ 1478845 w 8124824"/>
              <a:gd name="connsiteY21" fmla="*/ 1076244 h 6857999"/>
              <a:gd name="connsiteX22" fmla="*/ 1479209 w 8124824"/>
              <a:gd name="connsiteY22" fmla="*/ 1074105 h 6857999"/>
              <a:gd name="connsiteX23" fmla="*/ 6746854 w 8124824"/>
              <a:gd name="connsiteY23" fmla="*/ 1051836 h 6857999"/>
              <a:gd name="connsiteX24" fmla="*/ 6477373 w 8124824"/>
              <a:gd name="connsiteY24" fmla="*/ 1080255 h 6857999"/>
              <a:gd name="connsiteX25" fmla="*/ 6472315 w 8124824"/>
              <a:gd name="connsiteY25" fmla="*/ 1080777 h 6857999"/>
              <a:gd name="connsiteX26" fmla="*/ 6466996 w 8124824"/>
              <a:gd name="connsiteY26" fmla="*/ 1091309 h 6857999"/>
              <a:gd name="connsiteX27" fmla="*/ 6567060 w 8124824"/>
              <a:gd name="connsiteY27" fmla="*/ 1296184 h 6857999"/>
              <a:gd name="connsiteX28" fmla="*/ 6932017 w 8124824"/>
              <a:gd name="connsiteY28" fmla="*/ 1296184 h 6857999"/>
              <a:gd name="connsiteX29" fmla="*/ 7031978 w 8124824"/>
              <a:gd name="connsiteY29" fmla="*/ 1091309 h 6857999"/>
              <a:gd name="connsiteX30" fmla="*/ 7026607 w 8124824"/>
              <a:gd name="connsiteY30" fmla="*/ 1080777 h 6857999"/>
              <a:gd name="connsiteX31" fmla="*/ 7024261 w 8124824"/>
              <a:gd name="connsiteY31" fmla="*/ 1080568 h 6857999"/>
              <a:gd name="connsiteX32" fmla="*/ 6748053 w 8124824"/>
              <a:gd name="connsiteY32" fmla="*/ 1051992 h 6857999"/>
              <a:gd name="connsiteX33" fmla="*/ 5674131 w 8124824"/>
              <a:gd name="connsiteY33" fmla="*/ 1045050 h 6857999"/>
              <a:gd name="connsiteX34" fmla="*/ 5707034 w 8124824"/>
              <a:gd name="connsiteY34" fmla="*/ 1060432 h 6857999"/>
              <a:gd name="connsiteX35" fmla="*/ 5714856 w 8124824"/>
              <a:gd name="connsiteY35" fmla="*/ 1074146 h 6857999"/>
              <a:gd name="connsiteX36" fmla="*/ 5717202 w 8124824"/>
              <a:gd name="connsiteY36" fmla="*/ 1087859 h 6857999"/>
              <a:gd name="connsiteX37" fmla="*/ 5717099 w 8124824"/>
              <a:gd name="connsiteY37" fmla="*/ 1087859 h 6857999"/>
              <a:gd name="connsiteX38" fmla="*/ 5717099 w 8124824"/>
              <a:gd name="connsiteY38" fmla="*/ 1088068 h 6857999"/>
              <a:gd name="connsiteX39" fmla="*/ 5700725 w 8124824"/>
              <a:gd name="connsiteY39" fmla="*/ 1121857 h 6857999"/>
              <a:gd name="connsiteX40" fmla="*/ 5694625 w 8124824"/>
              <a:gd name="connsiteY40" fmla="*/ 1126602 h 6857999"/>
              <a:gd name="connsiteX41" fmla="*/ 5701143 w 8124824"/>
              <a:gd name="connsiteY41" fmla="*/ 1181771 h 6857999"/>
              <a:gd name="connsiteX42" fmla="*/ 5646964 w 8124824"/>
              <a:gd name="connsiteY42" fmla="*/ 1181771 h 6857999"/>
              <a:gd name="connsiteX43" fmla="*/ 5653378 w 8124824"/>
              <a:gd name="connsiteY43" fmla="*/ 1126602 h 6857999"/>
              <a:gd name="connsiteX44" fmla="*/ 5647382 w 8124824"/>
              <a:gd name="connsiteY44" fmla="*/ 1121857 h 6857999"/>
              <a:gd name="connsiteX45" fmla="*/ 5631008 w 8124824"/>
              <a:gd name="connsiteY45" fmla="*/ 1088068 h 6857999"/>
              <a:gd name="connsiteX46" fmla="*/ 5631008 w 8124824"/>
              <a:gd name="connsiteY46" fmla="*/ 1087859 h 6857999"/>
              <a:gd name="connsiteX47" fmla="*/ 5633355 w 8124824"/>
              <a:gd name="connsiteY47" fmla="*/ 1074146 h 6857999"/>
              <a:gd name="connsiteX48" fmla="*/ 5641176 w 8124824"/>
              <a:gd name="connsiteY48" fmla="*/ 1060432 h 6857999"/>
              <a:gd name="connsiteX49" fmla="*/ 5674131 w 8124824"/>
              <a:gd name="connsiteY49" fmla="*/ 1045050 h 6857999"/>
              <a:gd name="connsiteX50" fmla="*/ 2527407 w 8124824"/>
              <a:gd name="connsiteY50" fmla="*/ 1036166 h 6857999"/>
              <a:gd name="connsiteX51" fmla="*/ 2463323 w 8124824"/>
              <a:gd name="connsiteY51" fmla="*/ 1229673 h 6857999"/>
              <a:gd name="connsiteX52" fmla="*/ 2684621 w 8124824"/>
              <a:gd name="connsiteY52" fmla="*/ 1229673 h 6857999"/>
              <a:gd name="connsiteX53" fmla="*/ 2684621 w 8124824"/>
              <a:gd name="connsiteY53" fmla="*/ 1036166 h 6857999"/>
              <a:gd name="connsiteX54" fmla="*/ 2718046 w 8124824"/>
              <a:gd name="connsiteY54" fmla="*/ 1036114 h 6857999"/>
              <a:gd name="connsiteX55" fmla="*/ 2718046 w 8124824"/>
              <a:gd name="connsiteY55" fmla="*/ 1229620 h 6857999"/>
              <a:gd name="connsiteX56" fmla="*/ 2782130 w 8124824"/>
              <a:gd name="connsiteY56" fmla="*/ 1229620 h 6857999"/>
              <a:gd name="connsiteX57" fmla="*/ 2359190 w 8124824"/>
              <a:gd name="connsiteY57" fmla="*/ 1034967 h 6857999"/>
              <a:gd name="connsiteX58" fmla="*/ 2359190 w 8124824"/>
              <a:gd name="connsiteY58" fmla="*/ 1228368 h 6857999"/>
              <a:gd name="connsiteX59" fmla="*/ 2423275 w 8124824"/>
              <a:gd name="connsiteY59" fmla="*/ 1228368 h 6857999"/>
              <a:gd name="connsiteX60" fmla="*/ 2168552 w 8124824"/>
              <a:gd name="connsiteY60" fmla="*/ 1034967 h 6857999"/>
              <a:gd name="connsiteX61" fmla="*/ 2104466 w 8124824"/>
              <a:gd name="connsiteY61" fmla="*/ 1228368 h 6857999"/>
              <a:gd name="connsiteX62" fmla="*/ 2325766 w 8124824"/>
              <a:gd name="connsiteY62" fmla="*/ 1228368 h 6857999"/>
              <a:gd name="connsiteX63" fmla="*/ 2325766 w 8124824"/>
              <a:gd name="connsiteY63" fmla="*/ 1034967 h 6857999"/>
              <a:gd name="connsiteX64" fmla="*/ 5674131 w 8124824"/>
              <a:gd name="connsiteY64" fmla="*/ 1017621 h 6857999"/>
              <a:gd name="connsiteX65" fmla="*/ 5609317 w 8124824"/>
              <a:gd name="connsiteY65" fmla="*/ 1060432 h 6857999"/>
              <a:gd name="connsiteX66" fmla="*/ 5604989 w 8124824"/>
              <a:gd name="connsiteY66" fmla="*/ 1074146 h 6857999"/>
              <a:gd name="connsiteX67" fmla="*/ 5603580 w 8124824"/>
              <a:gd name="connsiteY67" fmla="*/ 1087859 h 6857999"/>
              <a:gd name="connsiteX68" fmla="*/ 5603580 w 8124824"/>
              <a:gd name="connsiteY68" fmla="*/ 1088068 h 6857999"/>
              <a:gd name="connsiteX69" fmla="*/ 5624490 w 8124824"/>
              <a:gd name="connsiteY69" fmla="*/ 1138126 h 6857999"/>
              <a:gd name="connsiteX70" fmla="*/ 5616198 w 8124824"/>
              <a:gd name="connsiteY70" fmla="*/ 1209251 h 6857999"/>
              <a:gd name="connsiteX71" fmla="*/ 5732064 w 8124824"/>
              <a:gd name="connsiteY71" fmla="*/ 1209251 h 6857999"/>
              <a:gd name="connsiteX72" fmla="*/ 5723720 w 8124824"/>
              <a:gd name="connsiteY72" fmla="*/ 1138126 h 6857999"/>
              <a:gd name="connsiteX73" fmla="*/ 5744630 w 8124824"/>
              <a:gd name="connsiteY73" fmla="*/ 1088068 h 6857999"/>
              <a:gd name="connsiteX74" fmla="*/ 5744630 w 8124824"/>
              <a:gd name="connsiteY74" fmla="*/ 1087859 h 6857999"/>
              <a:gd name="connsiteX75" fmla="*/ 5743274 w 8124824"/>
              <a:gd name="connsiteY75" fmla="*/ 1074146 h 6857999"/>
              <a:gd name="connsiteX76" fmla="*/ 5738946 w 8124824"/>
              <a:gd name="connsiteY76" fmla="*/ 1060432 h 6857999"/>
              <a:gd name="connsiteX77" fmla="*/ 5674131 w 8124824"/>
              <a:gd name="connsiteY77" fmla="*/ 1017621 h 6857999"/>
              <a:gd name="connsiteX78" fmla="*/ 6762601 w 8124824"/>
              <a:gd name="connsiteY78" fmla="*/ 1000370 h 6857999"/>
              <a:gd name="connsiteX79" fmla="*/ 6762601 w 8124824"/>
              <a:gd name="connsiteY79" fmla="*/ 1024356 h 6857999"/>
              <a:gd name="connsiteX80" fmla="*/ 6766511 w 8124824"/>
              <a:gd name="connsiteY80" fmla="*/ 1024774 h 6857999"/>
              <a:gd name="connsiteX81" fmla="*/ 6862874 w 8124824"/>
              <a:gd name="connsiteY81" fmla="*/ 1034784 h 6857999"/>
              <a:gd name="connsiteX82" fmla="*/ 6862874 w 8124824"/>
              <a:gd name="connsiteY82" fmla="*/ 1000370 h 6857999"/>
              <a:gd name="connsiteX83" fmla="*/ 6891866 w 8124824"/>
              <a:gd name="connsiteY83" fmla="*/ 1000317 h 6857999"/>
              <a:gd name="connsiteX84" fmla="*/ 6891866 w 8124824"/>
              <a:gd name="connsiteY84" fmla="*/ 1037704 h 6857999"/>
              <a:gd name="connsiteX85" fmla="*/ 6895048 w 8124824"/>
              <a:gd name="connsiteY85" fmla="*/ 1038069 h 6857999"/>
              <a:gd name="connsiteX86" fmla="*/ 6995321 w 8124824"/>
              <a:gd name="connsiteY86" fmla="*/ 1048447 h 6857999"/>
              <a:gd name="connsiteX87" fmla="*/ 6995321 w 8124824"/>
              <a:gd name="connsiteY87" fmla="*/ 1000317 h 6857999"/>
              <a:gd name="connsiteX88" fmla="*/ 6634170 w 8124824"/>
              <a:gd name="connsiteY88" fmla="*/ 1000317 h 6857999"/>
              <a:gd name="connsiteX89" fmla="*/ 6634170 w 8124824"/>
              <a:gd name="connsiteY89" fmla="*/ 1034524 h 6857999"/>
              <a:gd name="connsiteX90" fmla="*/ 6638811 w 8124824"/>
              <a:gd name="connsiteY90" fmla="*/ 1034106 h 6857999"/>
              <a:gd name="connsiteX91" fmla="*/ 6733662 w 8124824"/>
              <a:gd name="connsiteY91" fmla="*/ 1024096 h 6857999"/>
              <a:gd name="connsiteX92" fmla="*/ 6733662 w 8124824"/>
              <a:gd name="connsiteY92" fmla="*/ 1000317 h 6857999"/>
              <a:gd name="connsiteX93" fmla="*/ 6634222 w 8124824"/>
              <a:gd name="connsiteY93" fmla="*/ 1000317 h 6857999"/>
              <a:gd name="connsiteX94" fmla="*/ 6506418 w 8124824"/>
              <a:gd name="connsiteY94" fmla="*/ 1000317 h 6857999"/>
              <a:gd name="connsiteX95" fmla="*/ 6506418 w 8124824"/>
              <a:gd name="connsiteY95" fmla="*/ 1048029 h 6857999"/>
              <a:gd name="connsiteX96" fmla="*/ 6605127 w 8124824"/>
              <a:gd name="connsiteY96" fmla="*/ 1037653 h 6857999"/>
              <a:gd name="connsiteX97" fmla="*/ 6605127 w 8124824"/>
              <a:gd name="connsiteY97" fmla="*/ 1000317 h 6857999"/>
              <a:gd name="connsiteX98" fmla="*/ 4629579 w 8124824"/>
              <a:gd name="connsiteY98" fmla="*/ 974096 h 6857999"/>
              <a:gd name="connsiteX99" fmla="*/ 4519033 w 8124824"/>
              <a:gd name="connsiteY99" fmla="*/ 1398184 h 6857999"/>
              <a:gd name="connsiteX100" fmla="*/ 4802384 w 8124824"/>
              <a:gd name="connsiteY100" fmla="*/ 1019096 h 6857999"/>
              <a:gd name="connsiteX101" fmla="*/ 4629631 w 8124824"/>
              <a:gd name="connsiteY101" fmla="*/ 974096 h 6857999"/>
              <a:gd name="connsiteX102" fmla="*/ 5477235 w 8124824"/>
              <a:gd name="connsiteY102" fmla="*/ 961618 h 6857999"/>
              <a:gd name="connsiteX103" fmla="*/ 5871080 w 8124824"/>
              <a:gd name="connsiteY103" fmla="*/ 961618 h 6857999"/>
              <a:gd name="connsiteX104" fmla="*/ 5871080 w 8124824"/>
              <a:gd name="connsiteY104" fmla="*/ 1286111 h 6857999"/>
              <a:gd name="connsiteX105" fmla="*/ 5477235 w 8124824"/>
              <a:gd name="connsiteY105" fmla="*/ 1286111 h 6857999"/>
              <a:gd name="connsiteX106" fmla="*/ 3519732 w 8124824"/>
              <a:gd name="connsiteY106" fmla="*/ 923709 h 6857999"/>
              <a:gd name="connsiteX107" fmla="*/ 3459611 w 8124824"/>
              <a:gd name="connsiteY107" fmla="*/ 983831 h 6857999"/>
              <a:gd name="connsiteX108" fmla="*/ 3519732 w 8124824"/>
              <a:gd name="connsiteY108" fmla="*/ 1043901 h 6857999"/>
              <a:gd name="connsiteX109" fmla="*/ 3579804 w 8124824"/>
              <a:gd name="connsiteY109" fmla="*/ 983831 h 6857999"/>
              <a:gd name="connsiteX110" fmla="*/ 3519732 w 8124824"/>
              <a:gd name="connsiteY110" fmla="*/ 923709 h 6857999"/>
              <a:gd name="connsiteX111" fmla="*/ 6891866 w 8124824"/>
              <a:gd name="connsiteY111" fmla="*/ 916365 h 6857999"/>
              <a:gd name="connsiteX112" fmla="*/ 6891866 w 8124824"/>
              <a:gd name="connsiteY112" fmla="*/ 971325 h 6857999"/>
              <a:gd name="connsiteX113" fmla="*/ 6995321 w 8124824"/>
              <a:gd name="connsiteY113" fmla="*/ 971325 h 6857999"/>
              <a:gd name="connsiteX114" fmla="*/ 6995321 w 8124824"/>
              <a:gd name="connsiteY114" fmla="*/ 916365 h 6857999"/>
              <a:gd name="connsiteX115" fmla="*/ 6762601 w 8124824"/>
              <a:gd name="connsiteY115" fmla="*/ 916365 h 6857999"/>
              <a:gd name="connsiteX116" fmla="*/ 6762601 w 8124824"/>
              <a:gd name="connsiteY116" fmla="*/ 971325 h 6857999"/>
              <a:gd name="connsiteX117" fmla="*/ 6862874 w 8124824"/>
              <a:gd name="connsiteY117" fmla="*/ 971325 h 6857999"/>
              <a:gd name="connsiteX118" fmla="*/ 6862874 w 8124824"/>
              <a:gd name="connsiteY118" fmla="*/ 916365 h 6857999"/>
              <a:gd name="connsiteX119" fmla="*/ 6634170 w 8124824"/>
              <a:gd name="connsiteY119" fmla="*/ 916365 h 6857999"/>
              <a:gd name="connsiteX120" fmla="*/ 6634170 w 8124824"/>
              <a:gd name="connsiteY120" fmla="*/ 971325 h 6857999"/>
              <a:gd name="connsiteX121" fmla="*/ 6733609 w 8124824"/>
              <a:gd name="connsiteY121" fmla="*/ 971325 h 6857999"/>
              <a:gd name="connsiteX122" fmla="*/ 6733609 w 8124824"/>
              <a:gd name="connsiteY122" fmla="*/ 916365 h 6857999"/>
              <a:gd name="connsiteX123" fmla="*/ 6506469 w 8124824"/>
              <a:gd name="connsiteY123" fmla="*/ 916365 h 6857999"/>
              <a:gd name="connsiteX124" fmla="*/ 6506469 w 8124824"/>
              <a:gd name="connsiteY124" fmla="*/ 971325 h 6857999"/>
              <a:gd name="connsiteX125" fmla="*/ 6605178 w 8124824"/>
              <a:gd name="connsiteY125" fmla="*/ 971325 h 6857999"/>
              <a:gd name="connsiteX126" fmla="*/ 6605178 w 8124824"/>
              <a:gd name="connsiteY126" fmla="*/ 916365 h 6857999"/>
              <a:gd name="connsiteX127" fmla="*/ 3519732 w 8124824"/>
              <a:gd name="connsiteY127" fmla="*/ 886166 h 6857999"/>
              <a:gd name="connsiteX128" fmla="*/ 3617398 w 8124824"/>
              <a:gd name="connsiteY128" fmla="*/ 983780 h 6857999"/>
              <a:gd name="connsiteX129" fmla="*/ 3519732 w 8124824"/>
              <a:gd name="connsiteY129" fmla="*/ 1081446 h 6857999"/>
              <a:gd name="connsiteX130" fmla="*/ 3422066 w 8124824"/>
              <a:gd name="connsiteY130" fmla="*/ 983780 h 6857999"/>
              <a:gd name="connsiteX131" fmla="*/ 3519732 w 8124824"/>
              <a:gd name="connsiteY131" fmla="*/ 886166 h 6857999"/>
              <a:gd name="connsiteX132" fmla="*/ 3324452 w 8124824"/>
              <a:gd name="connsiteY132" fmla="*/ 854671 h 6857999"/>
              <a:gd name="connsiteX133" fmla="*/ 3382905 w 8124824"/>
              <a:gd name="connsiteY133" fmla="*/ 1116643 h 6857999"/>
              <a:gd name="connsiteX134" fmla="*/ 3656090 w 8124824"/>
              <a:gd name="connsiteY134" fmla="*/ 1116643 h 6857999"/>
              <a:gd name="connsiteX135" fmla="*/ 3714595 w 8124824"/>
              <a:gd name="connsiteY135" fmla="*/ 854671 h 6857999"/>
              <a:gd name="connsiteX136" fmla="*/ 3324505 w 8124824"/>
              <a:gd name="connsiteY136" fmla="*/ 854671 h 6857999"/>
              <a:gd name="connsiteX137" fmla="*/ 1116267 w 8124824"/>
              <a:gd name="connsiteY137" fmla="*/ 850675 h 6857999"/>
              <a:gd name="connsiteX138" fmla="*/ 1090163 w 8124824"/>
              <a:gd name="connsiteY138" fmla="*/ 860785 h 6857999"/>
              <a:gd name="connsiteX139" fmla="*/ 1085782 w 8124824"/>
              <a:gd name="connsiteY139" fmla="*/ 864695 h 6857999"/>
              <a:gd name="connsiteX140" fmla="*/ 1294150 w 8124824"/>
              <a:gd name="connsiteY140" fmla="*/ 986346 h 6857999"/>
              <a:gd name="connsiteX141" fmla="*/ 1294150 w 8124824"/>
              <a:gd name="connsiteY141" fmla="*/ 986295 h 6857999"/>
              <a:gd name="connsiteX142" fmla="*/ 1396144 w 8124824"/>
              <a:gd name="connsiteY142" fmla="*/ 932117 h 6857999"/>
              <a:gd name="connsiteX143" fmla="*/ 1149764 w 8124824"/>
              <a:gd name="connsiteY143" fmla="*/ 856716 h 6857999"/>
              <a:gd name="connsiteX144" fmla="*/ 1116267 w 8124824"/>
              <a:gd name="connsiteY144" fmla="*/ 850675 h 6857999"/>
              <a:gd name="connsiteX145" fmla="*/ 1645683 w 8124824"/>
              <a:gd name="connsiteY145" fmla="*/ 847722 h 6857999"/>
              <a:gd name="connsiteX146" fmla="*/ 1627872 w 8124824"/>
              <a:gd name="connsiteY146" fmla="*/ 852806 h 6857999"/>
              <a:gd name="connsiteX147" fmla="*/ 1175522 w 8124824"/>
              <a:gd name="connsiteY147" fmla="*/ 1086568 h 6857999"/>
              <a:gd name="connsiteX148" fmla="*/ 1149243 w 8124824"/>
              <a:gd name="connsiteY148" fmla="*/ 1088184 h 6857999"/>
              <a:gd name="connsiteX149" fmla="*/ 1049335 w 8124824"/>
              <a:gd name="connsiteY149" fmla="*/ 1058514 h 6857999"/>
              <a:gd name="connsiteX150" fmla="*/ 1024878 w 8124824"/>
              <a:gd name="connsiteY150" fmla="*/ 1071185 h 6857999"/>
              <a:gd name="connsiteX151" fmla="*/ 1173488 w 8124824"/>
              <a:gd name="connsiteY151" fmla="*/ 1171876 h 6857999"/>
              <a:gd name="connsiteX152" fmla="*/ 1211867 w 8124824"/>
              <a:gd name="connsiteY152" fmla="*/ 1172710 h 6857999"/>
              <a:gd name="connsiteX153" fmla="*/ 1670683 w 8124824"/>
              <a:gd name="connsiteY153" fmla="*/ 935611 h 6857999"/>
              <a:gd name="connsiteX154" fmla="*/ 1690706 w 8124824"/>
              <a:gd name="connsiteY154" fmla="*/ 872830 h 6857999"/>
              <a:gd name="connsiteX155" fmla="*/ 1645683 w 8124824"/>
              <a:gd name="connsiteY155" fmla="*/ 847722 h 6857999"/>
              <a:gd name="connsiteX156" fmla="*/ 2536950 w 8124824"/>
              <a:gd name="connsiteY156" fmla="*/ 805950 h 6857999"/>
              <a:gd name="connsiteX157" fmla="*/ 2536950 w 8124824"/>
              <a:gd name="connsiteY157" fmla="*/ 999352 h 6857999"/>
              <a:gd name="connsiteX158" fmla="*/ 2601034 w 8124824"/>
              <a:gd name="connsiteY158" fmla="*/ 999352 h 6857999"/>
              <a:gd name="connsiteX159" fmla="*/ 2346258 w 8124824"/>
              <a:gd name="connsiteY159" fmla="*/ 805950 h 6857999"/>
              <a:gd name="connsiteX160" fmla="*/ 2332388 w 8124824"/>
              <a:gd name="connsiteY160" fmla="*/ 847718 h 6857999"/>
              <a:gd name="connsiteX161" fmla="*/ 2325819 w 8124824"/>
              <a:gd name="connsiteY161" fmla="*/ 867688 h 6857999"/>
              <a:gd name="connsiteX162" fmla="*/ 2282225 w 8124824"/>
              <a:gd name="connsiteY162" fmla="*/ 999352 h 6857999"/>
              <a:gd name="connsiteX163" fmla="*/ 2503524 w 8124824"/>
              <a:gd name="connsiteY163" fmla="*/ 999352 h 6857999"/>
              <a:gd name="connsiteX164" fmla="*/ 2503524 w 8124824"/>
              <a:gd name="connsiteY164" fmla="*/ 805950 h 6857999"/>
              <a:gd name="connsiteX165" fmla="*/ 2503473 w 8124824"/>
              <a:gd name="connsiteY165" fmla="*/ 805950 h 6857999"/>
              <a:gd name="connsiteX166" fmla="*/ 6612948 w 8124824"/>
              <a:gd name="connsiteY166" fmla="*/ 788508 h 6857999"/>
              <a:gd name="connsiteX167" fmla="*/ 6612948 w 8124824"/>
              <a:gd name="connsiteY167" fmla="*/ 831997 h 6857999"/>
              <a:gd name="connsiteX168" fmla="*/ 6670932 w 8124824"/>
              <a:gd name="connsiteY168" fmla="*/ 831997 h 6857999"/>
              <a:gd name="connsiteX169" fmla="*/ 6670932 w 8124824"/>
              <a:gd name="connsiteY169" fmla="*/ 887373 h 6857999"/>
              <a:gd name="connsiteX170" fmla="*/ 6830388 w 8124824"/>
              <a:gd name="connsiteY170" fmla="*/ 887373 h 6857999"/>
              <a:gd name="connsiteX171" fmla="*/ 6830388 w 8124824"/>
              <a:gd name="connsiteY171" fmla="*/ 831997 h 6857999"/>
              <a:gd name="connsiteX172" fmla="*/ 6888374 w 8124824"/>
              <a:gd name="connsiteY172" fmla="*/ 831997 h 6857999"/>
              <a:gd name="connsiteX173" fmla="*/ 6888374 w 8124824"/>
              <a:gd name="connsiteY173" fmla="*/ 788508 h 6857999"/>
              <a:gd name="connsiteX174" fmla="*/ 5674131 w 8124824"/>
              <a:gd name="connsiteY174" fmla="*/ 779897 h 6857999"/>
              <a:gd name="connsiteX175" fmla="*/ 5828166 w 8124824"/>
              <a:gd name="connsiteY175" fmla="*/ 933931 h 6857999"/>
              <a:gd name="connsiteX176" fmla="*/ 5828166 w 8124824"/>
              <a:gd name="connsiteY176" fmla="*/ 934191 h 6857999"/>
              <a:gd name="connsiteX177" fmla="*/ 5800737 w 8124824"/>
              <a:gd name="connsiteY177" fmla="*/ 934191 h 6857999"/>
              <a:gd name="connsiteX178" fmla="*/ 5800737 w 8124824"/>
              <a:gd name="connsiteY178" fmla="*/ 933931 h 6857999"/>
              <a:gd name="connsiteX179" fmla="*/ 5674131 w 8124824"/>
              <a:gd name="connsiteY179" fmla="*/ 807324 h 6857999"/>
              <a:gd name="connsiteX180" fmla="*/ 5547577 w 8124824"/>
              <a:gd name="connsiteY180" fmla="*/ 933931 h 6857999"/>
              <a:gd name="connsiteX181" fmla="*/ 5547577 w 8124824"/>
              <a:gd name="connsiteY181" fmla="*/ 934191 h 6857999"/>
              <a:gd name="connsiteX182" fmla="*/ 5520150 w 8124824"/>
              <a:gd name="connsiteY182" fmla="*/ 934191 h 6857999"/>
              <a:gd name="connsiteX183" fmla="*/ 5520150 w 8124824"/>
              <a:gd name="connsiteY183" fmla="*/ 933931 h 6857999"/>
              <a:gd name="connsiteX184" fmla="*/ 5674131 w 8124824"/>
              <a:gd name="connsiteY184" fmla="*/ 779897 h 6857999"/>
              <a:gd name="connsiteX185" fmla="*/ 3593568 w 8124824"/>
              <a:gd name="connsiteY185" fmla="*/ 701471 h 6857999"/>
              <a:gd name="connsiteX186" fmla="*/ 3593568 w 8124824"/>
              <a:gd name="connsiteY186" fmla="*/ 817336 h 6857999"/>
              <a:gd name="connsiteX187" fmla="*/ 3631321 w 8124824"/>
              <a:gd name="connsiteY187" fmla="*/ 817336 h 6857999"/>
              <a:gd name="connsiteX188" fmla="*/ 3631321 w 8124824"/>
              <a:gd name="connsiteY188" fmla="*/ 701471 h 6857999"/>
              <a:gd name="connsiteX189" fmla="*/ 3407727 w 8124824"/>
              <a:gd name="connsiteY189" fmla="*/ 701471 h 6857999"/>
              <a:gd name="connsiteX190" fmla="*/ 3407727 w 8124824"/>
              <a:gd name="connsiteY190" fmla="*/ 817336 h 6857999"/>
              <a:gd name="connsiteX191" fmla="*/ 3445532 w 8124824"/>
              <a:gd name="connsiteY191" fmla="*/ 817336 h 6857999"/>
              <a:gd name="connsiteX192" fmla="*/ 3445532 w 8124824"/>
              <a:gd name="connsiteY192" fmla="*/ 701471 h 6857999"/>
              <a:gd name="connsiteX193" fmla="*/ 4658414 w 8124824"/>
              <a:gd name="connsiteY193" fmla="*/ 701330 h 6857999"/>
              <a:gd name="connsiteX194" fmla="*/ 4389090 w 8124824"/>
              <a:gd name="connsiteY194" fmla="*/ 1061593 h 6857999"/>
              <a:gd name="connsiteX195" fmla="*/ 4553344 w 8124824"/>
              <a:gd name="connsiteY195" fmla="*/ 1104351 h 6857999"/>
              <a:gd name="connsiteX196" fmla="*/ 4658414 w 8124824"/>
              <a:gd name="connsiteY196" fmla="*/ 701383 h 6857999"/>
              <a:gd name="connsiteX197" fmla="*/ 5673817 w 8124824"/>
              <a:gd name="connsiteY197" fmla="*/ 591083 h 6857999"/>
              <a:gd name="connsiteX198" fmla="*/ 5220320 w 8124824"/>
              <a:gd name="connsiteY198" fmla="*/ 1044841 h 6857999"/>
              <a:gd name="connsiteX199" fmla="*/ 5673817 w 8124824"/>
              <a:gd name="connsiteY199" fmla="*/ 1498599 h 6857999"/>
              <a:gd name="connsiteX200" fmla="*/ 6127316 w 8124824"/>
              <a:gd name="connsiteY200" fmla="*/ 1044841 h 6857999"/>
              <a:gd name="connsiteX201" fmla="*/ 5673817 w 8124824"/>
              <a:gd name="connsiteY201" fmla="*/ 591083 h 6857999"/>
              <a:gd name="connsiteX202" fmla="*/ 0 w 8124824"/>
              <a:gd name="connsiteY202" fmla="*/ 0 h 6857999"/>
              <a:gd name="connsiteX203" fmla="*/ 8124824 w 8124824"/>
              <a:gd name="connsiteY203" fmla="*/ 0 h 6857999"/>
              <a:gd name="connsiteX204" fmla="*/ 8124824 w 8124824"/>
              <a:gd name="connsiteY204" fmla="*/ 6857999 h 6857999"/>
              <a:gd name="connsiteX205" fmla="*/ 0 w 8124824"/>
              <a:gd name="connsiteY20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Lst>
            <a:rect l="l" t="t" r="r" b="b"/>
            <a:pathLst>
              <a:path w="8124824" h="6857999">
                <a:moveTo>
                  <a:pt x="3500648" y="1154291"/>
                </a:moveTo>
                <a:lnTo>
                  <a:pt x="3500648" y="1224425"/>
                </a:lnTo>
                <a:lnTo>
                  <a:pt x="3519525" y="1224425"/>
                </a:lnTo>
                <a:cubicBezTo>
                  <a:pt x="3560353" y="1224425"/>
                  <a:pt x="3593568" y="1257224"/>
                  <a:pt x="3593568" y="1297478"/>
                </a:cubicBezTo>
                <a:cubicBezTo>
                  <a:pt x="3593568" y="1337734"/>
                  <a:pt x="3560353" y="1370533"/>
                  <a:pt x="3519525" y="1370533"/>
                </a:cubicBezTo>
                <a:cubicBezTo>
                  <a:pt x="3478694" y="1370533"/>
                  <a:pt x="3445479" y="1337734"/>
                  <a:pt x="3445479" y="1297478"/>
                </a:cubicBezTo>
                <a:lnTo>
                  <a:pt x="3407727" y="1297478"/>
                </a:lnTo>
                <a:cubicBezTo>
                  <a:pt x="3407727" y="1358331"/>
                  <a:pt x="3457890" y="1407816"/>
                  <a:pt x="3519525" y="1407816"/>
                </a:cubicBezTo>
                <a:lnTo>
                  <a:pt x="3519525" y="1407868"/>
                </a:lnTo>
                <a:cubicBezTo>
                  <a:pt x="3581159" y="1407868"/>
                  <a:pt x="3631321" y="1358331"/>
                  <a:pt x="3631321" y="1297531"/>
                </a:cubicBezTo>
                <a:cubicBezTo>
                  <a:pt x="3631321" y="1243040"/>
                  <a:pt x="3591066" y="1197623"/>
                  <a:pt x="3538401" y="1188759"/>
                </a:cubicBezTo>
                <a:lnTo>
                  <a:pt x="3538401" y="1154291"/>
                </a:lnTo>
                <a:close/>
                <a:moveTo>
                  <a:pt x="1479209" y="1074105"/>
                </a:moveTo>
                <a:cubicBezTo>
                  <a:pt x="1464558" y="1081666"/>
                  <a:pt x="1417524" y="1105966"/>
                  <a:pt x="1408607" y="1110605"/>
                </a:cubicBezTo>
                <a:lnTo>
                  <a:pt x="1408554" y="1110658"/>
                </a:lnTo>
                <a:cubicBezTo>
                  <a:pt x="1408554" y="1111076"/>
                  <a:pt x="1408658" y="1112013"/>
                  <a:pt x="1408658" y="1112535"/>
                </a:cubicBezTo>
                <a:cubicBezTo>
                  <a:pt x="1408658" y="1112535"/>
                  <a:pt x="1408554" y="1112535"/>
                  <a:pt x="1408554" y="1112587"/>
                </a:cubicBezTo>
                <a:cubicBezTo>
                  <a:pt x="1410066" y="1137042"/>
                  <a:pt x="1416793" y="1250665"/>
                  <a:pt x="1418827" y="1286331"/>
                </a:cubicBezTo>
                <a:cubicBezTo>
                  <a:pt x="1420391" y="1285392"/>
                  <a:pt x="1421956" y="1284507"/>
                  <a:pt x="1423676" y="1283620"/>
                </a:cubicBezTo>
                <a:cubicBezTo>
                  <a:pt x="1442291" y="1273973"/>
                  <a:pt x="1450582" y="1259947"/>
                  <a:pt x="1454389" y="1231945"/>
                </a:cubicBezTo>
                <a:cubicBezTo>
                  <a:pt x="1461846" y="1175890"/>
                  <a:pt x="1470241" y="1127032"/>
                  <a:pt x="1479209" y="1076087"/>
                </a:cubicBezTo>
                <a:cubicBezTo>
                  <a:pt x="1479105" y="1076087"/>
                  <a:pt x="1478949" y="1076244"/>
                  <a:pt x="1478845" y="1076244"/>
                </a:cubicBezTo>
                <a:cubicBezTo>
                  <a:pt x="1479002" y="1075566"/>
                  <a:pt x="1479105" y="1074835"/>
                  <a:pt x="1479209" y="1074105"/>
                </a:cubicBezTo>
                <a:close/>
                <a:moveTo>
                  <a:pt x="6746854" y="1051836"/>
                </a:moveTo>
                <a:lnTo>
                  <a:pt x="6477373" y="1080255"/>
                </a:lnTo>
                <a:lnTo>
                  <a:pt x="6472315" y="1080777"/>
                </a:lnTo>
                <a:cubicBezTo>
                  <a:pt x="6467205" y="1081402"/>
                  <a:pt x="6464494" y="1086981"/>
                  <a:pt x="6466996" y="1091309"/>
                </a:cubicBezTo>
                <a:lnTo>
                  <a:pt x="6567060" y="1296184"/>
                </a:lnTo>
                <a:lnTo>
                  <a:pt x="6932017" y="1296184"/>
                </a:lnTo>
                <a:lnTo>
                  <a:pt x="7031978" y="1091309"/>
                </a:lnTo>
                <a:cubicBezTo>
                  <a:pt x="7034533" y="1086929"/>
                  <a:pt x="7031665" y="1081349"/>
                  <a:pt x="7026607" y="1080777"/>
                </a:cubicBezTo>
                <a:lnTo>
                  <a:pt x="7024261" y="1080568"/>
                </a:lnTo>
                <a:lnTo>
                  <a:pt x="6748053" y="1051992"/>
                </a:lnTo>
                <a:close/>
                <a:moveTo>
                  <a:pt x="5674131" y="1045050"/>
                </a:moveTo>
                <a:cubicBezTo>
                  <a:pt x="5687376" y="1045050"/>
                  <a:pt x="5699160" y="1051047"/>
                  <a:pt x="5707034" y="1060432"/>
                </a:cubicBezTo>
                <a:cubicBezTo>
                  <a:pt x="5710475" y="1064499"/>
                  <a:pt x="5713136" y="1069087"/>
                  <a:pt x="5714856" y="1074146"/>
                </a:cubicBezTo>
                <a:cubicBezTo>
                  <a:pt x="5716368" y="1078474"/>
                  <a:pt x="5717202" y="1083062"/>
                  <a:pt x="5717202" y="1087859"/>
                </a:cubicBezTo>
                <a:lnTo>
                  <a:pt x="5717099" y="1087859"/>
                </a:lnTo>
                <a:lnTo>
                  <a:pt x="5717099" y="1088068"/>
                </a:lnTo>
                <a:cubicBezTo>
                  <a:pt x="5717099" y="1101364"/>
                  <a:pt x="5711102" y="1113619"/>
                  <a:pt x="5700725" y="1121857"/>
                </a:cubicBezTo>
                <a:lnTo>
                  <a:pt x="5694625" y="1126602"/>
                </a:lnTo>
                <a:lnTo>
                  <a:pt x="5701143" y="1181771"/>
                </a:lnTo>
                <a:lnTo>
                  <a:pt x="5646964" y="1181771"/>
                </a:lnTo>
                <a:lnTo>
                  <a:pt x="5653378" y="1126602"/>
                </a:lnTo>
                <a:lnTo>
                  <a:pt x="5647382" y="1121857"/>
                </a:lnTo>
                <a:cubicBezTo>
                  <a:pt x="5636953" y="1113619"/>
                  <a:pt x="5631008" y="1101364"/>
                  <a:pt x="5631008" y="1088068"/>
                </a:cubicBezTo>
                <a:lnTo>
                  <a:pt x="5631008" y="1087859"/>
                </a:lnTo>
                <a:cubicBezTo>
                  <a:pt x="5631008" y="1083062"/>
                  <a:pt x="5631791" y="1078474"/>
                  <a:pt x="5633355" y="1074146"/>
                </a:cubicBezTo>
                <a:cubicBezTo>
                  <a:pt x="5635076" y="1069087"/>
                  <a:pt x="5637735" y="1064499"/>
                  <a:pt x="5641176" y="1060432"/>
                </a:cubicBezTo>
                <a:cubicBezTo>
                  <a:pt x="5649102" y="1051047"/>
                  <a:pt x="5660886" y="1045050"/>
                  <a:pt x="5674131" y="1045050"/>
                </a:cubicBezTo>
                <a:close/>
                <a:moveTo>
                  <a:pt x="2527407" y="1036166"/>
                </a:moveTo>
                <a:lnTo>
                  <a:pt x="2463323" y="1229673"/>
                </a:lnTo>
                <a:lnTo>
                  <a:pt x="2684621" y="1229673"/>
                </a:lnTo>
                <a:lnTo>
                  <a:pt x="2684621" y="1036166"/>
                </a:lnTo>
                <a:close/>
                <a:moveTo>
                  <a:pt x="2718046" y="1036114"/>
                </a:moveTo>
                <a:lnTo>
                  <a:pt x="2718046" y="1229620"/>
                </a:lnTo>
                <a:lnTo>
                  <a:pt x="2782130" y="1229620"/>
                </a:lnTo>
                <a:close/>
                <a:moveTo>
                  <a:pt x="2359190" y="1034967"/>
                </a:moveTo>
                <a:lnTo>
                  <a:pt x="2359190" y="1228368"/>
                </a:lnTo>
                <a:lnTo>
                  <a:pt x="2423275" y="1228368"/>
                </a:lnTo>
                <a:close/>
                <a:moveTo>
                  <a:pt x="2168552" y="1034967"/>
                </a:moveTo>
                <a:lnTo>
                  <a:pt x="2104466" y="1228368"/>
                </a:lnTo>
                <a:lnTo>
                  <a:pt x="2325766" y="1228368"/>
                </a:lnTo>
                <a:lnTo>
                  <a:pt x="2325766" y="1034967"/>
                </a:lnTo>
                <a:close/>
                <a:moveTo>
                  <a:pt x="5674131" y="1017621"/>
                </a:moveTo>
                <a:cubicBezTo>
                  <a:pt x="5645034" y="1017621"/>
                  <a:pt x="5620110" y="1035247"/>
                  <a:pt x="5609317" y="1060432"/>
                </a:cubicBezTo>
                <a:cubicBezTo>
                  <a:pt x="5607387" y="1064760"/>
                  <a:pt x="5605979" y="1069452"/>
                  <a:pt x="5604989" y="1074146"/>
                </a:cubicBezTo>
                <a:cubicBezTo>
                  <a:pt x="5604102" y="1078578"/>
                  <a:pt x="5603580" y="1083219"/>
                  <a:pt x="5603580" y="1087859"/>
                </a:cubicBezTo>
                <a:lnTo>
                  <a:pt x="5603580" y="1088068"/>
                </a:lnTo>
                <a:cubicBezTo>
                  <a:pt x="5603580" y="1107101"/>
                  <a:pt x="5611141" y="1124934"/>
                  <a:pt x="5624490" y="1138126"/>
                </a:cubicBezTo>
                <a:lnTo>
                  <a:pt x="5616198" y="1209251"/>
                </a:lnTo>
                <a:lnTo>
                  <a:pt x="5732064" y="1209251"/>
                </a:lnTo>
                <a:lnTo>
                  <a:pt x="5723720" y="1138126"/>
                </a:lnTo>
                <a:cubicBezTo>
                  <a:pt x="5737069" y="1124934"/>
                  <a:pt x="5744630" y="1107153"/>
                  <a:pt x="5744630" y="1088068"/>
                </a:cubicBezTo>
                <a:lnTo>
                  <a:pt x="5744630" y="1087859"/>
                </a:lnTo>
                <a:cubicBezTo>
                  <a:pt x="5744630" y="1083219"/>
                  <a:pt x="5744161" y="1078578"/>
                  <a:pt x="5743274" y="1074146"/>
                </a:cubicBezTo>
                <a:cubicBezTo>
                  <a:pt x="5742336" y="1069452"/>
                  <a:pt x="5740876" y="1064760"/>
                  <a:pt x="5738946" y="1060432"/>
                </a:cubicBezTo>
                <a:cubicBezTo>
                  <a:pt x="5728205" y="1035247"/>
                  <a:pt x="5703227" y="1017621"/>
                  <a:pt x="5674131" y="1017621"/>
                </a:cubicBezTo>
                <a:close/>
                <a:moveTo>
                  <a:pt x="6762601" y="1000370"/>
                </a:moveTo>
                <a:lnTo>
                  <a:pt x="6762601" y="1024356"/>
                </a:lnTo>
                <a:lnTo>
                  <a:pt x="6766511" y="1024774"/>
                </a:lnTo>
                <a:lnTo>
                  <a:pt x="6862874" y="1034784"/>
                </a:lnTo>
                <a:lnTo>
                  <a:pt x="6862874" y="1000370"/>
                </a:lnTo>
                <a:close/>
                <a:moveTo>
                  <a:pt x="6891866" y="1000317"/>
                </a:moveTo>
                <a:lnTo>
                  <a:pt x="6891866" y="1037704"/>
                </a:lnTo>
                <a:lnTo>
                  <a:pt x="6895048" y="1038069"/>
                </a:lnTo>
                <a:lnTo>
                  <a:pt x="6995321" y="1048447"/>
                </a:lnTo>
                <a:lnTo>
                  <a:pt x="6995321" y="1000317"/>
                </a:lnTo>
                <a:close/>
                <a:moveTo>
                  <a:pt x="6634170" y="1000317"/>
                </a:moveTo>
                <a:lnTo>
                  <a:pt x="6634170" y="1034524"/>
                </a:lnTo>
                <a:lnTo>
                  <a:pt x="6638811" y="1034106"/>
                </a:lnTo>
                <a:lnTo>
                  <a:pt x="6733662" y="1024096"/>
                </a:lnTo>
                <a:lnTo>
                  <a:pt x="6733662" y="1000317"/>
                </a:lnTo>
                <a:lnTo>
                  <a:pt x="6634222" y="1000317"/>
                </a:lnTo>
                <a:close/>
                <a:moveTo>
                  <a:pt x="6506418" y="1000317"/>
                </a:moveTo>
                <a:lnTo>
                  <a:pt x="6506418" y="1048029"/>
                </a:lnTo>
                <a:lnTo>
                  <a:pt x="6605127" y="1037653"/>
                </a:lnTo>
                <a:lnTo>
                  <a:pt x="6605127" y="1000317"/>
                </a:lnTo>
                <a:close/>
                <a:moveTo>
                  <a:pt x="4629579" y="974096"/>
                </a:moveTo>
                <a:lnTo>
                  <a:pt x="4519033" y="1398184"/>
                </a:lnTo>
                <a:lnTo>
                  <a:pt x="4802384" y="1019096"/>
                </a:lnTo>
                <a:lnTo>
                  <a:pt x="4629631" y="974096"/>
                </a:lnTo>
                <a:close/>
                <a:moveTo>
                  <a:pt x="5477235" y="961618"/>
                </a:moveTo>
                <a:lnTo>
                  <a:pt x="5871080" y="961618"/>
                </a:lnTo>
                <a:lnTo>
                  <a:pt x="5871080" y="1286111"/>
                </a:lnTo>
                <a:lnTo>
                  <a:pt x="5477235" y="1286111"/>
                </a:lnTo>
                <a:close/>
                <a:moveTo>
                  <a:pt x="3519732" y="923709"/>
                </a:moveTo>
                <a:cubicBezTo>
                  <a:pt x="3486517" y="923709"/>
                  <a:pt x="3459611" y="950667"/>
                  <a:pt x="3459611" y="983831"/>
                </a:cubicBezTo>
                <a:cubicBezTo>
                  <a:pt x="3459611" y="1016995"/>
                  <a:pt x="3486569" y="1043901"/>
                  <a:pt x="3519732" y="1043901"/>
                </a:cubicBezTo>
                <a:cubicBezTo>
                  <a:pt x="3552896" y="1043901"/>
                  <a:pt x="3579804" y="1016995"/>
                  <a:pt x="3579804" y="983831"/>
                </a:cubicBezTo>
                <a:cubicBezTo>
                  <a:pt x="3579804" y="950616"/>
                  <a:pt x="3552949" y="923709"/>
                  <a:pt x="3519732" y="923709"/>
                </a:cubicBezTo>
                <a:close/>
                <a:moveTo>
                  <a:pt x="6891866" y="916365"/>
                </a:moveTo>
                <a:lnTo>
                  <a:pt x="6891866" y="971325"/>
                </a:lnTo>
                <a:lnTo>
                  <a:pt x="6995321" y="971325"/>
                </a:lnTo>
                <a:lnTo>
                  <a:pt x="6995321" y="916365"/>
                </a:lnTo>
                <a:close/>
                <a:moveTo>
                  <a:pt x="6762601" y="916365"/>
                </a:moveTo>
                <a:lnTo>
                  <a:pt x="6762601" y="971325"/>
                </a:lnTo>
                <a:lnTo>
                  <a:pt x="6862874" y="971325"/>
                </a:lnTo>
                <a:lnTo>
                  <a:pt x="6862874" y="916365"/>
                </a:lnTo>
                <a:close/>
                <a:moveTo>
                  <a:pt x="6634170" y="916365"/>
                </a:moveTo>
                <a:lnTo>
                  <a:pt x="6634170" y="971325"/>
                </a:lnTo>
                <a:lnTo>
                  <a:pt x="6733609" y="971325"/>
                </a:lnTo>
                <a:lnTo>
                  <a:pt x="6733609" y="916365"/>
                </a:lnTo>
                <a:close/>
                <a:moveTo>
                  <a:pt x="6506469" y="916365"/>
                </a:moveTo>
                <a:lnTo>
                  <a:pt x="6506469" y="971325"/>
                </a:lnTo>
                <a:lnTo>
                  <a:pt x="6605178" y="971325"/>
                </a:lnTo>
                <a:lnTo>
                  <a:pt x="6605178" y="916365"/>
                </a:lnTo>
                <a:close/>
                <a:moveTo>
                  <a:pt x="3519732" y="886166"/>
                </a:moveTo>
                <a:cubicBezTo>
                  <a:pt x="3573702" y="886166"/>
                  <a:pt x="3617398" y="929863"/>
                  <a:pt x="3617398" y="983780"/>
                </a:cubicBezTo>
                <a:cubicBezTo>
                  <a:pt x="3617398" y="1037697"/>
                  <a:pt x="3573702" y="1081446"/>
                  <a:pt x="3519732" y="1081446"/>
                </a:cubicBezTo>
                <a:cubicBezTo>
                  <a:pt x="3465764" y="1081446"/>
                  <a:pt x="3422066" y="1037749"/>
                  <a:pt x="3422066" y="983780"/>
                </a:cubicBezTo>
                <a:cubicBezTo>
                  <a:pt x="3422066" y="929811"/>
                  <a:pt x="3465764" y="886166"/>
                  <a:pt x="3519732" y="886166"/>
                </a:cubicBezTo>
                <a:close/>
                <a:moveTo>
                  <a:pt x="3324452" y="854671"/>
                </a:moveTo>
                <a:lnTo>
                  <a:pt x="3382905" y="1116643"/>
                </a:lnTo>
                <a:lnTo>
                  <a:pt x="3656090" y="1116643"/>
                </a:lnTo>
                <a:lnTo>
                  <a:pt x="3714595" y="854671"/>
                </a:lnTo>
                <a:lnTo>
                  <a:pt x="3324505" y="854671"/>
                </a:lnTo>
                <a:close/>
                <a:moveTo>
                  <a:pt x="1116267" y="850675"/>
                </a:moveTo>
                <a:cubicBezTo>
                  <a:pt x="1106823" y="851242"/>
                  <a:pt x="1098610" y="854501"/>
                  <a:pt x="1090163" y="860785"/>
                </a:cubicBezTo>
                <a:cubicBezTo>
                  <a:pt x="1088702" y="861827"/>
                  <a:pt x="1087399" y="863027"/>
                  <a:pt x="1085782" y="864695"/>
                </a:cubicBezTo>
                <a:cubicBezTo>
                  <a:pt x="1085782" y="864695"/>
                  <a:pt x="1255981" y="964863"/>
                  <a:pt x="1294150" y="986346"/>
                </a:cubicBezTo>
                <a:lnTo>
                  <a:pt x="1294150" y="986295"/>
                </a:lnTo>
                <a:lnTo>
                  <a:pt x="1396144" y="932117"/>
                </a:lnTo>
                <a:cubicBezTo>
                  <a:pt x="1375391" y="925911"/>
                  <a:pt x="1172551" y="864330"/>
                  <a:pt x="1149764" y="856716"/>
                </a:cubicBezTo>
                <a:cubicBezTo>
                  <a:pt x="1136389" y="852232"/>
                  <a:pt x="1125712" y="850108"/>
                  <a:pt x="1116267" y="850675"/>
                </a:cubicBezTo>
                <a:close/>
                <a:moveTo>
                  <a:pt x="1645683" y="847722"/>
                </a:moveTo>
                <a:cubicBezTo>
                  <a:pt x="1639644" y="848188"/>
                  <a:pt x="1633595" y="849847"/>
                  <a:pt x="1627872" y="852806"/>
                </a:cubicBezTo>
                <a:cubicBezTo>
                  <a:pt x="1626881" y="853327"/>
                  <a:pt x="1211190" y="1068161"/>
                  <a:pt x="1175522" y="1086568"/>
                </a:cubicBezTo>
                <a:cubicBezTo>
                  <a:pt x="1164677" y="1092147"/>
                  <a:pt x="1152632" y="1089123"/>
                  <a:pt x="1149243" y="1088184"/>
                </a:cubicBezTo>
                <a:cubicBezTo>
                  <a:pt x="1132921" y="1083334"/>
                  <a:pt x="1049335" y="1058514"/>
                  <a:pt x="1049335" y="1058514"/>
                </a:cubicBezTo>
                <a:cubicBezTo>
                  <a:pt x="1040416" y="1063155"/>
                  <a:pt x="1033273" y="1066805"/>
                  <a:pt x="1024878" y="1071185"/>
                </a:cubicBezTo>
                <a:cubicBezTo>
                  <a:pt x="1024878" y="1071185"/>
                  <a:pt x="1131095" y="1143091"/>
                  <a:pt x="1173488" y="1171876"/>
                </a:cubicBezTo>
                <a:cubicBezTo>
                  <a:pt x="1185952" y="1180322"/>
                  <a:pt x="1196068" y="1180792"/>
                  <a:pt x="1211867" y="1172710"/>
                </a:cubicBezTo>
                <a:cubicBezTo>
                  <a:pt x="1243153" y="1156649"/>
                  <a:pt x="1653424" y="944475"/>
                  <a:pt x="1670683" y="935611"/>
                </a:cubicBezTo>
                <a:cubicBezTo>
                  <a:pt x="1693522" y="923878"/>
                  <a:pt x="1702491" y="895668"/>
                  <a:pt x="1690706" y="872830"/>
                </a:cubicBezTo>
                <a:cubicBezTo>
                  <a:pt x="1681828" y="855661"/>
                  <a:pt x="1663800" y="846324"/>
                  <a:pt x="1645683" y="847722"/>
                </a:cubicBezTo>
                <a:close/>
                <a:moveTo>
                  <a:pt x="2536950" y="805950"/>
                </a:moveTo>
                <a:lnTo>
                  <a:pt x="2536950" y="999352"/>
                </a:lnTo>
                <a:lnTo>
                  <a:pt x="2601034" y="999352"/>
                </a:lnTo>
                <a:close/>
                <a:moveTo>
                  <a:pt x="2346258" y="805950"/>
                </a:moveTo>
                <a:lnTo>
                  <a:pt x="2332388" y="847718"/>
                </a:lnTo>
                <a:lnTo>
                  <a:pt x="2325819" y="867688"/>
                </a:lnTo>
                <a:lnTo>
                  <a:pt x="2282225" y="999352"/>
                </a:lnTo>
                <a:lnTo>
                  <a:pt x="2503524" y="999352"/>
                </a:lnTo>
                <a:lnTo>
                  <a:pt x="2503524" y="805950"/>
                </a:lnTo>
                <a:lnTo>
                  <a:pt x="2503473" y="805950"/>
                </a:lnTo>
                <a:close/>
                <a:moveTo>
                  <a:pt x="6612948" y="788508"/>
                </a:moveTo>
                <a:lnTo>
                  <a:pt x="6612948" y="831997"/>
                </a:lnTo>
                <a:lnTo>
                  <a:pt x="6670932" y="831997"/>
                </a:lnTo>
                <a:lnTo>
                  <a:pt x="6670932" y="887373"/>
                </a:lnTo>
                <a:lnTo>
                  <a:pt x="6830388" y="887373"/>
                </a:lnTo>
                <a:lnTo>
                  <a:pt x="6830388" y="831997"/>
                </a:lnTo>
                <a:lnTo>
                  <a:pt x="6888374" y="831997"/>
                </a:lnTo>
                <a:lnTo>
                  <a:pt x="6888374" y="788508"/>
                </a:lnTo>
                <a:close/>
                <a:moveTo>
                  <a:pt x="5674131" y="779897"/>
                </a:moveTo>
                <a:cubicBezTo>
                  <a:pt x="5759021" y="779897"/>
                  <a:pt x="5828166" y="849039"/>
                  <a:pt x="5828166" y="933931"/>
                </a:cubicBezTo>
                <a:lnTo>
                  <a:pt x="5828166" y="934191"/>
                </a:lnTo>
                <a:lnTo>
                  <a:pt x="5800737" y="934191"/>
                </a:lnTo>
                <a:lnTo>
                  <a:pt x="5800737" y="933931"/>
                </a:lnTo>
                <a:cubicBezTo>
                  <a:pt x="5800737" y="864109"/>
                  <a:pt x="5743952" y="807324"/>
                  <a:pt x="5674131" y="807324"/>
                </a:cubicBezTo>
                <a:cubicBezTo>
                  <a:pt x="5604311" y="807324"/>
                  <a:pt x="5547577" y="864109"/>
                  <a:pt x="5547577" y="933931"/>
                </a:cubicBezTo>
                <a:lnTo>
                  <a:pt x="5547577" y="934191"/>
                </a:lnTo>
                <a:lnTo>
                  <a:pt x="5520150" y="934191"/>
                </a:lnTo>
                <a:lnTo>
                  <a:pt x="5520150" y="933931"/>
                </a:lnTo>
                <a:cubicBezTo>
                  <a:pt x="5520150" y="849039"/>
                  <a:pt x="5589240" y="779897"/>
                  <a:pt x="5674131" y="779897"/>
                </a:cubicBezTo>
                <a:close/>
                <a:moveTo>
                  <a:pt x="3593568" y="701471"/>
                </a:moveTo>
                <a:lnTo>
                  <a:pt x="3593568" y="817336"/>
                </a:lnTo>
                <a:cubicBezTo>
                  <a:pt x="3593568" y="817336"/>
                  <a:pt x="3631321" y="817336"/>
                  <a:pt x="3631321" y="817336"/>
                </a:cubicBezTo>
                <a:lnTo>
                  <a:pt x="3631321" y="701471"/>
                </a:lnTo>
                <a:close/>
                <a:moveTo>
                  <a:pt x="3407727" y="701471"/>
                </a:moveTo>
                <a:lnTo>
                  <a:pt x="3407727" y="817336"/>
                </a:lnTo>
                <a:lnTo>
                  <a:pt x="3445532" y="817336"/>
                </a:lnTo>
                <a:lnTo>
                  <a:pt x="3445532" y="701471"/>
                </a:lnTo>
                <a:close/>
                <a:moveTo>
                  <a:pt x="4658414" y="701330"/>
                </a:moveTo>
                <a:lnTo>
                  <a:pt x="4389090" y="1061593"/>
                </a:lnTo>
                <a:lnTo>
                  <a:pt x="4553344" y="1104351"/>
                </a:lnTo>
                <a:lnTo>
                  <a:pt x="4658414" y="701383"/>
                </a:lnTo>
                <a:close/>
                <a:moveTo>
                  <a:pt x="5673817" y="591083"/>
                </a:moveTo>
                <a:cubicBezTo>
                  <a:pt x="5423369" y="591083"/>
                  <a:pt x="5220320" y="794237"/>
                  <a:pt x="5220320" y="1044841"/>
                </a:cubicBezTo>
                <a:cubicBezTo>
                  <a:pt x="5220320" y="1295445"/>
                  <a:pt x="5423369" y="1498599"/>
                  <a:pt x="5673817" y="1498599"/>
                </a:cubicBezTo>
                <a:cubicBezTo>
                  <a:pt x="5924265" y="1498599"/>
                  <a:pt x="6127316" y="1295445"/>
                  <a:pt x="6127316" y="1044841"/>
                </a:cubicBezTo>
                <a:cubicBezTo>
                  <a:pt x="6127316" y="794237"/>
                  <a:pt x="5924265" y="591083"/>
                  <a:pt x="5673817" y="591083"/>
                </a:cubicBezTo>
                <a:close/>
                <a:moveTo>
                  <a:pt x="0" y="0"/>
                </a:moveTo>
                <a:lnTo>
                  <a:pt x="8124824" y="0"/>
                </a:lnTo>
                <a:lnTo>
                  <a:pt x="8124824" y="6857999"/>
                </a:lnTo>
                <a:lnTo>
                  <a:pt x="0" y="6857999"/>
                </a:lnTo>
                <a:close/>
              </a:path>
            </a:pathLst>
          </a:custGeom>
          <a:solidFill>
            <a:schemeClr val="tx1"/>
          </a:solidFill>
        </p:spPr>
        <p:txBody>
          <a:bodyPr vert="horz" wrap="square" lIns="0" tIns="45720" rIns="0" bIns="45720" rtlCol="0" anchor="ctr">
            <a:noAutofit/>
          </a:bodyPr>
          <a:lstStyle>
            <a:lvl1pPr algn="ctr">
              <a:defRPr lang="en-GB" sz="2800" b="0" dirty="0">
                <a:solidFill>
                  <a:schemeClr val="bg1"/>
                </a:solidFill>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US" dirty="0"/>
              <a:t>ADD RELATED IMAGE </a:t>
            </a:r>
            <a:br>
              <a:rPr lang="en-US" dirty="0"/>
            </a:br>
            <a:r>
              <a:rPr lang="en-US" dirty="0"/>
              <a:t>FROM HFW IMAGE LIBRARY</a:t>
            </a:r>
            <a:endParaRPr lang="en-GB" dirty="0"/>
          </a:p>
        </p:txBody>
      </p:sp>
      <p:sp>
        <p:nvSpPr>
          <p:cNvPr id="9" name="Rectangle 8">
            <a:extLst>
              <a:ext uri="{FF2B5EF4-FFF2-40B4-BE49-F238E27FC236}">
                <a16:creationId xmlns:a16="http://schemas.microsoft.com/office/drawing/2014/main" id="{708FD88D-9C74-4D94-62A5-47E768F9DCD7}"/>
              </a:ext>
            </a:extLst>
          </p:cNvPr>
          <p:cNvSpPr/>
          <p:nvPr userDrawn="1"/>
        </p:nvSpPr>
        <p:spPr>
          <a:xfrm>
            <a:off x="0" y="0"/>
            <a:ext cx="406717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Text Placeholder 12">
            <a:extLst>
              <a:ext uri="{FF2B5EF4-FFF2-40B4-BE49-F238E27FC236}">
                <a16:creationId xmlns:a16="http://schemas.microsoft.com/office/drawing/2014/main" id="{BBA3AA40-3440-5851-3972-390D3DEB2219}"/>
              </a:ext>
            </a:extLst>
          </p:cNvPr>
          <p:cNvSpPr>
            <a:spLocks noGrp="1"/>
          </p:cNvSpPr>
          <p:nvPr>
            <p:ph type="body" sz="quarter" idx="14" hasCustomPrompt="1"/>
          </p:nvPr>
        </p:nvSpPr>
        <p:spPr>
          <a:xfrm>
            <a:off x="508939" y="5989638"/>
            <a:ext cx="3387140" cy="230187"/>
          </a:xfrm>
        </p:spPr>
        <p:txBody>
          <a:bodyPr tIns="0" bIns="0">
            <a:noAutofit/>
          </a:bodyPr>
          <a:lstStyle>
            <a:lvl1pPr>
              <a:defRPr sz="1400">
                <a:solidFill>
                  <a:schemeClr val="accent2"/>
                </a:solidFill>
                <a:latin typeface="+mj-lt"/>
              </a:defRPr>
            </a:lvl1pPr>
            <a:lvl2pPr>
              <a:defRPr>
                <a:solidFill>
                  <a:schemeClr val="bg1"/>
                </a:solidFill>
                <a:latin typeface="+mn-lt"/>
              </a:defRPr>
            </a:lvl2pPr>
            <a:lvl3pPr>
              <a:defRPr>
                <a:solidFill>
                  <a:schemeClr val="bg1"/>
                </a:solidFill>
                <a:latin typeface="+mn-lt"/>
              </a:defRPr>
            </a:lvl3pPr>
            <a:lvl4pPr>
              <a:defRPr>
                <a:solidFill>
                  <a:schemeClr val="bg1"/>
                </a:solidFill>
                <a:latin typeface="+mn-lt"/>
              </a:defRPr>
            </a:lvl4pPr>
            <a:lvl5pPr>
              <a:defRPr>
                <a:solidFill>
                  <a:schemeClr val="bg1"/>
                </a:solidFill>
                <a:latin typeface="+mn-lt"/>
              </a:defRPr>
            </a:lvl5pPr>
          </a:lstStyle>
          <a:p>
            <a:pPr lvl="0"/>
            <a:r>
              <a:rPr lang="en-US" dirty="0"/>
              <a:t>DAY MONTH YEAR</a:t>
            </a:r>
            <a:endParaRPr lang="en-GB" dirty="0"/>
          </a:p>
        </p:txBody>
      </p:sp>
      <p:sp>
        <p:nvSpPr>
          <p:cNvPr id="4" name="TextBox 4">
            <a:extLst>
              <a:ext uri="{FF2B5EF4-FFF2-40B4-BE49-F238E27FC236}">
                <a16:creationId xmlns:a16="http://schemas.microsoft.com/office/drawing/2014/main" id="{265B2CA7-EDCD-E4A1-AC81-AB1BF0FA5D17}"/>
              </a:ext>
            </a:extLst>
          </p:cNvPr>
          <p:cNvSpPr txBox="1"/>
          <p:nvPr userDrawn="1"/>
        </p:nvSpPr>
        <p:spPr>
          <a:xfrm>
            <a:off x="12346713" y="109538"/>
            <a:ext cx="1934437" cy="31700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INSERTING IMAGES:</a:t>
            </a:r>
          </a:p>
          <a:p>
            <a:pPr marL="179388" indent="-179388">
              <a:spcBef>
                <a:spcPts val="200"/>
              </a:spcBef>
              <a:spcAft>
                <a:spcPts val="200"/>
              </a:spcAft>
              <a:buFont typeface="+mj-lt"/>
              <a:buAutoNum type="arabicPeriod"/>
            </a:pPr>
            <a:r>
              <a:rPr lang="en-US" sz="900" dirty="0">
                <a:solidFill>
                  <a:schemeClr val="tx1"/>
                </a:solidFill>
                <a:latin typeface="+mn-lt"/>
              </a:rPr>
              <a:t>Simply click the image placeholder and select your image.</a:t>
            </a:r>
          </a:p>
          <a:p>
            <a:pPr marL="179388" indent="-179388">
              <a:spcBef>
                <a:spcPts val="200"/>
              </a:spcBef>
              <a:spcAft>
                <a:spcPts val="200"/>
              </a:spcAft>
              <a:buFont typeface="+mj-lt"/>
              <a:buAutoNum type="arabicPeriod"/>
            </a:pPr>
            <a:r>
              <a:rPr lang="en-US" sz="900" dirty="0">
                <a:solidFill>
                  <a:schemeClr val="tx1"/>
                </a:solidFill>
                <a:latin typeface="+mn-lt"/>
              </a:rPr>
              <a:t>Once your image is inserted into the shape it may be distorted. (Stretched or Squashed)</a:t>
            </a:r>
          </a:p>
          <a:p>
            <a:pPr marL="179388" indent="-179388">
              <a:spcBef>
                <a:spcPts val="200"/>
              </a:spcBef>
              <a:spcAft>
                <a:spcPts val="200"/>
              </a:spcAft>
              <a:buFont typeface="+mj-lt"/>
              <a:buAutoNum type="arabicPeriod"/>
            </a:pPr>
            <a:endParaRPr lang="en-US" sz="900" dirty="0">
              <a:solidFill>
                <a:schemeClr val="tx1"/>
              </a:solidFill>
              <a:latin typeface="+mn-lt"/>
            </a:endParaRPr>
          </a:p>
          <a:p>
            <a:pPr>
              <a:spcBef>
                <a:spcPts val="200"/>
              </a:spcBef>
              <a:spcAft>
                <a:spcPts val="200"/>
              </a:spcAft>
            </a:pPr>
            <a:r>
              <a:rPr lang="en-US" sz="900" b="1" dirty="0">
                <a:solidFill>
                  <a:schemeClr val="tx1"/>
                </a:solidFill>
                <a:latin typeface="+mn-lt"/>
              </a:rPr>
              <a:t>To fix this:</a:t>
            </a:r>
          </a:p>
          <a:p>
            <a:pPr marL="179388" indent="-179388">
              <a:spcBef>
                <a:spcPts val="200"/>
              </a:spcBef>
              <a:spcAft>
                <a:spcPts val="200"/>
              </a:spcAft>
              <a:buFont typeface="+mj-lt"/>
              <a:buAutoNum type="arabicPeriod"/>
            </a:pPr>
            <a:r>
              <a:rPr lang="en-US" sz="900" dirty="0">
                <a:solidFill>
                  <a:schemeClr val="tx1"/>
                </a:solidFill>
                <a:latin typeface="+mn-lt"/>
              </a:rPr>
              <a:t>Click on the image and from the top menu under </a:t>
            </a:r>
            <a:r>
              <a:rPr lang="en-US" sz="900" b="1" dirty="0">
                <a:solidFill>
                  <a:schemeClr val="tx1"/>
                </a:solidFill>
                <a:latin typeface="+mn-lt"/>
              </a:rPr>
              <a:t>PICTURE FORMAT </a:t>
            </a:r>
            <a:r>
              <a:rPr lang="en-US" sz="900" dirty="0">
                <a:solidFill>
                  <a:schemeClr val="tx1"/>
                </a:solidFill>
                <a:latin typeface="+mn-lt"/>
              </a:rPr>
              <a:t>select the </a:t>
            </a:r>
            <a:r>
              <a:rPr lang="en-US" sz="900" b="1" dirty="0">
                <a:solidFill>
                  <a:schemeClr val="tx1"/>
                </a:solidFill>
                <a:latin typeface="+mn-lt"/>
              </a:rPr>
              <a:t>CROP</a:t>
            </a:r>
            <a:r>
              <a:rPr lang="en-US" sz="900" dirty="0">
                <a:solidFill>
                  <a:schemeClr val="tx1"/>
                </a:solidFill>
                <a:latin typeface="+mn-lt"/>
              </a:rPr>
              <a:t> on the right and from the drop down menu select </a:t>
            </a:r>
            <a:r>
              <a:rPr lang="en-US" sz="900" b="1" kern="1200" dirty="0">
                <a:solidFill>
                  <a:schemeClr val="tx1"/>
                </a:solidFill>
                <a:latin typeface="+mn-lt"/>
                <a:ea typeface="+mn-ea"/>
                <a:cs typeface="+mn-cs"/>
              </a:rPr>
              <a:t>FILL</a:t>
            </a:r>
          </a:p>
          <a:p>
            <a:pPr marL="179388" indent="-179388">
              <a:spcBef>
                <a:spcPts val="200"/>
              </a:spcBef>
              <a:spcAft>
                <a:spcPts val="200"/>
              </a:spcAft>
              <a:buFont typeface="+mj-lt"/>
              <a:buAutoNum type="arabicPeriod"/>
            </a:pPr>
            <a:r>
              <a:rPr lang="en-US" sz="900" b="0" kern="1200" dirty="0">
                <a:solidFill>
                  <a:schemeClr val="tx1"/>
                </a:solidFill>
                <a:latin typeface="+mn-lt"/>
                <a:ea typeface="+mn-ea"/>
                <a:cs typeface="+mn-cs"/>
              </a:rPr>
              <a:t>From here you can move the image within the shape for best visual appearance</a:t>
            </a:r>
          </a:p>
        </p:txBody>
      </p:sp>
      <p:sp>
        <p:nvSpPr>
          <p:cNvPr id="10" name="Title 1">
            <a:extLst>
              <a:ext uri="{FF2B5EF4-FFF2-40B4-BE49-F238E27FC236}">
                <a16:creationId xmlns:a16="http://schemas.microsoft.com/office/drawing/2014/main" id="{1D9960C9-AE88-FF64-7340-9EC8DF655E87}"/>
              </a:ext>
            </a:extLst>
          </p:cNvPr>
          <p:cNvSpPr>
            <a:spLocks noGrp="1"/>
          </p:cNvSpPr>
          <p:nvPr>
            <p:ph type="ctrTitle" hasCustomPrompt="1"/>
          </p:nvPr>
        </p:nvSpPr>
        <p:spPr>
          <a:xfrm>
            <a:off x="508939" y="2430692"/>
            <a:ext cx="2792526" cy="2387600"/>
          </a:xfrm>
        </p:spPr>
        <p:txBody>
          <a:bodyPr vert="horz" lIns="0" tIns="0" rIns="0" bIns="0" rtlCol="0" anchor="t" anchorCtr="0">
            <a:noAutofit/>
          </a:bodyPr>
          <a:lstStyle>
            <a:lvl1pPr>
              <a:lnSpc>
                <a:spcPct val="100000"/>
              </a:lnSpc>
              <a:defRPr lang="en-US" sz="3300" dirty="0">
                <a:solidFill>
                  <a:schemeClr val="bg1"/>
                </a:solidFill>
              </a:defRPr>
            </a:lvl1pPr>
          </a:lstStyle>
          <a:p>
            <a:pPr lvl="0"/>
            <a:r>
              <a:rPr lang="en-US" dirty="0"/>
              <a:t>PROPOSAL TO [CLIENT] FOR LEGAL SERVICES</a:t>
            </a:r>
          </a:p>
        </p:txBody>
      </p:sp>
      <p:sp>
        <p:nvSpPr>
          <p:cNvPr id="2" name="Graphic 13">
            <a:extLst>
              <a:ext uri="{FF2B5EF4-FFF2-40B4-BE49-F238E27FC236}">
                <a16:creationId xmlns:a16="http://schemas.microsoft.com/office/drawing/2014/main" id="{CFFA5D97-5066-3517-3222-0107BC454F60}"/>
              </a:ext>
            </a:extLst>
          </p:cNvPr>
          <p:cNvSpPr>
            <a:spLocks noGrp="1" noRot="1" noMove="1" noResize="1" noEditPoints="1" noAdjustHandles="1" noChangeArrowheads="1" noChangeShapeType="1"/>
          </p:cNvSpPr>
          <p:nvPr userDrawn="1"/>
        </p:nvSpPr>
        <p:spPr>
          <a:xfrm>
            <a:off x="585463" y="588011"/>
            <a:ext cx="1522695" cy="922576"/>
          </a:xfrm>
          <a:custGeom>
            <a:avLst/>
            <a:gdLst>
              <a:gd name="connsiteX0" fmla="*/ 618149 w 1522695"/>
              <a:gd name="connsiteY0" fmla="*/ 39943 h 922576"/>
              <a:gd name="connsiteX1" fmla="*/ 421345 w 1522695"/>
              <a:gd name="connsiteY1" fmla="*/ 876531 h 922576"/>
              <a:gd name="connsiteX2" fmla="*/ 388753 w 1522695"/>
              <a:gd name="connsiteY2" fmla="*/ 915365 h 922576"/>
              <a:gd name="connsiteX3" fmla="*/ 349364 w 1522695"/>
              <a:gd name="connsiteY3" fmla="*/ 922577 h 922576"/>
              <a:gd name="connsiteX4" fmla="*/ 328006 w 1522695"/>
              <a:gd name="connsiteY4" fmla="*/ 897196 h 922576"/>
              <a:gd name="connsiteX5" fmla="*/ 431608 w 1522695"/>
              <a:gd name="connsiteY5" fmla="*/ 465033 h 922576"/>
              <a:gd name="connsiteX6" fmla="*/ 224958 w 1522695"/>
              <a:gd name="connsiteY6" fmla="*/ 504838 h 922576"/>
              <a:gd name="connsiteX7" fmla="*/ 185292 w 1522695"/>
              <a:gd name="connsiteY7" fmla="*/ 702473 h 922576"/>
              <a:gd name="connsiteX8" fmla="*/ 159634 w 1522695"/>
              <a:gd name="connsiteY8" fmla="*/ 738117 h 922576"/>
              <a:gd name="connsiteX9" fmla="*/ 102771 w 1522695"/>
              <a:gd name="connsiteY9" fmla="*/ 719671 h 922576"/>
              <a:gd name="connsiteX10" fmla="*/ 150203 w 1522695"/>
              <a:gd name="connsiteY10" fmla="*/ 519816 h 922576"/>
              <a:gd name="connsiteX11" fmla="*/ 62411 w 1522695"/>
              <a:gd name="connsiteY11" fmla="*/ 533547 h 922576"/>
              <a:gd name="connsiteX12" fmla="*/ 0 w 1522695"/>
              <a:gd name="connsiteY12" fmla="*/ 507750 h 922576"/>
              <a:gd name="connsiteX13" fmla="*/ 163795 w 1522695"/>
              <a:gd name="connsiteY13" fmla="*/ 465588 h 922576"/>
              <a:gd name="connsiteX14" fmla="*/ 234805 w 1522695"/>
              <a:gd name="connsiteY14" fmla="*/ 162547 h 922576"/>
              <a:gd name="connsiteX15" fmla="*/ 258244 w 1522695"/>
              <a:gd name="connsiteY15" fmla="*/ 135502 h 922576"/>
              <a:gd name="connsiteX16" fmla="*/ 300961 w 1522695"/>
              <a:gd name="connsiteY16" fmla="*/ 126625 h 922576"/>
              <a:gd name="connsiteX17" fmla="*/ 316772 w 1522695"/>
              <a:gd name="connsiteY17" fmla="*/ 149232 h 922576"/>
              <a:gd name="connsiteX18" fmla="*/ 239104 w 1522695"/>
              <a:gd name="connsiteY18" fmla="*/ 449084 h 922576"/>
              <a:gd name="connsiteX19" fmla="*/ 447697 w 1522695"/>
              <a:gd name="connsiteY19" fmla="*/ 404564 h 922576"/>
              <a:gd name="connsiteX20" fmla="*/ 542839 w 1522695"/>
              <a:gd name="connsiteY20" fmla="*/ 34950 h 922576"/>
              <a:gd name="connsiteX21" fmla="*/ 557402 w 1522695"/>
              <a:gd name="connsiteY21" fmla="*/ 6935 h 922576"/>
              <a:gd name="connsiteX22" fmla="*/ 592907 w 1522695"/>
              <a:gd name="connsiteY22" fmla="*/ 0 h 922576"/>
              <a:gd name="connsiteX23" fmla="*/ 620506 w 1522695"/>
              <a:gd name="connsiteY23" fmla="*/ 25381 h 922576"/>
              <a:gd name="connsiteX24" fmla="*/ 618426 w 1522695"/>
              <a:gd name="connsiteY24" fmla="*/ 40359 h 922576"/>
              <a:gd name="connsiteX25" fmla="*/ 845048 w 1522695"/>
              <a:gd name="connsiteY25" fmla="*/ 445755 h 922576"/>
              <a:gd name="connsiteX26" fmla="*/ 684582 w 1522695"/>
              <a:gd name="connsiteY26" fmla="*/ 476544 h 922576"/>
              <a:gd name="connsiteX27" fmla="*/ 729241 w 1522695"/>
              <a:gd name="connsiteY27" fmla="*/ 311918 h 922576"/>
              <a:gd name="connsiteX28" fmla="*/ 1087204 w 1522695"/>
              <a:gd name="connsiteY28" fmla="*/ 231060 h 922576"/>
              <a:gd name="connsiteX29" fmla="*/ 1110643 w 1522695"/>
              <a:gd name="connsiteY29" fmla="*/ 218994 h 922576"/>
              <a:gd name="connsiteX30" fmla="*/ 1053363 w 1522695"/>
              <a:gd name="connsiteY30" fmla="*/ 185708 h 922576"/>
              <a:gd name="connsiteX31" fmla="*/ 1029785 w 1522695"/>
              <a:gd name="connsiteY31" fmla="*/ 187927 h 922576"/>
              <a:gd name="connsiteX32" fmla="*/ 636872 w 1522695"/>
              <a:gd name="connsiteY32" fmla="*/ 267536 h 922576"/>
              <a:gd name="connsiteX33" fmla="*/ 610798 w 1522695"/>
              <a:gd name="connsiteY33" fmla="*/ 284595 h 922576"/>
              <a:gd name="connsiteX34" fmla="*/ 652683 w 1522695"/>
              <a:gd name="connsiteY34" fmla="*/ 321210 h 922576"/>
              <a:gd name="connsiteX35" fmla="*/ 524948 w 1522695"/>
              <a:gd name="connsiteY35" fmla="*/ 802192 h 922576"/>
              <a:gd name="connsiteX36" fmla="*/ 537569 w 1522695"/>
              <a:gd name="connsiteY36" fmla="*/ 815646 h 922576"/>
              <a:gd name="connsiteX37" fmla="*/ 595542 w 1522695"/>
              <a:gd name="connsiteY37" fmla="*/ 802886 h 922576"/>
              <a:gd name="connsiteX38" fmla="*/ 616762 w 1522695"/>
              <a:gd name="connsiteY38" fmla="*/ 763914 h 922576"/>
              <a:gd name="connsiteX39" fmla="*/ 669603 w 1522695"/>
              <a:gd name="connsiteY39" fmla="*/ 537430 h 922576"/>
              <a:gd name="connsiteX40" fmla="*/ 808988 w 1522695"/>
              <a:gd name="connsiteY40" fmla="*/ 509276 h 922576"/>
              <a:gd name="connsiteX41" fmla="*/ 859611 w 1522695"/>
              <a:gd name="connsiteY41" fmla="*/ 477238 h 922576"/>
              <a:gd name="connsiteX42" fmla="*/ 872232 w 1522695"/>
              <a:gd name="connsiteY42" fmla="*/ 451996 h 922576"/>
              <a:gd name="connsiteX43" fmla="*/ 845187 w 1522695"/>
              <a:gd name="connsiteY43" fmla="*/ 445755 h 922576"/>
              <a:gd name="connsiteX44" fmla="*/ 1479701 w 1522695"/>
              <a:gd name="connsiteY44" fmla="*/ 159218 h 922576"/>
              <a:gd name="connsiteX45" fmla="*/ 1409801 w 1522695"/>
              <a:gd name="connsiteY45" fmla="*/ 217052 h 922576"/>
              <a:gd name="connsiteX46" fmla="*/ 1212442 w 1522695"/>
              <a:gd name="connsiteY46" fmla="*/ 666691 h 922576"/>
              <a:gd name="connsiteX47" fmla="*/ 1231721 w 1522695"/>
              <a:gd name="connsiteY47" fmla="*/ 323845 h 922576"/>
              <a:gd name="connsiteX48" fmla="*/ 1206895 w 1522695"/>
              <a:gd name="connsiteY48" fmla="*/ 300683 h 922576"/>
              <a:gd name="connsiteX49" fmla="*/ 1151002 w 1522695"/>
              <a:gd name="connsiteY49" fmla="*/ 324677 h 922576"/>
              <a:gd name="connsiteX50" fmla="*/ 1137549 w 1522695"/>
              <a:gd name="connsiteY50" fmla="*/ 353525 h 922576"/>
              <a:gd name="connsiteX51" fmla="*/ 980689 w 1522695"/>
              <a:gd name="connsiteY51" fmla="*/ 605528 h 922576"/>
              <a:gd name="connsiteX52" fmla="*/ 1041574 w 1522695"/>
              <a:gd name="connsiteY52" fmla="*/ 331196 h 922576"/>
              <a:gd name="connsiteX53" fmla="*/ 1029369 w 1522695"/>
              <a:gd name="connsiteY53" fmla="*/ 319962 h 922576"/>
              <a:gd name="connsiteX54" fmla="*/ 988871 w 1522695"/>
              <a:gd name="connsiteY54" fmla="*/ 327728 h 922576"/>
              <a:gd name="connsiteX55" fmla="*/ 954892 w 1522695"/>
              <a:gd name="connsiteY55" fmla="*/ 369752 h 922576"/>
              <a:gd name="connsiteX56" fmla="*/ 880553 w 1522695"/>
              <a:gd name="connsiteY56" fmla="*/ 711766 h 922576"/>
              <a:gd name="connsiteX57" fmla="*/ 902328 w 1522695"/>
              <a:gd name="connsiteY57" fmla="*/ 741862 h 922576"/>
              <a:gd name="connsiteX58" fmla="*/ 960024 w 1522695"/>
              <a:gd name="connsiteY58" fmla="*/ 718423 h 922576"/>
              <a:gd name="connsiteX59" fmla="*/ 1144483 w 1522695"/>
              <a:gd name="connsiteY59" fmla="*/ 419542 h 922576"/>
              <a:gd name="connsiteX60" fmla="*/ 1128950 w 1522695"/>
              <a:gd name="connsiteY60" fmla="*/ 709546 h 922576"/>
              <a:gd name="connsiteX61" fmla="*/ 1162375 w 1522695"/>
              <a:gd name="connsiteY61" fmla="*/ 786798 h 922576"/>
              <a:gd name="connsiteX62" fmla="*/ 1235049 w 1522695"/>
              <a:gd name="connsiteY62" fmla="*/ 740891 h 922576"/>
              <a:gd name="connsiteX63" fmla="*/ 1512016 w 1522695"/>
              <a:gd name="connsiteY63" fmla="*/ 203322 h 922576"/>
              <a:gd name="connsiteX64" fmla="*/ 1522696 w 1522695"/>
              <a:gd name="connsiteY64" fmla="*/ 183766 h 922576"/>
              <a:gd name="connsiteX65" fmla="*/ 1479840 w 1522695"/>
              <a:gd name="connsiteY65" fmla="*/ 159357 h 922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522695" h="922576">
                <a:moveTo>
                  <a:pt x="618149" y="39943"/>
                </a:moveTo>
                <a:cubicBezTo>
                  <a:pt x="568774" y="240214"/>
                  <a:pt x="450887" y="614404"/>
                  <a:pt x="421345" y="876531"/>
                </a:cubicBezTo>
                <a:cubicBezTo>
                  <a:pt x="418849" y="898167"/>
                  <a:pt x="420374" y="906627"/>
                  <a:pt x="388753" y="915365"/>
                </a:cubicBezTo>
                <a:cubicBezTo>
                  <a:pt x="373497" y="919526"/>
                  <a:pt x="359350" y="922577"/>
                  <a:pt x="349364" y="922577"/>
                </a:cubicBezTo>
                <a:cubicBezTo>
                  <a:pt x="333831" y="922577"/>
                  <a:pt x="328006" y="913978"/>
                  <a:pt x="328006" y="897196"/>
                </a:cubicBezTo>
                <a:cubicBezTo>
                  <a:pt x="328006" y="851567"/>
                  <a:pt x="390972" y="623280"/>
                  <a:pt x="431608" y="465033"/>
                </a:cubicBezTo>
                <a:cubicBezTo>
                  <a:pt x="377380" y="475296"/>
                  <a:pt x="300961" y="489998"/>
                  <a:pt x="224958" y="504838"/>
                </a:cubicBezTo>
                <a:cubicBezTo>
                  <a:pt x="206512" y="579870"/>
                  <a:pt x="193336" y="642697"/>
                  <a:pt x="185292" y="702473"/>
                </a:cubicBezTo>
                <a:cubicBezTo>
                  <a:pt x="183350" y="716897"/>
                  <a:pt x="185292" y="730489"/>
                  <a:pt x="159634" y="738117"/>
                </a:cubicBezTo>
                <a:cubicBezTo>
                  <a:pt x="116362" y="751015"/>
                  <a:pt x="100968" y="743803"/>
                  <a:pt x="102771" y="719671"/>
                </a:cubicBezTo>
                <a:cubicBezTo>
                  <a:pt x="105683" y="679589"/>
                  <a:pt x="118443" y="648661"/>
                  <a:pt x="150203" y="519816"/>
                </a:cubicBezTo>
                <a:cubicBezTo>
                  <a:pt x="110676" y="527722"/>
                  <a:pt x="79748" y="533547"/>
                  <a:pt x="62411" y="533547"/>
                </a:cubicBezTo>
                <a:cubicBezTo>
                  <a:pt x="38972" y="533547"/>
                  <a:pt x="0" y="517459"/>
                  <a:pt x="0" y="507750"/>
                </a:cubicBezTo>
                <a:cubicBezTo>
                  <a:pt x="0" y="496239"/>
                  <a:pt x="27184" y="496377"/>
                  <a:pt x="163795" y="465588"/>
                </a:cubicBezTo>
                <a:cubicBezTo>
                  <a:pt x="190146" y="360876"/>
                  <a:pt x="227038" y="219133"/>
                  <a:pt x="234805" y="162547"/>
                </a:cubicBezTo>
                <a:cubicBezTo>
                  <a:pt x="236192" y="152145"/>
                  <a:pt x="239798" y="140633"/>
                  <a:pt x="258244" y="135502"/>
                </a:cubicBezTo>
                <a:cubicBezTo>
                  <a:pt x="269339" y="132451"/>
                  <a:pt x="290004" y="126625"/>
                  <a:pt x="300961" y="126625"/>
                </a:cubicBezTo>
                <a:cubicBezTo>
                  <a:pt x="313304" y="126625"/>
                  <a:pt x="316772" y="137721"/>
                  <a:pt x="316772" y="149232"/>
                </a:cubicBezTo>
                <a:cubicBezTo>
                  <a:pt x="316772" y="170036"/>
                  <a:pt x="273916" y="298048"/>
                  <a:pt x="239104" y="449084"/>
                </a:cubicBezTo>
                <a:cubicBezTo>
                  <a:pt x="309837" y="433689"/>
                  <a:pt x="385424" y="417739"/>
                  <a:pt x="447697" y="404564"/>
                </a:cubicBezTo>
                <a:cubicBezTo>
                  <a:pt x="485421" y="261434"/>
                  <a:pt x="522313" y="121910"/>
                  <a:pt x="542839" y="34950"/>
                </a:cubicBezTo>
                <a:cubicBezTo>
                  <a:pt x="547277" y="16227"/>
                  <a:pt x="546445" y="10679"/>
                  <a:pt x="557402" y="6935"/>
                </a:cubicBezTo>
                <a:cubicBezTo>
                  <a:pt x="562533" y="5132"/>
                  <a:pt x="578205" y="0"/>
                  <a:pt x="592907" y="0"/>
                </a:cubicBezTo>
                <a:cubicBezTo>
                  <a:pt x="607608" y="0"/>
                  <a:pt x="620506" y="5548"/>
                  <a:pt x="620506" y="25381"/>
                </a:cubicBezTo>
                <a:cubicBezTo>
                  <a:pt x="620506" y="29680"/>
                  <a:pt x="619813" y="34673"/>
                  <a:pt x="618426" y="40359"/>
                </a:cubicBezTo>
                <a:close/>
                <a:moveTo>
                  <a:pt x="845048" y="445755"/>
                </a:moveTo>
                <a:cubicBezTo>
                  <a:pt x="796922" y="454076"/>
                  <a:pt x="739920" y="465865"/>
                  <a:pt x="684582" y="476544"/>
                </a:cubicBezTo>
                <a:cubicBezTo>
                  <a:pt x="700670" y="412608"/>
                  <a:pt x="716620" y="352970"/>
                  <a:pt x="729241" y="311918"/>
                </a:cubicBezTo>
                <a:cubicBezTo>
                  <a:pt x="838946" y="287092"/>
                  <a:pt x="1056276" y="236053"/>
                  <a:pt x="1087204" y="231060"/>
                </a:cubicBezTo>
                <a:cubicBezTo>
                  <a:pt x="1104679" y="228148"/>
                  <a:pt x="1110643" y="223155"/>
                  <a:pt x="1110643" y="218994"/>
                </a:cubicBezTo>
                <a:cubicBezTo>
                  <a:pt x="1110643" y="211089"/>
                  <a:pt x="1084985" y="185708"/>
                  <a:pt x="1053363" y="185708"/>
                </a:cubicBezTo>
                <a:cubicBezTo>
                  <a:pt x="1046428" y="185708"/>
                  <a:pt x="1038662" y="186402"/>
                  <a:pt x="1029785" y="187927"/>
                </a:cubicBezTo>
                <a:cubicBezTo>
                  <a:pt x="966542" y="199023"/>
                  <a:pt x="709269" y="252974"/>
                  <a:pt x="636872" y="267536"/>
                </a:cubicBezTo>
                <a:cubicBezTo>
                  <a:pt x="618842" y="271142"/>
                  <a:pt x="610798" y="277661"/>
                  <a:pt x="610798" y="284595"/>
                </a:cubicBezTo>
                <a:cubicBezTo>
                  <a:pt x="610798" y="295136"/>
                  <a:pt x="636317" y="316217"/>
                  <a:pt x="652683" y="321210"/>
                </a:cubicBezTo>
                <a:cubicBezTo>
                  <a:pt x="616623" y="461427"/>
                  <a:pt x="524948" y="770571"/>
                  <a:pt x="524948" y="802192"/>
                </a:cubicBezTo>
                <a:cubicBezTo>
                  <a:pt x="524948" y="809959"/>
                  <a:pt x="527583" y="815646"/>
                  <a:pt x="537569" y="815646"/>
                </a:cubicBezTo>
                <a:cubicBezTo>
                  <a:pt x="551299" y="815646"/>
                  <a:pt x="579176" y="809682"/>
                  <a:pt x="595542" y="802886"/>
                </a:cubicBezTo>
                <a:cubicBezTo>
                  <a:pt x="611908" y="795951"/>
                  <a:pt x="611630" y="787907"/>
                  <a:pt x="616762" y="763914"/>
                </a:cubicBezTo>
                <a:cubicBezTo>
                  <a:pt x="627996" y="712043"/>
                  <a:pt x="648106" y="624945"/>
                  <a:pt x="669603" y="537430"/>
                </a:cubicBezTo>
                <a:cubicBezTo>
                  <a:pt x="735620" y="523422"/>
                  <a:pt x="777505" y="516488"/>
                  <a:pt x="808988" y="509276"/>
                </a:cubicBezTo>
                <a:cubicBezTo>
                  <a:pt x="843661" y="501370"/>
                  <a:pt x="850180" y="491107"/>
                  <a:pt x="859611" y="477238"/>
                </a:cubicBezTo>
                <a:cubicBezTo>
                  <a:pt x="865852" y="468223"/>
                  <a:pt x="872232" y="456850"/>
                  <a:pt x="872232" y="451996"/>
                </a:cubicBezTo>
                <a:cubicBezTo>
                  <a:pt x="872232" y="444368"/>
                  <a:pt x="864742" y="442288"/>
                  <a:pt x="845187" y="445755"/>
                </a:cubicBezTo>
                <a:close/>
                <a:moveTo>
                  <a:pt x="1479701" y="159218"/>
                </a:moveTo>
                <a:cubicBezTo>
                  <a:pt x="1459452" y="159218"/>
                  <a:pt x="1437955" y="171978"/>
                  <a:pt x="1409801" y="217052"/>
                </a:cubicBezTo>
                <a:cubicBezTo>
                  <a:pt x="1369857" y="281128"/>
                  <a:pt x="1274854" y="509553"/>
                  <a:pt x="1212442" y="666691"/>
                </a:cubicBezTo>
                <a:cubicBezTo>
                  <a:pt x="1210639" y="502202"/>
                  <a:pt x="1231721" y="360598"/>
                  <a:pt x="1231721" y="323845"/>
                </a:cubicBezTo>
                <a:cubicBezTo>
                  <a:pt x="1231721" y="305399"/>
                  <a:pt x="1220348" y="300683"/>
                  <a:pt x="1206895" y="300683"/>
                </a:cubicBezTo>
                <a:cubicBezTo>
                  <a:pt x="1188310" y="300683"/>
                  <a:pt x="1160988" y="301516"/>
                  <a:pt x="1151002" y="324677"/>
                </a:cubicBezTo>
                <a:cubicBezTo>
                  <a:pt x="1144483" y="339795"/>
                  <a:pt x="1143374" y="343262"/>
                  <a:pt x="1137549" y="353525"/>
                </a:cubicBezTo>
                <a:cubicBezTo>
                  <a:pt x="1125205" y="375577"/>
                  <a:pt x="1053502" y="501786"/>
                  <a:pt x="980689" y="605528"/>
                </a:cubicBezTo>
                <a:cubicBezTo>
                  <a:pt x="1012588" y="432995"/>
                  <a:pt x="1041574" y="349087"/>
                  <a:pt x="1041574" y="331196"/>
                </a:cubicBezTo>
                <a:cubicBezTo>
                  <a:pt x="1041574" y="322874"/>
                  <a:pt x="1036165" y="319962"/>
                  <a:pt x="1029369" y="319962"/>
                </a:cubicBezTo>
                <a:cubicBezTo>
                  <a:pt x="1021325" y="319962"/>
                  <a:pt x="1000799" y="324816"/>
                  <a:pt x="988871" y="327728"/>
                </a:cubicBezTo>
                <a:cubicBezTo>
                  <a:pt x="974864" y="331196"/>
                  <a:pt x="963768" y="335772"/>
                  <a:pt x="954892" y="369752"/>
                </a:cubicBezTo>
                <a:cubicBezTo>
                  <a:pt x="925905" y="479734"/>
                  <a:pt x="880553" y="665720"/>
                  <a:pt x="880553" y="711766"/>
                </a:cubicBezTo>
                <a:cubicBezTo>
                  <a:pt x="880553" y="731876"/>
                  <a:pt x="884575" y="741862"/>
                  <a:pt x="902328" y="741862"/>
                </a:cubicBezTo>
                <a:cubicBezTo>
                  <a:pt x="921051" y="741862"/>
                  <a:pt x="947541" y="736591"/>
                  <a:pt x="960024" y="718423"/>
                </a:cubicBezTo>
                <a:cubicBezTo>
                  <a:pt x="1022851" y="626609"/>
                  <a:pt x="1086372" y="516349"/>
                  <a:pt x="1144483" y="419542"/>
                </a:cubicBezTo>
                <a:cubicBezTo>
                  <a:pt x="1135191" y="510801"/>
                  <a:pt x="1128950" y="628967"/>
                  <a:pt x="1128950" y="709546"/>
                </a:cubicBezTo>
                <a:cubicBezTo>
                  <a:pt x="1128950" y="765023"/>
                  <a:pt x="1130614" y="786798"/>
                  <a:pt x="1162375" y="786798"/>
                </a:cubicBezTo>
                <a:cubicBezTo>
                  <a:pt x="1191223" y="786798"/>
                  <a:pt x="1217019" y="781666"/>
                  <a:pt x="1235049" y="740891"/>
                </a:cubicBezTo>
                <a:cubicBezTo>
                  <a:pt x="1297599" y="599148"/>
                  <a:pt x="1429911" y="303735"/>
                  <a:pt x="1512016" y="203322"/>
                </a:cubicBezTo>
                <a:cubicBezTo>
                  <a:pt x="1517425" y="196803"/>
                  <a:pt x="1522696" y="191256"/>
                  <a:pt x="1522696" y="183766"/>
                </a:cubicBezTo>
                <a:cubicBezTo>
                  <a:pt x="1522696" y="173365"/>
                  <a:pt x="1498563" y="159357"/>
                  <a:pt x="1479840" y="159357"/>
                </a:cubicBezTo>
                <a:close/>
              </a:path>
            </a:pathLst>
          </a:custGeom>
          <a:solidFill>
            <a:schemeClr val="bg1"/>
          </a:solidFill>
          <a:ln w="13855" cap="flat">
            <a:noFill/>
            <a:prstDash val="solid"/>
            <a:miter/>
          </a:ln>
        </p:spPr>
        <p:txBody>
          <a:bodyPr rtlCol="0" anchor="ctr"/>
          <a:lstStyle/>
          <a:p>
            <a:endParaRPr lang="en-GB"/>
          </a:p>
        </p:txBody>
      </p:sp>
    </p:spTree>
    <p:extLst>
      <p:ext uri="{BB962C8B-B14F-4D97-AF65-F5344CB8AC3E}">
        <p14:creationId xmlns:p14="http://schemas.microsoft.com/office/powerpoint/2010/main" val="1296913171"/>
      </p:ext>
    </p:extLst>
  </p:cSld>
  <p:clrMapOvr>
    <a:masterClrMapping/>
  </p:clrMapOvr>
  <p:transition spd="med">
    <p:fade/>
  </p:transition>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Slide with Icons - SHIPPING">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55D82124-7F73-96E2-3148-25FEB848D4E7}"/>
              </a:ext>
            </a:extLst>
          </p:cNvPr>
          <p:cNvSpPr>
            <a:spLocks noGrp="1"/>
          </p:cNvSpPr>
          <p:nvPr>
            <p:ph type="pic" sz="quarter" idx="13" hasCustomPrompt="1"/>
          </p:nvPr>
        </p:nvSpPr>
        <p:spPr>
          <a:xfrm>
            <a:off x="4067176" y="2"/>
            <a:ext cx="8124824" cy="6857999"/>
          </a:xfrm>
          <a:custGeom>
            <a:avLst/>
            <a:gdLst>
              <a:gd name="connsiteX0" fmla="*/ 3500648 w 8124824"/>
              <a:gd name="connsiteY0" fmla="*/ 1154291 h 6857999"/>
              <a:gd name="connsiteX1" fmla="*/ 3500648 w 8124824"/>
              <a:gd name="connsiteY1" fmla="*/ 1224425 h 6857999"/>
              <a:gd name="connsiteX2" fmla="*/ 3519525 w 8124824"/>
              <a:gd name="connsiteY2" fmla="*/ 1224425 h 6857999"/>
              <a:gd name="connsiteX3" fmla="*/ 3593568 w 8124824"/>
              <a:gd name="connsiteY3" fmla="*/ 1297478 h 6857999"/>
              <a:gd name="connsiteX4" fmla="*/ 3519525 w 8124824"/>
              <a:gd name="connsiteY4" fmla="*/ 1370533 h 6857999"/>
              <a:gd name="connsiteX5" fmla="*/ 3445479 w 8124824"/>
              <a:gd name="connsiteY5" fmla="*/ 1297478 h 6857999"/>
              <a:gd name="connsiteX6" fmla="*/ 3407727 w 8124824"/>
              <a:gd name="connsiteY6" fmla="*/ 1297478 h 6857999"/>
              <a:gd name="connsiteX7" fmla="*/ 3519525 w 8124824"/>
              <a:gd name="connsiteY7" fmla="*/ 1407816 h 6857999"/>
              <a:gd name="connsiteX8" fmla="*/ 3519525 w 8124824"/>
              <a:gd name="connsiteY8" fmla="*/ 1407868 h 6857999"/>
              <a:gd name="connsiteX9" fmla="*/ 3631321 w 8124824"/>
              <a:gd name="connsiteY9" fmla="*/ 1297531 h 6857999"/>
              <a:gd name="connsiteX10" fmla="*/ 3538401 w 8124824"/>
              <a:gd name="connsiteY10" fmla="*/ 1188759 h 6857999"/>
              <a:gd name="connsiteX11" fmla="*/ 3538401 w 8124824"/>
              <a:gd name="connsiteY11" fmla="*/ 1154291 h 6857999"/>
              <a:gd name="connsiteX12" fmla="*/ 1479209 w 8124824"/>
              <a:gd name="connsiteY12" fmla="*/ 1074105 h 6857999"/>
              <a:gd name="connsiteX13" fmla="*/ 1408607 w 8124824"/>
              <a:gd name="connsiteY13" fmla="*/ 1110605 h 6857999"/>
              <a:gd name="connsiteX14" fmla="*/ 1408554 w 8124824"/>
              <a:gd name="connsiteY14" fmla="*/ 1110658 h 6857999"/>
              <a:gd name="connsiteX15" fmla="*/ 1408658 w 8124824"/>
              <a:gd name="connsiteY15" fmla="*/ 1112535 h 6857999"/>
              <a:gd name="connsiteX16" fmla="*/ 1408554 w 8124824"/>
              <a:gd name="connsiteY16" fmla="*/ 1112587 h 6857999"/>
              <a:gd name="connsiteX17" fmla="*/ 1418827 w 8124824"/>
              <a:gd name="connsiteY17" fmla="*/ 1286331 h 6857999"/>
              <a:gd name="connsiteX18" fmla="*/ 1423676 w 8124824"/>
              <a:gd name="connsiteY18" fmla="*/ 1283620 h 6857999"/>
              <a:gd name="connsiteX19" fmla="*/ 1454389 w 8124824"/>
              <a:gd name="connsiteY19" fmla="*/ 1231945 h 6857999"/>
              <a:gd name="connsiteX20" fmla="*/ 1479209 w 8124824"/>
              <a:gd name="connsiteY20" fmla="*/ 1076087 h 6857999"/>
              <a:gd name="connsiteX21" fmla="*/ 1478845 w 8124824"/>
              <a:gd name="connsiteY21" fmla="*/ 1076244 h 6857999"/>
              <a:gd name="connsiteX22" fmla="*/ 1479209 w 8124824"/>
              <a:gd name="connsiteY22" fmla="*/ 1074105 h 6857999"/>
              <a:gd name="connsiteX23" fmla="*/ 6746051 w 8124824"/>
              <a:gd name="connsiteY23" fmla="*/ 1051244 h 6857999"/>
              <a:gd name="connsiteX24" fmla="*/ 6747249 w 8124824"/>
              <a:gd name="connsiteY24" fmla="*/ 1051400 h 6857999"/>
              <a:gd name="connsiteX25" fmla="*/ 7023066 w 8124824"/>
              <a:gd name="connsiteY25" fmla="*/ 1080026 h 6857999"/>
              <a:gd name="connsiteX26" fmla="*/ 7025408 w 8124824"/>
              <a:gd name="connsiteY26" fmla="*/ 1080235 h 6857999"/>
              <a:gd name="connsiteX27" fmla="*/ 7030772 w 8124824"/>
              <a:gd name="connsiteY27" fmla="*/ 1090786 h 6857999"/>
              <a:gd name="connsiteX28" fmla="*/ 6930952 w 8124824"/>
              <a:gd name="connsiteY28" fmla="*/ 1296019 h 6857999"/>
              <a:gd name="connsiteX29" fmla="*/ 6566512 w 8124824"/>
              <a:gd name="connsiteY29" fmla="*/ 1296019 h 6857999"/>
              <a:gd name="connsiteX30" fmla="*/ 6466589 w 8124824"/>
              <a:gd name="connsiteY30" fmla="*/ 1090786 h 6857999"/>
              <a:gd name="connsiteX31" fmla="*/ 6471900 w 8124824"/>
              <a:gd name="connsiteY31" fmla="*/ 1080235 h 6857999"/>
              <a:gd name="connsiteX32" fmla="*/ 6476951 w 8124824"/>
              <a:gd name="connsiteY32" fmla="*/ 1079713 h 6857999"/>
              <a:gd name="connsiteX33" fmla="*/ 5673793 w 8124824"/>
              <a:gd name="connsiteY33" fmla="*/ 1044602 h 6857999"/>
              <a:gd name="connsiteX34" fmla="*/ 5640838 w 8124824"/>
              <a:gd name="connsiteY34" fmla="*/ 1059984 h 6857999"/>
              <a:gd name="connsiteX35" fmla="*/ 5633017 w 8124824"/>
              <a:gd name="connsiteY35" fmla="*/ 1073698 h 6857999"/>
              <a:gd name="connsiteX36" fmla="*/ 5630670 w 8124824"/>
              <a:gd name="connsiteY36" fmla="*/ 1087412 h 6857999"/>
              <a:gd name="connsiteX37" fmla="*/ 5630670 w 8124824"/>
              <a:gd name="connsiteY37" fmla="*/ 1087620 h 6857999"/>
              <a:gd name="connsiteX38" fmla="*/ 5647043 w 8124824"/>
              <a:gd name="connsiteY38" fmla="*/ 1121410 h 6857999"/>
              <a:gd name="connsiteX39" fmla="*/ 5653040 w 8124824"/>
              <a:gd name="connsiteY39" fmla="*/ 1126154 h 6857999"/>
              <a:gd name="connsiteX40" fmla="*/ 5646626 w 8124824"/>
              <a:gd name="connsiteY40" fmla="*/ 1181323 h 6857999"/>
              <a:gd name="connsiteX41" fmla="*/ 5700804 w 8124824"/>
              <a:gd name="connsiteY41" fmla="*/ 1181323 h 6857999"/>
              <a:gd name="connsiteX42" fmla="*/ 5694286 w 8124824"/>
              <a:gd name="connsiteY42" fmla="*/ 1126154 h 6857999"/>
              <a:gd name="connsiteX43" fmla="*/ 5700386 w 8124824"/>
              <a:gd name="connsiteY43" fmla="*/ 1121410 h 6857999"/>
              <a:gd name="connsiteX44" fmla="*/ 5716760 w 8124824"/>
              <a:gd name="connsiteY44" fmla="*/ 1087620 h 6857999"/>
              <a:gd name="connsiteX45" fmla="*/ 5716760 w 8124824"/>
              <a:gd name="connsiteY45" fmla="*/ 1087412 h 6857999"/>
              <a:gd name="connsiteX46" fmla="*/ 5716864 w 8124824"/>
              <a:gd name="connsiteY46" fmla="*/ 1087412 h 6857999"/>
              <a:gd name="connsiteX47" fmla="*/ 5714518 w 8124824"/>
              <a:gd name="connsiteY47" fmla="*/ 1073698 h 6857999"/>
              <a:gd name="connsiteX48" fmla="*/ 5706695 w 8124824"/>
              <a:gd name="connsiteY48" fmla="*/ 1059984 h 6857999"/>
              <a:gd name="connsiteX49" fmla="*/ 5673793 w 8124824"/>
              <a:gd name="connsiteY49" fmla="*/ 1044602 h 6857999"/>
              <a:gd name="connsiteX50" fmla="*/ 2527407 w 8124824"/>
              <a:gd name="connsiteY50" fmla="*/ 1036166 h 6857999"/>
              <a:gd name="connsiteX51" fmla="*/ 2463323 w 8124824"/>
              <a:gd name="connsiteY51" fmla="*/ 1229673 h 6857999"/>
              <a:gd name="connsiteX52" fmla="*/ 2684621 w 8124824"/>
              <a:gd name="connsiteY52" fmla="*/ 1229673 h 6857999"/>
              <a:gd name="connsiteX53" fmla="*/ 2684621 w 8124824"/>
              <a:gd name="connsiteY53" fmla="*/ 1036166 h 6857999"/>
              <a:gd name="connsiteX54" fmla="*/ 2718046 w 8124824"/>
              <a:gd name="connsiteY54" fmla="*/ 1036114 h 6857999"/>
              <a:gd name="connsiteX55" fmla="*/ 2718046 w 8124824"/>
              <a:gd name="connsiteY55" fmla="*/ 1229620 h 6857999"/>
              <a:gd name="connsiteX56" fmla="*/ 2782130 w 8124824"/>
              <a:gd name="connsiteY56" fmla="*/ 1229620 h 6857999"/>
              <a:gd name="connsiteX57" fmla="*/ 2359190 w 8124824"/>
              <a:gd name="connsiteY57" fmla="*/ 1034967 h 6857999"/>
              <a:gd name="connsiteX58" fmla="*/ 2359190 w 8124824"/>
              <a:gd name="connsiteY58" fmla="*/ 1228368 h 6857999"/>
              <a:gd name="connsiteX59" fmla="*/ 2423275 w 8124824"/>
              <a:gd name="connsiteY59" fmla="*/ 1228368 h 6857999"/>
              <a:gd name="connsiteX60" fmla="*/ 2168552 w 8124824"/>
              <a:gd name="connsiteY60" fmla="*/ 1034967 h 6857999"/>
              <a:gd name="connsiteX61" fmla="*/ 2104466 w 8124824"/>
              <a:gd name="connsiteY61" fmla="*/ 1228368 h 6857999"/>
              <a:gd name="connsiteX62" fmla="*/ 2325766 w 8124824"/>
              <a:gd name="connsiteY62" fmla="*/ 1228368 h 6857999"/>
              <a:gd name="connsiteX63" fmla="*/ 2325766 w 8124824"/>
              <a:gd name="connsiteY63" fmla="*/ 1034967 h 6857999"/>
              <a:gd name="connsiteX64" fmla="*/ 5673793 w 8124824"/>
              <a:gd name="connsiteY64" fmla="*/ 1017173 h 6857999"/>
              <a:gd name="connsiteX65" fmla="*/ 5738607 w 8124824"/>
              <a:gd name="connsiteY65" fmla="*/ 1059984 h 6857999"/>
              <a:gd name="connsiteX66" fmla="*/ 5742936 w 8124824"/>
              <a:gd name="connsiteY66" fmla="*/ 1073698 h 6857999"/>
              <a:gd name="connsiteX67" fmla="*/ 5744291 w 8124824"/>
              <a:gd name="connsiteY67" fmla="*/ 1087412 h 6857999"/>
              <a:gd name="connsiteX68" fmla="*/ 5744291 w 8124824"/>
              <a:gd name="connsiteY68" fmla="*/ 1087620 h 6857999"/>
              <a:gd name="connsiteX69" fmla="*/ 5723382 w 8124824"/>
              <a:gd name="connsiteY69" fmla="*/ 1137678 h 6857999"/>
              <a:gd name="connsiteX70" fmla="*/ 5731726 w 8124824"/>
              <a:gd name="connsiteY70" fmla="*/ 1208803 h 6857999"/>
              <a:gd name="connsiteX71" fmla="*/ 5615860 w 8124824"/>
              <a:gd name="connsiteY71" fmla="*/ 1208803 h 6857999"/>
              <a:gd name="connsiteX72" fmla="*/ 5624152 w 8124824"/>
              <a:gd name="connsiteY72" fmla="*/ 1137678 h 6857999"/>
              <a:gd name="connsiteX73" fmla="*/ 5603242 w 8124824"/>
              <a:gd name="connsiteY73" fmla="*/ 1087620 h 6857999"/>
              <a:gd name="connsiteX74" fmla="*/ 5603242 w 8124824"/>
              <a:gd name="connsiteY74" fmla="*/ 1087412 h 6857999"/>
              <a:gd name="connsiteX75" fmla="*/ 5604650 w 8124824"/>
              <a:gd name="connsiteY75" fmla="*/ 1073698 h 6857999"/>
              <a:gd name="connsiteX76" fmla="*/ 5608979 w 8124824"/>
              <a:gd name="connsiteY76" fmla="*/ 1059984 h 6857999"/>
              <a:gd name="connsiteX77" fmla="*/ 5673793 w 8124824"/>
              <a:gd name="connsiteY77" fmla="*/ 1017173 h 6857999"/>
              <a:gd name="connsiteX78" fmla="*/ 6761776 w 8124824"/>
              <a:gd name="connsiteY78" fmla="*/ 999688 h 6857999"/>
              <a:gd name="connsiteX79" fmla="*/ 6861908 w 8124824"/>
              <a:gd name="connsiteY79" fmla="*/ 999688 h 6857999"/>
              <a:gd name="connsiteX80" fmla="*/ 6861908 w 8124824"/>
              <a:gd name="connsiteY80" fmla="*/ 1034162 h 6857999"/>
              <a:gd name="connsiteX81" fmla="*/ 6765681 w 8124824"/>
              <a:gd name="connsiteY81" fmla="*/ 1024134 h 6857999"/>
              <a:gd name="connsiteX82" fmla="*/ 6761776 w 8124824"/>
              <a:gd name="connsiteY82" fmla="*/ 1023715 h 6857999"/>
              <a:gd name="connsiteX83" fmla="*/ 6890858 w 8124824"/>
              <a:gd name="connsiteY83" fmla="*/ 999635 h 6857999"/>
              <a:gd name="connsiteX84" fmla="*/ 6994167 w 8124824"/>
              <a:gd name="connsiteY84" fmla="*/ 999635 h 6857999"/>
              <a:gd name="connsiteX85" fmla="*/ 6994167 w 8124824"/>
              <a:gd name="connsiteY85" fmla="*/ 1047849 h 6857999"/>
              <a:gd name="connsiteX86" fmla="*/ 6894036 w 8124824"/>
              <a:gd name="connsiteY86" fmla="*/ 1037453 h 6857999"/>
              <a:gd name="connsiteX87" fmla="*/ 6890858 w 8124824"/>
              <a:gd name="connsiteY87" fmla="*/ 1037087 h 6857999"/>
              <a:gd name="connsiteX88" fmla="*/ 6633526 w 8124824"/>
              <a:gd name="connsiteY88" fmla="*/ 999635 h 6857999"/>
              <a:gd name="connsiteX89" fmla="*/ 6633579 w 8124824"/>
              <a:gd name="connsiteY89" fmla="*/ 999635 h 6857999"/>
              <a:gd name="connsiteX90" fmla="*/ 6732877 w 8124824"/>
              <a:gd name="connsiteY90" fmla="*/ 999635 h 6857999"/>
              <a:gd name="connsiteX91" fmla="*/ 6732877 w 8124824"/>
              <a:gd name="connsiteY91" fmla="*/ 1023455 h 6857999"/>
              <a:gd name="connsiteX92" fmla="*/ 6638161 w 8124824"/>
              <a:gd name="connsiteY92" fmla="*/ 1033483 h 6857999"/>
              <a:gd name="connsiteX93" fmla="*/ 6633526 w 8124824"/>
              <a:gd name="connsiteY93" fmla="*/ 1033902 h 6857999"/>
              <a:gd name="connsiteX94" fmla="*/ 6505955 w 8124824"/>
              <a:gd name="connsiteY94" fmla="*/ 999635 h 6857999"/>
              <a:gd name="connsiteX95" fmla="*/ 6604524 w 8124824"/>
              <a:gd name="connsiteY95" fmla="*/ 999635 h 6857999"/>
              <a:gd name="connsiteX96" fmla="*/ 6604524 w 8124824"/>
              <a:gd name="connsiteY96" fmla="*/ 1037036 h 6857999"/>
              <a:gd name="connsiteX97" fmla="*/ 6505955 w 8124824"/>
              <a:gd name="connsiteY97" fmla="*/ 1047430 h 6857999"/>
              <a:gd name="connsiteX98" fmla="*/ 4629579 w 8124824"/>
              <a:gd name="connsiteY98" fmla="*/ 974096 h 6857999"/>
              <a:gd name="connsiteX99" fmla="*/ 4519033 w 8124824"/>
              <a:gd name="connsiteY99" fmla="*/ 1398184 h 6857999"/>
              <a:gd name="connsiteX100" fmla="*/ 4802384 w 8124824"/>
              <a:gd name="connsiteY100" fmla="*/ 1019096 h 6857999"/>
              <a:gd name="connsiteX101" fmla="*/ 4629631 w 8124824"/>
              <a:gd name="connsiteY101" fmla="*/ 974096 h 6857999"/>
              <a:gd name="connsiteX102" fmla="*/ 5476897 w 8124824"/>
              <a:gd name="connsiteY102" fmla="*/ 961170 h 6857999"/>
              <a:gd name="connsiteX103" fmla="*/ 5476897 w 8124824"/>
              <a:gd name="connsiteY103" fmla="*/ 1285663 h 6857999"/>
              <a:gd name="connsiteX104" fmla="*/ 5870742 w 8124824"/>
              <a:gd name="connsiteY104" fmla="*/ 1285663 h 6857999"/>
              <a:gd name="connsiteX105" fmla="*/ 5870742 w 8124824"/>
              <a:gd name="connsiteY105" fmla="*/ 961170 h 6857999"/>
              <a:gd name="connsiteX106" fmla="*/ 3519732 w 8124824"/>
              <a:gd name="connsiteY106" fmla="*/ 923709 h 6857999"/>
              <a:gd name="connsiteX107" fmla="*/ 3459611 w 8124824"/>
              <a:gd name="connsiteY107" fmla="*/ 983831 h 6857999"/>
              <a:gd name="connsiteX108" fmla="*/ 3519732 w 8124824"/>
              <a:gd name="connsiteY108" fmla="*/ 1043901 h 6857999"/>
              <a:gd name="connsiteX109" fmla="*/ 3579804 w 8124824"/>
              <a:gd name="connsiteY109" fmla="*/ 983831 h 6857999"/>
              <a:gd name="connsiteX110" fmla="*/ 3519732 w 8124824"/>
              <a:gd name="connsiteY110" fmla="*/ 923709 h 6857999"/>
              <a:gd name="connsiteX111" fmla="*/ 6890858 w 8124824"/>
              <a:gd name="connsiteY111" fmla="*/ 915536 h 6857999"/>
              <a:gd name="connsiteX112" fmla="*/ 6994167 w 8124824"/>
              <a:gd name="connsiteY112" fmla="*/ 915536 h 6857999"/>
              <a:gd name="connsiteX113" fmla="*/ 6994167 w 8124824"/>
              <a:gd name="connsiteY113" fmla="*/ 970592 h 6857999"/>
              <a:gd name="connsiteX114" fmla="*/ 6890858 w 8124824"/>
              <a:gd name="connsiteY114" fmla="*/ 970592 h 6857999"/>
              <a:gd name="connsiteX115" fmla="*/ 6761776 w 8124824"/>
              <a:gd name="connsiteY115" fmla="*/ 915536 h 6857999"/>
              <a:gd name="connsiteX116" fmla="*/ 6861908 w 8124824"/>
              <a:gd name="connsiteY116" fmla="*/ 915536 h 6857999"/>
              <a:gd name="connsiteX117" fmla="*/ 6861908 w 8124824"/>
              <a:gd name="connsiteY117" fmla="*/ 970592 h 6857999"/>
              <a:gd name="connsiteX118" fmla="*/ 6761776 w 8124824"/>
              <a:gd name="connsiteY118" fmla="*/ 970592 h 6857999"/>
              <a:gd name="connsiteX119" fmla="*/ 6633526 w 8124824"/>
              <a:gd name="connsiteY119" fmla="*/ 915536 h 6857999"/>
              <a:gd name="connsiteX120" fmla="*/ 6732825 w 8124824"/>
              <a:gd name="connsiteY120" fmla="*/ 915536 h 6857999"/>
              <a:gd name="connsiteX121" fmla="*/ 6732825 w 8124824"/>
              <a:gd name="connsiteY121" fmla="*/ 970592 h 6857999"/>
              <a:gd name="connsiteX122" fmla="*/ 6633526 w 8124824"/>
              <a:gd name="connsiteY122" fmla="*/ 970592 h 6857999"/>
              <a:gd name="connsiteX123" fmla="*/ 6506006 w 8124824"/>
              <a:gd name="connsiteY123" fmla="*/ 915536 h 6857999"/>
              <a:gd name="connsiteX124" fmla="*/ 6604575 w 8124824"/>
              <a:gd name="connsiteY124" fmla="*/ 915536 h 6857999"/>
              <a:gd name="connsiteX125" fmla="*/ 6604575 w 8124824"/>
              <a:gd name="connsiteY125" fmla="*/ 970592 h 6857999"/>
              <a:gd name="connsiteX126" fmla="*/ 6506006 w 8124824"/>
              <a:gd name="connsiteY126" fmla="*/ 970592 h 6857999"/>
              <a:gd name="connsiteX127" fmla="*/ 3519732 w 8124824"/>
              <a:gd name="connsiteY127" fmla="*/ 886166 h 6857999"/>
              <a:gd name="connsiteX128" fmla="*/ 3617398 w 8124824"/>
              <a:gd name="connsiteY128" fmla="*/ 983780 h 6857999"/>
              <a:gd name="connsiteX129" fmla="*/ 3519732 w 8124824"/>
              <a:gd name="connsiteY129" fmla="*/ 1081446 h 6857999"/>
              <a:gd name="connsiteX130" fmla="*/ 3422066 w 8124824"/>
              <a:gd name="connsiteY130" fmla="*/ 983780 h 6857999"/>
              <a:gd name="connsiteX131" fmla="*/ 3519732 w 8124824"/>
              <a:gd name="connsiteY131" fmla="*/ 886166 h 6857999"/>
              <a:gd name="connsiteX132" fmla="*/ 3324452 w 8124824"/>
              <a:gd name="connsiteY132" fmla="*/ 854671 h 6857999"/>
              <a:gd name="connsiteX133" fmla="*/ 3382905 w 8124824"/>
              <a:gd name="connsiteY133" fmla="*/ 1116643 h 6857999"/>
              <a:gd name="connsiteX134" fmla="*/ 3656090 w 8124824"/>
              <a:gd name="connsiteY134" fmla="*/ 1116643 h 6857999"/>
              <a:gd name="connsiteX135" fmla="*/ 3714595 w 8124824"/>
              <a:gd name="connsiteY135" fmla="*/ 854671 h 6857999"/>
              <a:gd name="connsiteX136" fmla="*/ 3324505 w 8124824"/>
              <a:gd name="connsiteY136" fmla="*/ 854671 h 6857999"/>
              <a:gd name="connsiteX137" fmla="*/ 1116267 w 8124824"/>
              <a:gd name="connsiteY137" fmla="*/ 850675 h 6857999"/>
              <a:gd name="connsiteX138" fmla="*/ 1090163 w 8124824"/>
              <a:gd name="connsiteY138" fmla="*/ 860785 h 6857999"/>
              <a:gd name="connsiteX139" fmla="*/ 1085782 w 8124824"/>
              <a:gd name="connsiteY139" fmla="*/ 864695 h 6857999"/>
              <a:gd name="connsiteX140" fmla="*/ 1294150 w 8124824"/>
              <a:gd name="connsiteY140" fmla="*/ 986346 h 6857999"/>
              <a:gd name="connsiteX141" fmla="*/ 1294150 w 8124824"/>
              <a:gd name="connsiteY141" fmla="*/ 986295 h 6857999"/>
              <a:gd name="connsiteX142" fmla="*/ 1396144 w 8124824"/>
              <a:gd name="connsiteY142" fmla="*/ 932117 h 6857999"/>
              <a:gd name="connsiteX143" fmla="*/ 1149764 w 8124824"/>
              <a:gd name="connsiteY143" fmla="*/ 856716 h 6857999"/>
              <a:gd name="connsiteX144" fmla="*/ 1116267 w 8124824"/>
              <a:gd name="connsiteY144" fmla="*/ 850675 h 6857999"/>
              <a:gd name="connsiteX145" fmla="*/ 1645683 w 8124824"/>
              <a:gd name="connsiteY145" fmla="*/ 847722 h 6857999"/>
              <a:gd name="connsiteX146" fmla="*/ 1627872 w 8124824"/>
              <a:gd name="connsiteY146" fmla="*/ 852806 h 6857999"/>
              <a:gd name="connsiteX147" fmla="*/ 1175522 w 8124824"/>
              <a:gd name="connsiteY147" fmla="*/ 1086568 h 6857999"/>
              <a:gd name="connsiteX148" fmla="*/ 1149243 w 8124824"/>
              <a:gd name="connsiteY148" fmla="*/ 1088184 h 6857999"/>
              <a:gd name="connsiteX149" fmla="*/ 1049335 w 8124824"/>
              <a:gd name="connsiteY149" fmla="*/ 1058514 h 6857999"/>
              <a:gd name="connsiteX150" fmla="*/ 1024878 w 8124824"/>
              <a:gd name="connsiteY150" fmla="*/ 1071185 h 6857999"/>
              <a:gd name="connsiteX151" fmla="*/ 1173488 w 8124824"/>
              <a:gd name="connsiteY151" fmla="*/ 1171876 h 6857999"/>
              <a:gd name="connsiteX152" fmla="*/ 1211867 w 8124824"/>
              <a:gd name="connsiteY152" fmla="*/ 1172710 h 6857999"/>
              <a:gd name="connsiteX153" fmla="*/ 1670683 w 8124824"/>
              <a:gd name="connsiteY153" fmla="*/ 935611 h 6857999"/>
              <a:gd name="connsiteX154" fmla="*/ 1690706 w 8124824"/>
              <a:gd name="connsiteY154" fmla="*/ 872830 h 6857999"/>
              <a:gd name="connsiteX155" fmla="*/ 1645683 w 8124824"/>
              <a:gd name="connsiteY155" fmla="*/ 847722 h 6857999"/>
              <a:gd name="connsiteX156" fmla="*/ 2536950 w 8124824"/>
              <a:gd name="connsiteY156" fmla="*/ 805950 h 6857999"/>
              <a:gd name="connsiteX157" fmla="*/ 2536950 w 8124824"/>
              <a:gd name="connsiteY157" fmla="*/ 999352 h 6857999"/>
              <a:gd name="connsiteX158" fmla="*/ 2601034 w 8124824"/>
              <a:gd name="connsiteY158" fmla="*/ 999352 h 6857999"/>
              <a:gd name="connsiteX159" fmla="*/ 2346258 w 8124824"/>
              <a:gd name="connsiteY159" fmla="*/ 805950 h 6857999"/>
              <a:gd name="connsiteX160" fmla="*/ 2332388 w 8124824"/>
              <a:gd name="connsiteY160" fmla="*/ 847718 h 6857999"/>
              <a:gd name="connsiteX161" fmla="*/ 2325819 w 8124824"/>
              <a:gd name="connsiteY161" fmla="*/ 867688 h 6857999"/>
              <a:gd name="connsiteX162" fmla="*/ 2282225 w 8124824"/>
              <a:gd name="connsiteY162" fmla="*/ 999352 h 6857999"/>
              <a:gd name="connsiteX163" fmla="*/ 2503524 w 8124824"/>
              <a:gd name="connsiteY163" fmla="*/ 999352 h 6857999"/>
              <a:gd name="connsiteX164" fmla="*/ 2503524 w 8124824"/>
              <a:gd name="connsiteY164" fmla="*/ 805950 h 6857999"/>
              <a:gd name="connsiteX165" fmla="*/ 2503473 w 8124824"/>
              <a:gd name="connsiteY165" fmla="*/ 805950 h 6857999"/>
              <a:gd name="connsiteX166" fmla="*/ 6612334 w 8124824"/>
              <a:gd name="connsiteY166" fmla="*/ 787455 h 6857999"/>
              <a:gd name="connsiteX167" fmla="*/ 6887371 w 8124824"/>
              <a:gd name="connsiteY167" fmla="*/ 787455 h 6857999"/>
              <a:gd name="connsiteX168" fmla="*/ 6887371 w 8124824"/>
              <a:gd name="connsiteY168" fmla="*/ 831020 h 6857999"/>
              <a:gd name="connsiteX169" fmla="*/ 6829467 w 8124824"/>
              <a:gd name="connsiteY169" fmla="*/ 831020 h 6857999"/>
              <a:gd name="connsiteX170" fmla="*/ 6829467 w 8124824"/>
              <a:gd name="connsiteY170" fmla="*/ 886493 h 6857999"/>
              <a:gd name="connsiteX171" fmla="*/ 6670236 w 8124824"/>
              <a:gd name="connsiteY171" fmla="*/ 886493 h 6857999"/>
              <a:gd name="connsiteX172" fmla="*/ 6670236 w 8124824"/>
              <a:gd name="connsiteY172" fmla="*/ 831020 h 6857999"/>
              <a:gd name="connsiteX173" fmla="*/ 6612334 w 8124824"/>
              <a:gd name="connsiteY173" fmla="*/ 831020 h 6857999"/>
              <a:gd name="connsiteX174" fmla="*/ 5673793 w 8124824"/>
              <a:gd name="connsiteY174" fmla="*/ 779448 h 6857999"/>
              <a:gd name="connsiteX175" fmla="*/ 5519812 w 8124824"/>
              <a:gd name="connsiteY175" fmla="*/ 933482 h 6857999"/>
              <a:gd name="connsiteX176" fmla="*/ 5519812 w 8124824"/>
              <a:gd name="connsiteY176" fmla="*/ 933742 h 6857999"/>
              <a:gd name="connsiteX177" fmla="*/ 5547239 w 8124824"/>
              <a:gd name="connsiteY177" fmla="*/ 933742 h 6857999"/>
              <a:gd name="connsiteX178" fmla="*/ 5547239 w 8124824"/>
              <a:gd name="connsiteY178" fmla="*/ 933482 h 6857999"/>
              <a:gd name="connsiteX179" fmla="*/ 5673793 w 8124824"/>
              <a:gd name="connsiteY179" fmla="*/ 806876 h 6857999"/>
              <a:gd name="connsiteX180" fmla="*/ 5800398 w 8124824"/>
              <a:gd name="connsiteY180" fmla="*/ 933482 h 6857999"/>
              <a:gd name="connsiteX181" fmla="*/ 5800398 w 8124824"/>
              <a:gd name="connsiteY181" fmla="*/ 933742 h 6857999"/>
              <a:gd name="connsiteX182" fmla="*/ 5827827 w 8124824"/>
              <a:gd name="connsiteY182" fmla="*/ 933742 h 6857999"/>
              <a:gd name="connsiteX183" fmla="*/ 5827827 w 8124824"/>
              <a:gd name="connsiteY183" fmla="*/ 933482 h 6857999"/>
              <a:gd name="connsiteX184" fmla="*/ 5673793 w 8124824"/>
              <a:gd name="connsiteY184" fmla="*/ 779448 h 6857999"/>
              <a:gd name="connsiteX185" fmla="*/ 3593568 w 8124824"/>
              <a:gd name="connsiteY185" fmla="*/ 701471 h 6857999"/>
              <a:gd name="connsiteX186" fmla="*/ 3593568 w 8124824"/>
              <a:gd name="connsiteY186" fmla="*/ 817336 h 6857999"/>
              <a:gd name="connsiteX187" fmla="*/ 3631321 w 8124824"/>
              <a:gd name="connsiteY187" fmla="*/ 817336 h 6857999"/>
              <a:gd name="connsiteX188" fmla="*/ 3631321 w 8124824"/>
              <a:gd name="connsiteY188" fmla="*/ 701471 h 6857999"/>
              <a:gd name="connsiteX189" fmla="*/ 3407727 w 8124824"/>
              <a:gd name="connsiteY189" fmla="*/ 701471 h 6857999"/>
              <a:gd name="connsiteX190" fmla="*/ 3407727 w 8124824"/>
              <a:gd name="connsiteY190" fmla="*/ 817336 h 6857999"/>
              <a:gd name="connsiteX191" fmla="*/ 3445532 w 8124824"/>
              <a:gd name="connsiteY191" fmla="*/ 817336 h 6857999"/>
              <a:gd name="connsiteX192" fmla="*/ 3445532 w 8124824"/>
              <a:gd name="connsiteY192" fmla="*/ 701471 h 6857999"/>
              <a:gd name="connsiteX193" fmla="*/ 4658414 w 8124824"/>
              <a:gd name="connsiteY193" fmla="*/ 701330 h 6857999"/>
              <a:gd name="connsiteX194" fmla="*/ 4389090 w 8124824"/>
              <a:gd name="connsiteY194" fmla="*/ 1061593 h 6857999"/>
              <a:gd name="connsiteX195" fmla="*/ 4553344 w 8124824"/>
              <a:gd name="connsiteY195" fmla="*/ 1104351 h 6857999"/>
              <a:gd name="connsiteX196" fmla="*/ 4658414 w 8124824"/>
              <a:gd name="connsiteY196" fmla="*/ 701383 h 6857999"/>
              <a:gd name="connsiteX197" fmla="*/ 6748967 w 8124824"/>
              <a:gd name="connsiteY197" fmla="*/ 590424 h 6857999"/>
              <a:gd name="connsiteX198" fmla="*/ 6296111 w 8124824"/>
              <a:gd name="connsiteY198" fmla="*/ 1044976 h 6857999"/>
              <a:gd name="connsiteX199" fmla="*/ 6748967 w 8124824"/>
              <a:gd name="connsiteY199" fmla="*/ 1499528 h 6857999"/>
              <a:gd name="connsiteX200" fmla="*/ 7201823 w 8124824"/>
              <a:gd name="connsiteY200" fmla="*/ 1044976 h 6857999"/>
              <a:gd name="connsiteX201" fmla="*/ 6748967 w 8124824"/>
              <a:gd name="connsiteY201" fmla="*/ 590424 h 6857999"/>
              <a:gd name="connsiteX202" fmla="*/ 0 w 8124824"/>
              <a:gd name="connsiteY202" fmla="*/ 0 h 6857999"/>
              <a:gd name="connsiteX203" fmla="*/ 8124824 w 8124824"/>
              <a:gd name="connsiteY203" fmla="*/ 0 h 6857999"/>
              <a:gd name="connsiteX204" fmla="*/ 8124824 w 8124824"/>
              <a:gd name="connsiteY204" fmla="*/ 6857999 h 6857999"/>
              <a:gd name="connsiteX205" fmla="*/ 0 w 8124824"/>
              <a:gd name="connsiteY20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Lst>
            <a:rect l="l" t="t" r="r" b="b"/>
            <a:pathLst>
              <a:path w="8124824" h="6857999">
                <a:moveTo>
                  <a:pt x="3500648" y="1154291"/>
                </a:moveTo>
                <a:lnTo>
                  <a:pt x="3500648" y="1224425"/>
                </a:lnTo>
                <a:lnTo>
                  <a:pt x="3519525" y="1224425"/>
                </a:lnTo>
                <a:cubicBezTo>
                  <a:pt x="3560353" y="1224425"/>
                  <a:pt x="3593568" y="1257224"/>
                  <a:pt x="3593568" y="1297478"/>
                </a:cubicBezTo>
                <a:cubicBezTo>
                  <a:pt x="3593568" y="1337734"/>
                  <a:pt x="3560353" y="1370533"/>
                  <a:pt x="3519525" y="1370533"/>
                </a:cubicBezTo>
                <a:cubicBezTo>
                  <a:pt x="3478694" y="1370533"/>
                  <a:pt x="3445479" y="1337734"/>
                  <a:pt x="3445479" y="1297478"/>
                </a:cubicBezTo>
                <a:lnTo>
                  <a:pt x="3407727" y="1297478"/>
                </a:lnTo>
                <a:cubicBezTo>
                  <a:pt x="3407727" y="1358331"/>
                  <a:pt x="3457890" y="1407816"/>
                  <a:pt x="3519525" y="1407816"/>
                </a:cubicBezTo>
                <a:lnTo>
                  <a:pt x="3519525" y="1407868"/>
                </a:lnTo>
                <a:cubicBezTo>
                  <a:pt x="3581159" y="1407868"/>
                  <a:pt x="3631321" y="1358331"/>
                  <a:pt x="3631321" y="1297531"/>
                </a:cubicBezTo>
                <a:cubicBezTo>
                  <a:pt x="3631321" y="1243040"/>
                  <a:pt x="3591066" y="1197623"/>
                  <a:pt x="3538401" y="1188759"/>
                </a:cubicBezTo>
                <a:lnTo>
                  <a:pt x="3538401" y="1154291"/>
                </a:lnTo>
                <a:close/>
                <a:moveTo>
                  <a:pt x="1479209" y="1074105"/>
                </a:moveTo>
                <a:cubicBezTo>
                  <a:pt x="1464558" y="1081666"/>
                  <a:pt x="1417524" y="1105966"/>
                  <a:pt x="1408607" y="1110605"/>
                </a:cubicBezTo>
                <a:lnTo>
                  <a:pt x="1408554" y="1110658"/>
                </a:lnTo>
                <a:cubicBezTo>
                  <a:pt x="1408554" y="1111076"/>
                  <a:pt x="1408658" y="1112013"/>
                  <a:pt x="1408658" y="1112535"/>
                </a:cubicBezTo>
                <a:cubicBezTo>
                  <a:pt x="1408658" y="1112535"/>
                  <a:pt x="1408554" y="1112535"/>
                  <a:pt x="1408554" y="1112587"/>
                </a:cubicBezTo>
                <a:cubicBezTo>
                  <a:pt x="1410066" y="1137042"/>
                  <a:pt x="1416793" y="1250665"/>
                  <a:pt x="1418827" y="1286331"/>
                </a:cubicBezTo>
                <a:cubicBezTo>
                  <a:pt x="1420391" y="1285392"/>
                  <a:pt x="1421956" y="1284507"/>
                  <a:pt x="1423676" y="1283620"/>
                </a:cubicBezTo>
                <a:cubicBezTo>
                  <a:pt x="1442291" y="1273973"/>
                  <a:pt x="1450582" y="1259947"/>
                  <a:pt x="1454389" y="1231945"/>
                </a:cubicBezTo>
                <a:cubicBezTo>
                  <a:pt x="1461846" y="1175890"/>
                  <a:pt x="1470241" y="1127032"/>
                  <a:pt x="1479209" y="1076087"/>
                </a:cubicBezTo>
                <a:cubicBezTo>
                  <a:pt x="1479105" y="1076087"/>
                  <a:pt x="1478949" y="1076244"/>
                  <a:pt x="1478845" y="1076244"/>
                </a:cubicBezTo>
                <a:cubicBezTo>
                  <a:pt x="1479002" y="1075566"/>
                  <a:pt x="1479105" y="1074835"/>
                  <a:pt x="1479209" y="1074105"/>
                </a:cubicBezTo>
                <a:close/>
                <a:moveTo>
                  <a:pt x="6746051" y="1051244"/>
                </a:moveTo>
                <a:lnTo>
                  <a:pt x="6747249" y="1051400"/>
                </a:lnTo>
                <a:lnTo>
                  <a:pt x="7023066" y="1080026"/>
                </a:lnTo>
                <a:lnTo>
                  <a:pt x="7025408" y="1080235"/>
                </a:lnTo>
                <a:cubicBezTo>
                  <a:pt x="7030460" y="1080809"/>
                  <a:pt x="7033323" y="1086399"/>
                  <a:pt x="7030772" y="1090786"/>
                </a:cubicBezTo>
                <a:lnTo>
                  <a:pt x="6930952" y="1296019"/>
                </a:lnTo>
                <a:lnTo>
                  <a:pt x="6566512" y="1296019"/>
                </a:lnTo>
                <a:lnTo>
                  <a:pt x="6466589" y="1090786"/>
                </a:lnTo>
                <a:cubicBezTo>
                  <a:pt x="6464090" y="1086450"/>
                  <a:pt x="6466797" y="1080861"/>
                  <a:pt x="6471900" y="1080235"/>
                </a:cubicBezTo>
                <a:lnTo>
                  <a:pt x="6476951" y="1079713"/>
                </a:lnTo>
                <a:close/>
                <a:moveTo>
                  <a:pt x="5673793" y="1044602"/>
                </a:moveTo>
                <a:cubicBezTo>
                  <a:pt x="5660548" y="1044602"/>
                  <a:pt x="5648764" y="1050598"/>
                  <a:pt x="5640838" y="1059984"/>
                </a:cubicBezTo>
                <a:cubicBezTo>
                  <a:pt x="5637396" y="1064051"/>
                  <a:pt x="5634738" y="1068639"/>
                  <a:pt x="5633017" y="1073698"/>
                </a:cubicBezTo>
                <a:cubicBezTo>
                  <a:pt x="5631453" y="1078026"/>
                  <a:pt x="5630670" y="1082614"/>
                  <a:pt x="5630670" y="1087412"/>
                </a:cubicBezTo>
                <a:lnTo>
                  <a:pt x="5630670" y="1087620"/>
                </a:lnTo>
                <a:cubicBezTo>
                  <a:pt x="5630670" y="1100916"/>
                  <a:pt x="5636615" y="1113171"/>
                  <a:pt x="5647043" y="1121410"/>
                </a:cubicBezTo>
                <a:lnTo>
                  <a:pt x="5653040" y="1126154"/>
                </a:lnTo>
                <a:lnTo>
                  <a:pt x="5646626" y="1181323"/>
                </a:lnTo>
                <a:lnTo>
                  <a:pt x="5700804" y="1181323"/>
                </a:lnTo>
                <a:lnTo>
                  <a:pt x="5694286" y="1126154"/>
                </a:lnTo>
                <a:lnTo>
                  <a:pt x="5700386" y="1121410"/>
                </a:lnTo>
                <a:cubicBezTo>
                  <a:pt x="5710764" y="1113171"/>
                  <a:pt x="5716760" y="1100916"/>
                  <a:pt x="5716760" y="1087620"/>
                </a:cubicBezTo>
                <a:lnTo>
                  <a:pt x="5716760" y="1087412"/>
                </a:lnTo>
                <a:lnTo>
                  <a:pt x="5716864" y="1087412"/>
                </a:lnTo>
                <a:cubicBezTo>
                  <a:pt x="5716864" y="1082614"/>
                  <a:pt x="5716030" y="1078026"/>
                  <a:pt x="5714518" y="1073698"/>
                </a:cubicBezTo>
                <a:cubicBezTo>
                  <a:pt x="5712797" y="1068639"/>
                  <a:pt x="5710137" y="1064051"/>
                  <a:pt x="5706695" y="1059984"/>
                </a:cubicBezTo>
                <a:cubicBezTo>
                  <a:pt x="5698822" y="1050598"/>
                  <a:pt x="5687038" y="1044602"/>
                  <a:pt x="5673793" y="1044602"/>
                </a:cubicBezTo>
                <a:close/>
                <a:moveTo>
                  <a:pt x="2527407" y="1036166"/>
                </a:moveTo>
                <a:lnTo>
                  <a:pt x="2463323" y="1229673"/>
                </a:lnTo>
                <a:lnTo>
                  <a:pt x="2684621" y="1229673"/>
                </a:lnTo>
                <a:lnTo>
                  <a:pt x="2684621" y="1036166"/>
                </a:lnTo>
                <a:close/>
                <a:moveTo>
                  <a:pt x="2718046" y="1036114"/>
                </a:moveTo>
                <a:lnTo>
                  <a:pt x="2718046" y="1229620"/>
                </a:lnTo>
                <a:lnTo>
                  <a:pt x="2782130" y="1229620"/>
                </a:lnTo>
                <a:close/>
                <a:moveTo>
                  <a:pt x="2359190" y="1034967"/>
                </a:moveTo>
                <a:lnTo>
                  <a:pt x="2359190" y="1228368"/>
                </a:lnTo>
                <a:lnTo>
                  <a:pt x="2423275" y="1228368"/>
                </a:lnTo>
                <a:close/>
                <a:moveTo>
                  <a:pt x="2168552" y="1034967"/>
                </a:moveTo>
                <a:lnTo>
                  <a:pt x="2104466" y="1228368"/>
                </a:lnTo>
                <a:lnTo>
                  <a:pt x="2325766" y="1228368"/>
                </a:lnTo>
                <a:lnTo>
                  <a:pt x="2325766" y="1034967"/>
                </a:lnTo>
                <a:close/>
                <a:moveTo>
                  <a:pt x="5673793" y="1017173"/>
                </a:moveTo>
                <a:cubicBezTo>
                  <a:pt x="5702889" y="1017173"/>
                  <a:pt x="5727866" y="1034799"/>
                  <a:pt x="5738607" y="1059984"/>
                </a:cubicBezTo>
                <a:cubicBezTo>
                  <a:pt x="5740537" y="1064312"/>
                  <a:pt x="5741998" y="1069004"/>
                  <a:pt x="5742936" y="1073698"/>
                </a:cubicBezTo>
                <a:cubicBezTo>
                  <a:pt x="5743822" y="1078130"/>
                  <a:pt x="5744291" y="1082771"/>
                  <a:pt x="5744291" y="1087412"/>
                </a:cubicBezTo>
                <a:lnTo>
                  <a:pt x="5744291" y="1087620"/>
                </a:lnTo>
                <a:cubicBezTo>
                  <a:pt x="5744291" y="1106705"/>
                  <a:pt x="5736730" y="1124486"/>
                  <a:pt x="5723382" y="1137678"/>
                </a:cubicBezTo>
                <a:lnTo>
                  <a:pt x="5731726" y="1208803"/>
                </a:lnTo>
                <a:lnTo>
                  <a:pt x="5615860" y="1208803"/>
                </a:lnTo>
                <a:lnTo>
                  <a:pt x="5624152" y="1137678"/>
                </a:lnTo>
                <a:cubicBezTo>
                  <a:pt x="5610803" y="1124486"/>
                  <a:pt x="5603242" y="1106653"/>
                  <a:pt x="5603242" y="1087620"/>
                </a:cubicBezTo>
                <a:lnTo>
                  <a:pt x="5603242" y="1087412"/>
                </a:lnTo>
                <a:cubicBezTo>
                  <a:pt x="5603242" y="1082771"/>
                  <a:pt x="5603764" y="1078130"/>
                  <a:pt x="5604650" y="1073698"/>
                </a:cubicBezTo>
                <a:cubicBezTo>
                  <a:pt x="5605641" y="1069004"/>
                  <a:pt x="5607049" y="1064312"/>
                  <a:pt x="5608979" y="1059984"/>
                </a:cubicBezTo>
                <a:cubicBezTo>
                  <a:pt x="5619772" y="1034799"/>
                  <a:pt x="5644696" y="1017173"/>
                  <a:pt x="5673793" y="1017173"/>
                </a:cubicBezTo>
                <a:close/>
                <a:moveTo>
                  <a:pt x="6761776" y="999688"/>
                </a:moveTo>
                <a:lnTo>
                  <a:pt x="6861908" y="999688"/>
                </a:lnTo>
                <a:lnTo>
                  <a:pt x="6861908" y="1034162"/>
                </a:lnTo>
                <a:lnTo>
                  <a:pt x="6765681" y="1024134"/>
                </a:lnTo>
                <a:lnTo>
                  <a:pt x="6761776" y="1023715"/>
                </a:lnTo>
                <a:close/>
                <a:moveTo>
                  <a:pt x="6890858" y="999635"/>
                </a:moveTo>
                <a:lnTo>
                  <a:pt x="6994167" y="999635"/>
                </a:lnTo>
                <a:lnTo>
                  <a:pt x="6994167" y="1047849"/>
                </a:lnTo>
                <a:lnTo>
                  <a:pt x="6894036" y="1037453"/>
                </a:lnTo>
                <a:lnTo>
                  <a:pt x="6890858" y="1037087"/>
                </a:lnTo>
                <a:close/>
                <a:moveTo>
                  <a:pt x="6633526" y="999635"/>
                </a:moveTo>
                <a:lnTo>
                  <a:pt x="6633579" y="999635"/>
                </a:lnTo>
                <a:lnTo>
                  <a:pt x="6732877" y="999635"/>
                </a:lnTo>
                <a:lnTo>
                  <a:pt x="6732877" y="1023455"/>
                </a:lnTo>
                <a:lnTo>
                  <a:pt x="6638161" y="1033483"/>
                </a:lnTo>
                <a:lnTo>
                  <a:pt x="6633526" y="1033902"/>
                </a:lnTo>
                <a:close/>
                <a:moveTo>
                  <a:pt x="6505955" y="999635"/>
                </a:moveTo>
                <a:lnTo>
                  <a:pt x="6604524" y="999635"/>
                </a:lnTo>
                <a:lnTo>
                  <a:pt x="6604524" y="1037036"/>
                </a:lnTo>
                <a:lnTo>
                  <a:pt x="6505955" y="1047430"/>
                </a:lnTo>
                <a:close/>
                <a:moveTo>
                  <a:pt x="4629579" y="974096"/>
                </a:moveTo>
                <a:lnTo>
                  <a:pt x="4519033" y="1398184"/>
                </a:lnTo>
                <a:lnTo>
                  <a:pt x="4802384" y="1019096"/>
                </a:lnTo>
                <a:lnTo>
                  <a:pt x="4629631" y="974096"/>
                </a:lnTo>
                <a:close/>
                <a:moveTo>
                  <a:pt x="5476897" y="961170"/>
                </a:moveTo>
                <a:lnTo>
                  <a:pt x="5476897" y="1285663"/>
                </a:lnTo>
                <a:lnTo>
                  <a:pt x="5870742" y="1285663"/>
                </a:lnTo>
                <a:lnTo>
                  <a:pt x="5870742" y="961170"/>
                </a:lnTo>
                <a:close/>
                <a:moveTo>
                  <a:pt x="3519732" y="923709"/>
                </a:moveTo>
                <a:cubicBezTo>
                  <a:pt x="3486517" y="923709"/>
                  <a:pt x="3459611" y="950667"/>
                  <a:pt x="3459611" y="983831"/>
                </a:cubicBezTo>
                <a:cubicBezTo>
                  <a:pt x="3459611" y="1016995"/>
                  <a:pt x="3486569" y="1043901"/>
                  <a:pt x="3519732" y="1043901"/>
                </a:cubicBezTo>
                <a:cubicBezTo>
                  <a:pt x="3552896" y="1043901"/>
                  <a:pt x="3579804" y="1016995"/>
                  <a:pt x="3579804" y="983831"/>
                </a:cubicBezTo>
                <a:cubicBezTo>
                  <a:pt x="3579804" y="950616"/>
                  <a:pt x="3552949" y="923709"/>
                  <a:pt x="3519732" y="923709"/>
                </a:cubicBezTo>
                <a:close/>
                <a:moveTo>
                  <a:pt x="6890858" y="915536"/>
                </a:moveTo>
                <a:lnTo>
                  <a:pt x="6994167" y="915536"/>
                </a:lnTo>
                <a:lnTo>
                  <a:pt x="6994167" y="970592"/>
                </a:lnTo>
                <a:lnTo>
                  <a:pt x="6890858" y="970592"/>
                </a:lnTo>
                <a:close/>
                <a:moveTo>
                  <a:pt x="6761776" y="915536"/>
                </a:moveTo>
                <a:lnTo>
                  <a:pt x="6861908" y="915536"/>
                </a:lnTo>
                <a:lnTo>
                  <a:pt x="6861908" y="970592"/>
                </a:lnTo>
                <a:lnTo>
                  <a:pt x="6761776" y="970592"/>
                </a:lnTo>
                <a:close/>
                <a:moveTo>
                  <a:pt x="6633526" y="915536"/>
                </a:moveTo>
                <a:lnTo>
                  <a:pt x="6732825" y="915536"/>
                </a:lnTo>
                <a:lnTo>
                  <a:pt x="6732825" y="970592"/>
                </a:lnTo>
                <a:lnTo>
                  <a:pt x="6633526" y="970592"/>
                </a:lnTo>
                <a:close/>
                <a:moveTo>
                  <a:pt x="6506006" y="915536"/>
                </a:moveTo>
                <a:lnTo>
                  <a:pt x="6604575" y="915536"/>
                </a:lnTo>
                <a:lnTo>
                  <a:pt x="6604575" y="970592"/>
                </a:lnTo>
                <a:lnTo>
                  <a:pt x="6506006" y="970592"/>
                </a:lnTo>
                <a:close/>
                <a:moveTo>
                  <a:pt x="3519732" y="886166"/>
                </a:moveTo>
                <a:cubicBezTo>
                  <a:pt x="3573702" y="886166"/>
                  <a:pt x="3617398" y="929863"/>
                  <a:pt x="3617398" y="983780"/>
                </a:cubicBezTo>
                <a:cubicBezTo>
                  <a:pt x="3617398" y="1037697"/>
                  <a:pt x="3573702" y="1081446"/>
                  <a:pt x="3519732" y="1081446"/>
                </a:cubicBezTo>
                <a:cubicBezTo>
                  <a:pt x="3465764" y="1081446"/>
                  <a:pt x="3422066" y="1037749"/>
                  <a:pt x="3422066" y="983780"/>
                </a:cubicBezTo>
                <a:cubicBezTo>
                  <a:pt x="3422066" y="929811"/>
                  <a:pt x="3465764" y="886166"/>
                  <a:pt x="3519732" y="886166"/>
                </a:cubicBezTo>
                <a:close/>
                <a:moveTo>
                  <a:pt x="3324452" y="854671"/>
                </a:moveTo>
                <a:lnTo>
                  <a:pt x="3382905" y="1116643"/>
                </a:lnTo>
                <a:lnTo>
                  <a:pt x="3656090" y="1116643"/>
                </a:lnTo>
                <a:lnTo>
                  <a:pt x="3714595" y="854671"/>
                </a:lnTo>
                <a:lnTo>
                  <a:pt x="3324505" y="854671"/>
                </a:lnTo>
                <a:close/>
                <a:moveTo>
                  <a:pt x="1116267" y="850675"/>
                </a:moveTo>
                <a:cubicBezTo>
                  <a:pt x="1106823" y="851242"/>
                  <a:pt x="1098610" y="854501"/>
                  <a:pt x="1090163" y="860785"/>
                </a:cubicBezTo>
                <a:cubicBezTo>
                  <a:pt x="1088702" y="861827"/>
                  <a:pt x="1087399" y="863027"/>
                  <a:pt x="1085782" y="864695"/>
                </a:cubicBezTo>
                <a:cubicBezTo>
                  <a:pt x="1085782" y="864695"/>
                  <a:pt x="1255981" y="964863"/>
                  <a:pt x="1294150" y="986346"/>
                </a:cubicBezTo>
                <a:lnTo>
                  <a:pt x="1294150" y="986295"/>
                </a:lnTo>
                <a:lnTo>
                  <a:pt x="1396144" y="932117"/>
                </a:lnTo>
                <a:cubicBezTo>
                  <a:pt x="1375391" y="925911"/>
                  <a:pt x="1172551" y="864330"/>
                  <a:pt x="1149764" y="856716"/>
                </a:cubicBezTo>
                <a:cubicBezTo>
                  <a:pt x="1136389" y="852232"/>
                  <a:pt x="1125712" y="850108"/>
                  <a:pt x="1116267" y="850675"/>
                </a:cubicBezTo>
                <a:close/>
                <a:moveTo>
                  <a:pt x="1645683" y="847722"/>
                </a:moveTo>
                <a:cubicBezTo>
                  <a:pt x="1639644" y="848188"/>
                  <a:pt x="1633595" y="849847"/>
                  <a:pt x="1627872" y="852806"/>
                </a:cubicBezTo>
                <a:cubicBezTo>
                  <a:pt x="1626881" y="853327"/>
                  <a:pt x="1211190" y="1068161"/>
                  <a:pt x="1175522" y="1086568"/>
                </a:cubicBezTo>
                <a:cubicBezTo>
                  <a:pt x="1164677" y="1092147"/>
                  <a:pt x="1152632" y="1089123"/>
                  <a:pt x="1149243" y="1088184"/>
                </a:cubicBezTo>
                <a:cubicBezTo>
                  <a:pt x="1132921" y="1083334"/>
                  <a:pt x="1049335" y="1058514"/>
                  <a:pt x="1049335" y="1058514"/>
                </a:cubicBezTo>
                <a:cubicBezTo>
                  <a:pt x="1040416" y="1063155"/>
                  <a:pt x="1033273" y="1066805"/>
                  <a:pt x="1024878" y="1071185"/>
                </a:cubicBezTo>
                <a:cubicBezTo>
                  <a:pt x="1024878" y="1071185"/>
                  <a:pt x="1131095" y="1143091"/>
                  <a:pt x="1173488" y="1171876"/>
                </a:cubicBezTo>
                <a:cubicBezTo>
                  <a:pt x="1185952" y="1180322"/>
                  <a:pt x="1196068" y="1180792"/>
                  <a:pt x="1211867" y="1172710"/>
                </a:cubicBezTo>
                <a:cubicBezTo>
                  <a:pt x="1243153" y="1156649"/>
                  <a:pt x="1653424" y="944475"/>
                  <a:pt x="1670683" y="935611"/>
                </a:cubicBezTo>
                <a:cubicBezTo>
                  <a:pt x="1693522" y="923878"/>
                  <a:pt x="1702491" y="895668"/>
                  <a:pt x="1690706" y="872830"/>
                </a:cubicBezTo>
                <a:cubicBezTo>
                  <a:pt x="1681828" y="855661"/>
                  <a:pt x="1663800" y="846324"/>
                  <a:pt x="1645683" y="847722"/>
                </a:cubicBezTo>
                <a:close/>
                <a:moveTo>
                  <a:pt x="2536950" y="805950"/>
                </a:moveTo>
                <a:lnTo>
                  <a:pt x="2536950" y="999352"/>
                </a:lnTo>
                <a:lnTo>
                  <a:pt x="2601034" y="999352"/>
                </a:lnTo>
                <a:close/>
                <a:moveTo>
                  <a:pt x="2346258" y="805950"/>
                </a:moveTo>
                <a:lnTo>
                  <a:pt x="2332388" y="847718"/>
                </a:lnTo>
                <a:lnTo>
                  <a:pt x="2325819" y="867688"/>
                </a:lnTo>
                <a:lnTo>
                  <a:pt x="2282225" y="999352"/>
                </a:lnTo>
                <a:lnTo>
                  <a:pt x="2503524" y="999352"/>
                </a:lnTo>
                <a:lnTo>
                  <a:pt x="2503524" y="805950"/>
                </a:lnTo>
                <a:lnTo>
                  <a:pt x="2503473" y="805950"/>
                </a:lnTo>
                <a:close/>
                <a:moveTo>
                  <a:pt x="6612334" y="787455"/>
                </a:moveTo>
                <a:lnTo>
                  <a:pt x="6887371" y="787455"/>
                </a:lnTo>
                <a:lnTo>
                  <a:pt x="6887371" y="831020"/>
                </a:lnTo>
                <a:lnTo>
                  <a:pt x="6829467" y="831020"/>
                </a:lnTo>
                <a:lnTo>
                  <a:pt x="6829467" y="886493"/>
                </a:lnTo>
                <a:lnTo>
                  <a:pt x="6670236" y="886493"/>
                </a:lnTo>
                <a:lnTo>
                  <a:pt x="6670236" y="831020"/>
                </a:lnTo>
                <a:lnTo>
                  <a:pt x="6612334" y="831020"/>
                </a:lnTo>
                <a:close/>
                <a:moveTo>
                  <a:pt x="5673793" y="779448"/>
                </a:moveTo>
                <a:cubicBezTo>
                  <a:pt x="5588902" y="779448"/>
                  <a:pt x="5519812" y="848591"/>
                  <a:pt x="5519812" y="933482"/>
                </a:cubicBezTo>
                <a:lnTo>
                  <a:pt x="5519812" y="933742"/>
                </a:lnTo>
                <a:lnTo>
                  <a:pt x="5547239" y="933742"/>
                </a:lnTo>
                <a:lnTo>
                  <a:pt x="5547239" y="933482"/>
                </a:lnTo>
                <a:cubicBezTo>
                  <a:pt x="5547239" y="863660"/>
                  <a:pt x="5603972" y="806876"/>
                  <a:pt x="5673793" y="806876"/>
                </a:cubicBezTo>
                <a:cubicBezTo>
                  <a:pt x="5743613" y="806876"/>
                  <a:pt x="5800398" y="863660"/>
                  <a:pt x="5800398" y="933482"/>
                </a:cubicBezTo>
                <a:lnTo>
                  <a:pt x="5800398" y="933742"/>
                </a:lnTo>
                <a:lnTo>
                  <a:pt x="5827827" y="933742"/>
                </a:lnTo>
                <a:lnTo>
                  <a:pt x="5827827" y="933482"/>
                </a:lnTo>
                <a:cubicBezTo>
                  <a:pt x="5827827" y="848591"/>
                  <a:pt x="5758683" y="779448"/>
                  <a:pt x="5673793" y="779448"/>
                </a:cubicBezTo>
                <a:close/>
                <a:moveTo>
                  <a:pt x="3593568" y="701471"/>
                </a:moveTo>
                <a:lnTo>
                  <a:pt x="3593568" y="817336"/>
                </a:lnTo>
                <a:cubicBezTo>
                  <a:pt x="3593568" y="817336"/>
                  <a:pt x="3631321" y="817336"/>
                  <a:pt x="3631321" y="817336"/>
                </a:cubicBezTo>
                <a:lnTo>
                  <a:pt x="3631321" y="701471"/>
                </a:lnTo>
                <a:close/>
                <a:moveTo>
                  <a:pt x="3407727" y="701471"/>
                </a:moveTo>
                <a:lnTo>
                  <a:pt x="3407727" y="817336"/>
                </a:lnTo>
                <a:lnTo>
                  <a:pt x="3445532" y="817336"/>
                </a:lnTo>
                <a:lnTo>
                  <a:pt x="3445532" y="701471"/>
                </a:lnTo>
                <a:close/>
                <a:moveTo>
                  <a:pt x="4658414" y="701330"/>
                </a:moveTo>
                <a:lnTo>
                  <a:pt x="4389090" y="1061593"/>
                </a:lnTo>
                <a:lnTo>
                  <a:pt x="4553344" y="1104351"/>
                </a:lnTo>
                <a:lnTo>
                  <a:pt x="4658414" y="701383"/>
                </a:lnTo>
                <a:close/>
                <a:moveTo>
                  <a:pt x="6748967" y="590424"/>
                </a:moveTo>
                <a:cubicBezTo>
                  <a:pt x="6498873" y="590424"/>
                  <a:pt x="6296111" y="793933"/>
                  <a:pt x="6296111" y="1044976"/>
                </a:cubicBezTo>
                <a:cubicBezTo>
                  <a:pt x="6296111" y="1296019"/>
                  <a:pt x="6498873" y="1499528"/>
                  <a:pt x="6748967" y="1499528"/>
                </a:cubicBezTo>
                <a:cubicBezTo>
                  <a:pt x="6999061" y="1499528"/>
                  <a:pt x="7201823" y="1296019"/>
                  <a:pt x="7201823" y="1044976"/>
                </a:cubicBezTo>
                <a:cubicBezTo>
                  <a:pt x="7201823" y="793933"/>
                  <a:pt x="6999061" y="590424"/>
                  <a:pt x="6748967" y="590424"/>
                </a:cubicBezTo>
                <a:close/>
                <a:moveTo>
                  <a:pt x="0" y="0"/>
                </a:moveTo>
                <a:lnTo>
                  <a:pt x="8124824" y="0"/>
                </a:lnTo>
                <a:lnTo>
                  <a:pt x="8124824" y="6857999"/>
                </a:lnTo>
                <a:lnTo>
                  <a:pt x="0" y="6857999"/>
                </a:lnTo>
                <a:close/>
              </a:path>
            </a:pathLst>
          </a:custGeom>
          <a:solidFill>
            <a:schemeClr val="tx1"/>
          </a:solidFill>
        </p:spPr>
        <p:txBody>
          <a:bodyPr vert="horz" wrap="square" lIns="0" tIns="45720" rIns="0" bIns="45720" rtlCol="0" anchor="ctr">
            <a:noAutofit/>
          </a:bodyPr>
          <a:lstStyle>
            <a:lvl1pPr algn="ctr">
              <a:defRPr lang="en-GB" sz="2800" b="0" dirty="0">
                <a:solidFill>
                  <a:schemeClr val="bg1"/>
                </a:solidFill>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US" dirty="0"/>
              <a:t>ADD RELATED IMAGE </a:t>
            </a:r>
            <a:br>
              <a:rPr lang="en-US" dirty="0"/>
            </a:br>
            <a:r>
              <a:rPr lang="en-US" dirty="0"/>
              <a:t>FROM HFW IMAGE LIBRARY</a:t>
            </a:r>
            <a:endParaRPr lang="en-GB" dirty="0"/>
          </a:p>
        </p:txBody>
      </p:sp>
      <p:sp>
        <p:nvSpPr>
          <p:cNvPr id="9" name="Rectangle 8">
            <a:extLst>
              <a:ext uri="{FF2B5EF4-FFF2-40B4-BE49-F238E27FC236}">
                <a16:creationId xmlns:a16="http://schemas.microsoft.com/office/drawing/2014/main" id="{708FD88D-9C74-4D94-62A5-47E768F9DCD7}"/>
              </a:ext>
            </a:extLst>
          </p:cNvPr>
          <p:cNvSpPr/>
          <p:nvPr userDrawn="1"/>
        </p:nvSpPr>
        <p:spPr>
          <a:xfrm>
            <a:off x="0" y="0"/>
            <a:ext cx="406717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Text Placeholder 12">
            <a:extLst>
              <a:ext uri="{FF2B5EF4-FFF2-40B4-BE49-F238E27FC236}">
                <a16:creationId xmlns:a16="http://schemas.microsoft.com/office/drawing/2014/main" id="{BBA3AA40-3440-5851-3972-390D3DEB2219}"/>
              </a:ext>
            </a:extLst>
          </p:cNvPr>
          <p:cNvSpPr>
            <a:spLocks noGrp="1"/>
          </p:cNvSpPr>
          <p:nvPr>
            <p:ph type="body" sz="quarter" idx="14" hasCustomPrompt="1"/>
          </p:nvPr>
        </p:nvSpPr>
        <p:spPr>
          <a:xfrm>
            <a:off x="508939" y="5989638"/>
            <a:ext cx="3387140" cy="230187"/>
          </a:xfrm>
        </p:spPr>
        <p:txBody>
          <a:bodyPr tIns="0" bIns="0">
            <a:noAutofit/>
          </a:bodyPr>
          <a:lstStyle>
            <a:lvl1pPr>
              <a:defRPr sz="1400">
                <a:solidFill>
                  <a:schemeClr val="accent2"/>
                </a:solidFill>
                <a:latin typeface="+mj-lt"/>
              </a:defRPr>
            </a:lvl1pPr>
            <a:lvl2pPr>
              <a:defRPr>
                <a:solidFill>
                  <a:schemeClr val="bg1"/>
                </a:solidFill>
                <a:latin typeface="+mn-lt"/>
              </a:defRPr>
            </a:lvl2pPr>
            <a:lvl3pPr>
              <a:defRPr>
                <a:solidFill>
                  <a:schemeClr val="bg1"/>
                </a:solidFill>
                <a:latin typeface="+mn-lt"/>
              </a:defRPr>
            </a:lvl3pPr>
            <a:lvl4pPr>
              <a:defRPr>
                <a:solidFill>
                  <a:schemeClr val="bg1"/>
                </a:solidFill>
                <a:latin typeface="+mn-lt"/>
              </a:defRPr>
            </a:lvl4pPr>
            <a:lvl5pPr>
              <a:defRPr>
                <a:solidFill>
                  <a:schemeClr val="bg1"/>
                </a:solidFill>
                <a:latin typeface="+mn-lt"/>
              </a:defRPr>
            </a:lvl5pPr>
          </a:lstStyle>
          <a:p>
            <a:pPr lvl="0"/>
            <a:r>
              <a:rPr lang="en-US" dirty="0"/>
              <a:t>DAY MONTH YEAR</a:t>
            </a:r>
            <a:endParaRPr lang="en-GB" dirty="0"/>
          </a:p>
        </p:txBody>
      </p:sp>
      <p:sp>
        <p:nvSpPr>
          <p:cNvPr id="4" name="TextBox 4">
            <a:extLst>
              <a:ext uri="{FF2B5EF4-FFF2-40B4-BE49-F238E27FC236}">
                <a16:creationId xmlns:a16="http://schemas.microsoft.com/office/drawing/2014/main" id="{265B2CA7-EDCD-E4A1-AC81-AB1BF0FA5D17}"/>
              </a:ext>
            </a:extLst>
          </p:cNvPr>
          <p:cNvSpPr txBox="1"/>
          <p:nvPr userDrawn="1"/>
        </p:nvSpPr>
        <p:spPr>
          <a:xfrm>
            <a:off x="12346713" y="109538"/>
            <a:ext cx="1934437" cy="31700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INSERTING IMAGES:</a:t>
            </a:r>
          </a:p>
          <a:p>
            <a:pPr marL="179388" indent="-179388">
              <a:spcBef>
                <a:spcPts val="200"/>
              </a:spcBef>
              <a:spcAft>
                <a:spcPts val="200"/>
              </a:spcAft>
              <a:buFont typeface="+mj-lt"/>
              <a:buAutoNum type="arabicPeriod"/>
            </a:pPr>
            <a:r>
              <a:rPr lang="en-US" sz="900" dirty="0">
                <a:solidFill>
                  <a:schemeClr val="tx1"/>
                </a:solidFill>
                <a:latin typeface="+mn-lt"/>
              </a:rPr>
              <a:t>Simply click the image placeholder and select your image.</a:t>
            </a:r>
          </a:p>
          <a:p>
            <a:pPr marL="179388" indent="-179388">
              <a:spcBef>
                <a:spcPts val="200"/>
              </a:spcBef>
              <a:spcAft>
                <a:spcPts val="200"/>
              </a:spcAft>
              <a:buFont typeface="+mj-lt"/>
              <a:buAutoNum type="arabicPeriod"/>
            </a:pPr>
            <a:r>
              <a:rPr lang="en-US" sz="900" dirty="0">
                <a:solidFill>
                  <a:schemeClr val="tx1"/>
                </a:solidFill>
                <a:latin typeface="+mn-lt"/>
              </a:rPr>
              <a:t>Once your image is inserted into the shape it may be distorted. (Stretched or Squashed)</a:t>
            </a:r>
          </a:p>
          <a:p>
            <a:pPr marL="179388" indent="-179388">
              <a:spcBef>
                <a:spcPts val="200"/>
              </a:spcBef>
              <a:spcAft>
                <a:spcPts val="200"/>
              </a:spcAft>
              <a:buFont typeface="+mj-lt"/>
              <a:buAutoNum type="arabicPeriod"/>
            </a:pPr>
            <a:endParaRPr lang="en-US" sz="900" dirty="0">
              <a:solidFill>
                <a:schemeClr val="tx1"/>
              </a:solidFill>
              <a:latin typeface="+mn-lt"/>
            </a:endParaRPr>
          </a:p>
          <a:p>
            <a:pPr>
              <a:spcBef>
                <a:spcPts val="200"/>
              </a:spcBef>
              <a:spcAft>
                <a:spcPts val="200"/>
              </a:spcAft>
            </a:pPr>
            <a:r>
              <a:rPr lang="en-US" sz="900" b="1" dirty="0">
                <a:solidFill>
                  <a:schemeClr val="tx1"/>
                </a:solidFill>
                <a:latin typeface="+mn-lt"/>
              </a:rPr>
              <a:t>To fix this:</a:t>
            </a:r>
          </a:p>
          <a:p>
            <a:pPr marL="179388" indent="-179388">
              <a:spcBef>
                <a:spcPts val="200"/>
              </a:spcBef>
              <a:spcAft>
                <a:spcPts val="200"/>
              </a:spcAft>
              <a:buFont typeface="+mj-lt"/>
              <a:buAutoNum type="arabicPeriod"/>
            </a:pPr>
            <a:r>
              <a:rPr lang="en-US" sz="900" dirty="0">
                <a:solidFill>
                  <a:schemeClr val="tx1"/>
                </a:solidFill>
                <a:latin typeface="+mn-lt"/>
              </a:rPr>
              <a:t>Click on the image and from the top menu under </a:t>
            </a:r>
            <a:r>
              <a:rPr lang="en-US" sz="900" b="1" dirty="0">
                <a:solidFill>
                  <a:schemeClr val="tx1"/>
                </a:solidFill>
                <a:latin typeface="+mn-lt"/>
              </a:rPr>
              <a:t>PICTURE FORMAT </a:t>
            </a:r>
            <a:r>
              <a:rPr lang="en-US" sz="900" dirty="0">
                <a:solidFill>
                  <a:schemeClr val="tx1"/>
                </a:solidFill>
                <a:latin typeface="+mn-lt"/>
              </a:rPr>
              <a:t>select the </a:t>
            </a:r>
            <a:r>
              <a:rPr lang="en-US" sz="900" b="1" dirty="0">
                <a:solidFill>
                  <a:schemeClr val="tx1"/>
                </a:solidFill>
                <a:latin typeface="+mn-lt"/>
              </a:rPr>
              <a:t>CROP</a:t>
            </a:r>
            <a:r>
              <a:rPr lang="en-US" sz="900" dirty="0">
                <a:solidFill>
                  <a:schemeClr val="tx1"/>
                </a:solidFill>
                <a:latin typeface="+mn-lt"/>
              </a:rPr>
              <a:t> on the right and from the drop down menu select </a:t>
            </a:r>
            <a:r>
              <a:rPr lang="en-US" sz="900" b="1" kern="1200" dirty="0">
                <a:solidFill>
                  <a:schemeClr val="tx1"/>
                </a:solidFill>
                <a:latin typeface="+mn-lt"/>
                <a:ea typeface="+mn-ea"/>
                <a:cs typeface="+mn-cs"/>
              </a:rPr>
              <a:t>FILL</a:t>
            </a:r>
          </a:p>
          <a:p>
            <a:pPr marL="179388" indent="-179388">
              <a:spcBef>
                <a:spcPts val="200"/>
              </a:spcBef>
              <a:spcAft>
                <a:spcPts val="200"/>
              </a:spcAft>
              <a:buFont typeface="+mj-lt"/>
              <a:buAutoNum type="arabicPeriod"/>
            </a:pPr>
            <a:r>
              <a:rPr lang="en-US" sz="900" b="0" kern="1200" dirty="0">
                <a:solidFill>
                  <a:schemeClr val="tx1"/>
                </a:solidFill>
                <a:latin typeface="+mn-lt"/>
                <a:ea typeface="+mn-ea"/>
                <a:cs typeface="+mn-cs"/>
              </a:rPr>
              <a:t>From here you can move the image within the shape for best visual appearance</a:t>
            </a:r>
          </a:p>
        </p:txBody>
      </p:sp>
      <p:sp>
        <p:nvSpPr>
          <p:cNvPr id="10" name="Title 1">
            <a:extLst>
              <a:ext uri="{FF2B5EF4-FFF2-40B4-BE49-F238E27FC236}">
                <a16:creationId xmlns:a16="http://schemas.microsoft.com/office/drawing/2014/main" id="{1D9960C9-AE88-FF64-7340-9EC8DF655E87}"/>
              </a:ext>
            </a:extLst>
          </p:cNvPr>
          <p:cNvSpPr>
            <a:spLocks noGrp="1"/>
          </p:cNvSpPr>
          <p:nvPr>
            <p:ph type="ctrTitle" hasCustomPrompt="1"/>
          </p:nvPr>
        </p:nvSpPr>
        <p:spPr>
          <a:xfrm>
            <a:off x="508939" y="2430692"/>
            <a:ext cx="2792526" cy="2387600"/>
          </a:xfrm>
        </p:spPr>
        <p:txBody>
          <a:bodyPr vert="horz" lIns="0" tIns="0" rIns="0" bIns="0" rtlCol="0" anchor="t" anchorCtr="0">
            <a:noAutofit/>
          </a:bodyPr>
          <a:lstStyle>
            <a:lvl1pPr>
              <a:lnSpc>
                <a:spcPct val="100000"/>
              </a:lnSpc>
              <a:defRPr lang="en-US" sz="3300" dirty="0">
                <a:solidFill>
                  <a:schemeClr val="bg1"/>
                </a:solidFill>
              </a:defRPr>
            </a:lvl1pPr>
          </a:lstStyle>
          <a:p>
            <a:pPr lvl="0"/>
            <a:r>
              <a:rPr lang="en-US" dirty="0"/>
              <a:t>PROPOSAL TO [CLIENT] FOR LEGAL SERVICES</a:t>
            </a:r>
          </a:p>
        </p:txBody>
      </p:sp>
      <p:sp>
        <p:nvSpPr>
          <p:cNvPr id="2" name="Graphic 13">
            <a:extLst>
              <a:ext uri="{FF2B5EF4-FFF2-40B4-BE49-F238E27FC236}">
                <a16:creationId xmlns:a16="http://schemas.microsoft.com/office/drawing/2014/main" id="{362134EB-203A-718D-996E-6EF7C991BB7F}"/>
              </a:ext>
            </a:extLst>
          </p:cNvPr>
          <p:cNvSpPr>
            <a:spLocks noGrp="1" noRot="1" noMove="1" noResize="1" noEditPoints="1" noAdjustHandles="1" noChangeArrowheads="1" noChangeShapeType="1"/>
          </p:cNvSpPr>
          <p:nvPr userDrawn="1"/>
        </p:nvSpPr>
        <p:spPr>
          <a:xfrm>
            <a:off x="585463" y="588011"/>
            <a:ext cx="1522695" cy="922576"/>
          </a:xfrm>
          <a:custGeom>
            <a:avLst/>
            <a:gdLst>
              <a:gd name="connsiteX0" fmla="*/ 618149 w 1522695"/>
              <a:gd name="connsiteY0" fmla="*/ 39943 h 922576"/>
              <a:gd name="connsiteX1" fmla="*/ 421345 w 1522695"/>
              <a:gd name="connsiteY1" fmla="*/ 876531 h 922576"/>
              <a:gd name="connsiteX2" fmla="*/ 388753 w 1522695"/>
              <a:gd name="connsiteY2" fmla="*/ 915365 h 922576"/>
              <a:gd name="connsiteX3" fmla="*/ 349364 w 1522695"/>
              <a:gd name="connsiteY3" fmla="*/ 922577 h 922576"/>
              <a:gd name="connsiteX4" fmla="*/ 328006 w 1522695"/>
              <a:gd name="connsiteY4" fmla="*/ 897196 h 922576"/>
              <a:gd name="connsiteX5" fmla="*/ 431608 w 1522695"/>
              <a:gd name="connsiteY5" fmla="*/ 465033 h 922576"/>
              <a:gd name="connsiteX6" fmla="*/ 224958 w 1522695"/>
              <a:gd name="connsiteY6" fmla="*/ 504838 h 922576"/>
              <a:gd name="connsiteX7" fmla="*/ 185292 w 1522695"/>
              <a:gd name="connsiteY7" fmla="*/ 702473 h 922576"/>
              <a:gd name="connsiteX8" fmla="*/ 159634 w 1522695"/>
              <a:gd name="connsiteY8" fmla="*/ 738117 h 922576"/>
              <a:gd name="connsiteX9" fmla="*/ 102771 w 1522695"/>
              <a:gd name="connsiteY9" fmla="*/ 719671 h 922576"/>
              <a:gd name="connsiteX10" fmla="*/ 150203 w 1522695"/>
              <a:gd name="connsiteY10" fmla="*/ 519816 h 922576"/>
              <a:gd name="connsiteX11" fmla="*/ 62411 w 1522695"/>
              <a:gd name="connsiteY11" fmla="*/ 533547 h 922576"/>
              <a:gd name="connsiteX12" fmla="*/ 0 w 1522695"/>
              <a:gd name="connsiteY12" fmla="*/ 507750 h 922576"/>
              <a:gd name="connsiteX13" fmla="*/ 163795 w 1522695"/>
              <a:gd name="connsiteY13" fmla="*/ 465588 h 922576"/>
              <a:gd name="connsiteX14" fmla="*/ 234805 w 1522695"/>
              <a:gd name="connsiteY14" fmla="*/ 162547 h 922576"/>
              <a:gd name="connsiteX15" fmla="*/ 258244 w 1522695"/>
              <a:gd name="connsiteY15" fmla="*/ 135502 h 922576"/>
              <a:gd name="connsiteX16" fmla="*/ 300961 w 1522695"/>
              <a:gd name="connsiteY16" fmla="*/ 126625 h 922576"/>
              <a:gd name="connsiteX17" fmla="*/ 316772 w 1522695"/>
              <a:gd name="connsiteY17" fmla="*/ 149232 h 922576"/>
              <a:gd name="connsiteX18" fmla="*/ 239104 w 1522695"/>
              <a:gd name="connsiteY18" fmla="*/ 449084 h 922576"/>
              <a:gd name="connsiteX19" fmla="*/ 447697 w 1522695"/>
              <a:gd name="connsiteY19" fmla="*/ 404564 h 922576"/>
              <a:gd name="connsiteX20" fmla="*/ 542839 w 1522695"/>
              <a:gd name="connsiteY20" fmla="*/ 34950 h 922576"/>
              <a:gd name="connsiteX21" fmla="*/ 557402 w 1522695"/>
              <a:gd name="connsiteY21" fmla="*/ 6935 h 922576"/>
              <a:gd name="connsiteX22" fmla="*/ 592907 w 1522695"/>
              <a:gd name="connsiteY22" fmla="*/ 0 h 922576"/>
              <a:gd name="connsiteX23" fmla="*/ 620506 w 1522695"/>
              <a:gd name="connsiteY23" fmla="*/ 25381 h 922576"/>
              <a:gd name="connsiteX24" fmla="*/ 618426 w 1522695"/>
              <a:gd name="connsiteY24" fmla="*/ 40359 h 922576"/>
              <a:gd name="connsiteX25" fmla="*/ 845048 w 1522695"/>
              <a:gd name="connsiteY25" fmla="*/ 445755 h 922576"/>
              <a:gd name="connsiteX26" fmla="*/ 684582 w 1522695"/>
              <a:gd name="connsiteY26" fmla="*/ 476544 h 922576"/>
              <a:gd name="connsiteX27" fmla="*/ 729241 w 1522695"/>
              <a:gd name="connsiteY27" fmla="*/ 311918 h 922576"/>
              <a:gd name="connsiteX28" fmla="*/ 1087204 w 1522695"/>
              <a:gd name="connsiteY28" fmla="*/ 231060 h 922576"/>
              <a:gd name="connsiteX29" fmla="*/ 1110643 w 1522695"/>
              <a:gd name="connsiteY29" fmla="*/ 218994 h 922576"/>
              <a:gd name="connsiteX30" fmla="*/ 1053363 w 1522695"/>
              <a:gd name="connsiteY30" fmla="*/ 185708 h 922576"/>
              <a:gd name="connsiteX31" fmla="*/ 1029785 w 1522695"/>
              <a:gd name="connsiteY31" fmla="*/ 187927 h 922576"/>
              <a:gd name="connsiteX32" fmla="*/ 636872 w 1522695"/>
              <a:gd name="connsiteY32" fmla="*/ 267536 h 922576"/>
              <a:gd name="connsiteX33" fmla="*/ 610798 w 1522695"/>
              <a:gd name="connsiteY33" fmla="*/ 284595 h 922576"/>
              <a:gd name="connsiteX34" fmla="*/ 652683 w 1522695"/>
              <a:gd name="connsiteY34" fmla="*/ 321210 h 922576"/>
              <a:gd name="connsiteX35" fmla="*/ 524948 w 1522695"/>
              <a:gd name="connsiteY35" fmla="*/ 802192 h 922576"/>
              <a:gd name="connsiteX36" fmla="*/ 537569 w 1522695"/>
              <a:gd name="connsiteY36" fmla="*/ 815646 h 922576"/>
              <a:gd name="connsiteX37" fmla="*/ 595542 w 1522695"/>
              <a:gd name="connsiteY37" fmla="*/ 802886 h 922576"/>
              <a:gd name="connsiteX38" fmla="*/ 616762 w 1522695"/>
              <a:gd name="connsiteY38" fmla="*/ 763914 h 922576"/>
              <a:gd name="connsiteX39" fmla="*/ 669603 w 1522695"/>
              <a:gd name="connsiteY39" fmla="*/ 537430 h 922576"/>
              <a:gd name="connsiteX40" fmla="*/ 808988 w 1522695"/>
              <a:gd name="connsiteY40" fmla="*/ 509276 h 922576"/>
              <a:gd name="connsiteX41" fmla="*/ 859611 w 1522695"/>
              <a:gd name="connsiteY41" fmla="*/ 477238 h 922576"/>
              <a:gd name="connsiteX42" fmla="*/ 872232 w 1522695"/>
              <a:gd name="connsiteY42" fmla="*/ 451996 h 922576"/>
              <a:gd name="connsiteX43" fmla="*/ 845187 w 1522695"/>
              <a:gd name="connsiteY43" fmla="*/ 445755 h 922576"/>
              <a:gd name="connsiteX44" fmla="*/ 1479701 w 1522695"/>
              <a:gd name="connsiteY44" fmla="*/ 159218 h 922576"/>
              <a:gd name="connsiteX45" fmla="*/ 1409801 w 1522695"/>
              <a:gd name="connsiteY45" fmla="*/ 217052 h 922576"/>
              <a:gd name="connsiteX46" fmla="*/ 1212442 w 1522695"/>
              <a:gd name="connsiteY46" fmla="*/ 666691 h 922576"/>
              <a:gd name="connsiteX47" fmla="*/ 1231721 w 1522695"/>
              <a:gd name="connsiteY47" fmla="*/ 323845 h 922576"/>
              <a:gd name="connsiteX48" fmla="*/ 1206895 w 1522695"/>
              <a:gd name="connsiteY48" fmla="*/ 300683 h 922576"/>
              <a:gd name="connsiteX49" fmla="*/ 1151002 w 1522695"/>
              <a:gd name="connsiteY49" fmla="*/ 324677 h 922576"/>
              <a:gd name="connsiteX50" fmla="*/ 1137549 w 1522695"/>
              <a:gd name="connsiteY50" fmla="*/ 353525 h 922576"/>
              <a:gd name="connsiteX51" fmla="*/ 980689 w 1522695"/>
              <a:gd name="connsiteY51" fmla="*/ 605528 h 922576"/>
              <a:gd name="connsiteX52" fmla="*/ 1041574 w 1522695"/>
              <a:gd name="connsiteY52" fmla="*/ 331196 h 922576"/>
              <a:gd name="connsiteX53" fmla="*/ 1029369 w 1522695"/>
              <a:gd name="connsiteY53" fmla="*/ 319962 h 922576"/>
              <a:gd name="connsiteX54" fmla="*/ 988871 w 1522695"/>
              <a:gd name="connsiteY54" fmla="*/ 327728 h 922576"/>
              <a:gd name="connsiteX55" fmla="*/ 954892 w 1522695"/>
              <a:gd name="connsiteY55" fmla="*/ 369752 h 922576"/>
              <a:gd name="connsiteX56" fmla="*/ 880553 w 1522695"/>
              <a:gd name="connsiteY56" fmla="*/ 711766 h 922576"/>
              <a:gd name="connsiteX57" fmla="*/ 902328 w 1522695"/>
              <a:gd name="connsiteY57" fmla="*/ 741862 h 922576"/>
              <a:gd name="connsiteX58" fmla="*/ 960024 w 1522695"/>
              <a:gd name="connsiteY58" fmla="*/ 718423 h 922576"/>
              <a:gd name="connsiteX59" fmla="*/ 1144483 w 1522695"/>
              <a:gd name="connsiteY59" fmla="*/ 419542 h 922576"/>
              <a:gd name="connsiteX60" fmla="*/ 1128950 w 1522695"/>
              <a:gd name="connsiteY60" fmla="*/ 709546 h 922576"/>
              <a:gd name="connsiteX61" fmla="*/ 1162375 w 1522695"/>
              <a:gd name="connsiteY61" fmla="*/ 786798 h 922576"/>
              <a:gd name="connsiteX62" fmla="*/ 1235049 w 1522695"/>
              <a:gd name="connsiteY62" fmla="*/ 740891 h 922576"/>
              <a:gd name="connsiteX63" fmla="*/ 1512016 w 1522695"/>
              <a:gd name="connsiteY63" fmla="*/ 203322 h 922576"/>
              <a:gd name="connsiteX64" fmla="*/ 1522696 w 1522695"/>
              <a:gd name="connsiteY64" fmla="*/ 183766 h 922576"/>
              <a:gd name="connsiteX65" fmla="*/ 1479840 w 1522695"/>
              <a:gd name="connsiteY65" fmla="*/ 159357 h 922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522695" h="922576">
                <a:moveTo>
                  <a:pt x="618149" y="39943"/>
                </a:moveTo>
                <a:cubicBezTo>
                  <a:pt x="568774" y="240214"/>
                  <a:pt x="450887" y="614404"/>
                  <a:pt x="421345" y="876531"/>
                </a:cubicBezTo>
                <a:cubicBezTo>
                  <a:pt x="418849" y="898167"/>
                  <a:pt x="420374" y="906627"/>
                  <a:pt x="388753" y="915365"/>
                </a:cubicBezTo>
                <a:cubicBezTo>
                  <a:pt x="373497" y="919526"/>
                  <a:pt x="359350" y="922577"/>
                  <a:pt x="349364" y="922577"/>
                </a:cubicBezTo>
                <a:cubicBezTo>
                  <a:pt x="333831" y="922577"/>
                  <a:pt x="328006" y="913978"/>
                  <a:pt x="328006" y="897196"/>
                </a:cubicBezTo>
                <a:cubicBezTo>
                  <a:pt x="328006" y="851567"/>
                  <a:pt x="390972" y="623280"/>
                  <a:pt x="431608" y="465033"/>
                </a:cubicBezTo>
                <a:cubicBezTo>
                  <a:pt x="377380" y="475296"/>
                  <a:pt x="300961" y="489998"/>
                  <a:pt x="224958" y="504838"/>
                </a:cubicBezTo>
                <a:cubicBezTo>
                  <a:pt x="206512" y="579870"/>
                  <a:pt x="193336" y="642697"/>
                  <a:pt x="185292" y="702473"/>
                </a:cubicBezTo>
                <a:cubicBezTo>
                  <a:pt x="183350" y="716897"/>
                  <a:pt x="185292" y="730489"/>
                  <a:pt x="159634" y="738117"/>
                </a:cubicBezTo>
                <a:cubicBezTo>
                  <a:pt x="116362" y="751015"/>
                  <a:pt x="100968" y="743803"/>
                  <a:pt x="102771" y="719671"/>
                </a:cubicBezTo>
                <a:cubicBezTo>
                  <a:pt x="105683" y="679589"/>
                  <a:pt x="118443" y="648661"/>
                  <a:pt x="150203" y="519816"/>
                </a:cubicBezTo>
                <a:cubicBezTo>
                  <a:pt x="110676" y="527722"/>
                  <a:pt x="79748" y="533547"/>
                  <a:pt x="62411" y="533547"/>
                </a:cubicBezTo>
                <a:cubicBezTo>
                  <a:pt x="38972" y="533547"/>
                  <a:pt x="0" y="517459"/>
                  <a:pt x="0" y="507750"/>
                </a:cubicBezTo>
                <a:cubicBezTo>
                  <a:pt x="0" y="496239"/>
                  <a:pt x="27184" y="496377"/>
                  <a:pt x="163795" y="465588"/>
                </a:cubicBezTo>
                <a:cubicBezTo>
                  <a:pt x="190146" y="360876"/>
                  <a:pt x="227038" y="219133"/>
                  <a:pt x="234805" y="162547"/>
                </a:cubicBezTo>
                <a:cubicBezTo>
                  <a:pt x="236192" y="152145"/>
                  <a:pt x="239798" y="140633"/>
                  <a:pt x="258244" y="135502"/>
                </a:cubicBezTo>
                <a:cubicBezTo>
                  <a:pt x="269339" y="132451"/>
                  <a:pt x="290004" y="126625"/>
                  <a:pt x="300961" y="126625"/>
                </a:cubicBezTo>
                <a:cubicBezTo>
                  <a:pt x="313304" y="126625"/>
                  <a:pt x="316772" y="137721"/>
                  <a:pt x="316772" y="149232"/>
                </a:cubicBezTo>
                <a:cubicBezTo>
                  <a:pt x="316772" y="170036"/>
                  <a:pt x="273916" y="298048"/>
                  <a:pt x="239104" y="449084"/>
                </a:cubicBezTo>
                <a:cubicBezTo>
                  <a:pt x="309837" y="433689"/>
                  <a:pt x="385424" y="417739"/>
                  <a:pt x="447697" y="404564"/>
                </a:cubicBezTo>
                <a:cubicBezTo>
                  <a:pt x="485421" y="261434"/>
                  <a:pt x="522313" y="121910"/>
                  <a:pt x="542839" y="34950"/>
                </a:cubicBezTo>
                <a:cubicBezTo>
                  <a:pt x="547277" y="16227"/>
                  <a:pt x="546445" y="10679"/>
                  <a:pt x="557402" y="6935"/>
                </a:cubicBezTo>
                <a:cubicBezTo>
                  <a:pt x="562533" y="5132"/>
                  <a:pt x="578205" y="0"/>
                  <a:pt x="592907" y="0"/>
                </a:cubicBezTo>
                <a:cubicBezTo>
                  <a:pt x="607608" y="0"/>
                  <a:pt x="620506" y="5548"/>
                  <a:pt x="620506" y="25381"/>
                </a:cubicBezTo>
                <a:cubicBezTo>
                  <a:pt x="620506" y="29680"/>
                  <a:pt x="619813" y="34673"/>
                  <a:pt x="618426" y="40359"/>
                </a:cubicBezTo>
                <a:close/>
                <a:moveTo>
                  <a:pt x="845048" y="445755"/>
                </a:moveTo>
                <a:cubicBezTo>
                  <a:pt x="796922" y="454076"/>
                  <a:pt x="739920" y="465865"/>
                  <a:pt x="684582" y="476544"/>
                </a:cubicBezTo>
                <a:cubicBezTo>
                  <a:pt x="700670" y="412608"/>
                  <a:pt x="716620" y="352970"/>
                  <a:pt x="729241" y="311918"/>
                </a:cubicBezTo>
                <a:cubicBezTo>
                  <a:pt x="838946" y="287092"/>
                  <a:pt x="1056276" y="236053"/>
                  <a:pt x="1087204" y="231060"/>
                </a:cubicBezTo>
                <a:cubicBezTo>
                  <a:pt x="1104679" y="228148"/>
                  <a:pt x="1110643" y="223155"/>
                  <a:pt x="1110643" y="218994"/>
                </a:cubicBezTo>
                <a:cubicBezTo>
                  <a:pt x="1110643" y="211089"/>
                  <a:pt x="1084985" y="185708"/>
                  <a:pt x="1053363" y="185708"/>
                </a:cubicBezTo>
                <a:cubicBezTo>
                  <a:pt x="1046428" y="185708"/>
                  <a:pt x="1038662" y="186402"/>
                  <a:pt x="1029785" y="187927"/>
                </a:cubicBezTo>
                <a:cubicBezTo>
                  <a:pt x="966542" y="199023"/>
                  <a:pt x="709269" y="252974"/>
                  <a:pt x="636872" y="267536"/>
                </a:cubicBezTo>
                <a:cubicBezTo>
                  <a:pt x="618842" y="271142"/>
                  <a:pt x="610798" y="277661"/>
                  <a:pt x="610798" y="284595"/>
                </a:cubicBezTo>
                <a:cubicBezTo>
                  <a:pt x="610798" y="295136"/>
                  <a:pt x="636317" y="316217"/>
                  <a:pt x="652683" y="321210"/>
                </a:cubicBezTo>
                <a:cubicBezTo>
                  <a:pt x="616623" y="461427"/>
                  <a:pt x="524948" y="770571"/>
                  <a:pt x="524948" y="802192"/>
                </a:cubicBezTo>
                <a:cubicBezTo>
                  <a:pt x="524948" y="809959"/>
                  <a:pt x="527583" y="815646"/>
                  <a:pt x="537569" y="815646"/>
                </a:cubicBezTo>
                <a:cubicBezTo>
                  <a:pt x="551299" y="815646"/>
                  <a:pt x="579176" y="809682"/>
                  <a:pt x="595542" y="802886"/>
                </a:cubicBezTo>
                <a:cubicBezTo>
                  <a:pt x="611908" y="795951"/>
                  <a:pt x="611630" y="787907"/>
                  <a:pt x="616762" y="763914"/>
                </a:cubicBezTo>
                <a:cubicBezTo>
                  <a:pt x="627996" y="712043"/>
                  <a:pt x="648106" y="624945"/>
                  <a:pt x="669603" y="537430"/>
                </a:cubicBezTo>
                <a:cubicBezTo>
                  <a:pt x="735620" y="523422"/>
                  <a:pt x="777505" y="516488"/>
                  <a:pt x="808988" y="509276"/>
                </a:cubicBezTo>
                <a:cubicBezTo>
                  <a:pt x="843661" y="501370"/>
                  <a:pt x="850180" y="491107"/>
                  <a:pt x="859611" y="477238"/>
                </a:cubicBezTo>
                <a:cubicBezTo>
                  <a:pt x="865852" y="468223"/>
                  <a:pt x="872232" y="456850"/>
                  <a:pt x="872232" y="451996"/>
                </a:cubicBezTo>
                <a:cubicBezTo>
                  <a:pt x="872232" y="444368"/>
                  <a:pt x="864742" y="442288"/>
                  <a:pt x="845187" y="445755"/>
                </a:cubicBezTo>
                <a:close/>
                <a:moveTo>
                  <a:pt x="1479701" y="159218"/>
                </a:moveTo>
                <a:cubicBezTo>
                  <a:pt x="1459452" y="159218"/>
                  <a:pt x="1437955" y="171978"/>
                  <a:pt x="1409801" y="217052"/>
                </a:cubicBezTo>
                <a:cubicBezTo>
                  <a:pt x="1369857" y="281128"/>
                  <a:pt x="1274854" y="509553"/>
                  <a:pt x="1212442" y="666691"/>
                </a:cubicBezTo>
                <a:cubicBezTo>
                  <a:pt x="1210639" y="502202"/>
                  <a:pt x="1231721" y="360598"/>
                  <a:pt x="1231721" y="323845"/>
                </a:cubicBezTo>
                <a:cubicBezTo>
                  <a:pt x="1231721" y="305399"/>
                  <a:pt x="1220348" y="300683"/>
                  <a:pt x="1206895" y="300683"/>
                </a:cubicBezTo>
                <a:cubicBezTo>
                  <a:pt x="1188310" y="300683"/>
                  <a:pt x="1160988" y="301516"/>
                  <a:pt x="1151002" y="324677"/>
                </a:cubicBezTo>
                <a:cubicBezTo>
                  <a:pt x="1144483" y="339795"/>
                  <a:pt x="1143374" y="343262"/>
                  <a:pt x="1137549" y="353525"/>
                </a:cubicBezTo>
                <a:cubicBezTo>
                  <a:pt x="1125205" y="375577"/>
                  <a:pt x="1053502" y="501786"/>
                  <a:pt x="980689" y="605528"/>
                </a:cubicBezTo>
                <a:cubicBezTo>
                  <a:pt x="1012588" y="432995"/>
                  <a:pt x="1041574" y="349087"/>
                  <a:pt x="1041574" y="331196"/>
                </a:cubicBezTo>
                <a:cubicBezTo>
                  <a:pt x="1041574" y="322874"/>
                  <a:pt x="1036165" y="319962"/>
                  <a:pt x="1029369" y="319962"/>
                </a:cubicBezTo>
                <a:cubicBezTo>
                  <a:pt x="1021325" y="319962"/>
                  <a:pt x="1000799" y="324816"/>
                  <a:pt x="988871" y="327728"/>
                </a:cubicBezTo>
                <a:cubicBezTo>
                  <a:pt x="974864" y="331196"/>
                  <a:pt x="963768" y="335772"/>
                  <a:pt x="954892" y="369752"/>
                </a:cubicBezTo>
                <a:cubicBezTo>
                  <a:pt x="925905" y="479734"/>
                  <a:pt x="880553" y="665720"/>
                  <a:pt x="880553" y="711766"/>
                </a:cubicBezTo>
                <a:cubicBezTo>
                  <a:pt x="880553" y="731876"/>
                  <a:pt x="884575" y="741862"/>
                  <a:pt x="902328" y="741862"/>
                </a:cubicBezTo>
                <a:cubicBezTo>
                  <a:pt x="921051" y="741862"/>
                  <a:pt x="947541" y="736591"/>
                  <a:pt x="960024" y="718423"/>
                </a:cubicBezTo>
                <a:cubicBezTo>
                  <a:pt x="1022851" y="626609"/>
                  <a:pt x="1086372" y="516349"/>
                  <a:pt x="1144483" y="419542"/>
                </a:cubicBezTo>
                <a:cubicBezTo>
                  <a:pt x="1135191" y="510801"/>
                  <a:pt x="1128950" y="628967"/>
                  <a:pt x="1128950" y="709546"/>
                </a:cubicBezTo>
                <a:cubicBezTo>
                  <a:pt x="1128950" y="765023"/>
                  <a:pt x="1130614" y="786798"/>
                  <a:pt x="1162375" y="786798"/>
                </a:cubicBezTo>
                <a:cubicBezTo>
                  <a:pt x="1191223" y="786798"/>
                  <a:pt x="1217019" y="781666"/>
                  <a:pt x="1235049" y="740891"/>
                </a:cubicBezTo>
                <a:cubicBezTo>
                  <a:pt x="1297599" y="599148"/>
                  <a:pt x="1429911" y="303735"/>
                  <a:pt x="1512016" y="203322"/>
                </a:cubicBezTo>
                <a:cubicBezTo>
                  <a:pt x="1517425" y="196803"/>
                  <a:pt x="1522696" y="191256"/>
                  <a:pt x="1522696" y="183766"/>
                </a:cubicBezTo>
                <a:cubicBezTo>
                  <a:pt x="1522696" y="173365"/>
                  <a:pt x="1498563" y="159357"/>
                  <a:pt x="1479840" y="159357"/>
                </a:cubicBezTo>
                <a:close/>
              </a:path>
            </a:pathLst>
          </a:custGeom>
          <a:solidFill>
            <a:schemeClr val="bg1"/>
          </a:solidFill>
          <a:ln w="13855" cap="flat">
            <a:noFill/>
            <a:prstDash val="solid"/>
            <a:miter/>
          </a:ln>
        </p:spPr>
        <p:txBody>
          <a:bodyPr rtlCol="0" anchor="ctr"/>
          <a:lstStyle/>
          <a:p>
            <a:endParaRPr lang="en-GB"/>
          </a:p>
        </p:txBody>
      </p:sp>
    </p:spTree>
    <p:extLst>
      <p:ext uri="{BB962C8B-B14F-4D97-AF65-F5344CB8AC3E}">
        <p14:creationId xmlns:p14="http://schemas.microsoft.com/office/powerpoint/2010/main" val="662989161"/>
      </p:ext>
    </p:extLst>
  </p:cSld>
  <p:clrMapOvr>
    <a:masterClrMapping/>
  </p:clrMapOvr>
  <p:transition spd="med">
    <p:fade/>
  </p:transition>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ivder Slide">
    <p:bg>
      <p:bgPr>
        <a:solidFill>
          <a:schemeClr val="accent2"/>
        </a:solidFill>
        <a:effectLst/>
      </p:bgPr>
    </p:bg>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BBA3AA40-3440-5851-3972-390D3DEB2219}"/>
              </a:ext>
            </a:extLst>
          </p:cNvPr>
          <p:cNvSpPr>
            <a:spLocks noGrp="1"/>
          </p:cNvSpPr>
          <p:nvPr>
            <p:ph type="body" sz="quarter" idx="14" hasCustomPrompt="1"/>
          </p:nvPr>
        </p:nvSpPr>
        <p:spPr>
          <a:xfrm>
            <a:off x="508939" y="5989638"/>
            <a:ext cx="5197594" cy="230187"/>
          </a:xfrm>
        </p:spPr>
        <p:txBody>
          <a:bodyPr tIns="0" bIns="0">
            <a:noAutofit/>
          </a:bodyPr>
          <a:lstStyle>
            <a:lvl1pPr>
              <a:defRPr sz="1400" cap="all" baseline="0">
                <a:solidFill>
                  <a:schemeClr val="bg1"/>
                </a:solidFill>
                <a:latin typeface="+mj-lt"/>
              </a:defRPr>
            </a:lvl1pPr>
            <a:lvl2pPr>
              <a:defRPr>
                <a:solidFill>
                  <a:schemeClr val="bg1"/>
                </a:solidFill>
                <a:latin typeface="+mn-lt"/>
              </a:defRPr>
            </a:lvl2pPr>
            <a:lvl3pPr>
              <a:defRPr>
                <a:solidFill>
                  <a:schemeClr val="bg1"/>
                </a:solidFill>
                <a:latin typeface="+mn-lt"/>
              </a:defRPr>
            </a:lvl3pPr>
            <a:lvl4pPr>
              <a:defRPr>
                <a:solidFill>
                  <a:schemeClr val="bg1"/>
                </a:solidFill>
                <a:latin typeface="+mn-lt"/>
              </a:defRPr>
            </a:lvl4pPr>
            <a:lvl5pPr>
              <a:defRPr>
                <a:solidFill>
                  <a:schemeClr val="bg1"/>
                </a:solidFill>
                <a:latin typeface="+mn-lt"/>
              </a:defRPr>
            </a:lvl5pPr>
          </a:lstStyle>
          <a:p>
            <a:pPr lvl="0"/>
            <a:r>
              <a:rPr lang="en-US" dirty="0"/>
              <a:t>PROPOSAL TO [CLIENT] FOR LEGAL SERVICES</a:t>
            </a:r>
            <a:endParaRPr lang="en-GB" dirty="0"/>
          </a:p>
        </p:txBody>
      </p:sp>
      <p:sp>
        <p:nvSpPr>
          <p:cNvPr id="10" name="Title 1">
            <a:extLst>
              <a:ext uri="{FF2B5EF4-FFF2-40B4-BE49-F238E27FC236}">
                <a16:creationId xmlns:a16="http://schemas.microsoft.com/office/drawing/2014/main" id="{1D9960C9-AE88-FF64-7340-9EC8DF655E87}"/>
              </a:ext>
            </a:extLst>
          </p:cNvPr>
          <p:cNvSpPr>
            <a:spLocks noGrp="1"/>
          </p:cNvSpPr>
          <p:nvPr>
            <p:ph type="ctrTitle" hasCustomPrompt="1"/>
          </p:nvPr>
        </p:nvSpPr>
        <p:spPr>
          <a:xfrm>
            <a:off x="508939" y="2430692"/>
            <a:ext cx="7774636" cy="2387600"/>
          </a:xfrm>
        </p:spPr>
        <p:txBody>
          <a:bodyPr vert="horz" lIns="0" tIns="0" rIns="0" bIns="0" rtlCol="0" anchor="t" anchorCtr="0">
            <a:noAutofit/>
          </a:bodyPr>
          <a:lstStyle>
            <a:lvl1pPr>
              <a:lnSpc>
                <a:spcPct val="100000"/>
              </a:lnSpc>
              <a:defRPr lang="en-US" sz="3300" dirty="0">
                <a:solidFill>
                  <a:schemeClr val="tx2"/>
                </a:solidFill>
              </a:defRPr>
            </a:lvl1pPr>
          </a:lstStyle>
          <a:p>
            <a:pPr lvl="0"/>
            <a:r>
              <a:rPr lang="en-US" dirty="0"/>
              <a:t>DIVIDER SLIDE TEXT GOES HERE</a:t>
            </a:r>
          </a:p>
        </p:txBody>
      </p:sp>
      <p:sp>
        <p:nvSpPr>
          <p:cNvPr id="3" name="Graphic 13">
            <a:extLst>
              <a:ext uri="{FF2B5EF4-FFF2-40B4-BE49-F238E27FC236}">
                <a16:creationId xmlns:a16="http://schemas.microsoft.com/office/drawing/2014/main" id="{AB2731C8-136C-E73A-D65E-D0BB4EC55F0F}"/>
              </a:ext>
            </a:extLst>
          </p:cNvPr>
          <p:cNvSpPr>
            <a:spLocks noGrp="1" noRot="1" noMove="1" noResize="1" noEditPoints="1" noAdjustHandles="1" noChangeArrowheads="1" noChangeShapeType="1"/>
          </p:cNvSpPr>
          <p:nvPr userDrawn="1"/>
        </p:nvSpPr>
        <p:spPr>
          <a:xfrm>
            <a:off x="585463" y="588011"/>
            <a:ext cx="1522695" cy="922576"/>
          </a:xfrm>
          <a:custGeom>
            <a:avLst/>
            <a:gdLst>
              <a:gd name="connsiteX0" fmla="*/ 618149 w 1522695"/>
              <a:gd name="connsiteY0" fmla="*/ 39943 h 922576"/>
              <a:gd name="connsiteX1" fmla="*/ 421345 w 1522695"/>
              <a:gd name="connsiteY1" fmla="*/ 876531 h 922576"/>
              <a:gd name="connsiteX2" fmla="*/ 388753 w 1522695"/>
              <a:gd name="connsiteY2" fmla="*/ 915365 h 922576"/>
              <a:gd name="connsiteX3" fmla="*/ 349364 w 1522695"/>
              <a:gd name="connsiteY3" fmla="*/ 922577 h 922576"/>
              <a:gd name="connsiteX4" fmla="*/ 328006 w 1522695"/>
              <a:gd name="connsiteY4" fmla="*/ 897196 h 922576"/>
              <a:gd name="connsiteX5" fmla="*/ 431608 w 1522695"/>
              <a:gd name="connsiteY5" fmla="*/ 465033 h 922576"/>
              <a:gd name="connsiteX6" fmla="*/ 224958 w 1522695"/>
              <a:gd name="connsiteY6" fmla="*/ 504838 h 922576"/>
              <a:gd name="connsiteX7" fmla="*/ 185292 w 1522695"/>
              <a:gd name="connsiteY7" fmla="*/ 702473 h 922576"/>
              <a:gd name="connsiteX8" fmla="*/ 159634 w 1522695"/>
              <a:gd name="connsiteY8" fmla="*/ 738117 h 922576"/>
              <a:gd name="connsiteX9" fmla="*/ 102771 w 1522695"/>
              <a:gd name="connsiteY9" fmla="*/ 719671 h 922576"/>
              <a:gd name="connsiteX10" fmla="*/ 150203 w 1522695"/>
              <a:gd name="connsiteY10" fmla="*/ 519816 h 922576"/>
              <a:gd name="connsiteX11" fmla="*/ 62411 w 1522695"/>
              <a:gd name="connsiteY11" fmla="*/ 533547 h 922576"/>
              <a:gd name="connsiteX12" fmla="*/ 0 w 1522695"/>
              <a:gd name="connsiteY12" fmla="*/ 507750 h 922576"/>
              <a:gd name="connsiteX13" fmla="*/ 163795 w 1522695"/>
              <a:gd name="connsiteY13" fmla="*/ 465588 h 922576"/>
              <a:gd name="connsiteX14" fmla="*/ 234805 w 1522695"/>
              <a:gd name="connsiteY14" fmla="*/ 162547 h 922576"/>
              <a:gd name="connsiteX15" fmla="*/ 258244 w 1522695"/>
              <a:gd name="connsiteY15" fmla="*/ 135502 h 922576"/>
              <a:gd name="connsiteX16" fmla="*/ 300961 w 1522695"/>
              <a:gd name="connsiteY16" fmla="*/ 126625 h 922576"/>
              <a:gd name="connsiteX17" fmla="*/ 316772 w 1522695"/>
              <a:gd name="connsiteY17" fmla="*/ 149232 h 922576"/>
              <a:gd name="connsiteX18" fmla="*/ 239104 w 1522695"/>
              <a:gd name="connsiteY18" fmla="*/ 449084 h 922576"/>
              <a:gd name="connsiteX19" fmla="*/ 447697 w 1522695"/>
              <a:gd name="connsiteY19" fmla="*/ 404564 h 922576"/>
              <a:gd name="connsiteX20" fmla="*/ 542839 w 1522695"/>
              <a:gd name="connsiteY20" fmla="*/ 34950 h 922576"/>
              <a:gd name="connsiteX21" fmla="*/ 557402 w 1522695"/>
              <a:gd name="connsiteY21" fmla="*/ 6935 h 922576"/>
              <a:gd name="connsiteX22" fmla="*/ 592907 w 1522695"/>
              <a:gd name="connsiteY22" fmla="*/ 0 h 922576"/>
              <a:gd name="connsiteX23" fmla="*/ 620506 w 1522695"/>
              <a:gd name="connsiteY23" fmla="*/ 25381 h 922576"/>
              <a:gd name="connsiteX24" fmla="*/ 618426 w 1522695"/>
              <a:gd name="connsiteY24" fmla="*/ 40359 h 922576"/>
              <a:gd name="connsiteX25" fmla="*/ 845048 w 1522695"/>
              <a:gd name="connsiteY25" fmla="*/ 445755 h 922576"/>
              <a:gd name="connsiteX26" fmla="*/ 684582 w 1522695"/>
              <a:gd name="connsiteY26" fmla="*/ 476544 h 922576"/>
              <a:gd name="connsiteX27" fmla="*/ 729241 w 1522695"/>
              <a:gd name="connsiteY27" fmla="*/ 311918 h 922576"/>
              <a:gd name="connsiteX28" fmla="*/ 1087204 w 1522695"/>
              <a:gd name="connsiteY28" fmla="*/ 231060 h 922576"/>
              <a:gd name="connsiteX29" fmla="*/ 1110643 w 1522695"/>
              <a:gd name="connsiteY29" fmla="*/ 218994 h 922576"/>
              <a:gd name="connsiteX30" fmla="*/ 1053363 w 1522695"/>
              <a:gd name="connsiteY30" fmla="*/ 185708 h 922576"/>
              <a:gd name="connsiteX31" fmla="*/ 1029785 w 1522695"/>
              <a:gd name="connsiteY31" fmla="*/ 187927 h 922576"/>
              <a:gd name="connsiteX32" fmla="*/ 636872 w 1522695"/>
              <a:gd name="connsiteY32" fmla="*/ 267536 h 922576"/>
              <a:gd name="connsiteX33" fmla="*/ 610798 w 1522695"/>
              <a:gd name="connsiteY33" fmla="*/ 284595 h 922576"/>
              <a:gd name="connsiteX34" fmla="*/ 652683 w 1522695"/>
              <a:gd name="connsiteY34" fmla="*/ 321210 h 922576"/>
              <a:gd name="connsiteX35" fmla="*/ 524948 w 1522695"/>
              <a:gd name="connsiteY35" fmla="*/ 802192 h 922576"/>
              <a:gd name="connsiteX36" fmla="*/ 537569 w 1522695"/>
              <a:gd name="connsiteY36" fmla="*/ 815646 h 922576"/>
              <a:gd name="connsiteX37" fmla="*/ 595542 w 1522695"/>
              <a:gd name="connsiteY37" fmla="*/ 802886 h 922576"/>
              <a:gd name="connsiteX38" fmla="*/ 616762 w 1522695"/>
              <a:gd name="connsiteY38" fmla="*/ 763914 h 922576"/>
              <a:gd name="connsiteX39" fmla="*/ 669603 w 1522695"/>
              <a:gd name="connsiteY39" fmla="*/ 537430 h 922576"/>
              <a:gd name="connsiteX40" fmla="*/ 808988 w 1522695"/>
              <a:gd name="connsiteY40" fmla="*/ 509276 h 922576"/>
              <a:gd name="connsiteX41" fmla="*/ 859611 w 1522695"/>
              <a:gd name="connsiteY41" fmla="*/ 477238 h 922576"/>
              <a:gd name="connsiteX42" fmla="*/ 872232 w 1522695"/>
              <a:gd name="connsiteY42" fmla="*/ 451996 h 922576"/>
              <a:gd name="connsiteX43" fmla="*/ 845187 w 1522695"/>
              <a:gd name="connsiteY43" fmla="*/ 445755 h 922576"/>
              <a:gd name="connsiteX44" fmla="*/ 1479701 w 1522695"/>
              <a:gd name="connsiteY44" fmla="*/ 159218 h 922576"/>
              <a:gd name="connsiteX45" fmla="*/ 1409801 w 1522695"/>
              <a:gd name="connsiteY45" fmla="*/ 217052 h 922576"/>
              <a:gd name="connsiteX46" fmla="*/ 1212442 w 1522695"/>
              <a:gd name="connsiteY46" fmla="*/ 666691 h 922576"/>
              <a:gd name="connsiteX47" fmla="*/ 1231721 w 1522695"/>
              <a:gd name="connsiteY47" fmla="*/ 323845 h 922576"/>
              <a:gd name="connsiteX48" fmla="*/ 1206895 w 1522695"/>
              <a:gd name="connsiteY48" fmla="*/ 300683 h 922576"/>
              <a:gd name="connsiteX49" fmla="*/ 1151002 w 1522695"/>
              <a:gd name="connsiteY49" fmla="*/ 324677 h 922576"/>
              <a:gd name="connsiteX50" fmla="*/ 1137549 w 1522695"/>
              <a:gd name="connsiteY50" fmla="*/ 353525 h 922576"/>
              <a:gd name="connsiteX51" fmla="*/ 980689 w 1522695"/>
              <a:gd name="connsiteY51" fmla="*/ 605528 h 922576"/>
              <a:gd name="connsiteX52" fmla="*/ 1041574 w 1522695"/>
              <a:gd name="connsiteY52" fmla="*/ 331196 h 922576"/>
              <a:gd name="connsiteX53" fmla="*/ 1029369 w 1522695"/>
              <a:gd name="connsiteY53" fmla="*/ 319962 h 922576"/>
              <a:gd name="connsiteX54" fmla="*/ 988871 w 1522695"/>
              <a:gd name="connsiteY54" fmla="*/ 327728 h 922576"/>
              <a:gd name="connsiteX55" fmla="*/ 954892 w 1522695"/>
              <a:gd name="connsiteY55" fmla="*/ 369752 h 922576"/>
              <a:gd name="connsiteX56" fmla="*/ 880553 w 1522695"/>
              <a:gd name="connsiteY56" fmla="*/ 711766 h 922576"/>
              <a:gd name="connsiteX57" fmla="*/ 902328 w 1522695"/>
              <a:gd name="connsiteY57" fmla="*/ 741862 h 922576"/>
              <a:gd name="connsiteX58" fmla="*/ 960024 w 1522695"/>
              <a:gd name="connsiteY58" fmla="*/ 718423 h 922576"/>
              <a:gd name="connsiteX59" fmla="*/ 1144483 w 1522695"/>
              <a:gd name="connsiteY59" fmla="*/ 419542 h 922576"/>
              <a:gd name="connsiteX60" fmla="*/ 1128950 w 1522695"/>
              <a:gd name="connsiteY60" fmla="*/ 709546 h 922576"/>
              <a:gd name="connsiteX61" fmla="*/ 1162375 w 1522695"/>
              <a:gd name="connsiteY61" fmla="*/ 786798 h 922576"/>
              <a:gd name="connsiteX62" fmla="*/ 1235049 w 1522695"/>
              <a:gd name="connsiteY62" fmla="*/ 740891 h 922576"/>
              <a:gd name="connsiteX63" fmla="*/ 1512016 w 1522695"/>
              <a:gd name="connsiteY63" fmla="*/ 203322 h 922576"/>
              <a:gd name="connsiteX64" fmla="*/ 1522696 w 1522695"/>
              <a:gd name="connsiteY64" fmla="*/ 183766 h 922576"/>
              <a:gd name="connsiteX65" fmla="*/ 1479840 w 1522695"/>
              <a:gd name="connsiteY65" fmla="*/ 159357 h 922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522695" h="922576">
                <a:moveTo>
                  <a:pt x="618149" y="39943"/>
                </a:moveTo>
                <a:cubicBezTo>
                  <a:pt x="568774" y="240214"/>
                  <a:pt x="450887" y="614404"/>
                  <a:pt x="421345" y="876531"/>
                </a:cubicBezTo>
                <a:cubicBezTo>
                  <a:pt x="418849" y="898167"/>
                  <a:pt x="420374" y="906627"/>
                  <a:pt x="388753" y="915365"/>
                </a:cubicBezTo>
                <a:cubicBezTo>
                  <a:pt x="373497" y="919526"/>
                  <a:pt x="359350" y="922577"/>
                  <a:pt x="349364" y="922577"/>
                </a:cubicBezTo>
                <a:cubicBezTo>
                  <a:pt x="333831" y="922577"/>
                  <a:pt x="328006" y="913978"/>
                  <a:pt x="328006" y="897196"/>
                </a:cubicBezTo>
                <a:cubicBezTo>
                  <a:pt x="328006" y="851567"/>
                  <a:pt x="390972" y="623280"/>
                  <a:pt x="431608" y="465033"/>
                </a:cubicBezTo>
                <a:cubicBezTo>
                  <a:pt x="377380" y="475296"/>
                  <a:pt x="300961" y="489998"/>
                  <a:pt x="224958" y="504838"/>
                </a:cubicBezTo>
                <a:cubicBezTo>
                  <a:pt x="206512" y="579870"/>
                  <a:pt x="193336" y="642697"/>
                  <a:pt x="185292" y="702473"/>
                </a:cubicBezTo>
                <a:cubicBezTo>
                  <a:pt x="183350" y="716897"/>
                  <a:pt x="185292" y="730489"/>
                  <a:pt x="159634" y="738117"/>
                </a:cubicBezTo>
                <a:cubicBezTo>
                  <a:pt x="116362" y="751015"/>
                  <a:pt x="100968" y="743803"/>
                  <a:pt x="102771" y="719671"/>
                </a:cubicBezTo>
                <a:cubicBezTo>
                  <a:pt x="105683" y="679589"/>
                  <a:pt x="118443" y="648661"/>
                  <a:pt x="150203" y="519816"/>
                </a:cubicBezTo>
                <a:cubicBezTo>
                  <a:pt x="110676" y="527722"/>
                  <a:pt x="79748" y="533547"/>
                  <a:pt x="62411" y="533547"/>
                </a:cubicBezTo>
                <a:cubicBezTo>
                  <a:pt x="38972" y="533547"/>
                  <a:pt x="0" y="517459"/>
                  <a:pt x="0" y="507750"/>
                </a:cubicBezTo>
                <a:cubicBezTo>
                  <a:pt x="0" y="496239"/>
                  <a:pt x="27184" y="496377"/>
                  <a:pt x="163795" y="465588"/>
                </a:cubicBezTo>
                <a:cubicBezTo>
                  <a:pt x="190146" y="360876"/>
                  <a:pt x="227038" y="219133"/>
                  <a:pt x="234805" y="162547"/>
                </a:cubicBezTo>
                <a:cubicBezTo>
                  <a:pt x="236192" y="152145"/>
                  <a:pt x="239798" y="140633"/>
                  <a:pt x="258244" y="135502"/>
                </a:cubicBezTo>
                <a:cubicBezTo>
                  <a:pt x="269339" y="132451"/>
                  <a:pt x="290004" y="126625"/>
                  <a:pt x="300961" y="126625"/>
                </a:cubicBezTo>
                <a:cubicBezTo>
                  <a:pt x="313304" y="126625"/>
                  <a:pt x="316772" y="137721"/>
                  <a:pt x="316772" y="149232"/>
                </a:cubicBezTo>
                <a:cubicBezTo>
                  <a:pt x="316772" y="170036"/>
                  <a:pt x="273916" y="298048"/>
                  <a:pt x="239104" y="449084"/>
                </a:cubicBezTo>
                <a:cubicBezTo>
                  <a:pt x="309837" y="433689"/>
                  <a:pt x="385424" y="417739"/>
                  <a:pt x="447697" y="404564"/>
                </a:cubicBezTo>
                <a:cubicBezTo>
                  <a:pt x="485421" y="261434"/>
                  <a:pt x="522313" y="121910"/>
                  <a:pt x="542839" y="34950"/>
                </a:cubicBezTo>
                <a:cubicBezTo>
                  <a:pt x="547277" y="16227"/>
                  <a:pt x="546445" y="10679"/>
                  <a:pt x="557402" y="6935"/>
                </a:cubicBezTo>
                <a:cubicBezTo>
                  <a:pt x="562533" y="5132"/>
                  <a:pt x="578205" y="0"/>
                  <a:pt x="592907" y="0"/>
                </a:cubicBezTo>
                <a:cubicBezTo>
                  <a:pt x="607608" y="0"/>
                  <a:pt x="620506" y="5548"/>
                  <a:pt x="620506" y="25381"/>
                </a:cubicBezTo>
                <a:cubicBezTo>
                  <a:pt x="620506" y="29680"/>
                  <a:pt x="619813" y="34673"/>
                  <a:pt x="618426" y="40359"/>
                </a:cubicBezTo>
                <a:close/>
                <a:moveTo>
                  <a:pt x="845048" y="445755"/>
                </a:moveTo>
                <a:cubicBezTo>
                  <a:pt x="796922" y="454076"/>
                  <a:pt x="739920" y="465865"/>
                  <a:pt x="684582" y="476544"/>
                </a:cubicBezTo>
                <a:cubicBezTo>
                  <a:pt x="700670" y="412608"/>
                  <a:pt x="716620" y="352970"/>
                  <a:pt x="729241" y="311918"/>
                </a:cubicBezTo>
                <a:cubicBezTo>
                  <a:pt x="838946" y="287092"/>
                  <a:pt x="1056276" y="236053"/>
                  <a:pt x="1087204" y="231060"/>
                </a:cubicBezTo>
                <a:cubicBezTo>
                  <a:pt x="1104679" y="228148"/>
                  <a:pt x="1110643" y="223155"/>
                  <a:pt x="1110643" y="218994"/>
                </a:cubicBezTo>
                <a:cubicBezTo>
                  <a:pt x="1110643" y="211089"/>
                  <a:pt x="1084985" y="185708"/>
                  <a:pt x="1053363" y="185708"/>
                </a:cubicBezTo>
                <a:cubicBezTo>
                  <a:pt x="1046428" y="185708"/>
                  <a:pt x="1038662" y="186402"/>
                  <a:pt x="1029785" y="187927"/>
                </a:cubicBezTo>
                <a:cubicBezTo>
                  <a:pt x="966542" y="199023"/>
                  <a:pt x="709269" y="252974"/>
                  <a:pt x="636872" y="267536"/>
                </a:cubicBezTo>
                <a:cubicBezTo>
                  <a:pt x="618842" y="271142"/>
                  <a:pt x="610798" y="277661"/>
                  <a:pt x="610798" y="284595"/>
                </a:cubicBezTo>
                <a:cubicBezTo>
                  <a:pt x="610798" y="295136"/>
                  <a:pt x="636317" y="316217"/>
                  <a:pt x="652683" y="321210"/>
                </a:cubicBezTo>
                <a:cubicBezTo>
                  <a:pt x="616623" y="461427"/>
                  <a:pt x="524948" y="770571"/>
                  <a:pt x="524948" y="802192"/>
                </a:cubicBezTo>
                <a:cubicBezTo>
                  <a:pt x="524948" y="809959"/>
                  <a:pt x="527583" y="815646"/>
                  <a:pt x="537569" y="815646"/>
                </a:cubicBezTo>
                <a:cubicBezTo>
                  <a:pt x="551299" y="815646"/>
                  <a:pt x="579176" y="809682"/>
                  <a:pt x="595542" y="802886"/>
                </a:cubicBezTo>
                <a:cubicBezTo>
                  <a:pt x="611908" y="795951"/>
                  <a:pt x="611630" y="787907"/>
                  <a:pt x="616762" y="763914"/>
                </a:cubicBezTo>
                <a:cubicBezTo>
                  <a:pt x="627996" y="712043"/>
                  <a:pt x="648106" y="624945"/>
                  <a:pt x="669603" y="537430"/>
                </a:cubicBezTo>
                <a:cubicBezTo>
                  <a:pt x="735620" y="523422"/>
                  <a:pt x="777505" y="516488"/>
                  <a:pt x="808988" y="509276"/>
                </a:cubicBezTo>
                <a:cubicBezTo>
                  <a:pt x="843661" y="501370"/>
                  <a:pt x="850180" y="491107"/>
                  <a:pt x="859611" y="477238"/>
                </a:cubicBezTo>
                <a:cubicBezTo>
                  <a:pt x="865852" y="468223"/>
                  <a:pt x="872232" y="456850"/>
                  <a:pt x="872232" y="451996"/>
                </a:cubicBezTo>
                <a:cubicBezTo>
                  <a:pt x="872232" y="444368"/>
                  <a:pt x="864742" y="442288"/>
                  <a:pt x="845187" y="445755"/>
                </a:cubicBezTo>
                <a:close/>
                <a:moveTo>
                  <a:pt x="1479701" y="159218"/>
                </a:moveTo>
                <a:cubicBezTo>
                  <a:pt x="1459452" y="159218"/>
                  <a:pt x="1437955" y="171978"/>
                  <a:pt x="1409801" y="217052"/>
                </a:cubicBezTo>
                <a:cubicBezTo>
                  <a:pt x="1369857" y="281128"/>
                  <a:pt x="1274854" y="509553"/>
                  <a:pt x="1212442" y="666691"/>
                </a:cubicBezTo>
                <a:cubicBezTo>
                  <a:pt x="1210639" y="502202"/>
                  <a:pt x="1231721" y="360598"/>
                  <a:pt x="1231721" y="323845"/>
                </a:cubicBezTo>
                <a:cubicBezTo>
                  <a:pt x="1231721" y="305399"/>
                  <a:pt x="1220348" y="300683"/>
                  <a:pt x="1206895" y="300683"/>
                </a:cubicBezTo>
                <a:cubicBezTo>
                  <a:pt x="1188310" y="300683"/>
                  <a:pt x="1160988" y="301516"/>
                  <a:pt x="1151002" y="324677"/>
                </a:cubicBezTo>
                <a:cubicBezTo>
                  <a:pt x="1144483" y="339795"/>
                  <a:pt x="1143374" y="343262"/>
                  <a:pt x="1137549" y="353525"/>
                </a:cubicBezTo>
                <a:cubicBezTo>
                  <a:pt x="1125205" y="375577"/>
                  <a:pt x="1053502" y="501786"/>
                  <a:pt x="980689" y="605528"/>
                </a:cubicBezTo>
                <a:cubicBezTo>
                  <a:pt x="1012588" y="432995"/>
                  <a:pt x="1041574" y="349087"/>
                  <a:pt x="1041574" y="331196"/>
                </a:cubicBezTo>
                <a:cubicBezTo>
                  <a:pt x="1041574" y="322874"/>
                  <a:pt x="1036165" y="319962"/>
                  <a:pt x="1029369" y="319962"/>
                </a:cubicBezTo>
                <a:cubicBezTo>
                  <a:pt x="1021325" y="319962"/>
                  <a:pt x="1000799" y="324816"/>
                  <a:pt x="988871" y="327728"/>
                </a:cubicBezTo>
                <a:cubicBezTo>
                  <a:pt x="974864" y="331196"/>
                  <a:pt x="963768" y="335772"/>
                  <a:pt x="954892" y="369752"/>
                </a:cubicBezTo>
                <a:cubicBezTo>
                  <a:pt x="925905" y="479734"/>
                  <a:pt x="880553" y="665720"/>
                  <a:pt x="880553" y="711766"/>
                </a:cubicBezTo>
                <a:cubicBezTo>
                  <a:pt x="880553" y="731876"/>
                  <a:pt x="884575" y="741862"/>
                  <a:pt x="902328" y="741862"/>
                </a:cubicBezTo>
                <a:cubicBezTo>
                  <a:pt x="921051" y="741862"/>
                  <a:pt x="947541" y="736591"/>
                  <a:pt x="960024" y="718423"/>
                </a:cubicBezTo>
                <a:cubicBezTo>
                  <a:pt x="1022851" y="626609"/>
                  <a:pt x="1086372" y="516349"/>
                  <a:pt x="1144483" y="419542"/>
                </a:cubicBezTo>
                <a:cubicBezTo>
                  <a:pt x="1135191" y="510801"/>
                  <a:pt x="1128950" y="628967"/>
                  <a:pt x="1128950" y="709546"/>
                </a:cubicBezTo>
                <a:cubicBezTo>
                  <a:pt x="1128950" y="765023"/>
                  <a:pt x="1130614" y="786798"/>
                  <a:pt x="1162375" y="786798"/>
                </a:cubicBezTo>
                <a:cubicBezTo>
                  <a:pt x="1191223" y="786798"/>
                  <a:pt x="1217019" y="781666"/>
                  <a:pt x="1235049" y="740891"/>
                </a:cubicBezTo>
                <a:cubicBezTo>
                  <a:pt x="1297599" y="599148"/>
                  <a:pt x="1429911" y="303735"/>
                  <a:pt x="1512016" y="203322"/>
                </a:cubicBezTo>
                <a:cubicBezTo>
                  <a:pt x="1517425" y="196803"/>
                  <a:pt x="1522696" y="191256"/>
                  <a:pt x="1522696" y="183766"/>
                </a:cubicBezTo>
                <a:cubicBezTo>
                  <a:pt x="1522696" y="173365"/>
                  <a:pt x="1498563" y="159357"/>
                  <a:pt x="1479840" y="159357"/>
                </a:cubicBezTo>
                <a:close/>
              </a:path>
            </a:pathLst>
          </a:custGeom>
          <a:solidFill>
            <a:schemeClr val="bg1"/>
          </a:solidFill>
          <a:ln w="13855" cap="flat">
            <a:noFill/>
            <a:prstDash val="solid"/>
            <a:miter/>
          </a:ln>
        </p:spPr>
        <p:txBody>
          <a:bodyPr rtlCol="0" anchor="ctr"/>
          <a:lstStyle/>
          <a:p>
            <a:endParaRPr lang="en-GB"/>
          </a:p>
        </p:txBody>
      </p:sp>
    </p:spTree>
    <p:extLst>
      <p:ext uri="{BB962C8B-B14F-4D97-AF65-F5344CB8AC3E}">
        <p14:creationId xmlns:p14="http://schemas.microsoft.com/office/powerpoint/2010/main" val="2487389696"/>
      </p:ext>
    </p:extLst>
  </p:cSld>
  <p:clrMapOvr>
    <a:masterClrMapping/>
  </p:clrMapOvr>
  <p:transition spd="med">
    <p:fade/>
  </p:transition>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9" name="Picture Placeholder 10">
            <a:extLst>
              <a:ext uri="{FF2B5EF4-FFF2-40B4-BE49-F238E27FC236}">
                <a16:creationId xmlns:a16="http://schemas.microsoft.com/office/drawing/2014/main" id="{EC32E620-80D4-6F97-53FF-3F48E9094F06}"/>
              </a:ext>
            </a:extLst>
          </p:cNvPr>
          <p:cNvSpPr>
            <a:spLocks noGrp="1"/>
          </p:cNvSpPr>
          <p:nvPr>
            <p:ph type="pic" sz="quarter" idx="13" hasCustomPrompt="1"/>
          </p:nvPr>
        </p:nvSpPr>
        <p:spPr>
          <a:xfrm>
            <a:off x="8126412" y="0"/>
            <a:ext cx="4065587" cy="6858000"/>
          </a:xfrm>
          <a:solidFill>
            <a:schemeClr val="tx1"/>
          </a:solidFill>
        </p:spPr>
        <p:txBody>
          <a:bodyPr vert="horz" lIns="0" tIns="45720" rIns="0" bIns="45720" rtlCol="0" anchor="ctr">
            <a:normAutofit/>
          </a:bodyPr>
          <a:lstStyle>
            <a:lvl1pPr algn="ctr">
              <a:defRPr lang="en-GB" sz="2800" b="0" dirty="0">
                <a:solidFill>
                  <a:schemeClr val="bg1"/>
                </a:solidFill>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US" dirty="0"/>
              <a:t>ADD RELATED </a:t>
            </a:r>
            <a:br>
              <a:rPr lang="en-US" dirty="0"/>
            </a:br>
            <a:r>
              <a:rPr lang="en-US" dirty="0"/>
              <a:t>IMAGE </a:t>
            </a:r>
            <a:br>
              <a:rPr lang="en-US" dirty="0"/>
            </a:br>
            <a:r>
              <a:rPr lang="en-US" dirty="0"/>
              <a:t>FROM HFW </a:t>
            </a:r>
            <a:br>
              <a:rPr lang="en-US" dirty="0"/>
            </a:br>
            <a:r>
              <a:rPr lang="en-US" dirty="0"/>
              <a:t>IMAGE LIBRARY</a:t>
            </a:r>
          </a:p>
        </p:txBody>
      </p:sp>
      <p:sp>
        <p:nvSpPr>
          <p:cNvPr id="7" name="Slide Number Placeholder 6">
            <a:extLst>
              <a:ext uri="{FF2B5EF4-FFF2-40B4-BE49-F238E27FC236}">
                <a16:creationId xmlns:a16="http://schemas.microsoft.com/office/drawing/2014/main" id="{9108A75C-2089-08EE-F309-3A04D1871ADD}"/>
              </a:ext>
            </a:extLst>
          </p:cNvPr>
          <p:cNvSpPr>
            <a:spLocks noGrp="1"/>
          </p:cNvSpPr>
          <p:nvPr>
            <p:ph type="sldNum" sz="quarter" idx="15"/>
          </p:nvPr>
        </p:nvSpPr>
        <p:spPr/>
        <p:txBody>
          <a:bodyPr/>
          <a:lstStyle>
            <a:lvl1pPr>
              <a:defRPr>
                <a:solidFill>
                  <a:schemeClr val="bg1"/>
                </a:solidFill>
              </a:defRPr>
            </a:lvl1pPr>
          </a:lstStyle>
          <a:p>
            <a:fld id="{8CFE0557-AA98-4E6C-B0C3-581794696B68}" type="slidenum">
              <a:rPr lang="en-GB" smtClean="0"/>
              <a:pPr/>
              <a:t>‹#›</a:t>
            </a:fld>
            <a:endParaRPr lang="en-GB" dirty="0"/>
          </a:p>
        </p:txBody>
      </p:sp>
      <p:sp>
        <p:nvSpPr>
          <p:cNvPr id="11" name="Footer Placeholder 10">
            <a:extLst>
              <a:ext uri="{FF2B5EF4-FFF2-40B4-BE49-F238E27FC236}">
                <a16:creationId xmlns:a16="http://schemas.microsoft.com/office/drawing/2014/main" id="{8E4189E3-D5C8-527A-790A-0481A0B70121}"/>
              </a:ext>
            </a:extLst>
          </p:cNvPr>
          <p:cNvSpPr>
            <a:spLocks noGrp="1"/>
          </p:cNvSpPr>
          <p:nvPr>
            <p:ph type="ftr" sz="quarter" idx="16"/>
          </p:nvPr>
        </p:nvSpPr>
        <p:spPr/>
        <p:txBody>
          <a:bodyPr/>
          <a:lstStyle/>
          <a:p>
            <a:r>
              <a:rPr lang="en-GB"/>
              <a:t>INSERT FOOTER HERE</a:t>
            </a:r>
            <a:endParaRPr lang="en-GB" dirty="0"/>
          </a:p>
        </p:txBody>
      </p:sp>
      <p:sp>
        <p:nvSpPr>
          <p:cNvPr id="2" name="Title 1">
            <a:extLst>
              <a:ext uri="{FF2B5EF4-FFF2-40B4-BE49-F238E27FC236}">
                <a16:creationId xmlns:a16="http://schemas.microsoft.com/office/drawing/2014/main" id="{452AC8CD-1368-1F05-BA16-F98E669BF469}"/>
              </a:ext>
            </a:extLst>
          </p:cNvPr>
          <p:cNvSpPr>
            <a:spLocks noGrp="1"/>
          </p:cNvSpPr>
          <p:nvPr>
            <p:ph type="title" hasCustomPrompt="1"/>
          </p:nvPr>
        </p:nvSpPr>
        <p:spPr>
          <a:xfrm>
            <a:off x="508001" y="454014"/>
            <a:ext cx="7264400" cy="799318"/>
          </a:xfrm>
        </p:spPr>
        <p:txBody>
          <a:bodyPr/>
          <a:lstStyle>
            <a:lvl1pPr>
              <a:defRPr/>
            </a:lvl1pPr>
          </a:lstStyle>
          <a:p>
            <a:r>
              <a:rPr lang="en-US" dirty="0"/>
              <a:t>CONTENTS</a:t>
            </a:r>
            <a:endParaRPr lang="en-GB" dirty="0"/>
          </a:p>
        </p:txBody>
      </p:sp>
      <p:sp>
        <p:nvSpPr>
          <p:cNvPr id="4" name="Text Placeholder 12">
            <a:extLst>
              <a:ext uri="{FF2B5EF4-FFF2-40B4-BE49-F238E27FC236}">
                <a16:creationId xmlns:a16="http://schemas.microsoft.com/office/drawing/2014/main" id="{F3564CBD-8F9A-9E6C-7293-5C4787C1B155}"/>
              </a:ext>
            </a:extLst>
          </p:cNvPr>
          <p:cNvSpPr>
            <a:spLocks noGrp="1"/>
          </p:cNvSpPr>
          <p:nvPr>
            <p:ph type="body" sz="quarter" idx="18" hasCustomPrompt="1"/>
          </p:nvPr>
        </p:nvSpPr>
        <p:spPr>
          <a:xfrm>
            <a:off x="508000" y="5054600"/>
            <a:ext cx="7264400" cy="962025"/>
          </a:xfrm>
        </p:spPr>
        <p:txBody>
          <a:bodyPr vert="horz" lIns="0" tIns="45720" rIns="0" bIns="0" rtlCol="0" anchor="b" anchorCtr="0">
            <a:noAutofit/>
          </a:bodyPr>
          <a:lstStyle>
            <a:lvl1pPr marL="108000" indent="-108000">
              <a:spcBef>
                <a:spcPts val="0"/>
              </a:spcBef>
              <a:spcAft>
                <a:spcPts val="0"/>
              </a:spcAft>
              <a:defRPr lang="en-US" sz="2000" dirty="0">
                <a:solidFill>
                  <a:schemeClr val="accent2"/>
                </a:solidFill>
              </a:defRPr>
            </a:lvl1pPr>
            <a:lvl2pPr>
              <a:defRPr lang="en-US" sz="1400" dirty="0">
                <a:solidFill>
                  <a:schemeClr val="tx2"/>
                </a:solidFill>
                <a:latin typeface="+mj-lt"/>
              </a:defRPr>
            </a:lvl2pPr>
          </a:lstStyle>
          <a:p>
            <a:pPr marL="108000" lvl="0" indent="-108000">
              <a:lnSpc>
                <a:spcPct val="100000"/>
              </a:lnSpc>
              <a:spcBef>
                <a:spcPts val="200"/>
              </a:spcBef>
              <a:spcAft>
                <a:spcPts val="200"/>
              </a:spcAft>
            </a:pPr>
            <a:r>
              <a:rPr lang="en-US" dirty="0"/>
              <a:t>“Quote goes here.”</a:t>
            </a:r>
          </a:p>
        </p:txBody>
      </p:sp>
      <p:sp>
        <p:nvSpPr>
          <p:cNvPr id="8" name="Text Placeholder 7">
            <a:extLst>
              <a:ext uri="{FF2B5EF4-FFF2-40B4-BE49-F238E27FC236}">
                <a16:creationId xmlns:a16="http://schemas.microsoft.com/office/drawing/2014/main" id="{AB8C7CDC-9E65-C241-937E-2011A6305F7D}"/>
              </a:ext>
            </a:extLst>
          </p:cNvPr>
          <p:cNvSpPr>
            <a:spLocks noGrp="1"/>
          </p:cNvSpPr>
          <p:nvPr>
            <p:ph type="body" sz="quarter" idx="19" hasCustomPrompt="1"/>
          </p:nvPr>
        </p:nvSpPr>
        <p:spPr>
          <a:xfrm>
            <a:off x="508000" y="6047121"/>
            <a:ext cx="7264400" cy="215444"/>
          </a:xfrm>
        </p:spPr>
        <p:txBody>
          <a:bodyPr tIns="0" bIns="0" anchor="b" anchorCtr="0">
            <a:spAutoFit/>
          </a:bodyPr>
          <a:lstStyle>
            <a:lvl1pPr marL="108000">
              <a:lnSpc>
                <a:spcPct val="100000"/>
              </a:lnSpc>
              <a:defRPr sz="1400" cap="all" baseline="0">
                <a:solidFill>
                  <a:schemeClr val="tx2"/>
                </a:solidFill>
                <a:latin typeface="+mj-lt"/>
              </a:defRPr>
            </a:lvl1pPr>
            <a:lvl2pPr marL="108000">
              <a:lnSpc>
                <a:spcPct val="100000"/>
              </a:lnSpc>
              <a:defRPr sz="1400" cap="all" baseline="0">
                <a:solidFill>
                  <a:schemeClr val="tx2"/>
                </a:solidFill>
                <a:latin typeface="+mj-lt"/>
              </a:defRPr>
            </a:lvl2pPr>
            <a:lvl3pPr marL="108000">
              <a:lnSpc>
                <a:spcPct val="100000"/>
              </a:lnSpc>
              <a:defRPr sz="1400" cap="all" baseline="0">
                <a:solidFill>
                  <a:schemeClr val="tx2"/>
                </a:solidFill>
                <a:latin typeface="+mj-lt"/>
              </a:defRPr>
            </a:lvl3pPr>
            <a:lvl4pPr marL="108000">
              <a:lnSpc>
                <a:spcPct val="100000"/>
              </a:lnSpc>
              <a:defRPr sz="1400" cap="all" baseline="0">
                <a:solidFill>
                  <a:schemeClr val="tx2"/>
                </a:solidFill>
                <a:latin typeface="+mj-lt"/>
              </a:defRPr>
            </a:lvl4pPr>
            <a:lvl5pPr marL="108000">
              <a:lnSpc>
                <a:spcPct val="100000"/>
              </a:lnSpc>
              <a:defRPr sz="1400" cap="all" baseline="0">
                <a:solidFill>
                  <a:schemeClr val="tx2"/>
                </a:solidFill>
                <a:latin typeface="+mj-lt"/>
              </a:defRPr>
            </a:lvl5pPr>
          </a:lstStyle>
          <a:p>
            <a:pPr lvl="0"/>
            <a:r>
              <a:rPr lang="en-US" dirty="0"/>
              <a:t>quote author</a:t>
            </a:r>
            <a:endParaRPr lang="en-GB" dirty="0"/>
          </a:p>
        </p:txBody>
      </p:sp>
      <p:sp>
        <p:nvSpPr>
          <p:cNvPr id="10" name="Content Placeholder 2">
            <a:extLst>
              <a:ext uri="{FF2B5EF4-FFF2-40B4-BE49-F238E27FC236}">
                <a16:creationId xmlns:a16="http://schemas.microsoft.com/office/drawing/2014/main" id="{C9F4C6A5-A710-29CD-7C5F-D505C43CBBA6}"/>
              </a:ext>
            </a:extLst>
          </p:cNvPr>
          <p:cNvSpPr>
            <a:spLocks noGrp="1"/>
          </p:cNvSpPr>
          <p:nvPr>
            <p:ph idx="21" hasCustomPrompt="1"/>
          </p:nvPr>
        </p:nvSpPr>
        <p:spPr>
          <a:xfrm>
            <a:off x="504826" y="1357977"/>
            <a:ext cx="7264400" cy="3602085"/>
          </a:xfrm>
        </p:spPr>
        <p:txBody>
          <a:bodyPr>
            <a:normAutofit/>
          </a:bodyPr>
          <a:lstStyle>
            <a:lvl1pPr marL="228600" indent="-228600">
              <a:spcBef>
                <a:spcPts val="400"/>
              </a:spcBef>
              <a:spcAft>
                <a:spcPts val="400"/>
              </a:spcAft>
              <a:buFont typeface="+mj-lt"/>
              <a:buAutoNum type="arabicPeriod"/>
              <a:defRPr sz="1200">
                <a:solidFill>
                  <a:schemeClr val="tx1"/>
                </a:solidFill>
                <a:latin typeface="+mn-lt"/>
              </a:defRPr>
            </a:lvl1pPr>
            <a:lvl2pPr marL="171450" indent="-171450">
              <a:buFont typeface="Arial" panose="020B0604020202020204" pitchFamily="34" charset="0"/>
              <a:buChar char="•"/>
              <a:defRPr lang="en-US" sz="1100" kern="1200" dirty="0">
                <a:solidFill>
                  <a:schemeClr val="tx1"/>
                </a:solidFill>
                <a:latin typeface="+mn-lt"/>
                <a:ea typeface="+mn-ea"/>
                <a:cs typeface="+mn-cs"/>
              </a:defRPr>
            </a:lvl2pPr>
            <a:lvl3pPr marL="360363" indent="-182563">
              <a:defRPr/>
            </a:lvl3pPr>
            <a:lvl5pPr marL="808038" indent="-182563">
              <a:defRPr/>
            </a:lvl5pPr>
          </a:lstStyle>
          <a:p>
            <a:pPr marL="228600" lvl="0" indent="-228600" algn="l" defTabSz="914400" rtl="0" eaLnBrk="1" latinLnBrk="0" hangingPunct="1">
              <a:lnSpc>
                <a:spcPct val="130000"/>
              </a:lnSpc>
              <a:spcBef>
                <a:spcPts val="300"/>
              </a:spcBef>
              <a:spcAft>
                <a:spcPts val="300"/>
              </a:spcAft>
            </a:pPr>
            <a:r>
              <a:rPr lang="en-US" dirty="0"/>
              <a:t>Content section title</a:t>
            </a:r>
          </a:p>
        </p:txBody>
      </p:sp>
      <p:sp>
        <p:nvSpPr>
          <p:cNvPr id="3" name="TextBox 4">
            <a:extLst>
              <a:ext uri="{FF2B5EF4-FFF2-40B4-BE49-F238E27FC236}">
                <a16:creationId xmlns:a16="http://schemas.microsoft.com/office/drawing/2014/main" id="{66B13D4D-C32B-D040-D808-D2B323004A17}"/>
              </a:ext>
            </a:extLst>
          </p:cNvPr>
          <p:cNvSpPr txBox="1"/>
          <p:nvPr userDrawn="1"/>
        </p:nvSpPr>
        <p:spPr>
          <a:xfrm>
            <a:off x="12346713" y="109538"/>
            <a:ext cx="1934437" cy="31700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INSERTING IMAGES:</a:t>
            </a:r>
          </a:p>
          <a:p>
            <a:pPr marL="179388" indent="-179388">
              <a:spcBef>
                <a:spcPts val="200"/>
              </a:spcBef>
              <a:spcAft>
                <a:spcPts val="200"/>
              </a:spcAft>
              <a:buFont typeface="+mj-lt"/>
              <a:buAutoNum type="arabicPeriod"/>
            </a:pPr>
            <a:r>
              <a:rPr lang="en-US" sz="900" dirty="0">
                <a:solidFill>
                  <a:schemeClr val="tx1"/>
                </a:solidFill>
                <a:latin typeface="+mn-lt"/>
              </a:rPr>
              <a:t>Simply click the image placeholder and select your image.</a:t>
            </a:r>
          </a:p>
          <a:p>
            <a:pPr marL="179388" indent="-179388">
              <a:spcBef>
                <a:spcPts val="200"/>
              </a:spcBef>
              <a:spcAft>
                <a:spcPts val="200"/>
              </a:spcAft>
              <a:buFont typeface="+mj-lt"/>
              <a:buAutoNum type="arabicPeriod"/>
            </a:pPr>
            <a:r>
              <a:rPr lang="en-US" sz="900" dirty="0">
                <a:solidFill>
                  <a:schemeClr val="tx1"/>
                </a:solidFill>
                <a:latin typeface="+mn-lt"/>
              </a:rPr>
              <a:t>Once your image is inserted into the shape it may be distorted. (Stretched or Squashed)</a:t>
            </a:r>
          </a:p>
          <a:p>
            <a:pPr marL="179388" indent="-179388">
              <a:spcBef>
                <a:spcPts val="200"/>
              </a:spcBef>
              <a:spcAft>
                <a:spcPts val="200"/>
              </a:spcAft>
              <a:buFont typeface="+mj-lt"/>
              <a:buAutoNum type="arabicPeriod"/>
            </a:pPr>
            <a:endParaRPr lang="en-US" sz="900" dirty="0">
              <a:solidFill>
                <a:schemeClr val="tx1"/>
              </a:solidFill>
              <a:latin typeface="+mn-lt"/>
            </a:endParaRPr>
          </a:p>
          <a:p>
            <a:pPr>
              <a:spcBef>
                <a:spcPts val="200"/>
              </a:spcBef>
              <a:spcAft>
                <a:spcPts val="200"/>
              </a:spcAft>
            </a:pPr>
            <a:r>
              <a:rPr lang="en-US" sz="900" b="1" dirty="0">
                <a:solidFill>
                  <a:schemeClr val="tx1"/>
                </a:solidFill>
                <a:latin typeface="+mn-lt"/>
              </a:rPr>
              <a:t>To fix this:</a:t>
            </a:r>
          </a:p>
          <a:p>
            <a:pPr marL="179388" indent="-179388">
              <a:spcBef>
                <a:spcPts val="200"/>
              </a:spcBef>
              <a:spcAft>
                <a:spcPts val="200"/>
              </a:spcAft>
              <a:buFont typeface="+mj-lt"/>
              <a:buAutoNum type="arabicPeriod"/>
            </a:pPr>
            <a:r>
              <a:rPr lang="en-US" sz="900" dirty="0">
                <a:solidFill>
                  <a:schemeClr val="tx1"/>
                </a:solidFill>
                <a:latin typeface="+mn-lt"/>
              </a:rPr>
              <a:t>Click on the image and from the top menu under </a:t>
            </a:r>
            <a:r>
              <a:rPr lang="en-US" sz="900" b="1" dirty="0">
                <a:solidFill>
                  <a:schemeClr val="tx1"/>
                </a:solidFill>
                <a:latin typeface="+mn-lt"/>
              </a:rPr>
              <a:t>PICTURE FORMAT </a:t>
            </a:r>
            <a:r>
              <a:rPr lang="en-US" sz="900" dirty="0">
                <a:solidFill>
                  <a:schemeClr val="tx1"/>
                </a:solidFill>
                <a:latin typeface="+mn-lt"/>
              </a:rPr>
              <a:t>select the </a:t>
            </a:r>
            <a:r>
              <a:rPr lang="en-US" sz="900" b="1" dirty="0">
                <a:solidFill>
                  <a:schemeClr val="tx1"/>
                </a:solidFill>
                <a:latin typeface="+mn-lt"/>
              </a:rPr>
              <a:t>CROP</a:t>
            </a:r>
            <a:r>
              <a:rPr lang="en-US" sz="900" dirty="0">
                <a:solidFill>
                  <a:schemeClr val="tx1"/>
                </a:solidFill>
                <a:latin typeface="+mn-lt"/>
              </a:rPr>
              <a:t> on the right and from the drop down menu select </a:t>
            </a:r>
            <a:r>
              <a:rPr lang="en-US" sz="900" b="1" kern="1200" dirty="0">
                <a:solidFill>
                  <a:schemeClr val="tx1"/>
                </a:solidFill>
                <a:latin typeface="+mn-lt"/>
                <a:ea typeface="+mn-ea"/>
                <a:cs typeface="+mn-cs"/>
              </a:rPr>
              <a:t>FILL</a:t>
            </a:r>
          </a:p>
          <a:p>
            <a:pPr marL="179388" indent="-179388">
              <a:spcBef>
                <a:spcPts val="200"/>
              </a:spcBef>
              <a:spcAft>
                <a:spcPts val="200"/>
              </a:spcAft>
              <a:buFont typeface="+mj-lt"/>
              <a:buAutoNum type="arabicPeriod"/>
            </a:pPr>
            <a:r>
              <a:rPr lang="en-US" sz="900" b="0" kern="1200" dirty="0">
                <a:solidFill>
                  <a:schemeClr val="tx1"/>
                </a:solidFill>
                <a:latin typeface="+mn-lt"/>
                <a:ea typeface="+mn-ea"/>
                <a:cs typeface="+mn-cs"/>
              </a:rPr>
              <a:t>From here you can move the image within the shape for best visual appearance</a:t>
            </a:r>
          </a:p>
        </p:txBody>
      </p:sp>
    </p:spTree>
    <p:extLst>
      <p:ext uri="{BB962C8B-B14F-4D97-AF65-F5344CB8AC3E}">
        <p14:creationId xmlns:p14="http://schemas.microsoft.com/office/powerpoint/2010/main" val="935356291"/>
      </p:ext>
    </p:extLst>
  </p:cSld>
  <p:clrMapOvr>
    <a:masterClrMapping/>
  </p:clrMapOvr>
  <p:transition spd="med">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bout u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261A4C7-E98D-3660-5C37-C13B3A230A80}"/>
              </a:ext>
            </a:extLst>
          </p:cNvPr>
          <p:cNvSpPr/>
          <p:nvPr userDrawn="1"/>
        </p:nvSpPr>
        <p:spPr>
          <a:xfrm>
            <a:off x="8126413" y="0"/>
            <a:ext cx="4065587"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Footer Placeholder 4"/>
          <p:cNvSpPr>
            <a:spLocks noGrp="1"/>
          </p:cNvSpPr>
          <p:nvPr>
            <p:ph type="ftr" sz="quarter" idx="11"/>
          </p:nvPr>
        </p:nvSpPr>
        <p:spPr/>
        <p:txBody>
          <a:bodyPr/>
          <a:lstStyle/>
          <a:p>
            <a:r>
              <a:rPr lang="en-GB"/>
              <a:t>INSERT FOOTER HERE</a:t>
            </a:r>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8CFE0557-AA98-4E6C-B0C3-581794696B68}" type="slidenum">
              <a:rPr lang="en-GB" smtClean="0"/>
              <a:pPr/>
              <a:t>‹#›</a:t>
            </a:fld>
            <a:endParaRPr lang="en-GB" dirty="0"/>
          </a:p>
        </p:txBody>
      </p:sp>
      <p:sp>
        <p:nvSpPr>
          <p:cNvPr id="3" name="TextBox 4">
            <a:extLst>
              <a:ext uri="{FF2B5EF4-FFF2-40B4-BE49-F238E27FC236}">
                <a16:creationId xmlns:a16="http://schemas.microsoft.com/office/drawing/2014/main" id="{059D8B5A-9275-E70C-ABEF-408099EE7215}"/>
              </a:ext>
            </a:extLst>
          </p:cNvPr>
          <p:cNvSpPr txBox="1"/>
          <p:nvPr userDrawn="1"/>
        </p:nvSpPr>
        <p:spPr>
          <a:xfrm>
            <a:off x="12346713" y="109538"/>
            <a:ext cx="1934437" cy="31700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INSERTING IMAGES:</a:t>
            </a:r>
          </a:p>
          <a:p>
            <a:pPr marL="179388" indent="-179388">
              <a:spcBef>
                <a:spcPts val="200"/>
              </a:spcBef>
              <a:spcAft>
                <a:spcPts val="200"/>
              </a:spcAft>
              <a:buFont typeface="+mj-lt"/>
              <a:buAutoNum type="arabicPeriod"/>
            </a:pPr>
            <a:r>
              <a:rPr lang="en-US" sz="900" dirty="0">
                <a:solidFill>
                  <a:schemeClr val="tx1"/>
                </a:solidFill>
                <a:latin typeface="+mn-lt"/>
              </a:rPr>
              <a:t>Simply click the image placeholder and select your image.</a:t>
            </a:r>
          </a:p>
          <a:p>
            <a:pPr marL="179388" indent="-179388">
              <a:spcBef>
                <a:spcPts val="200"/>
              </a:spcBef>
              <a:spcAft>
                <a:spcPts val="200"/>
              </a:spcAft>
              <a:buFont typeface="+mj-lt"/>
              <a:buAutoNum type="arabicPeriod"/>
            </a:pPr>
            <a:r>
              <a:rPr lang="en-US" sz="900" dirty="0">
                <a:solidFill>
                  <a:schemeClr val="tx1"/>
                </a:solidFill>
                <a:latin typeface="+mn-lt"/>
              </a:rPr>
              <a:t>Once your image is inserted into the shape it may be distorted. (Stretched or Squashed)</a:t>
            </a:r>
          </a:p>
          <a:p>
            <a:pPr marL="179388" indent="-179388">
              <a:spcBef>
                <a:spcPts val="200"/>
              </a:spcBef>
              <a:spcAft>
                <a:spcPts val="200"/>
              </a:spcAft>
              <a:buFont typeface="+mj-lt"/>
              <a:buAutoNum type="arabicPeriod"/>
            </a:pPr>
            <a:endParaRPr lang="en-US" sz="900" dirty="0">
              <a:solidFill>
                <a:schemeClr val="tx1"/>
              </a:solidFill>
              <a:latin typeface="+mn-lt"/>
            </a:endParaRPr>
          </a:p>
          <a:p>
            <a:pPr>
              <a:spcBef>
                <a:spcPts val="200"/>
              </a:spcBef>
              <a:spcAft>
                <a:spcPts val="200"/>
              </a:spcAft>
            </a:pPr>
            <a:r>
              <a:rPr lang="en-US" sz="900" b="1" dirty="0">
                <a:solidFill>
                  <a:schemeClr val="tx1"/>
                </a:solidFill>
                <a:latin typeface="+mn-lt"/>
              </a:rPr>
              <a:t>To fix this:</a:t>
            </a:r>
          </a:p>
          <a:p>
            <a:pPr marL="179388" indent="-179388">
              <a:spcBef>
                <a:spcPts val="200"/>
              </a:spcBef>
              <a:spcAft>
                <a:spcPts val="200"/>
              </a:spcAft>
              <a:buFont typeface="+mj-lt"/>
              <a:buAutoNum type="arabicPeriod"/>
            </a:pPr>
            <a:r>
              <a:rPr lang="en-US" sz="900" dirty="0">
                <a:solidFill>
                  <a:schemeClr val="tx1"/>
                </a:solidFill>
                <a:latin typeface="+mn-lt"/>
              </a:rPr>
              <a:t>Click on the image and from the top menu under </a:t>
            </a:r>
            <a:r>
              <a:rPr lang="en-US" sz="900" b="1" dirty="0">
                <a:solidFill>
                  <a:schemeClr val="tx1"/>
                </a:solidFill>
                <a:latin typeface="+mn-lt"/>
              </a:rPr>
              <a:t>PICTURE FORMAT </a:t>
            </a:r>
            <a:r>
              <a:rPr lang="en-US" sz="900" dirty="0">
                <a:solidFill>
                  <a:schemeClr val="tx1"/>
                </a:solidFill>
                <a:latin typeface="+mn-lt"/>
              </a:rPr>
              <a:t>select the </a:t>
            </a:r>
            <a:r>
              <a:rPr lang="en-US" sz="900" b="1" dirty="0">
                <a:solidFill>
                  <a:schemeClr val="tx1"/>
                </a:solidFill>
                <a:latin typeface="+mn-lt"/>
              </a:rPr>
              <a:t>CROP</a:t>
            </a:r>
            <a:r>
              <a:rPr lang="en-US" sz="900" dirty="0">
                <a:solidFill>
                  <a:schemeClr val="tx1"/>
                </a:solidFill>
                <a:latin typeface="+mn-lt"/>
              </a:rPr>
              <a:t> on the right and from the drop down menu select </a:t>
            </a:r>
            <a:r>
              <a:rPr lang="en-US" sz="900" b="1" kern="1200" dirty="0">
                <a:solidFill>
                  <a:schemeClr val="tx1"/>
                </a:solidFill>
                <a:latin typeface="+mn-lt"/>
                <a:ea typeface="+mn-ea"/>
                <a:cs typeface="+mn-cs"/>
              </a:rPr>
              <a:t>FILL</a:t>
            </a:r>
          </a:p>
          <a:p>
            <a:pPr marL="179388" indent="-179388">
              <a:spcBef>
                <a:spcPts val="200"/>
              </a:spcBef>
              <a:spcAft>
                <a:spcPts val="200"/>
              </a:spcAft>
              <a:buFont typeface="+mj-lt"/>
              <a:buAutoNum type="arabicPeriod"/>
            </a:pPr>
            <a:r>
              <a:rPr lang="en-US" sz="900" b="0" kern="1200" dirty="0">
                <a:solidFill>
                  <a:schemeClr val="tx1"/>
                </a:solidFill>
                <a:latin typeface="+mn-lt"/>
                <a:ea typeface="+mn-ea"/>
                <a:cs typeface="+mn-cs"/>
              </a:rPr>
              <a:t>From here you can move the image within the shape for best visual appearance</a:t>
            </a:r>
          </a:p>
        </p:txBody>
      </p:sp>
      <p:sp>
        <p:nvSpPr>
          <p:cNvPr id="7" name="TextBox 6">
            <a:extLst>
              <a:ext uri="{FF2B5EF4-FFF2-40B4-BE49-F238E27FC236}">
                <a16:creationId xmlns:a16="http://schemas.microsoft.com/office/drawing/2014/main" id="{73D10B0A-F22D-7272-14D2-169122397CB5}"/>
              </a:ext>
            </a:extLst>
          </p:cNvPr>
          <p:cNvSpPr txBox="1"/>
          <p:nvPr userDrawn="1"/>
        </p:nvSpPr>
        <p:spPr>
          <a:xfrm>
            <a:off x="8839200" y="1123947"/>
            <a:ext cx="2843213" cy="1447800"/>
          </a:xfrm>
          <a:prstGeom prst="rect">
            <a:avLst/>
          </a:prstGeom>
        </p:spPr>
        <p:txBody>
          <a:bodyPr vert="horz" wrap="square" lIns="0" tIns="45720" rIns="0" bIns="45720" rtlCol="0">
            <a:normAutofit/>
          </a:bodyPr>
          <a:lstStyle/>
          <a:p>
            <a:pPr algn="l">
              <a:lnSpc>
                <a:spcPct val="80000"/>
              </a:lnSpc>
            </a:pPr>
            <a:r>
              <a:rPr lang="en-GB" sz="7200" dirty="0">
                <a:solidFill>
                  <a:schemeClr val="bg1"/>
                </a:solidFill>
                <a:latin typeface="+mj-lt"/>
              </a:rPr>
              <a:t>600</a:t>
            </a:r>
          </a:p>
          <a:p>
            <a:pPr algn="l">
              <a:lnSpc>
                <a:spcPct val="80000"/>
              </a:lnSpc>
            </a:pPr>
            <a:r>
              <a:rPr lang="en-GB" sz="3200" dirty="0">
                <a:solidFill>
                  <a:schemeClr val="tx2"/>
                </a:solidFill>
                <a:latin typeface="+mn-lt"/>
              </a:rPr>
              <a:t>lawyers</a:t>
            </a:r>
            <a:endParaRPr lang="en-GB" sz="8000" kern="1200" dirty="0">
              <a:solidFill>
                <a:schemeClr val="bg1"/>
              </a:solidFill>
              <a:latin typeface="+mj-lt"/>
              <a:ea typeface="+mn-ea"/>
              <a:cs typeface="+mn-cs"/>
            </a:endParaRPr>
          </a:p>
        </p:txBody>
      </p:sp>
      <p:sp>
        <p:nvSpPr>
          <p:cNvPr id="11" name="TextBox 10">
            <a:extLst>
              <a:ext uri="{FF2B5EF4-FFF2-40B4-BE49-F238E27FC236}">
                <a16:creationId xmlns:a16="http://schemas.microsoft.com/office/drawing/2014/main" id="{67C871FE-B1B0-A638-ADC0-218F5F432E20}"/>
              </a:ext>
            </a:extLst>
          </p:cNvPr>
          <p:cNvSpPr txBox="1"/>
          <p:nvPr userDrawn="1"/>
        </p:nvSpPr>
        <p:spPr>
          <a:xfrm>
            <a:off x="8839200" y="2895933"/>
            <a:ext cx="2843213" cy="1447800"/>
          </a:xfrm>
          <a:prstGeom prst="rect">
            <a:avLst/>
          </a:prstGeom>
        </p:spPr>
        <p:txBody>
          <a:bodyPr vert="horz" wrap="square" lIns="0" tIns="45720" rIns="0" bIns="45720" rtlCol="0">
            <a:normAutofit/>
          </a:bodyPr>
          <a:lstStyle/>
          <a:p>
            <a:pPr algn="l">
              <a:lnSpc>
                <a:spcPct val="80000"/>
              </a:lnSpc>
            </a:pPr>
            <a:r>
              <a:rPr lang="en-GB" sz="7200" dirty="0">
                <a:solidFill>
                  <a:schemeClr val="bg1"/>
                </a:solidFill>
                <a:latin typeface="+mj-lt"/>
              </a:rPr>
              <a:t>180</a:t>
            </a:r>
          </a:p>
          <a:p>
            <a:pPr algn="l">
              <a:lnSpc>
                <a:spcPct val="80000"/>
              </a:lnSpc>
            </a:pPr>
            <a:r>
              <a:rPr lang="en-GB" sz="3200" dirty="0">
                <a:solidFill>
                  <a:schemeClr val="tx2"/>
                </a:solidFill>
                <a:latin typeface="+mn-lt"/>
              </a:rPr>
              <a:t>partners</a:t>
            </a:r>
            <a:endParaRPr lang="en-GB" sz="8000" kern="1200" dirty="0">
              <a:solidFill>
                <a:schemeClr val="bg1"/>
              </a:solidFill>
              <a:latin typeface="+mj-lt"/>
              <a:ea typeface="+mn-ea"/>
              <a:cs typeface="+mn-cs"/>
            </a:endParaRPr>
          </a:p>
        </p:txBody>
      </p:sp>
      <p:sp>
        <p:nvSpPr>
          <p:cNvPr id="12" name="TextBox 11">
            <a:extLst>
              <a:ext uri="{FF2B5EF4-FFF2-40B4-BE49-F238E27FC236}">
                <a16:creationId xmlns:a16="http://schemas.microsoft.com/office/drawing/2014/main" id="{F11CE0C1-0666-DC6D-F362-A93308F22743}"/>
              </a:ext>
            </a:extLst>
          </p:cNvPr>
          <p:cNvSpPr txBox="1"/>
          <p:nvPr userDrawn="1"/>
        </p:nvSpPr>
        <p:spPr>
          <a:xfrm>
            <a:off x="8839200" y="4667920"/>
            <a:ext cx="2843213" cy="1447800"/>
          </a:xfrm>
          <a:prstGeom prst="rect">
            <a:avLst/>
          </a:prstGeom>
        </p:spPr>
        <p:txBody>
          <a:bodyPr vert="horz" wrap="square" lIns="0" tIns="45720" rIns="0" bIns="45720" rtlCol="0">
            <a:normAutofit/>
          </a:bodyPr>
          <a:lstStyle/>
          <a:p>
            <a:pPr algn="l">
              <a:lnSpc>
                <a:spcPct val="80000"/>
              </a:lnSpc>
            </a:pPr>
            <a:r>
              <a:rPr lang="en-GB" sz="7200" dirty="0">
                <a:solidFill>
                  <a:schemeClr val="bg1"/>
                </a:solidFill>
                <a:latin typeface="+mj-lt"/>
              </a:rPr>
              <a:t>20</a:t>
            </a:r>
          </a:p>
          <a:p>
            <a:pPr algn="l">
              <a:lnSpc>
                <a:spcPct val="80000"/>
              </a:lnSpc>
            </a:pPr>
            <a:r>
              <a:rPr lang="en-GB" sz="3200" dirty="0">
                <a:solidFill>
                  <a:schemeClr val="tx2"/>
                </a:solidFill>
                <a:latin typeface="+mn-lt"/>
              </a:rPr>
              <a:t>offices</a:t>
            </a:r>
            <a:endParaRPr lang="en-GB" sz="8000" kern="1200" dirty="0">
              <a:solidFill>
                <a:schemeClr val="bg1"/>
              </a:solidFill>
              <a:latin typeface="+mj-lt"/>
              <a:ea typeface="+mn-ea"/>
              <a:cs typeface="+mn-cs"/>
            </a:endParaRPr>
          </a:p>
        </p:txBody>
      </p:sp>
      <p:sp>
        <p:nvSpPr>
          <p:cNvPr id="9" name="Title 3">
            <a:extLst>
              <a:ext uri="{FF2B5EF4-FFF2-40B4-BE49-F238E27FC236}">
                <a16:creationId xmlns:a16="http://schemas.microsoft.com/office/drawing/2014/main" id="{3D309353-E846-B87E-E507-035374B457F5}"/>
              </a:ext>
            </a:extLst>
          </p:cNvPr>
          <p:cNvSpPr txBox="1">
            <a:spLocks/>
          </p:cNvSpPr>
          <p:nvPr userDrawn="1"/>
        </p:nvSpPr>
        <p:spPr>
          <a:xfrm>
            <a:off x="508000" y="454014"/>
            <a:ext cx="7134225" cy="669934"/>
          </a:xfrm>
          <a:prstGeom prst="rect">
            <a:avLst/>
          </a:prstGeom>
        </p:spPr>
        <p:txBody>
          <a:bodyPr vert="horz" lIns="0" tIns="0" rIns="0" bIns="72000" rtlCol="0" anchor="t" anchorCtr="0">
            <a:noAutofit/>
          </a:bodyPr>
          <a:lstStyle>
            <a:lvl1pPr algn="l" defTabSz="914400" rtl="0" eaLnBrk="1" latinLnBrk="0" hangingPunct="1">
              <a:lnSpc>
                <a:spcPct val="90000"/>
              </a:lnSpc>
              <a:spcBef>
                <a:spcPct val="0"/>
              </a:spcBef>
              <a:buNone/>
              <a:defRPr sz="3200" kern="1200" cap="all" baseline="0">
                <a:solidFill>
                  <a:schemeClr val="tx2"/>
                </a:solidFill>
                <a:latin typeface="+mn-lt"/>
                <a:ea typeface="+mj-ea"/>
                <a:cs typeface="+mj-cs"/>
              </a:defRPr>
            </a:lvl1pPr>
          </a:lstStyle>
          <a:p>
            <a:r>
              <a:rPr lang="en-GB" dirty="0"/>
              <a:t>ABOUT US</a:t>
            </a:r>
          </a:p>
        </p:txBody>
      </p:sp>
      <p:sp>
        <p:nvSpPr>
          <p:cNvPr id="10" name="TextBox 9">
            <a:extLst>
              <a:ext uri="{FF2B5EF4-FFF2-40B4-BE49-F238E27FC236}">
                <a16:creationId xmlns:a16="http://schemas.microsoft.com/office/drawing/2014/main" id="{CDC96D03-984C-02F6-F9B3-744474D84AC3}"/>
              </a:ext>
            </a:extLst>
          </p:cNvPr>
          <p:cNvSpPr txBox="1"/>
          <p:nvPr userDrawn="1"/>
        </p:nvSpPr>
        <p:spPr>
          <a:xfrm>
            <a:off x="504827" y="1123946"/>
            <a:ext cx="4697094" cy="1400814"/>
          </a:xfrm>
          <a:prstGeom prst="rect">
            <a:avLst/>
          </a:prstGeom>
        </p:spPr>
        <p:txBody>
          <a:bodyPr vert="horz" wrap="square" lIns="0" tIns="45720" rIns="0" bIns="45720" rtlCol="0">
            <a:normAutofit lnSpcReduction="10000"/>
          </a:bodyPr>
          <a:lstStyle/>
          <a:p>
            <a:pPr marL="0" lvl="0" indent="0" algn="l" defTabSz="914400" rtl="0" eaLnBrk="1" latinLnBrk="0" hangingPunct="1">
              <a:lnSpc>
                <a:spcPct val="110000"/>
              </a:lnSpc>
              <a:spcBef>
                <a:spcPts val="300"/>
              </a:spcBef>
              <a:spcAft>
                <a:spcPts val="300"/>
              </a:spcAft>
              <a:buFont typeface="Arial" panose="020B0604020202020204" pitchFamily="34" charset="0"/>
              <a:buNone/>
            </a:pPr>
            <a:r>
              <a:rPr lang="en-US" sz="2000" kern="1200" dirty="0">
                <a:solidFill>
                  <a:schemeClr val="accent2"/>
                </a:solidFill>
                <a:latin typeface="+mj-lt"/>
                <a:ea typeface="+mn-ea"/>
                <a:cs typeface="+mn-cs"/>
              </a:rPr>
              <a:t>We are a leading global law firm </a:t>
            </a:r>
            <a:br>
              <a:rPr lang="en-US" sz="2000" kern="1200" dirty="0">
                <a:solidFill>
                  <a:schemeClr val="accent2"/>
                </a:solidFill>
                <a:latin typeface="+mj-lt"/>
                <a:ea typeface="+mn-ea"/>
                <a:cs typeface="+mn-cs"/>
              </a:rPr>
            </a:br>
            <a:r>
              <a:rPr lang="en-US" sz="2000" kern="1200" dirty="0">
                <a:solidFill>
                  <a:schemeClr val="accent2"/>
                </a:solidFill>
                <a:latin typeface="+mj-lt"/>
                <a:ea typeface="+mn-ea"/>
                <a:cs typeface="+mn-cs"/>
              </a:rPr>
              <a:t>in the aerospace, commodities, construction, energy, insurance, and shipping sectors.</a:t>
            </a:r>
          </a:p>
        </p:txBody>
      </p:sp>
      <p:sp>
        <p:nvSpPr>
          <p:cNvPr id="13" name="TextBox 12">
            <a:extLst>
              <a:ext uri="{FF2B5EF4-FFF2-40B4-BE49-F238E27FC236}">
                <a16:creationId xmlns:a16="http://schemas.microsoft.com/office/drawing/2014/main" id="{ED36428F-05BF-6A45-7E21-F8FED5875160}"/>
              </a:ext>
            </a:extLst>
          </p:cNvPr>
          <p:cNvSpPr txBox="1"/>
          <p:nvPr userDrawn="1"/>
        </p:nvSpPr>
        <p:spPr>
          <a:xfrm>
            <a:off x="504826" y="2571748"/>
            <a:ext cx="5225414" cy="1468744"/>
          </a:xfrm>
          <a:prstGeom prst="rect">
            <a:avLst/>
          </a:prstGeom>
        </p:spPr>
        <p:txBody>
          <a:bodyPr vert="horz" lIns="0" tIns="45720" rIns="0" bIns="45720" rtlCol="0">
            <a:normAutofit/>
          </a:bodyPr>
          <a:lstStyle>
            <a:lvl1pPr indent="0" defTabSz="914400">
              <a:lnSpc>
                <a:spcPct val="130000"/>
              </a:lnSpc>
              <a:spcBef>
                <a:spcPts val="300"/>
              </a:spcBef>
              <a:spcAft>
                <a:spcPts val="300"/>
              </a:spcAft>
              <a:buFont typeface="Arial" panose="020B0604020202020204" pitchFamily="34" charset="0"/>
              <a:buNone/>
              <a:defRPr sz="1400">
                <a:solidFill>
                  <a:schemeClr val="tx2"/>
                </a:solidFill>
                <a:latin typeface="+mj-lt"/>
              </a:defRPr>
            </a:lvl1pPr>
            <a:lvl2pPr marL="0" lvl="1" indent="0" defTabSz="914400">
              <a:lnSpc>
                <a:spcPct val="130000"/>
              </a:lnSpc>
              <a:spcBef>
                <a:spcPts val="300"/>
              </a:spcBef>
              <a:spcAft>
                <a:spcPts val="300"/>
              </a:spcAft>
              <a:buFont typeface="Arial" panose="020B0604020202020204" pitchFamily="34" charset="0"/>
              <a:buNone/>
              <a:defRPr sz="1100"/>
            </a:lvl2pPr>
            <a:lvl3pPr marL="180975" indent="-180975" defTabSz="914400">
              <a:lnSpc>
                <a:spcPct val="130000"/>
              </a:lnSpc>
              <a:spcBef>
                <a:spcPts val="300"/>
              </a:spcBef>
              <a:spcAft>
                <a:spcPts val="300"/>
              </a:spcAft>
              <a:buClr>
                <a:schemeClr val="tx2"/>
              </a:buClr>
              <a:buSzPct val="105000"/>
              <a:buFont typeface="Arial" panose="020B0604020202020204" pitchFamily="34" charset="0"/>
              <a:buChar char="•"/>
              <a:defRPr sz="1100"/>
            </a:lvl3pPr>
            <a:lvl4pPr marL="539750" indent="-180975" defTabSz="914400">
              <a:lnSpc>
                <a:spcPct val="130000"/>
              </a:lnSpc>
              <a:spcBef>
                <a:spcPts val="300"/>
              </a:spcBef>
              <a:spcAft>
                <a:spcPts val="300"/>
              </a:spcAft>
              <a:buClr>
                <a:schemeClr val="tx2"/>
              </a:buClr>
              <a:buSzPct val="105000"/>
              <a:buFont typeface="Arial" panose="020B0604020202020204" pitchFamily="34" charset="0"/>
              <a:buChar char="•"/>
              <a:defRPr sz="1050"/>
            </a:lvl4pPr>
            <a:lvl5pPr marL="898525" indent="-180975" defTabSz="914400">
              <a:lnSpc>
                <a:spcPct val="130000"/>
              </a:lnSpc>
              <a:spcBef>
                <a:spcPts val="300"/>
              </a:spcBef>
              <a:spcAft>
                <a:spcPts val="300"/>
              </a:spcAft>
              <a:buClr>
                <a:schemeClr val="tx2"/>
              </a:buClr>
              <a:buSzPct val="105000"/>
              <a:buFont typeface="Arial" panose="020B0604020202020204" pitchFamily="34" charset="0"/>
              <a:buChar char="•"/>
              <a:defRPr sz="105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1"/>
            <a:r>
              <a:rPr lang="en-US" dirty="0"/>
              <a:t>We have more than 600 lawyers, including 180 partners,  </a:t>
            </a:r>
            <a:br>
              <a:rPr lang="en-US" dirty="0"/>
            </a:br>
            <a:r>
              <a:rPr lang="en-US" dirty="0"/>
              <a:t>based in offices across the Americas, Europe, the Middle East, </a:t>
            </a:r>
            <a:br>
              <a:rPr lang="en-US" dirty="0"/>
            </a:br>
            <a:r>
              <a:rPr lang="en-US" dirty="0"/>
              <a:t>and Asia Pacific. </a:t>
            </a:r>
          </a:p>
          <a:p>
            <a:pPr lvl="1"/>
            <a:r>
              <a:rPr lang="en-US" dirty="0"/>
              <a:t>We pride ourselves on our deep industry expertise and our entrepreneurial, creative and collaborative culture.</a:t>
            </a:r>
            <a:endParaRPr lang="en-GB" dirty="0"/>
          </a:p>
        </p:txBody>
      </p:sp>
      <p:sp>
        <p:nvSpPr>
          <p:cNvPr id="15" name="Freeform: Shape 14">
            <a:extLst>
              <a:ext uri="{FF2B5EF4-FFF2-40B4-BE49-F238E27FC236}">
                <a16:creationId xmlns:a16="http://schemas.microsoft.com/office/drawing/2014/main" id="{32C92CD0-BBF2-5139-98FC-5FE9DD234A65}"/>
              </a:ext>
            </a:extLst>
          </p:cNvPr>
          <p:cNvSpPr/>
          <p:nvPr userDrawn="1"/>
        </p:nvSpPr>
        <p:spPr>
          <a:xfrm>
            <a:off x="2755059" y="5255025"/>
            <a:ext cx="961200" cy="964800"/>
          </a:xfrm>
          <a:custGeom>
            <a:avLst/>
            <a:gdLst>
              <a:gd name="connsiteX0" fmla="*/ 291169 w 586112"/>
              <a:gd name="connsiteY0" fmla="*/ 297268 h 586450"/>
              <a:gd name="connsiteX1" fmla="*/ 117027 w 586112"/>
              <a:gd name="connsiteY1" fmla="*/ 315633 h 586450"/>
              <a:gd name="connsiteX2" fmla="*/ 113758 w 586112"/>
              <a:gd name="connsiteY2" fmla="*/ 315970 h 586450"/>
              <a:gd name="connsiteX3" fmla="*/ 110321 w 586112"/>
              <a:gd name="connsiteY3" fmla="*/ 322776 h 586450"/>
              <a:gd name="connsiteX4" fmla="*/ 174984 w 586112"/>
              <a:gd name="connsiteY4" fmla="*/ 455169 h 586450"/>
              <a:gd name="connsiteX5" fmla="*/ 410824 w 586112"/>
              <a:gd name="connsiteY5" fmla="*/ 455169 h 586450"/>
              <a:gd name="connsiteX6" fmla="*/ 475420 w 586112"/>
              <a:gd name="connsiteY6" fmla="*/ 322776 h 586450"/>
              <a:gd name="connsiteX7" fmla="*/ 471949 w 586112"/>
              <a:gd name="connsiteY7" fmla="*/ 315970 h 586450"/>
              <a:gd name="connsiteX8" fmla="*/ 470433 w 586112"/>
              <a:gd name="connsiteY8" fmla="*/ 315835 h 586450"/>
              <a:gd name="connsiteX9" fmla="*/ 291944 w 586112"/>
              <a:gd name="connsiteY9" fmla="*/ 297369 h 586450"/>
              <a:gd name="connsiteX10" fmla="*/ 301345 w 586112"/>
              <a:gd name="connsiteY10" fmla="*/ 264010 h 586450"/>
              <a:gd name="connsiteX11" fmla="*/ 301345 w 586112"/>
              <a:gd name="connsiteY11" fmla="*/ 279510 h 586450"/>
              <a:gd name="connsiteX12" fmla="*/ 303872 w 586112"/>
              <a:gd name="connsiteY12" fmla="*/ 279780 h 586450"/>
              <a:gd name="connsiteX13" fmla="*/ 366143 w 586112"/>
              <a:gd name="connsiteY13" fmla="*/ 286249 h 586450"/>
              <a:gd name="connsiteX14" fmla="*/ 366143 w 586112"/>
              <a:gd name="connsiteY14" fmla="*/ 264010 h 586450"/>
              <a:gd name="connsiteX15" fmla="*/ 384878 w 586112"/>
              <a:gd name="connsiteY15" fmla="*/ 263976 h 586450"/>
              <a:gd name="connsiteX16" fmla="*/ 384878 w 586112"/>
              <a:gd name="connsiteY16" fmla="*/ 288136 h 586450"/>
              <a:gd name="connsiteX17" fmla="*/ 386934 w 586112"/>
              <a:gd name="connsiteY17" fmla="*/ 288372 h 586450"/>
              <a:gd name="connsiteX18" fmla="*/ 451732 w 586112"/>
              <a:gd name="connsiteY18" fmla="*/ 295078 h 586450"/>
              <a:gd name="connsiteX19" fmla="*/ 451732 w 586112"/>
              <a:gd name="connsiteY19" fmla="*/ 263976 h 586450"/>
              <a:gd name="connsiteX20" fmla="*/ 218351 w 586112"/>
              <a:gd name="connsiteY20" fmla="*/ 263976 h 586450"/>
              <a:gd name="connsiteX21" fmla="*/ 218351 w 586112"/>
              <a:gd name="connsiteY21" fmla="*/ 286081 h 586450"/>
              <a:gd name="connsiteX22" fmla="*/ 221350 w 586112"/>
              <a:gd name="connsiteY22" fmla="*/ 285811 h 586450"/>
              <a:gd name="connsiteX23" fmla="*/ 282644 w 586112"/>
              <a:gd name="connsiteY23" fmla="*/ 279342 h 586450"/>
              <a:gd name="connsiteX24" fmla="*/ 282644 w 586112"/>
              <a:gd name="connsiteY24" fmla="*/ 263976 h 586450"/>
              <a:gd name="connsiteX25" fmla="*/ 218385 w 586112"/>
              <a:gd name="connsiteY25" fmla="*/ 263976 h 586450"/>
              <a:gd name="connsiteX26" fmla="*/ 135796 w 586112"/>
              <a:gd name="connsiteY26" fmla="*/ 263976 h 586450"/>
              <a:gd name="connsiteX27" fmla="*/ 135796 w 586112"/>
              <a:gd name="connsiteY27" fmla="*/ 294808 h 586450"/>
              <a:gd name="connsiteX28" fmla="*/ 199583 w 586112"/>
              <a:gd name="connsiteY28" fmla="*/ 288103 h 586450"/>
              <a:gd name="connsiteX29" fmla="*/ 199583 w 586112"/>
              <a:gd name="connsiteY29" fmla="*/ 263976 h 586450"/>
              <a:gd name="connsiteX30" fmla="*/ 384878 w 586112"/>
              <a:gd name="connsiteY30" fmla="*/ 209725 h 586450"/>
              <a:gd name="connsiteX31" fmla="*/ 384878 w 586112"/>
              <a:gd name="connsiteY31" fmla="*/ 245241 h 586450"/>
              <a:gd name="connsiteX32" fmla="*/ 451732 w 586112"/>
              <a:gd name="connsiteY32" fmla="*/ 245241 h 586450"/>
              <a:gd name="connsiteX33" fmla="*/ 451732 w 586112"/>
              <a:gd name="connsiteY33" fmla="*/ 209725 h 586450"/>
              <a:gd name="connsiteX34" fmla="*/ 301345 w 586112"/>
              <a:gd name="connsiteY34" fmla="*/ 209725 h 586450"/>
              <a:gd name="connsiteX35" fmla="*/ 301345 w 586112"/>
              <a:gd name="connsiteY35" fmla="*/ 245241 h 586450"/>
              <a:gd name="connsiteX36" fmla="*/ 366143 w 586112"/>
              <a:gd name="connsiteY36" fmla="*/ 245241 h 586450"/>
              <a:gd name="connsiteX37" fmla="*/ 366143 w 586112"/>
              <a:gd name="connsiteY37" fmla="*/ 209725 h 586450"/>
              <a:gd name="connsiteX38" fmla="*/ 218351 w 586112"/>
              <a:gd name="connsiteY38" fmla="*/ 209725 h 586450"/>
              <a:gd name="connsiteX39" fmla="*/ 218351 w 586112"/>
              <a:gd name="connsiteY39" fmla="*/ 245241 h 586450"/>
              <a:gd name="connsiteX40" fmla="*/ 282610 w 586112"/>
              <a:gd name="connsiteY40" fmla="*/ 245241 h 586450"/>
              <a:gd name="connsiteX41" fmla="*/ 282610 w 586112"/>
              <a:gd name="connsiteY41" fmla="*/ 209725 h 586450"/>
              <a:gd name="connsiteX42" fmla="*/ 135829 w 586112"/>
              <a:gd name="connsiteY42" fmla="*/ 209725 h 586450"/>
              <a:gd name="connsiteX43" fmla="*/ 135829 w 586112"/>
              <a:gd name="connsiteY43" fmla="*/ 245241 h 586450"/>
              <a:gd name="connsiteX44" fmla="*/ 199616 w 586112"/>
              <a:gd name="connsiteY44" fmla="*/ 245241 h 586450"/>
              <a:gd name="connsiteX45" fmla="*/ 199616 w 586112"/>
              <a:gd name="connsiteY45" fmla="*/ 209725 h 586450"/>
              <a:gd name="connsiteX46" fmla="*/ 204637 w 586112"/>
              <a:gd name="connsiteY46" fmla="*/ 127102 h 586450"/>
              <a:gd name="connsiteX47" fmla="*/ 204637 w 586112"/>
              <a:gd name="connsiteY47" fmla="*/ 155205 h 586450"/>
              <a:gd name="connsiteX48" fmla="*/ 242107 w 586112"/>
              <a:gd name="connsiteY48" fmla="*/ 155205 h 586450"/>
              <a:gd name="connsiteX49" fmla="*/ 242107 w 586112"/>
              <a:gd name="connsiteY49" fmla="*/ 190990 h 586450"/>
              <a:gd name="connsiteX50" fmla="*/ 345150 w 586112"/>
              <a:gd name="connsiteY50" fmla="*/ 190990 h 586450"/>
              <a:gd name="connsiteX51" fmla="*/ 345150 w 586112"/>
              <a:gd name="connsiteY51" fmla="*/ 155205 h 586450"/>
              <a:gd name="connsiteX52" fmla="*/ 382621 w 586112"/>
              <a:gd name="connsiteY52" fmla="*/ 155205 h 586450"/>
              <a:gd name="connsiteX53" fmla="*/ 382621 w 586112"/>
              <a:gd name="connsiteY53" fmla="*/ 127102 h 586450"/>
              <a:gd name="connsiteX54" fmla="*/ 293056 w 586112"/>
              <a:gd name="connsiteY54" fmla="*/ 0 h 586450"/>
              <a:gd name="connsiteX55" fmla="*/ 586112 w 586112"/>
              <a:gd name="connsiteY55" fmla="*/ 293225 h 586450"/>
              <a:gd name="connsiteX56" fmla="*/ 293056 w 586112"/>
              <a:gd name="connsiteY56" fmla="*/ 586450 h 586450"/>
              <a:gd name="connsiteX57" fmla="*/ 0 w 586112"/>
              <a:gd name="connsiteY57" fmla="*/ 293225 h 586450"/>
              <a:gd name="connsiteX58" fmla="*/ 293056 w 586112"/>
              <a:gd name="connsiteY58" fmla="*/ 0 h 586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586112" h="586450">
                <a:moveTo>
                  <a:pt x="291169" y="297268"/>
                </a:moveTo>
                <a:lnTo>
                  <a:pt x="117027" y="315633"/>
                </a:lnTo>
                <a:lnTo>
                  <a:pt x="113758" y="315970"/>
                </a:lnTo>
                <a:cubicBezTo>
                  <a:pt x="110456" y="316374"/>
                  <a:pt x="108704" y="319979"/>
                  <a:pt x="110321" y="322776"/>
                </a:cubicBezTo>
                <a:lnTo>
                  <a:pt x="174984" y="455169"/>
                </a:lnTo>
                <a:lnTo>
                  <a:pt x="410824" y="455169"/>
                </a:lnTo>
                <a:lnTo>
                  <a:pt x="475420" y="322776"/>
                </a:lnTo>
                <a:cubicBezTo>
                  <a:pt x="477071" y="319946"/>
                  <a:pt x="475218" y="316340"/>
                  <a:pt x="471949" y="315970"/>
                </a:cubicBezTo>
                <a:lnTo>
                  <a:pt x="470433" y="315835"/>
                </a:lnTo>
                <a:lnTo>
                  <a:pt x="291944" y="297369"/>
                </a:lnTo>
                <a:close/>
                <a:moveTo>
                  <a:pt x="301345" y="264010"/>
                </a:moveTo>
                <a:lnTo>
                  <a:pt x="301345" y="279510"/>
                </a:lnTo>
                <a:lnTo>
                  <a:pt x="303872" y="279780"/>
                </a:lnTo>
                <a:lnTo>
                  <a:pt x="366143" y="286249"/>
                </a:lnTo>
                <a:lnTo>
                  <a:pt x="366143" y="264010"/>
                </a:lnTo>
                <a:close/>
                <a:moveTo>
                  <a:pt x="384878" y="263976"/>
                </a:moveTo>
                <a:lnTo>
                  <a:pt x="384878" y="288136"/>
                </a:lnTo>
                <a:lnTo>
                  <a:pt x="386934" y="288372"/>
                </a:lnTo>
                <a:lnTo>
                  <a:pt x="451732" y="295078"/>
                </a:lnTo>
                <a:lnTo>
                  <a:pt x="451732" y="263976"/>
                </a:lnTo>
                <a:close/>
                <a:moveTo>
                  <a:pt x="218351" y="263976"/>
                </a:moveTo>
                <a:lnTo>
                  <a:pt x="218351" y="286081"/>
                </a:lnTo>
                <a:lnTo>
                  <a:pt x="221350" y="285811"/>
                </a:lnTo>
                <a:lnTo>
                  <a:pt x="282644" y="279342"/>
                </a:lnTo>
                <a:lnTo>
                  <a:pt x="282644" y="263976"/>
                </a:lnTo>
                <a:lnTo>
                  <a:pt x="218385" y="263976"/>
                </a:lnTo>
                <a:close/>
                <a:moveTo>
                  <a:pt x="135796" y="263976"/>
                </a:moveTo>
                <a:lnTo>
                  <a:pt x="135796" y="294808"/>
                </a:lnTo>
                <a:lnTo>
                  <a:pt x="199583" y="288103"/>
                </a:lnTo>
                <a:lnTo>
                  <a:pt x="199583" y="263976"/>
                </a:lnTo>
                <a:close/>
                <a:moveTo>
                  <a:pt x="384878" y="209725"/>
                </a:moveTo>
                <a:lnTo>
                  <a:pt x="384878" y="245241"/>
                </a:lnTo>
                <a:lnTo>
                  <a:pt x="451732" y="245241"/>
                </a:lnTo>
                <a:lnTo>
                  <a:pt x="451732" y="209725"/>
                </a:lnTo>
                <a:close/>
                <a:moveTo>
                  <a:pt x="301345" y="209725"/>
                </a:moveTo>
                <a:lnTo>
                  <a:pt x="301345" y="245241"/>
                </a:lnTo>
                <a:lnTo>
                  <a:pt x="366143" y="245241"/>
                </a:lnTo>
                <a:lnTo>
                  <a:pt x="366143" y="209725"/>
                </a:lnTo>
                <a:close/>
                <a:moveTo>
                  <a:pt x="218351" y="209725"/>
                </a:moveTo>
                <a:lnTo>
                  <a:pt x="218351" y="245241"/>
                </a:lnTo>
                <a:lnTo>
                  <a:pt x="282610" y="245241"/>
                </a:lnTo>
                <a:lnTo>
                  <a:pt x="282610" y="209725"/>
                </a:lnTo>
                <a:close/>
                <a:moveTo>
                  <a:pt x="135829" y="209725"/>
                </a:moveTo>
                <a:lnTo>
                  <a:pt x="135829" y="245241"/>
                </a:lnTo>
                <a:lnTo>
                  <a:pt x="199616" y="245241"/>
                </a:lnTo>
                <a:lnTo>
                  <a:pt x="199616" y="209725"/>
                </a:lnTo>
                <a:close/>
                <a:moveTo>
                  <a:pt x="204637" y="127102"/>
                </a:moveTo>
                <a:lnTo>
                  <a:pt x="204637" y="155205"/>
                </a:lnTo>
                <a:lnTo>
                  <a:pt x="242107" y="155205"/>
                </a:lnTo>
                <a:lnTo>
                  <a:pt x="242107" y="190990"/>
                </a:lnTo>
                <a:lnTo>
                  <a:pt x="345150" y="190990"/>
                </a:lnTo>
                <a:lnTo>
                  <a:pt x="345150" y="155205"/>
                </a:lnTo>
                <a:lnTo>
                  <a:pt x="382621" y="155205"/>
                </a:lnTo>
                <a:lnTo>
                  <a:pt x="382621" y="127102"/>
                </a:lnTo>
                <a:close/>
                <a:moveTo>
                  <a:pt x="293056" y="0"/>
                </a:moveTo>
                <a:cubicBezTo>
                  <a:pt x="454899" y="0"/>
                  <a:pt x="586112" y="131281"/>
                  <a:pt x="586112" y="293225"/>
                </a:cubicBezTo>
                <a:cubicBezTo>
                  <a:pt x="586112" y="455169"/>
                  <a:pt x="454899" y="586450"/>
                  <a:pt x="293056" y="586450"/>
                </a:cubicBezTo>
                <a:cubicBezTo>
                  <a:pt x="131213" y="586450"/>
                  <a:pt x="0" y="455169"/>
                  <a:pt x="0" y="293225"/>
                </a:cubicBezTo>
                <a:cubicBezTo>
                  <a:pt x="0" y="131281"/>
                  <a:pt x="131213" y="0"/>
                  <a:pt x="293056" y="0"/>
                </a:cubicBezTo>
                <a:close/>
              </a:path>
            </a:pathLst>
          </a:custGeom>
          <a:solidFill>
            <a:schemeClr val="accent2"/>
          </a:solidFill>
          <a:ln w="3364" cap="flat">
            <a:noFill/>
            <a:prstDash val="solid"/>
            <a:miter/>
          </a:ln>
        </p:spPr>
        <p:txBody>
          <a:bodyPr wrap="square" rtlCol="0" anchor="ctr">
            <a:noAutofit/>
          </a:bodyPr>
          <a:lstStyle/>
          <a:p>
            <a:endParaRPr lang="en-GB"/>
          </a:p>
        </p:txBody>
      </p:sp>
      <p:sp>
        <p:nvSpPr>
          <p:cNvPr id="16" name="Freeform: Shape 15">
            <a:extLst>
              <a:ext uri="{FF2B5EF4-FFF2-40B4-BE49-F238E27FC236}">
                <a16:creationId xmlns:a16="http://schemas.microsoft.com/office/drawing/2014/main" id="{FF99F7FF-1D2E-058E-2318-E190A6E84247}"/>
              </a:ext>
            </a:extLst>
          </p:cNvPr>
          <p:cNvSpPr/>
          <p:nvPr userDrawn="1"/>
        </p:nvSpPr>
        <p:spPr>
          <a:xfrm>
            <a:off x="1630219" y="5256710"/>
            <a:ext cx="962563" cy="963115"/>
          </a:xfrm>
          <a:custGeom>
            <a:avLst/>
            <a:gdLst>
              <a:gd name="connsiteX0" fmla="*/ 293259 w 586113"/>
              <a:gd name="connsiteY0" fmla="*/ 293360 h 586450"/>
              <a:gd name="connsiteX1" fmla="*/ 271963 w 586113"/>
              <a:gd name="connsiteY1" fmla="*/ 303300 h 586450"/>
              <a:gd name="connsiteX2" fmla="*/ 266909 w 586113"/>
              <a:gd name="connsiteY2" fmla="*/ 312162 h 586450"/>
              <a:gd name="connsiteX3" fmla="*/ 265392 w 586113"/>
              <a:gd name="connsiteY3" fmla="*/ 321024 h 586450"/>
              <a:gd name="connsiteX4" fmla="*/ 265392 w 586113"/>
              <a:gd name="connsiteY4" fmla="*/ 321159 h 586450"/>
              <a:gd name="connsiteX5" fmla="*/ 275973 w 586113"/>
              <a:gd name="connsiteY5" fmla="*/ 342994 h 586450"/>
              <a:gd name="connsiteX6" fmla="*/ 279848 w 586113"/>
              <a:gd name="connsiteY6" fmla="*/ 346060 h 586450"/>
              <a:gd name="connsiteX7" fmla="*/ 275703 w 586113"/>
              <a:gd name="connsiteY7" fmla="*/ 381711 h 586450"/>
              <a:gd name="connsiteX8" fmla="*/ 310714 w 586113"/>
              <a:gd name="connsiteY8" fmla="*/ 381711 h 586450"/>
              <a:gd name="connsiteX9" fmla="*/ 306502 w 586113"/>
              <a:gd name="connsiteY9" fmla="*/ 346060 h 586450"/>
              <a:gd name="connsiteX10" fmla="*/ 310444 w 586113"/>
              <a:gd name="connsiteY10" fmla="*/ 342994 h 586450"/>
              <a:gd name="connsiteX11" fmla="*/ 321025 w 586113"/>
              <a:gd name="connsiteY11" fmla="*/ 321159 h 586450"/>
              <a:gd name="connsiteX12" fmla="*/ 321025 w 586113"/>
              <a:gd name="connsiteY12" fmla="*/ 321024 h 586450"/>
              <a:gd name="connsiteX13" fmla="*/ 321092 w 586113"/>
              <a:gd name="connsiteY13" fmla="*/ 321024 h 586450"/>
              <a:gd name="connsiteX14" fmla="*/ 319576 w 586113"/>
              <a:gd name="connsiteY14" fmla="*/ 312162 h 586450"/>
              <a:gd name="connsiteX15" fmla="*/ 314521 w 586113"/>
              <a:gd name="connsiteY15" fmla="*/ 303300 h 586450"/>
              <a:gd name="connsiteX16" fmla="*/ 293259 w 586113"/>
              <a:gd name="connsiteY16" fmla="*/ 293360 h 586450"/>
              <a:gd name="connsiteX17" fmla="*/ 293259 w 586113"/>
              <a:gd name="connsiteY17" fmla="*/ 275635 h 586450"/>
              <a:gd name="connsiteX18" fmla="*/ 335143 w 586113"/>
              <a:gd name="connsiteY18" fmla="*/ 303300 h 586450"/>
              <a:gd name="connsiteX19" fmla="*/ 337940 w 586113"/>
              <a:gd name="connsiteY19" fmla="*/ 312162 h 586450"/>
              <a:gd name="connsiteX20" fmla="*/ 338816 w 586113"/>
              <a:gd name="connsiteY20" fmla="*/ 321024 h 586450"/>
              <a:gd name="connsiteX21" fmla="*/ 338816 w 586113"/>
              <a:gd name="connsiteY21" fmla="*/ 321159 h 586450"/>
              <a:gd name="connsiteX22" fmla="*/ 325304 w 586113"/>
              <a:gd name="connsiteY22" fmla="*/ 353507 h 586450"/>
              <a:gd name="connsiteX23" fmla="*/ 330696 w 586113"/>
              <a:gd name="connsiteY23" fmla="*/ 399469 h 586450"/>
              <a:gd name="connsiteX24" fmla="*/ 255822 w 586113"/>
              <a:gd name="connsiteY24" fmla="*/ 399469 h 586450"/>
              <a:gd name="connsiteX25" fmla="*/ 261180 w 586113"/>
              <a:gd name="connsiteY25" fmla="*/ 353507 h 586450"/>
              <a:gd name="connsiteX26" fmla="*/ 247668 w 586113"/>
              <a:gd name="connsiteY26" fmla="*/ 321159 h 586450"/>
              <a:gd name="connsiteX27" fmla="*/ 247668 w 586113"/>
              <a:gd name="connsiteY27" fmla="*/ 321024 h 586450"/>
              <a:gd name="connsiteX28" fmla="*/ 248578 w 586113"/>
              <a:gd name="connsiteY28" fmla="*/ 312162 h 586450"/>
              <a:gd name="connsiteX29" fmla="*/ 251375 w 586113"/>
              <a:gd name="connsiteY29" fmla="*/ 303300 h 586450"/>
              <a:gd name="connsiteX30" fmla="*/ 293259 w 586113"/>
              <a:gd name="connsiteY30" fmla="*/ 275635 h 586450"/>
              <a:gd name="connsiteX31" fmla="*/ 166022 w 586113"/>
              <a:gd name="connsiteY31" fmla="*/ 239445 h 586450"/>
              <a:gd name="connsiteX32" fmla="*/ 166022 w 586113"/>
              <a:gd name="connsiteY32" fmla="*/ 449137 h 586450"/>
              <a:gd name="connsiteX33" fmla="*/ 420530 w 586113"/>
              <a:gd name="connsiteY33" fmla="*/ 449137 h 586450"/>
              <a:gd name="connsiteX34" fmla="*/ 420530 w 586113"/>
              <a:gd name="connsiteY34" fmla="*/ 239445 h 586450"/>
              <a:gd name="connsiteX35" fmla="*/ 293259 w 586113"/>
              <a:gd name="connsiteY35" fmla="*/ 122014 h 586450"/>
              <a:gd name="connsiteX36" fmla="*/ 193754 w 586113"/>
              <a:gd name="connsiteY36" fmla="*/ 221553 h 586450"/>
              <a:gd name="connsiteX37" fmla="*/ 193754 w 586113"/>
              <a:gd name="connsiteY37" fmla="*/ 221721 h 586450"/>
              <a:gd name="connsiteX38" fmla="*/ 211478 w 586113"/>
              <a:gd name="connsiteY38" fmla="*/ 221721 h 586450"/>
              <a:gd name="connsiteX39" fmla="*/ 211478 w 586113"/>
              <a:gd name="connsiteY39" fmla="*/ 221553 h 586450"/>
              <a:gd name="connsiteX40" fmla="*/ 293259 w 586113"/>
              <a:gd name="connsiteY40" fmla="*/ 139738 h 586450"/>
              <a:gd name="connsiteX41" fmla="*/ 375073 w 586113"/>
              <a:gd name="connsiteY41" fmla="*/ 221553 h 586450"/>
              <a:gd name="connsiteX42" fmla="*/ 375073 w 586113"/>
              <a:gd name="connsiteY42" fmla="*/ 221721 h 586450"/>
              <a:gd name="connsiteX43" fmla="*/ 392798 w 586113"/>
              <a:gd name="connsiteY43" fmla="*/ 221721 h 586450"/>
              <a:gd name="connsiteX44" fmla="*/ 392798 w 586113"/>
              <a:gd name="connsiteY44" fmla="*/ 221553 h 586450"/>
              <a:gd name="connsiteX45" fmla="*/ 293259 w 586113"/>
              <a:gd name="connsiteY45" fmla="*/ 122014 h 586450"/>
              <a:gd name="connsiteX46" fmla="*/ 293056 w 586113"/>
              <a:gd name="connsiteY46" fmla="*/ 0 h 586450"/>
              <a:gd name="connsiteX47" fmla="*/ 586113 w 586113"/>
              <a:gd name="connsiteY47" fmla="*/ 293225 h 586450"/>
              <a:gd name="connsiteX48" fmla="*/ 293056 w 586113"/>
              <a:gd name="connsiteY48" fmla="*/ 586450 h 586450"/>
              <a:gd name="connsiteX49" fmla="*/ 0 w 586113"/>
              <a:gd name="connsiteY49" fmla="*/ 293225 h 586450"/>
              <a:gd name="connsiteX50" fmla="*/ 293056 w 586113"/>
              <a:gd name="connsiteY50" fmla="*/ 0 h 586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586113" h="586450">
                <a:moveTo>
                  <a:pt x="293259" y="293360"/>
                </a:moveTo>
                <a:cubicBezTo>
                  <a:pt x="284700" y="293360"/>
                  <a:pt x="277085" y="297235"/>
                  <a:pt x="271963" y="303300"/>
                </a:cubicBezTo>
                <a:cubicBezTo>
                  <a:pt x="269739" y="305928"/>
                  <a:pt x="268021" y="308893"/>
                  <a:pt x="266909" y="312162"/>
                </a:cubicBezTo>
                <a:cubicBezTo>
                  <a:pt x="265898" y="314959"/>
                  <a:pt x="265392" y="317924"/>
                  <a:pt x="265392" y="321024"/>
                </a:cubicBezTo>
                <a:lnTo>
                  <a:pt x="265392" y="321159"/>
                </a:lnTo>
                <a:cubicBezTo>
                  <a:pt x="265392" y="329751"/>
                  <a:pt x="269234" y="337670"/>
                  <a:pt x="275973" y="342994"/>
                </a:cubicBezTo>
                <a:lnTo>
                  <a:pt x="279848" y="346060"/>
                </a:lnTo>
                <a:lnTo>
                  <a:pt x="275703" y="381711"/>
                </a:lnTo>
                <a:lnTo>
                  <a:pt x="310714" y="381711"/>
                </a:lnTo>
                <a:lnTo>
                  <a:pt x="306502" y="346060"/>
                </a:lnTo>
                <a:lnTo>
                  <a:pt x="310444" y="342994"/>
                </a:lnTo>
                <a:cubicBezTo>
                  <a:pt x="317150" y="337670"/>
                  <a:pt x="321025" y="329751"/>
                  <a:pt x="321025" y="321159"/>
                </a:cubicBezTo>
                <a:lnTo>
                  <a:pt x="321025" y="321024"/>
                </a:lnTo>
                <a:lnTo>
                  <a:pt x="321092" y="321024"/>
                </a:lnTo>
                <a:cubicBezTo>
                  <a:pt x="321092" y="317924"/>
                  <a:pt x="320553" y="314959"/>
                  <a:pt x="319576" y="312162"/>
                </a:cubicBezTo>
                <a:cubicBezTo>
                  <a:pt x="318464" y="308893"/>
                  <a:pt x="316745" y="305928"/>
                  <a:pt x="314521" y="303300"/>
                </a:cubicBezTo>
                <a:cubicBezTo>
                  <a:pt x="309433" y="297235"/>
                  <a:pt x="301818" y="293360"/>
                  <a:pt x="293259" y="293360"/>
                </a:cubicBezTo>
                <a:close/>
                <a:moveTo>
                  <a:pt x="293259" y="275635"/>
                </a:moveTo>
                <a:cubicBezTo>
                  <a:pt x="312061" y="275635"/>
                  <a:pt x="328202" y="287025"/>
                  <a:pt x="335143" y="303300"/>
                </a:cubicBezTo>
                <a:cubicBezTo>
                  <a:pt x="336390" y="306097"/>
                  <a:pt x="337334" y="309129"/>
                  <a:pt x="337940" y="312162"/>
                </a:cubicBezTo>
                <a:cubicBezTo>
                  <a:pt x="338513" y="315026"/>
                  <a:pt x="338816" y="318025"/>
                  <a:pt x="338816" y="321024"/>
                </a:cubicBezTo>
                <a:lnTo>
                  <a:pt x="338816" y="321159"/>
                </a:lnTo>
                <a:cubicBezTo>
                  <a:pt x="338816" y="333492"/>
                  <a:pt x="333930" y="344982"/>
                  <a:pt x="325304" y="353507"/>
                </a:cubicBezTo>
                <a:lnTo>
                  <a:pt x="330696" y="399469"/>
                </a:lnTo>
                <a:lnTo>
                  <a:pt x="255822" y="399469"/>
                </a:lnTo>
                <a:lnTo>
                  <a:pt x="261180" y="353507"/>
                </a:lnTo>
                <a:cubicBezTo>
                  <a:pt x="252554" y="344982"/>
                  <a:pt x="247668" y="333458"/>
                  <a:pt x="247668" y="321159"/>
                </a:cubicBezTo>
                <a:lnTo>
                  <a:pt x="247668" y="321024"/>
                </a:lnTo>
                <a:cubicBezTo>
                  <a:pt x="247668" y="318025"/>
                  <a:pt x="248005" y="315026"/>
                  <a:pt x="248578" y="312162"/>
                </a:cubicBezTo>
                <a:cubicBezTo>
                  <a:pt x="249218" y="309129"/>
                  <a:pt x="250128" y="306097"/>
                  <a:pt x="251375" y="303300"/>
                </a:cubicBezTo>
                <a:cubicBezTo>
                  <a:pt x="258350" y="287025"/>
                  <a:pt x="274456" y="275635"/>
                  <a:pt x="293259" y="275635"/>
                </a:cubicBezTo>
                <a:close/>
                <a:moveTo>
                  <a:pt x="166022" y="239445"/>
                </a:moveTo>
                <a:lnTo>
                  <a:pt x="166022" y="449137"/>
                </a:lnTo>
                <a:lnTo>
                  <a:pt x="420530" y="449137"/>
                </a:lnTo>
                <a:lnTo>
                  <a:pt x="420530" y="239445"/>
                </a:lnTo>
                <a:close/>
                <a:moveTo>
                  <a:pt x="293259" y="122014"/>
                </a:moveTo>
                <a:cubicBezTo>
                  <a:pt x="238401" y="122014"/>
                  <a:pt x="193754" y="166695"/>
                  <a:pt x="193754" y="221553"/>
                </a:cubicBezTo>
                <a:lnTo>
                  <a:pt x="193754" y="221721"/>
                </a:lnTo>
                <a:lnTo>
                  <a:pt x="211478" y="221721"/>
                </a:lnTo>
                <a:lnTo>
                  <a:pt x="211478" y="221553"/>
                </a:lnTo>
                <a:cubicBezTo>
                  <a:pt x="211478" y="176433"/>
                  <a:pt x="248140" y="139738"/>
                  <a:pt x="293259" y="139738"/>
                </a:cubicBezTo>
                <a:cubicBezTo>
                  <a:pt x="338378" y="139738"/>
                  <a:pt x="375073" y="176433"/>
                  <a:pt x="375073" y="221553"/>
                </a:cubicBezTo>
                <a:lnTo>
                  <a:pt x="375073" y="221721"/>
                </a:lnTo>
                <a:lnTo>
                  <a:pt x="392798" y="221721"/>
                </a:lnTo>
                <a:lnTo>
                  <a:pt x="392798" y="221553"/>
                </a:lnTo>
                <a:cubicBezTo>
                  <a:pt x="392798" y="166695"/>
                  <a:pt x="348116" y="122014"/>
                  <a:pt x="293259" y="122014"/>
                </a:cubicBezTo>
                <a:close/>
                <a:moveTo>
                  <a:pt x="293056" y="0"/>
                </a:moveTo>
                <a:cubicBezTo>
                  <a:pt x="454899" y="0"/>
                  <a:pt x="586113" y="131281"/>
                  <a:pt x="586113" y="293225"/>
                </a:cubicBezTo>
                <a:cubicBezTo>
                  <a:pt x="586113" y="455169"/>
                  <a:pt x="454899" y="586450"/>
                  <a:pt x="293056" y="586450"/>
                </a:cubicBezTo>
                <a:cubicBezTo>
                  <a:pt x="131213" y="586450"/>
                  <a:pt x="0" y="455169"/>
                  <a:pt x="0" y="293225"/>
                </a:cubicBezTo>
                <a:cubicBezTo>
                  <a:pt x="0" y="131281"/>
                  <a:pt x="131213" y="0"/>
                  <a:pt x="293056" y="0"/>
                </a:cubicBezTo>
                <a:close/>
              </a:path>
            </a:pathLst>
          </a:custGeom>
          <a:solidFill>
            <a:schemeClr val="tx2"/>
          </a:solidFill>
          <a:ln w="3364" cap="flat">
            <a:noFill/>
            <a:prstDash val="solid"/>
            <a:miter/>
          </a:ln>
        </p:spPr>
        <p:txBody>
          <a:bodyPr wrap="square" rtlCol="0" anchor="ctr">
            <a:noAutofit/>
          </a:bodyPr>
          <a:lstStyle/>
          <a:p>
            <a:endParaRPr lang="en-GB"/>
          </a:p>
        </p:txBody>
      </p:sp>
      <p:sp>
        <p:nvSpPr>
          <p:cNvPr id="17" name="Freeform: Shape 16">
            <a:extLst>
              <a:ext uri="{FF2B5EF4-FFF2-40B4-BE49-F238E27FC236}">
                <a16:creationId xmlns:a16="http://schemas.microsoft.com/office/drawing/2014/main" id="{92B78CA3-1BD5-9812-6801-6C702FBCA15D}"/>
              </a:ext>
            </a:extLst>
          </p:cNvPr>
          <p:cNvSpPr/>
          <p:nvPr userDrawn="1"/>
        </p:nvSpPr>
        <p:spPr>
          <a:xfrm>
            <a:off x="504826" y="5256710"/>
            <a:ext cx="963115" cy="963115"/>
          </a:xfrm>
          <a:custGeom>
            <a:avLst/>
            <a:gdLst>
              <a:gd name="connsiteX0" fmla="*/ 315093 w 586449"/>
              <a:gd name="connsiteY0" fmla="*/ 247060 h 586450"/>
              <a:gd name="connsiteX1" fmla="*/ 243657 w 586449"/>
              <a:gd name="connsiteY1" fmla="*/ 521112 h 586450"/>
              <a:gd name="connsiteX2" fmla="*/ 426762 w 586449"/>
              <a:gd name="connsiteY2" fmla="*/ 276140 h 586450"/>
              <a:gd name="connsiteX3" fmla="*/ 315127 w 586449"/>
              <a:gd name="connsiteY3" fmla="*/ 247060 h 586450"/>
              <a:gd name="connsiteX4" fmla="*/ 333727 w 586449"/>
              <a:gd name="connsiteY4" fmla="*/ 70795 h 586450"/>
              <a:gd name="connsiteX5" fmla="*/ 159686 w 586449"/>
              <a:gd name="connsiteY5" fmla="*/ 303602 h 586450"/>
              <a:gd name="connsiteX6" fmla="*/ 265829 w 586449"/>
              <a:gd name="connsiteY6" fmla="*/ 331233 h 586450"/>
              <a:gd name="connsiteX7" fmla="*/ 333727 w 586449"/>
              <a:gd name="connsiteY7" fmla="*/ 70829 h 586450"/>
              <a:gd name="connsiteX8" fmla="*/ 293225 w 586449"/>
              <a:gd name="connsiteY8" fmla="*/ 0 h 586450"/>
              <a:gd name="connsiteX9" fmla="*/ 586449 w 586449"/>
              <a:gd name="connsiteY9" fmla="*/ 293225 h 586450"/>
              <a:gd name="connsiteX10" fmla="*/ 293225 w 586449"/>
              <a:gd name="connsiteY10" fmla="*/ 586450 h 586450"/>
              <a:gd name="connsiteX11" fmla="*/ 0 w 586449"/>
              <a:gd name="connsiteY11" fmla="*/ 293225 h 586450"/>
              <a:gd name="connsiteX12" fmla="*/ 293225 w 586449"/>
              <a:gd name="connsiteY12" fmla="*/ 0 h 586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86449" h="586450">
                <a:moveTo>
                  <a:pt x="315093" y="247060"/>
                </a:moveTo>
                <a:lnTo>
                  <a:pt x="243657" y="521112"/>
                </a:lnTo>
                <a:lnTo>
                  <a:pt x="426762" y="276140"/>
                </a:lnTo>
                <a:lnTo>
                  <a:pt x="315127" y="247060"/>
                </a:lnTo>
                <a:close/>
                <a:moveTo>
                  <a:pt x="333727" y="70795"/>
                </a:moveTo>
                <a:lnTo>
                  <a:pt x="159686" y="303602"/>
                </a:lnTo>
                <a:lnTo>
                  <a:pt x="265829" y="331233"/>
                </a:lnTo>
                <a:lnTo>
                  <a:pt x="333727" y="70829"/>
                </a:lnTo>
                <a:close/>
                <a:moveTo>
                  <a:pt x="293225" y="0"/>
                </a:moveTo>
                <a:cubicBezTo>
                  <a:pt x="455169" y="0"/>
                  <a:pt x="586449" y="131281"/>
                  <a:pt x="586449" y="293225"/>
                </a:cubicBezTo>
                <a:cubicBezTo>
                  <a:pt x="586449" y="455169"/>
                  <a:pt x="455169" y="586450"/>
                  <a:pt x="293225" y="586450"/>
                </a:cubicBezTo>
                <a:cubicBezTo>
                  <a:pt x="131281" y="586450"/>
                  <a:pt x="0" y="455169"/>
                  <a:pt x="0" y="293225"/>
                </a:cubicBezTo>
                <a:cubicBezTo>
                  <a:pt x="0" y="131281"/>
                  <a:pt x="131281" y="0"/>
                  <a:pt x="293225" y="0"/>
                </a:cubicBezTo>
                <a:close/>
              </a:path>
            </a:pathLst>
          </a:custGeom>
          <a:solidFill>
            <a:schemeClr val="accent2"/>
          </a:solidFill>
          <a:ln w="3364" cap="flat">
            <a:noFill/>
            <a:prstDash val="solid"/>
            <a:miter/>
          </a:ln>
        </p:spPr>
        <p:txBody>
          <a:bodyPr wrap="square" rtlCol="0" anchor="ctr">
            <a:noAutofit/>
          </a:bodyPr>
          <a:lstStyle/>
          <a:p>
            <a:endParaRPr lang="en-GB"/>
          </a:p>
        </p:txBody>
      </p:sp>
      <p:sp>
        <p:nvSpPr>
          <p:cNvPr id="18" name="Freeform: Shape 17">
            <a:extLst>
              <a:ext uri="{FF2B5EF4-FFF2-40B4-BE49-F238E27FC236}">
                <a16:creationId xmlns:a16="http://schemas.microsoft.com/office/drawing/2014/main" id="{3E291D5E-20C2-FF2B-5A5C-ADDBEA06A041}"/>
              </a:ext>
            </a:extLst>
          </p:cNvPr>
          <p:cNvSpPr/>
          <p:nvPr userDrawn="1"/>
        </p:nvSpPr>
        <p:spPr>
          <a:xfrm>
            <a:off x="2753145" y="4167043"/>
            <a:ext cx="963114" cy="963115"/>
          </a:xfrm>
          <a:custGeom>
            <a:avLst/>
            <a:gdLst>
              <a:gd name="connsiteX0" fmla="*/ 281028 w 586449"/>
              <a:gd name="connsiteY0" fmla="*/ 365401 h 586450"/>
              <a:gd name="connsiteX1" fmla="*/ 281028 w 586449"/>
              <a:gd name="connsiteY1" fmla="*/ 410723 h 586450"/>
              <a:gd name="connsiteX2" fmla="*/ 293226 w 586449"/>
              <a:gd name="connsiteY2" fmla="*/ 410723 h 586450"/>
              <a:gd name="connsiteX3" fmla="*/ 341074 w 586449"/>
              <a:gd name="connsiteY3" fmla="*/ 457931 h 586450"/>
              <a:gd name="connsiteX4" fmla="*/ 293226 w 586449"/>
              <a:gd name="connsiteY4" fmla="*/ 505140 h 586450"/>
              <a:gd name="connsiteX5" fmla="*/ 245377 w 586449"/>
              <a:gd name="connsiteY5" fmla="*/ 457931 h 586450"/>
              <a:gd name="connsiteX6" fmla="*/ 220981 w 586449"/>
              <a:gd name="connsiteY6" fmla="*/ 457931 h 586450"/>
              <a:gd name="connsiteX7" fmla="*/ 293226 w 586449"/>
              <a:gd name="connsiteY7" fmla="*/ 529233 h 586450"/>
              <a:gd name="connsiteX8" fmla="*/ 293226 w 586449"/>
              <a:gd name="connsiteY8" fmla="*/ 529266 h 586450"/>
              <a:gd name="connsiteX9" fmla="*/ 365470 w 586449"/>
              <a:gd name="connsiteY9" fmla="*/ 457965 h 586450"/>
              <a:gd name="connsiteX10" fmla="*/ 305424 w 586449"/>
              <a:gd name="connsiteY10" fmla="*/ 387675 h 586450"/>
              <a:gd name="connsiteX11" fmla="*/ 305424 w 586449"/>
              <a:gd name="connsiteY11" fmla="*/ 365401 h 586450"/>
              <a:gd name="connsiteX12" fmla="*/ 293360 w 586449"/>
              <a:gd name="connsiteY12" fmla="*/ 216396 h 586450"/>
              <a:gd name="connsiteX13" fmla="*/ 254509 w 586449"/>
              <a:gd name="connsiteY13" fmla="*/ 255248 h 586450"/>
              <a:gd name="connsiteX14" fmla="*/ 293360 w 586449"/>
              <a:gd name="connsiteY14" fmla="*/ 294066 h 586450"/>
              <a:gd name="connsiteX15" fmla="*/ 332179 w 586449"/>
              <a:gd name="connsiteY15" fmla="*/ 255248 h 586450"/>
              <a:gd name="connsiteX16" fmla="*/ 293360 w 586449"/>
              <a:gd name="connsiteY16" fmla="*/ 216396 h 586450"/>
              <a:gd name="connsiteX17" fmla="*/ 293360 w 586449"/>
              <a:gd name="connsiteY17" fmla="*/ 192135 h 586450"/>
              <a:gd name="connsiteX18" fmla="*/ 356473 w 586449"/>
              <a:gd name="connsiteY18" fmla="*/ 255215 h 586450"/>
              <a:gd name="connsiteX19" fmla="*/ 293360 w 586449"/>
              <a:gd name="connsiteY19" fmla="*/ 318328 h 586450"/>
              <a:gd name="connsiteX20" fmla="*/ 230247 w 586449"/>
              <a:gd name="connsiteY20" fmla="*/ 255215 h 586450"/>
              <a:gd name="connsiteX21" fmla="*/ 293360 w 586449"/>
              <a:gd name="connsiteY21" fmla="*/ 192135 h 586450"/>
              <a:gd name="connsiteX22" fmla="*/ 167168 w 586449"/>
              <a:gd name="connsiteY22" fmla="*/ 171783 h 586450"/>
              <a:gd name="connsiteX23" fmla="*/ 204941 w 586449"/>
              <a:gd name="connsiteY23" fmla="*/ 341073 h 586450"/>
              <a:gd name="connsiteX24" fmla="*/ 381476 w 586449"/>
              <a:gd name="connsiteY24" fmla="*/ 341073 h 586450"/>
              <a:gd name="connsiteX25" fmla="*/ 419283 w 586449"/>
              <a:gd name="connsiteY25" fmla="*/ 171783 h 586450"/>
              <a:gd name="connsiteX26" fmla="*/ 167202 w 586449"/>
              <a:gd name="connsiteY26" fmla="*/ 171783 h 586450"/>
              <a:gd name="connsiteX27" fmla="*/ 341074 w 586449"/>
              <a:gd name="connsiteY27" fmla="*/ 72783 h 586450"/>
              <a:gd name="connsiteX28" fmla="*/ 341074 w 586449"/>
              <a:gd name="connsiteY28" fmla="*/ 147656 h 586450"/>
              <a:gd name="connsiteX29" fmla="*/ 365470 w 586449"/>
              <a:gd name="connsiteY29" fmla="*/ 147656 h 586450"/>
              <a:gd name="connsiteX30" fmla="*/ 365470 w 586449"/>
              <a:gd name="connsiteY30" fmla="*/ 72783 h 586450"/>
              <a:gd name="connsiteX31" fmla="*/ 220981 w 586449"/>
              <a:gd name="connsiteY31" fmla="*/ 72783 h 586450"/>
              <a:gd name="connsiteX32" fmla="*/ 220981 w 586449"/>
              <a:gd name="connsiteY32" fmla="*/ 147656 h 586450"/>
              <a:gd name="connsiteX33" fmla="*/ 245411 w 586449"/>
              <a:gd name="connsiteY33" fmla="*/ 147656 h 586450"/>
              <a:gd name="connsiteX34" fmla="*/ 245411 w 586449"/>
              <a:gd name="connsiteY34" fmla="*/ 72783 h 586450"/>
              <a:gd name="connsiteX35" fmla="*/ 293225 w 586449"/>
              <a:gd name="connsiteY35" fmla="*/ 0 h 586450"/>
              <a:gd name="connsiteX36" fmla="*/ 586449 w 586449"/>
              <a:gd name="connsiteY36" fmla="*/ 293225 h 586450"/>
              <a:gd name="connsiteX37" fmla="*/ 293225 w 586449"/>
              <a:gd name="connsiteY37" fmla="*/ 586450 h 586450"/>
              <a:gd name="connsiteX38" fmla="*/ 0 w 586449"/>
              <a:gd name="connsiteY38" fmla="*/ 293225 h 586450"/>
              <a:gd name="connsiteX39" fmla="*/ 293225 w 586449"/>
              <a:gd name="connsiteY39" fmla="*/ 0 h 586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586449" h="586450">
                <a:moveTo>
                  <a:pt x="281028" y="365401"/>
                </a:moveTo>
                <a:lnTo>
                  <a:pt x="281028" y="410723"/>
                </a:lnTo>
                <a:lnTo>
                  <a:pt x="293226" y="410723"/>
                </a:lnTo>
                <a:cubicBezTo>
                  <a:pt x="319610" y="410723"/>
                  <a:pt x="341074" y="431918"/>
                  <a:pt x="341074" y="457931"/>
                </a:cubicBezTo>
                <a:cubicBezTo>
                  <a:pt x="341074" y="483945"/>
                  <a:pt x="319610" y="505140"/>
                  <a:pt x="293226" y="505140"/>
                </a:cubicBezTo>
                <a:cubicBezTo>
                  <a:pt x="266841" y="505140"/>
                  <a:pt x="245377" y="483945"/>
                  <a:pt x="245377" y="457931"/>
                </a:cubicBezTo>
                <a:lnTo>
                  <a:pt x="220981" y="457931"/>
                </a:lnTo>
                <a:cubicBezTo>
                  <a:pt x="220981" y="497255"/>
                  <a:pt x="253397" y="529233"/>
                  <a:pt x="293226" y="529233"/>
                </a:cubicBezTo>
                <a:lnTo>
                  <a:pt x="293226" y="529266"/>
                </a:lnTo>
                <a:cubicBezTo>
                  <a:pt x="333055" y="529266"/>
                  <a:pt x="365470" y="497255"/>
                  <a:pt x="365470" y="457965"/>
                </a:cubicBezTo>
                <a:cubicBezTo>
                  <a:pt x="365470" y="422752"/>
                  <a:pt x="339457" y="393403"/>
                  <a:pt x="305424" y="387675"/>
                </a:cubicBezTo>
                <a:lnTo>
                  <a:pt x="305424" y="365401"/>
                </a:lnTo>
                <a:close/>
                <a:moveTo>
                  <a:pt x="293360" y="216396"/>
                </a:moveTo>
                <a:cubicBezTo>
                  <a:pt x="271896" y="216396"/>
                  <a:pt x="254509" y="233817"/>
                  <a:pt x="254509" y="255248"/>
                </a:cubicBezTo>
                <a:cubicBezTo>
                  <a:pt x="254509" y="276679"/>
                  <a:pt x="271930" y="294066"/>
                  <a:pt x="293360" y="294066"/>
                </a:cubicBezTo>
                <a:cubicBezTo>
                  <a:pt x="314791" y="294066"/>
                  <a:pt x="332179" y="276679"/>
                  <a:pt x="332179" y="255248"/>
                </a:cubicBezTo>
                <a:cubicBezTo>
                  <a:pt x="332179" y="233784"/>
                  <a:pt x="314825" y="216396"/>
                  <a:pt x="293360" y="216396"/>
                </a:cubicBezTo>
                <a:close/>
                <a:moveTo>
                  <a:pt x="293360" y="192135"/>
                </a:moveTo>
                <a:cubicBezTo>
                  <a:pt x="328236" y="192135"/>
                  <a:pt x="356473" y="220373"/>
                  <a:pt x="356473" y="255215"/>
                </a:cubicBezTo>
                <a:cubicBezTo>
                  <a:pt x="356473" y="290057"/>
                  <a:pt x="328236" y="318328"/>
                  <a:pt x="293360" y="318328"/>
                </a:cubicBezTo>
                <a:cubicBezTo>
                  <a:pt x="258485" y="318328"/>
                  <a:pt x="230247" y="290090"/>
                  <a:pt x="230247" y="255215"/>
                </a:cubicBezTo>
                <a:cubicBezTo>
                  <a:pt x="230247" y="220339"/>
                  <a:pt x="258485" y="192135"/>
                  <a:pt x="293360" y="192135"/>
                </a:cubicBezTo>
                <a:close/>
                <a:moveTo>
                  <a:pt x="167168" y="171783"/>
                </a:moveTo>
                <a:lnTo>
                  <a:pt x="204941" y="341073"/>
                </a:lnTo>
                <a:lnTo>
                  <a:pt x="381476" y="341073"/>
                </a:lnTo>
                <a:lnTo>
                  <a:pt x="419283" y="171783"/>
                </a:lnTo>
                <a:lnTo>
                  <a:pt x="167202" y="171783"/>
                </a:lnTo>
                <a:close/>
                <a:moveTo>
                  <a:pt x="341074" y="72783"/>
                </a:moveTo>
                <a:lnTo>
                  <a:pt x="341074" y="147656"/>
                </a:lnTo>
                <a:cubicBezTo>
                  <a:pt x="341074" y="147656"/>
                  <a:pt x="365470" y="147656"/>
                  <a:pt x="365470" y="147656"/>
                </a:cubicBezTo>
                <a:lnTo>
                  <a:pt x="365470" y="72783"/>
                </a:lnTo>
                <a:close/>
                <a:moveTo>
                  <a:pt x="220981" y="72783"/>
                </a:moveTo>
                <a:lnTo>
                  <a:pt x="220981" y="147656"/>
                </a:lnTo>
                <a:lnTo>
                  <a:pt x="245411" y="147656"/>
                </a:lnTo>
                <a:lnTo>
                  <a:pt x="245411" y="72783"/>
                </a:lnTo>
                <a:close/>
                <a:moveTo>
                  <a:pt x="293225" y="0"/>
                </a:moveTo>
                <a:cubicBezTo>
                  <a:pt x="455169" y="0"/>
                  <a:pt x="586449" y="131281"/>
                  <a:pt x="586449" y="293225"/>
                </a:cubicBezTo>
                <a:cubicBezTo>
                  <a:pt x="586449" y="455169"/>
                  <a:pt x="455169" y="586450"/>
                  <a:pt x="293225" y="586450"/>
                </a:cubicBezTo>
                <a:cubicBezTo>
                  <a:pt x="131281" y="586450"/>
                  <a:pt x="0" y="455169"/>
                  <a:pt x="0" y="293225"/>
                </a:cubicBezTo>
                <a:cubicBezTo>
                  <a:pt x="0" y="131281"/>
                  <a:pt x="131281" y="0"/>
                  <a:pt x="293225" y="0"/>
                </a:cubicBezTo>
                <a:close/>
              </a:path>
            </a:pathLst>
          </a:custGeom>
          <a:solidFill>
            <a:schemeClr val="tx2"/>
          </a:solidFill>
          <a:ln w="3364" cap="flat">
            <a:noFill/>
            <a:prstDash val="solid"/>
            <a:miter/>
          </a:ln>
        </p:spPr>
        <p:txBody>
          <a:bodyPr wrap="square" rtlCol="0" anchor="ctr">
            <a:noAutofit/>
          </a:bodyPr>
          <a:lstStyle/>
          <a:p>
            <a:endParaRPr lang="en-GB"/>
          </a:p>
        </p:txBody>
      </p:sp>
      <p:sp>
        <p:nvSpPr>
          <p:cNvPr id="20" name="Freeform: Shape 19">
            <a:extLst>
              <a:ext uri="{FF2B5EF4-FFF2-40B4-BE49-F238E27FC236}">
                <a16:creationId xmlns:a16="http://schemas.microsoft.com/office/drawing/2014/main" id="{3C54B019-BA4A-E1BE-B1E6-5B88E93C847F}"/>
              </a:ext>
            </a:extLst>
          </p:cNvPr>
          <p:cNvSpPr/>
          <p:nvPr userDrawn="1"/>
        </p:nvSpPr>
        <p:spPr>
          <a:xfrm>
            <a:off x="1630573" y="4167043"/>
            <a:ext cx="963115" cy="963115"/>
          </a:xfrm>
          <a:custGeom>
            <a:avLst/>
            <a:gdLst>
              <a:gd name="connsiteX0" fmla="*/ 347543 w 586450"/>
              <a:gd name="connsiteY0" fmla="*/ 286182 h 586450"/>
              <a:gd name="connsiteX1" fmla="*/ 306131 w 586450"/>
              <a:gd name="connsiteY1" fmla="*/ 411229 h 586450"/>
              <a:gd name="connsiteX2" fmla="*/ 449137 w 586450"/>
              <a:gd name="connsiteY2" fmla="*/ 411229 h 586450"/>
              <a:gd name="connsiteX3" fmla="*/ 449137 w 586450"/>
              <a:gd name="connsiteY3" fmla="*/ 286182 h 586450"/>
              <a:gd name="connsiteX4" fmla="*/ 470737 w 586450"/>
              <a:gd name="connsiteY4" fmla="*/ 286148 h 586450"/>
              <a:gd name="connsiteX5" fmla="*/ 470737 w 586450"/>
              <a:gd name="connsiteY5" fmla="*/ 411195 h 586450"/>
              <a:gd name="connsiteX6" fmla="*/ 512149 w 586450"/>
              <a:gd name="connsiteY6" fmla="*/ 411195 h 586450"/>
              <a:gd name="connsiteX7" fmla="*/ 238839 w 586450"/>
              <a:gd name="connsiteY7" fmla="*/ 285407 h 586450"/>
              <a:gd name="connsiteX8" fmla="*/ 238839 w 586450"/>
              <a:gd name="connsiteY8" fmla="*/ 410386 h 586450"/>
              <a:gd name="connsiteX9" fmla="*/ 280252 w 586450"/>
              <a:gd name="connsiteY9" fmla="*/ 410386 h 586450"/>
              <a:gd name="connsiteX10" fmla="*/ 115646 w 586450"/>
              <a:gd name="connsiteY10" fmla="*/ 285407 h 586450"/>
              <a:gd name="connsiteX11" fmla="*/ 74233 w 586450"/>
              <a:gd name="connsiteY11" fmla="*/ 410386 h 586450"/>
              <a:gd name="connsiteX12" fmla="*/ 217240 w 586450"/>
              <a:gd name="connsiteY12" fmla="*/ 410386 h 586450"/>
              <a:gd name="connsiteX13" fmla="*/ 217240 w 586450"/>
              <a:gd name="connsiteY13" fmla="*/ 285407 h 586450"/>
              <a:gd name="connsiteX14" fmla="*/ 353710 w 586450"/>
              <a:gd name="connsiteY14" fmla="*/ 137413 h 586450"/>
              <a:gd name="connsiteX15" fmla="*/ 353710 w 586450"/>
              <a:gd name="connsiteY15" fmla="*/ 262392 h 586450"/>
              <a:gd name="connsiteX16" fmla="*/ 395122 w 586450"/>
              <a:gd name="connsiteY16" fmla="*/ 262392 h 586450"/>
              <a:gd name="connsiteX17" fmla="*/ 230482 w 586450"/>
              <a:gd name="connsiteY17" fmla="*/ 137413 h 586450"/>
              <a:gd name="connsiteX18" fmla="*/ 221519 w 586450"/>
              <a:gd name="connsiteY18" fmla="*/ 164404 h 586450"/>
              <a:gd name="connsiteX19" fmla="*/ 217274 w 586450"/>
              <a:gd name="connsiteY19" fmla="*/ 177309 h 586450"/>
              <a:gd name="connsiteX20" fmla="*/ 189103 w 586450"/>
              <a:gd name="connsiteY20" fmla="*/ 262392 h 586450"/>
              <a:gd name="connsiteX21" fmla="*/ 332110 w 586450"/>
              <a:gd name="connsiteY21" fmla="*/ 262392 h 586450"/>
              <a:gd name="connsiteX22" fmla="*/ 332110 w 586450"/>
              <a:gd name="connsiteY22" fmla="*/ 137413 h 586450"/>
              <a:gd name="connsiteX23" fmla="*/ 332077 w 586450"/>
              <a:gd name="connsiteY23" fmla="*/ 137413 h 586450"/>
              <a:gd name="connsiteX24" fmla="*/ 293225 w 586450"/>
              <a:gd name="connsiteY24" fmla="*/ 0 h 586450"/>
              <a:gd name="connsiteX25" fmla="*/ 586450 w 586450"/>
              <a:gd name="connsiteY25" fmla="*/ 293225 h 586450"/>
              <a:gd name="connsiteX26" fmla="*/ 293225 w 586450"/>
              <a:gd name="connsiteY26" fmla="*/ 586450 h 586450"/>
              <a:gd name="connsiteX27" fmla="*/ 0 w 586450"/>
              <a:gd name="connsiteY27" fmla="*/ 293225 h 586450"/>
              <a:gd name="connsiteX28" fmla="*/ 293225 w 586450"/>
              <a:gd name="connsiteY28" fmla="*/ 0 h 586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6450" h="586450">
                <a:moveTo>
                  <a:pt x="347543" y="286182"/>
                </a:moveTo>
                <a:lnTo>
                  <a:pt x="306131" y="411229"/>
                </a:lnTo>
                <a:lnTo>
                  <a:pt x="449137" y="411229"/>
                </a:lnTo>
                <a:lnTo>
                  <a:pt x="449137" y="286182"/>
                </a:lnTo>
                <a:close/>
                <a:moveTo>
                  <a:pt x="470737" y="286148"/>
                </a:moveTo>
                <a:lnTo>
                  <a:pt x="470737" y="411195"/>
                </a:lnTo>
                <a:lnTo>
                  <a:pt x="512149" y="411195"/>
                </a:lnTo>
                <a:close/>
                <a:moveTo>
                  <a:pt x="238839" y="285407"/>
                </a:moveTo>
                <a:lnTo>
                  <a:pt x="238839" y="410386"/>
                </a:lnTo>
                <a:lnTo>
                  <a:pt x="280252" y="410386"/>
                </a:lnTo>
                <a:close/>
                <a:moveTo>
                  <a:pt x="115646" y="285407"/>
                </a:moveTo>
                <a:lnTo>
                  <a:pt x="74233" y="410386"/>
                </a:lnTo>
                <a:lnTo>
                  <a:pt x="217240" y="410386"/>
                </a:lnTo>
                <a:lnTo>
                  <a:pt x="217240" y="285407"/>
                </a:lnTo>
                <a:close/>
                <a:moveTo>
                  <a:pt x="353710" y="137413"/>
                </a:moveTo>
                <a:lnTo>
                  <a:pt x="353710" y="262392"/>
                </a:lnTo>
                <a:lnTo>
                  <a:pt x="395122" y="262392"/>
                </a:lnTo>
                <a:close/>
                <a:moveTo>
                  <a:pt x="230482" y="137413"/>
                </a:moveTo>
                <a:lnTo>
                  <a:pt x="221519" y="164404"/>
                </a:lnTo>
                <a:lnTo>
                  <a:pt x="217274" y="177309"/>
                </a:lnTo>
                <a:lnTo>
                  <a:pt x="189103" y="262392"/>
                </a:lnTo>
                <a:lnTo>
                  <a:pt x="332110" y="262392"/>
                </a:lnTo>
                <a:lnTo>
                  <a:pt x="332110" y="137413"/>
                </a:lnTo>
                <a:lnTo>
                  <a:pt x="332077" y="137413"/>
                </a:lnTo>
                <a:close/>
                <a:moveTo>
                  <a:pt x="293225" y="0"/>
                </a:moveTo>
                <a:cubicBezTo>
                  <a:pt x="455169" y="0"/>
                  <a:pt x="586450" y="131281"/>
                  <a:pt x="586450" y="293225"/>
                </a:cubicBezTo>
                <a:cubicBezTo>
                  <a:pt x="586450" y="455169"/>
                  <a:pt x="455169" y="586450"/>
                  <a:pt x="293225" y="586450"/>
                </a:cubicBezTo>
                <a:cubicBezTo>
                  <a:pt x="131281" y="586450"/>
                  <a:pt x="0" y="455169"/>
                  <a:pt x="0" y="293225"/>
                </a:cubicBezTo>
                <a:cubicBezTo>
                  <a:pt x="0" y="131281"/>
                  <a:pt x="131281" y="0"/>
                  <a:pt x="293225" y="0"/>
                </a:cubicBezTo>
                <a:close/>
              </a:path>
            </a:pathLst>
          </a:custGeom>
          <a:solidFill>
            <a:schemeClr val="accent2"/>
          </a:solidFill>
          <a:ln w="3364" cap="flat">
            <a:noFill/>
            <a:prstDash val="solid"/>
            <a:miter/>
          </a:ln>
        </p:spPr>
        <p:txBody>
          <a:bodyPr wrap="square" rtlCol="0" anchor="ctr">
            <a:noAutofit/>
          </a:bodyPr>
          <a:lstStyle/>
          <a:p>
            <a:endParaRPr lang="en-GB"/>
          </a:p>
        </p:txBody>
      </p:sp>
      <p:sp>
        <p:nvSpPr>
          <p:cNvPr id="21" name="Freeform: Shape 20">
            <a:extLst>
              <a:ext uri="{FF2B5EF4-FFF2-40B4-BE49-F238E27FC236}">
                <a16:creationId xmlns:a16="http://schemas.microsoft.com/office/drawing/2014/main" id="{1A1D9A0B-5126-25DD-5A37-6C7538A223F7}"/>
              </a:ext>
            </a:extLst>
          </p:cNvPr>
          <p:cNvSpPr/>
          <p:nvPr userDrawn="1"/>
        </p:nvSpPr>
        <p:spPr>
          <a:xfrm>
            <a:off x="508000" y="4167043"/>
            <a:ext cx="963115" cy="963115"/>
          </a:xfrm>
          <a:custGeom>
            <a:avLst/>
            <a:gdLst>
              <a:gd name="connsiteX0" fmla="*/ 367928 w 586449"/>
              <a:gd name="connsiteY0" fmla="*/ 313206 h 586450"/>
              <a:gd name="connsiteX1" fmla="*/ 322304 w 586449"/>
              <a:gd name="connsiteY1" fmla="*/ 336793 h 586450"/>
              <a:gd name="connsiteX2" fmla="*/ 322270 w 586449"/>
              <a:gd name="connsiteY2" fmla="*/ 336827 h 586450"/>
              <a:gd name="connsiteX3" fmla="*/ 322337 w 586449"/>
              <a:gd name="connsiteY3" fmla="*/ 338040 h 586450"/>
              <a:gd name="connsiteX4" fmla="*/ 322270 w 586449"/>
              <a:gd name="connsiteY4" fmla="*/ 338074 h 586450"/>
              <a:gd name="connsiteX5" fmla="*/ 328908 w 586449"/>
              <a:gd name="connsiteY5" fmla="*/ 450350 h 586450"/>
              <a:gd name="connsiteX6" fmla="*/ 332042 w 586449"/>
              <a:gd name="connsiteY6" fmla="*/ 448598 h 586450"/>
              <a:gd name="connsiteX7" fmla="*/ 351889 w 586449"/>
              <a:gd name="connsiteY7" fmla="*/ 415205 h 586450"/>
              <a:gd name="connsiteX8" fmla="*/ 367928 w 586449"/>
              <a:gd name="connsiteY8" fmla="*/ 314487 h 586450"/>
              <a:gd name="connsiteX9" fmla="*/ 367693 w 586449"/>
              <a:gd name="connsiteY9" fmla="*/ 314588 h 586450"/>
              <a:gd name="connsiteX10" fmla="*/ 367928 w 586449"/>
              <a:gd name="connsiteY10" fmla="*/ 313206 h 586450"/>
              <a:gd name="connsiteX11" fmla="*/ 133390 w 586449"/>
              <a:gd name="connsiteY11" fmla="*/ 168822 h 586450"/>
              <a:gd name="connsiteX12" fmla="*/ 116521 w 586449"/>
              <a:gd name="connsiteY12" fmla="*/ 175355 h 586450"/>
              <a:gd name="connsiteX13" fmla="*/ 113690 w 586449"/>
              <a:gd name="connsiteY13" fmla="*/ 177882 h 586450"/>
              <a:gd name="connsiteX14" fmla="*/ 248340 w 586449"/>
              <a:gd name="connsiteY14" fmla="*/ 256495 h 586450"/>
              <a:gd name="connsiteX15" fmla="*/ 248340 w 586449"/>
              <a:gd name="connsiteY15" fmla="*/ 256462 h 586450"/>
              <a:gd name="connsiteX16" fmla="*/ 314250 w 586449"/>
              <a:gd name="connsiteY16" fmla="*/ 221451 h 586450"/>
              <a:gd name="connsiteX17" fmla="*/ 155036 w 586449"/>
              <a:gd name="connsiteY17" fmla="*/ 172726 h 586450"/>
              <a:gd name="connsiteX18" fmla="*/ 133390 w 586449"/>
              <a:gd name="connsiteY18" fmla="*/ 168822 h 586450"/>
              <a:gd name="connsiteX19" fmla="*/ 486977 w 586449"/>
              <a:gd name="connsiteY19" fmla="*/ 168253 h 586450"/>
              <a:gd name="connsiteX20" fmla="*/ 463996 w 586449"/>
              <a:gd name="connsiteY20" fmla="*/ 170199 h 586450"/>
              <a:gd name="connsiteX21" fmla="*/ 171681 w 586449"/>
              <a:gd name="connsiteY21" fmla="*/ 321260 h 586450"/>
              <a:gd name="connsiteX22" fmla="*/ 154699 w 586449"/>
              <a:gd name="connsiteY22" fmla="*/ 322304 h 586450"/>
              <a:gd name="connsiteX23" fmla="*/ 90137 w 586449"/>
              <a:gd name="connsiteY23" fmla="*/ 303131 h 586450"/>
              <a:gd name="connsiteX24" fmla="*/ 74333 w 586449"/>
              <a:gd name="connsiteY24" fmla="*/ 311319 h 586450"/>
              <a:gd name="connsiteX25" fmla="*/ 170367 w 586449"/>
              <a:gd name="connsiteY25" fmla="*/ 376387 h 586450"/>
              <a:gd name="connsiteX26" fmla="*/ 195168 w 586449"/>
              <a:gd name="connsiteY26" fmla="*/ 376926 h 586450"/>
              <a:gd name="connsiteX27" fmla="*/ 491661 w 586449"/>
              <a:gd name="connsiteY27" fmla="*/ 223709 h 586450"/>
              <a:gd name="connsiteX28" fmla="*/ 504600 w 586449"/>
              <a:gd name="connsiteY28" fmla="*/ 183139 h 586450"/>
              <a:gd name="connsiteX29" fmla="*/ 486977 w 586449"/>
              <a:gd name="connsiteY29" fmla="*/ 168253 h 586450"/>
              <a:gd name="connsiteX30" fmla="*/ 293225 w 586449"/>
              <a:gd name="connsiteY30" fmla="*/ 0 h 586450"/>
              <a:gd name="connsiteX31" fmla="*/ 586449 w 586449"/>
              <a:gd name="connsiteY31" fmla="*/ 293225 h 586450"/>
              <a:gd name="connsiteX32" fmla="*/ 293225 w 586449"/>
              <a:gd name="connsiteY32" fmla="*/ 586450 h 586450"/>
              <a:gd name="connsiteX33" fmla="*/ 0 w 586449"/>
              <a:gd name="connsiteY33" fmla="*/ 293225 h 586450"/>
              <a:gd name="connsiteX34" fmla="*/ 293225 w 586449"/>
              <a:gd name="connsiteY34" fmla="*/ 0 h 586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86449" h="586450">
                <a:moveTo>
                  <a:pt x="367928" y="313206"/>
                </a:moveTo>
                <a:cubicBezTo>
                  <a:pt x="358460" y="318092"/>
                  <a:pt x="328066" y="333795"/>
                  <a:pt x="322304" y="336793"/>
                </a:cubicBezTo>
                <a:lnTo>
                  <a:pt x="322270" y="336827"/>
                </a:lnTo>
                <a:cubicBezTo>
                  <a:pt x="322270" y="337097"/>
                  <a:pt x="322337" y="337703"/>
                  <a:pt x="322337" y="338040"/>
                </a:cubicBezTo>
                <a:cubicBezTo>
                  <a:pt x="322337" y="338040"/>
                  <a:pt x="322270" y="338040"/>
                  <a:pt x="322270" y="338074"/>
                </a:cubicBezTo>
                <a:cubicBezTo>
                  <a:pt x="323247" y="353877"/>
                  <a:pt x="327594" y="427302"/>
                  <a:pt x="328908" y="450350"/>
                </a:cubicBezTo>
                <a:cubicBezTo>
                  <a:pt x="329919" y="449743"/>
                  <a:pt x="330930" y="449171"/>
                  <a:pt x="332042" y="448598"/>
                </a:cubicBezTo>
                <a:cubicBezTo>
                  <a:pt x="344071" y="442364"/>
                  <a:pt x="349429" y="433300"/>
                  <a:pt x="351889" y="415205"/>
                </a:cubicBezTo>
                <a:cubicBezTo>
                  <a:pt x="356708" y="378981"/>
                  <a:pt x="362133" y="347408"/>
                  <a:pt x="367928" y="314487"/>
                </a:cubicBezTo>
                <a:cubicBezTo>
                  <a:pt x="367861" y="314487"/>
                  <a:pt x="367760" y="314588"/>
                  <a:pt x="367693" y="314588"/>
                </a:cubicBezTo>
                <a:cubicBezTo>
                  <a:pt x="367794" y="314150"/>
                  <a:pt x="367861" y="313678"/>
                  <a:pt x="367928" y="313206"/>
                </a:cubicBezTo>
                <a:close/>
                <a:moveTo>
                  <a:pt x="133390" y="168822"/>
                </a:moveTo>
                <a:cubicBezTo>
                  <a:pt x="127287" y="169189"/>
                  <a:pt x="121980" y="171295"/>
                  <a:pt x="116521" y="175355"/>
                </a:cubicBezTo>
                <a:cubicBezTo>
                  <a:pt x="115577" y="176029"/>
                  <a:pt x="114735" y="176804"/>
                  <a:pt x="113690" y="177882"/>
                </a:cubicBezTo>
                <a:cubicBezTo>
                  <a:pt x="113690" y="177882"/>
                  <a:pt x="223675" y="242612"/>
                  <a:pt x="248340" y="256495"/>
                </a:cubicBezTo>
                <a:lnTo>
                  <a:pt x="248340" y="256462"/>
                </a:lnTo>
                <a:lnTo>
                  <a:pt x="314250" y="221451"/>
                </a:lnTo>
                <a:cubicBezTo>
                  <a:pt x="300839" y="217441"/>
                  <a:pt x="169761" y="177646"/>
                  <a:pt x="155036" y="172726"/>
                </a:cubicBezTo>
                <a:cubicBezTo>
                  <a:pt x="146393" y="169829"/>
                  <a:pt x="139493" y="168456"/>
                  <a:pt x="133390" y="168822"/>
                </a:cubicBezTo>
                <a:close/>
                <a:moveTo>
                  <a:pt x="486977" y="168253"/>
                </a:moveTo>
                <a:cubicBezTo>
                  <a:pt x="479631" y="165911"/>
                  <a:pt x="471393" y="166375"/>
                  <a:pt x="463996" y="170199"/>
                </a:cubicBezTo>
                <a:cubicBezTo>
                  <a:pt x="463356" y="170536"/>
                  <a:pt x="194730" y="309365"/>
                  <a:pt x="171681" y="321260"/>
                </a:cubicBezTo>
                <a:cubicBezTo>
                  <a:pt x="164673" y="324865"/>
                  <a:pt x="156889" y="322911"/>
                  <a:pt x="154699" y="322304"/>
                </a:cubicBezTo>
                <a:cubicBezTo>
                  <a:pt x="144152" y="319170"/>
                  <a:pt x="90137" y="303131"/>
                  <a:pt x="90137" y="303131"/>
                </a:cubicBezTo>
                <a:cubicBezTo>
                  <a:pt x="84374" y="306130"/>
                  <a:pt x="79758" y="308489"/>
                  <a:pt x="74333" y="311319"/>
                </a:cubicBezTo>
                <a:cubicBezTo>
                  <a:pt x="74333" y="311319"/>
                  <a:pt x="142972" y="357786"/>
                  <a:pt x="170367" y="376387"/>
                </a:cubicBezTo>
                <a:cubicBezTo>
                  <a:pt x="178421" y="381845"/>
                  <a:pt x="184958" y="382149"/>
                  <a:pt x="195168" y="376926"/>
                </a:cubicBezTo>
                <a:cubicBezTo>
                  <a:pt x="215385" y="366547"/>
                  <a:pt x="480508" y="229437"/>
                  <a:pt x="491661" y="223709"/>
                </a:cubicBezTo>
                <a:cubicBezTo>
                  <a:pt x="506420" y="216127"/>
                  <a:pt x="512216" y="197897"/>
                  <a:pt x="504600" y="183139"/>
                </a:cubicBezTo>
                <a:cubicBezTo>
                  <a:pt x="500776" y="175743"/>
                  <a:pt x="494323" y="170595"/>
                  <a:pt x="486977" y="168253"/>
                </a:cubicBezTo>
                <a:close/>
                <a:moveTo>
                  <a:pt x="293225" y="0"/>
                </a:moveTo>
                <a:cubicBezTo>
                  <a:pt x="455169" y="0"/>
                  <a:pt x="586449" y="131281"/>
                  <a:pt x="586449" y="293225"/>
                </a:cubicBezTo>
                <a:cubicBezTo>
                  <a:pt x="586449" y="455169"/>
                  <a:pt x="455169" y="586450"/>
                  <a:pt x="293225" y="586450"/>
                </a:cubicBezTo>
                <a:cubicBezTo>
                  <a:pt x="131281" y="586450"/>
                  <a:pt x="0" y="455169"/>
                  <a:pt x="0" y="293225"/>
                </a:cubicBezTo>
                <a:cubicBezTo>
                  <a:pt x="0" y="131281"/>
                  <a:pt x="131281" y="0"/>
                  <a:pt x="293225" y="0"/>
                </a:cubicBezTo>
                <a:close/>
              </a:path>
            </a:pathLst>
          </a:custGeom>
          <a:solidFill>
            <a:schemeClr val="tx2"/>
          </a:solidFill>
          <a:ln w="3364" cap="flat">
            <a:noFill/>
            <a:prstDash val="solid"/>
            <a:miter/>
          </a:ln>
        </p:spPr>
        <p:txBody>
          <a:bodyPr wrap="square" rtlCol="0" anchor="ctr">
            <a:noAutofit/>
          </a:bodyPr>
          <a:lstStyle/>
          <a:p>
            <a:endParaRPr lang="en-GB"/>
          </a:p>
        </p:txBody>
      </p:sp>
      <p:sp>
        <p:nvSpPr>
          <p:cNvPr id="4" name="Picture Placeholder 10">
            <a:extLst>
              <a:ext uri="{FF2B5EF4-FFF2-40B4-BE49-F238E27FC236}">
                <a16:creationId xmlns:a16="http://schemas.microsoft.com/office/drawing/2014/main" id="{C7714F4E-8A98-080F-4890-99722AF2380D}"/>
              </a:ext>
            </a:extLst>
          </p:cNvPr>
          <p:cNvSpPr>
            <a:spLocks noGrp="1"/>
          </p:cNvSpPr>
          <p:nvPr>
            <p:ph type="pic" sz="quarter" idx="13" hasCustomPrompt="1"/>
          </p:nvPr>
        </p:nvSpPr>
        <p:spPr>
          <a:xfrm>
            <a:off x="6096000" y="0"/>
            <a:ext cx="2030413" cy="6857999"/>
          </a:xfrm>
          <a:solidFill>
            <a:schemeClr val="tx1"/>
          </a:solidFill>
        </p:spPr>
        <p:txBody>
          <a:bodyPr vert="vert270" lIns="0" tIns="45720" rIns="0" bIns="45720" rtlCol="0" anchor="ctr">
            <a:noAutofit/>
          </a:bodyPr>
          <a:lstStyle>
            <a:lvl1pPr algn="ctr">
              <a:defRPr lang="en-GB" sz="2800" b="0" dirty="0">
                <a:solidFill>
                  <a:schemeClr val="bg1"/>
                </a:solidFill>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US" dirty="0"/>
              <a:t>ADD RELATED IMAGE </a:t>
            </a:r>
          </a:p>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US" dirty="0"/>
              <a:t>FROM HFW IMAGE LIBRARY</a:t>
            </a:r>
          </a:p>
        </p:txBody>
      </p:sp>
    </p:spTree>
    <p:extLst>
      <p:ext uri="{BB962C8B-B14F-4D97-AF65-F5344CB8AC3E}">
        <p14:creationId xmlns:p14="http://schemas.microsoft.com/office/powerpoint/2010/main" val="3131552460"/>
      </p:ext>
    </p:extLst>
  </p:cSld>
  <p:clrMapOvr>
    <a:masterClrMapping/>
  </p:clrMapOvr>
  <p:transition spd="med">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Content with 2 Profile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261A4C7-E98D-3660-5C37-C13B3A230A80}"/>
              </a:ext>
            </a:extLst>
          </p:cNvPr>
          <p:cNvSpPr/>
          <p:nvPr userDrawn="1"/>
        </p:nvSpPr>
        <p:spPr>
          <a:xfrm>
            <a:off x="8126413" y="0"/>
            <a:ext cx="40655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Footer Placeholder 4"/>
          <p:cNvSpPr>
            <a:spLocks noGrp="1"/>
          </p:cNvSpPr>
          <p:nvPr>
            <p:ph type="ftr" sz="quarter" idx="11"/>
          </p:nvPr>
        </p:nvSpPr>
        <p:spPr/>
        <p:txBody>
          <a:bodyPr/>
          <a:lstStyle/>
          <a:p>
            <a:r>
              <a:rPr lang="en-GB" dirty="0"/>
              <a:t>INSERT FOOTER HERE</a:t>
            </a:r>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8CFE0557-AA98-4E6C-B0C3-581794696B68}" type="slidenum">
              <a:rPr lang="en-GB" smtClean="0"/>
              <a:pPr/>
              <a:t>‹#›</a:t>
            </a:fld>
            <a:endParaRPr lang="en-GB" dirty="0"/>
          </a:p>
        </p:txBody>
      </p:sp>
      <p:sp>
        <p:nvSpPr>
          <p:cNvPr id="9" name="Content Placeholder 2">
            <a:extLst>
              <a:ext uri="{FF2B5EF4-FFF2-40B4-BE49-F238E27FC236}">
                <a16:creationId xmlns:a16="http://schemas.microsoft.com/office/drawing/2014/main" id="{F7D10F14-7BE2-8A09-1803-2E4B2FCAD5F0}"/>
              </a:ext>
            </a:extLst>
          </p:cNvPr>
          <p:cNvSpPr>
            <a:spLocks noGrp="1"/>
          </p:cNvSpPr>
          <p:nvPr>
            <p:ph idx="1" hasCustomPrompt="1"/>
          </p:nvPr>
        </p:nvSpPr>
        <p:spPr>
          <a:xfrm>
            <a:off x="508000" y="1971039"/>
            <a:ext cx="7134225" cy="365761"/>
          </a:xfrm>
        </p:spPr>
        <p:txBody>
          <a:bodyPr/>
          <a:lstStyle>
            <a:lvl1pPr>
              <a:defRPr cap="all" baseline="0"/>
            </a:lvl1pPr>
          </a:lstStyle>
          <a:p>
            <a:pPr lvl="0"/>
            <a:r>
              <a:rPr lang="en-US" dirty="0"/>
              <a:t>subhead</a:t>
            </a:r>
          </a:p>
        </p:txBody>
      </p:sp>
      <p:sp>
        <p:nvSpPr>
          <p:cNvPr id="15" name="Picture Placeholder 14">
            <a:extLst>
              <a:ext uri="{FF2B5EF4-FFF2-40B4-BE49-F238E27FC236}">
                <a16:creationId xmlns:a16="http://schemas.microsoft.com/office/drawing/2014/main" id="{BB1C9D16-E1E9-792C-AE10-77DE9B549928}"/>
              </a:ext>
            </a:extLst>
          </p:cNvPr>
          <p:cNvSpPr>
            <a:spLocks noGrp="1"/>
          </p:cNvSpPr>
          <p:nvPr>
            <p:ph type="pic" sz="quarter" idx="15" hasCustomPrompt="1"/>
          </p:nvPr>
        </p:nvSpPr>
        <p:spPr>
          <a:xfrm>
            <a:off x="8737601" y="1291427"/>
            <a:ext cx="876299" cy="876299"/>
          </a:xfrm>
          <a:solidFill>
            <a:schemeClr val="bg1"/>
          </a:solidFill>
        </p:spPr>
        <p:txBody>
          <a:bodyPr anchor="ctr">
            <a:normAutofit/>
          </a:bodyPr>
          <a:lstStyle>
            <a:lvl1pPr algn="ctr">
              <a:defRPr sz="1000">
                <a:latin typeface="+mn-lt"/>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GB" dirty="0"/>
              <a:t>Picture</a:t>
            </a:r>
          </a:p>
        </p:txBody>
      </p:sp>
      <p:sp>
        <p:nvSpPr>
          <p:cNvPr id="11" name="Picture Placeholder 14">
            <a:extLst>
              <a:ext uri="{FF2B5EF4-FFF2-40B4-BE49-F238E27FC236}">
                <a16:creationId xmlns:a16="http://schemas.microsoft.com/office/drawing/2014/main" id="{59C5A47F-5B97-B203-E135-14D3817E0424}"/>
              </a:ext>
            </a:extLst>
          </p:cNvPr>
          <p:cNvSpPr>
            <a:spLocks noGrp="1"/>
          </p:cNvSpPr>
          <p:nvPr>
            <p:ph type="pic" sz="quarter" idx="17" hasCustomPrompt="1"/>
          </p:nvPr>
        </p:nvSpPr>
        <p:spPr>
          <a:xfrm>
            <a:off x="8737601" y="3483610"/>
            <a:ext cx="876299" cy="876299"/>
          </a:xfrm>
          <a:solidFill>
            <a:schemeClr val="bg1"/>
          </a:solidFill>
        </p:spPr>
        <p:txBody>
          <a:bodyPr anchor="ctr">
            <a:normAutofit/>
          </a:bodyPr>
          <a:lstStyle>
            <a:lvl1pPr algn="ctr">
              <a:defRPr sz="1000">
                <a:latin typeface="+mn-lt"/>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GB" dirty="0"/>
              <a:t>Picture</a:t>
            </a:r>
          </a:p>
        </p:txBody>
      </p:sp>
      <p:sp>
        <p:nvSpPr>
          <p:cNvPr id="3" name="TextBox 4">
            <a:extLst>
              <a:ext uri="{FF2B5EF4-FFF2-40B4-BE49-F238E27FC236}">
                <a16:creationId xmlns:a16="http://schemas.microsoft.com/office/drawing/2014/main" id="{059D8B5A-9275-E70C-ABEF-408099EE7215}"/>
              </a:ext>
            </a:extLst>
          </p:cNvPr>
          <p:cNvSpPr txBox="1"/>
          <p:nvPr userDrawn="1"/>
        </p:nvSpPr>
        <p:spPr>
          <a:xfrm>
            <a:off x="12346713" y="109538"/>
            <a:ext cx="2253207" cy="498085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INSERTING IMAGES:</a:t>
            </a:r>
          </a:p>
          <a:p>
            <a:pPr marL="179388" indent="-179388">
              <a:spcBef>
                <a:spcPts val="200"/>
              </a:spcBef>
              <a:spcAft>
                <a:spcPts val="200"/>
              </a:spcAft>
              <a:buFont typeface="+mj-lt"/>
              <a:buAutoNum type="arabicPeriod"/>
            </a:pPr>
            <a:r>
              <a:rPr lang="en-US" sz="900" dirty="0">
                <a:solidFill>
                  <a:schemeClr val="tx1"/>
                </a:solidFill>
                <a:latin typeface="+mn-lt"/>
              </a:rPr>
              <a:t>Simply click the image placeholder and select your image.</a:t>
            </a:r>
          </a:p>
          <a:p>
            <a:pPr marL="179388" indent="-179388">
              <a:spcBef>
                <a:spcPts val="200"/>
              </a:spcBef>
              <a:spcAft>
                <a:spcPts val="200"/>
              </a:spcAft>
              <a:buFont typeface="+mj-lt"/>
              <a:buAutoNum type="arabicPeriod"/>
            </a:pPr>
            <a:r>
              <a:rPr lang="en-US" sz="900" dirty="0">
                <a:solidFill>
                  <a:schemeClr val="tx1"/>
                </a:solidFill>
                <a:latin typeface="+mn-lt"/>
              </a:rPr>
              <a:t>Once your image is inserted into the shape it may be distorted. (Stretched or Squashed)</a:t>
            </a:r>
          </a:p>
          <a:p>
            <a:pPr marL="179388" indent="-179388">
              <a:spcBef>
                <a:spcPts val="200"/>
              </a:spcBef>
              <a:spcAft>
                <a:spcPts val="200"/>
              </a:spcAft>
              <a:buFont typeface="+mj-lt"/>
              <a:buAutoNum type="arabicPeriod"/>
            </a:pPr>
            <a:endParaRPr lang="en-US" sz="900" dirty="0">
              <a:solidFill>
                <a:schemeClr val="tx1"/>
              </a:solidFill>
              <a:latin typeface="+mn-lt"/>
            </a:endParaRPr>
          </a:p>
          <a:p>
            <a:pPr>
              <a:spcBef>
                <a:spcPts val="200"/>
              </a:spcBef>
              <a:spcAft>
                <a:spcPts val="200"/>
              </a:spcAft>
            </a:pPr>
            <a:r>
              <a:rPr lang="en-US" sz="900" b="1" dirty="0">
                <a:solidFill>
                  <a:schemeClr val="tx1"/>
                </a:solidFill>
                <a:latin typeface="+mn-lt"/>
              </a:rPr>
              <a:t>To fix this:</a:t>
            </a:r>
          </a:p>
          <a:p>
            <a:pPr marL="179388" indent="-179388">
              <a:spcBef>
                <a:spcPts val="200"/>
              </a:spcBef>
              <a:spcAft>
                <a:spcPts val="200"/>
              </a:spcAft>
              <a:buFont typeface="+mj-lt"/>
              <a:buAutoNum type="arabicPeriod"/>
            </a:pPr>
            <a:r>
              <a:rPr lang="en-US" sz="900" dirty="0">
                <a:solidFill>
                  <a:schemeClr val="tx1"/>
                </a:solidFill>
                <a:latin typeface="+mn-lt"/>
              </a:rPr>
              <a:t>Click on the image and from the top menu under </a:t>
            </a:r>
            <a:r>
              <a:rPr lang="en-US" sz="900" b="1" dirty="0">
                <a:solidFill>
                  <a:schemeClr val="tx1"/>
                </a:solidFill>
                <a:latin typeface="+mn-lt"/>
              </a:rPr>
              <a:t>PICTURE FORMAT </a:t>
            </a:r>
            <a:r>
              <a:rPr lang="en-US" sz="900" dirty="0">
                <a:solidFill>
                  <a:schemeClr val="tx1"/>
                </a:solidFill>
                <a:latin typeface="+mn-lt"/>
              </a:rPr>
              <a:t>select the </a:t>
            </a:r>
            <a:r>
              <a:rPr lang="en-US" sz="900" b="1" dirty="0">
                <a:solidFill>
                  <a:schemeClr val="tx1"/>
                </a:solidFill>
                <a:latin typeface="+mn-lt"/>
              </a:rPr>
              <a:t>CROP</a:t>
            </a:r>
            <a:r>
              <a:rPr lang="en-US" sz="900" dirty="0">
                <a:solidFill>
                  <a:schemeClr val="tx1"/>
                </a:solidFill>
                <a:latin typeface="+mn-lt"/>
              </a:rPr>
              <a:t> on the right and from the drop down menu select </a:t>
            </a:r>
            <a:r>
              <a:rPr lang="en-US" sz="900" b="1" kern="1200" dirty="0">
                <a:solidFill>
                  <a:schemeClr val="tx1"/>
                </a:solidFill>
                <a:latin typeface="+mn-lt"/>
                <a:ea typeface="+mn-ea"/>
                <a:cs typeface="+mn-cs"/>
              </a:rPr>
              <a:t>FILL</a:t>
            </a:r>
          </a:p>
          <a:p>
            <a:pPr marL="179388" indent="-179388">
              <a:spcBef>
                <a:spcPts val="200"/>
              </a:spcBef>
              <a:spcAft>
                <a:spcPts val="200"/>
              </a:spcAft>
              <a:buFont typeface="+mj-lt"/>
              <a:buAutoNum type="arabicPeriod"/>
            </a:pPr>
            <a:r>
              <a:rPr lang="en-US" sz="900" b="0" kern="1200" dirty="0">
                <a:solidFill>
                  <a:schemeClr val="tx1"/>
                </a:solidFill>
                <a:latin typeface="+mn-lt"/>
                <a:ea typeface="+mn-ea"/>
                <a:cs typeface="+mn-cs"/>
              </a:rPr>
              <a:t>From here you can move the image within the shape for best visual appearance</a:t>
            </a:r>
          </a:p>
          <a:p>
            <a:pPr marL="179388" indent="-179388">
              <a:spcBef>
                <a:spcPts val="200"/>
              </a:spcBef>
              <a:spcAft>
                <a:spcPts val="200"/>
              </a:spcAft>
              <a:buFont typeface="+mj-lt"/>
              <a:buAutoNum type="arabicPeriod"/>
            </a:pPr>
            <a:endParaRPr lang="en-US" sz="900" b="0" i="0" kern="1200" dirty="0">
              <a:solidFill>
                <a:schemeClr val="tx1"/>
              </a:solidFill>
              <a:latin typeface="+mn-lt"/>
              <a:ea typeface="+mn-ea"/>
              <a:cs typeface="+mn-cs"/>
            </a:endParaRPr>
          </a:p>
          <a:p>
            <a:pPr marL="0" marR="0" lvl="0" indent="0" algn="l" defTabSz="914400" rtl="0" eaLnBrk="1" fontAlgn="auto" latinLnBrk="0" hangingPunct="1">
              <a:lnSpc>
                <a:spcPct val="100000"/>
              </a:lnSpc>
              <a:spcBef>
                <a:spcPts val="200"/>
              </a:spcBef>
              <a:spcAft>
                <a:spcPts val="200"/>
              </a:spcAft>
              <a:buClrTx/>
              <a:buSzTx/>
              <a:buFont typeface="+mj-lt"/>
              <a:buNone/>
              <a:tabLst/>
              <a:defRPr/>
            </a:pPr>
            <a:r>
              <a:rPr lang="en-GB" sz="1000" b="1" i="0" dirty="0">
                <a:effectLst/>
                <a:latin typeface="Arial" panose="020B0604020202020204" pitchFamily="34" charset="0"/>
                <a:ea typeface="Calibri" panose="020F0502020204030204" pitchFamily="34" charset="0"/>
              </a:rPr>
              <a:t>When inserting staff photos, </a:t>
            </a:r>
            <a:r>
              <a:rPr lang="en-GB" sz="1000" i="0" dirty="0">
                <a:effectLst/>
                <a:latin typeface="Arial" panose="020B0604020202020204" pitchFamily="34" charset="0"/>
                <a:ea typeface="Calibri" panose="020F0502020204030204" pitchFamily="34" charset="0"/>
              </a:rPr>
              <a:t>please use the same method as suggested above. To ensure you are using staff photos that are optimised for use in this Pitch Template, please insert them from the “Staff Photos 40x40 BW” folder, located in the Staff photos section of the HFW Pitch Template folder.</a:t>
            </a:r>
            <a:endParaRPr lang="en-GB" sz="1000" i="0" dirty="0">
              <a:effectLst/>
              <a:latin typeface="Calibri" panose="020F0502020204030204" pitchFamily="34" charset="0"/>
              <a:ea typeface="Calibri" panose="020F0502020204030204" pitchFamily="34" charset="0"/>
            </a:endParaRPr>
          </a:p>
          <a:p>
            <a:pPr marL="179388" indent="-179388">
              <a:spcBef>
                <a:spcPts val="200"/>
              </a:spcBef>
              <a:spcAft>
                <a:spcPts val="200"/>
              </a:spcAft>
              <a:buFont typeface="+mj-lt"/>
              <a:buAutoNum type="arabicPeriod"/>
            </a:pPr>
            <a:endParaRPr lang="en-US" sz="900" b="0" kern="1200" dirty="0">
              <a:solidFill>
                <a:schemeClr val="tx1"/>
              </a:solidFill>
              <a:latin typeface="+mn-lt"/>
              <a:ea typeface="+mn-ea"/>
              <a:cs typeface="+mn-cs"/>
            </a:endParaRPr>
          </a:p>
          <a:p>
            <a:pPr marL="179388" indent="-179388">
              <a:spcBef>
                <a:spcPts val="200"/>
              </a:spcBef>
              <a:spcAft>
                <a:spcPts val="200"/>
              </a:spcAft>
              <a:buFont typeface="+mj-lt"/>
              <a:buAutoNum type="arabicPeriod"/>
            </a:pPr>
            <a:endParaRPr lang="en-US" sz="900" b="0" kern="1200" dirty="0">
              <a:solidFill>
                <a:schemeClr val="tx1"/>
              </a:solidFill>
              <a:latin typeface="+mn-lt"/>
              <a:ea typeface="+mn-ea"/>
              <a:cs typeface="+mn-cs"/>
            </a:endParaRPr>
          </a:p>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SAMPLE CONTACT LAYOUT</a:t>
            </a:r>
          </a:p>
        </p:txBody>
      </p:sp>
      <p:sp>
        <p:nvSpPr>
          <p:cNvPr id="14" name="Content Placeholder 2">
            <a:extLst>
              <a:ext uri="{FF2B5EF4-FFF2-40B4-BE49-F238E27FC236}">
                <a16:creationId xmlns:a16="http://schemas.microsoft.com/office/drawing/2014/main" id="{E72CD05C-B4F0-E849-8BE5-946F20E9023A}"/>
              </a:ext>
            </a:extLst>
          </p:cNvPr>
          <p:cNvSpPr>
            <a:spLocks noGrp="1"/>
          </p:cNvSpPr>
          <p:nvPr>
            <p:ph idx="19" hasCustomPrompt="1"/>
          </p:nvPr>
        </p:nvSpPr>
        <p:spPr>
          <a:xfrm>
            <a:off x="508000" y="1208877"/>
            <a:ext cx="7134225" cy="626992"/>
          </a:xfrm>
        </p:spPr>
        <p:txBody>
          <a:bodyPr vert="horz" lIns="0" tIns="0" rIns="0" bIns="0" numCol="1" spcCol="216000" rtlCol="0">
            <a:noAutofit/>
          </a:bodyPr>
          <a:lstStyle>
            <a:lvl1pPr>
              <a:lnSpc>
                <a:spcPct val="110000"/>
              </a:lnSpc>
              <a:defRPr lang="en-US" sz="1800" dirty="0">
                <a:solidFill>
                  <a:schemeClr val="accent2"/>
                </a:solidFill>
              </a:defRPr>
            </a:lvl1pPr>
            <a:lvl2pPr>
              <a:defRPr lang="en-US" sz="900" dirty="0">
                <a:solidFill>
                  <a:schemeClr val="tx1"/>
                </a:solidFill>
              </a:defRPr>
            </a:lvl2pPr>
            <a:lvl3pPr>
              <a:defRPr lang="en-US" sz="800" dirty="0">
                <a:solidFill>
                  <a:schemeClr val="tx1"/>
                </a:solidFill>
              </a:defRPr>
            </a:lvl3pPr>
            <a:lvl4pPr>
              <a:defRPr lang="en-US" sz="700" dirty="0">
                <a:solidFill>
                  <a:schemeClr val="tx1"/>
                </a:solidFill>
              </a:defRPr>
            </a:lvl4pPr>
            <a:lvl5pPr>
              <a:defRPr lang="en-US" sz="700" dirty="0">
                <a:solidFill>
                  <a:schemeClr val="tx1"/>
                </a:solidFill>
              </a:defRPr>
            </a:lvl5pPr>
          </a:lstStyle>
          <a:p>
            <a:pPr lvl="0"/>
            <a:r>
              <a:rPr lang="en-US" dirty="0"/>
              <a:t>Intro paragraph text goes here, spans the columns. </a:t>
            </a:r>
            <a:r>
              <a:rPr lang="en-US" dirty="0" err="1"/>
              <a:t>sintum</a:t>
            </a:r>
            <a:r>
              <a:rPr lang="en-US" dirty="0"/>
              <a:t> </a:t>
            </a:r>
            <a:r>
              <a:rPr lang="en-US" dirty="0" err="1"/>
              <a:t>fuga</a:t>
            </a:r>
            <a:r>
              <a:rPr lang="en-US" dirty="0"/>
              <a:t>. Nam </a:t>
            </a:r>
            <a:r>
              <a:rPr lang="en-US" dirty="0" err="1"/>
              <a:t>reperis</a:t>
            </a:r>
            <a:r>
              <a:rPr lang="en-US" dirty="0"/>
              <a:t> et </a:t>
            </a:r>
            <a:r>
              <a:rPr lang="en-US" dirty="0" err="1"/>
              <a:t>offici</a:t>
            </a:r>
            <a:r>
              <a:rPr lang="en-US" dirty="0"/>
              <a:t> rat.</a:t>
            </a:r>
          </a:p>
        </p:txBody>
      </p:sp>
      <p:sp>
        <p:nvSpPr>
          <p:cNvPr id="19" name="Content Placeholder 2">
            <a:extLst>
              <a:ext uri="{FF2B5EF4-FFF2-40B4-BE49-F238E27FC236}">
                <a16:creationId xmlns:a16="http://schemas.microsoft.com/office/drawing/2014/main" id="{C0E0C3DE-23B8-688A-FFA9-104670A26887}"/>
              </a:ext>
            </a:extLst>
          </p:cNvPr>
          <p:cNvSpPr>
            <a:spLocks noGrp="1"/>
          </p:cNvSpPr>
          <p:nvPr>
            <p:ph idx="21" hasCustomPrompt="1"/>
          </p:nvPr>
        </p:nvSpPr>
        <p:spPr>
          <a:xfrm>
            <a:off x="504826" y="2412999"/>
            <a:ext cx="3403599" cy="3806825"/>
          </a:xfrm>
        </p:spPr>
        <p:txBody>
          <a:bodyPr/>
          <a:lstStyle>
            <a:lvl1pPr>
              <a:defRPr sz="1100">
                <a:solidFill>
                  <a:schemeClr val="tx1"/>
                </a:solidFill>
                <a:latin typeface="+mn-lt"/>
              </a:defRPr>
            </a:lvl1pPr>
            <a:lvl2pPr marL="171450" indent="-171450">
              <a:buFont typeface="Arial" panose="020B0604020202020204" pitchFamily="34" charset="0"/>
              <a:buChar char="•"/>
              <a:defRPr lang="en-US" sz="1100" kern="1200" dirty="0">
                <a:solidFill>
                  <a:schemeClr val="tx1"/>
                </a:solidFill>
                <a:latin typeface="+mn-lt"/>
                <a:ea typeface="+mn-ea"/>
                <a:cs typeface="+mn-cs"/>
              </a:defRPr>
            </a:lvl2pPr>
            <a:lvl3pPr marL="360363" indent="-182563">
              <a:defRPr/>
            </a:lvl3pPr>
            <a:lvl5pPr marL="808038" indent="-182563">
              <a:defRPr/>
            </a:lvl5pPr>
          </a:lstStyle>
          <a:p>
            <a:pPr marL="0" lvl="0" indent="0" algn="l" defTabSz="914400" rtl="0" eaLnBrk="1" latinLnBrk="0" hangingPunct="1">
              <a:lnSpc>
                <a:spcPct val="130000"/>
              </a:lnSpc>
              <a:spcBef>
                <a:spcPts val="300"/>
              </a:spcBef>
              <a:spcAft>
                <a:spcPts val="300"/>
              </a:spcAft>
              <a:buFont typeface="Arial" panose="020B0604020202020204" pitchFamily="34" charset="0"/>
              <a:buNone/>
            </a:pPr>
            <a:r>
              <a:rPr lang="en-US" dirty="0"/>
              <a:t>Body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Content Placeholder 2">
            <a:extLst>
              <a:ext uri="{FF2B5EF4-FFF2-40B4-BE49-F238E27FC236}">
                <a16:creationId xmlns:a16="http://schemas.microsoft.com/office/drawing/2014/main" id="{9ED6CF3F-00EB-45B7-DF26-D4DE5E1987F6}"/>
              </a:ext>
            </a:extLst>
          </p:cNvPr>
          <p:cNvSpPr>
            <a:spLocks noGrp="1"/>
          </p:cNvSpPr>
          <p:nvPr>
            <p:ph idx="22" hasCustomPrompt="1"/>
          </p:nvPr>
        </p:nvSpPr>
        <p:spPr>
          <a:xfrm>
            <a:off x="4238626" y="2412999"/>
            <a:ext cx="3403599" cy="3806825"/>
          </a:xfrm>
        </p:spPr>
        <p:txBody>
          <a:bodyPr vert="horz" lIns="0" tIns="45720" rIns="0" bIns="4572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marL="0" lvl="0" indent="0" algn="l" defTabSz="914400" rtl="0" eaLnBrk="1" latinLnBrk="0" hangingPunct="1">
              <a:lnSpc>
                <a:spcPct val="130000"/>
              </a:lnSpc>
              <a:spcBef>
                <a:spcPts val="300"/>
              </a:spcBef>
              <a:spcAft>
                <a:spcPts val="300"/>
              </a:spcAft>
              <a:buFont typeface="Arial" panose="020B0604020202020204" pitchFamily="34" charset="0"/>
              <a:buNone/>
            </a:pPr>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2" name="Title 1">
            <a:extLst>
              <a:ext uri="{FF2B5EF4-FFF2-40B4-BE49-F238E27FC236}">
                <a16:creationId xmlns:a16="http://schemas.microsoft.com/office/drawing/2014/main" id="{17267681-5D6B-9FCA-FDFF-83DB14A15683}"/>
              </a:ext>
            </a:extLst>
          </p:cNvPr>
          <p:cNvSpPr>
            <a:spLocks noGrp="1"/>
          </p:cNvSpPr>
          <p:nvPr>
            <p:ph type="title" hasCustomPrompt="1"/>
          </p:nvPr>
        </p:nvSpPr>
        <p:spPr>
          <a:xfrm>
            <a:off x="508000" y="454014"/>
            <a:ext cx="7134225" cy="754864"/>
          </a:xfrm>
        </p:spPr>
        <p:txBody>
          <a:bodyPr/>
          <a:lstStyle>
            <a:lvl1pPr>
              <a:defRPr>
                <a:solidFill>
                  <a:schemeClr val="tx2"/>
                </a:solidFill>
              </a:defRPr>
            </a:lvl1pPr>
          </a:lstStyle>
          <a:p>
            <a:r>
              <a:rPr lang="en-US" dirty="0"/>
              <a:t>TITLE: subtitle</a:t>
            </a:r>
            <a:endParaRPr lang="en-GB" dirty="0"/>
          </a:p>
        </p:txBody>
      </p:sp>
      <p:sp>
        <p:nvSpPr>
          <p:cNvPr id="4" name="Text Placeholder 16">
            <a:extLst>
              <a:ext uri="{FF2B5EF4-FFF2-40B4-BE49-F238E27FC236}">
                <a16:creationId xmlns:a16="http://schemas.microsoft.com/office/drawing/2014/main" id="{F3C6F23F-CE66-C7AF-1265-922E8E70E6AE}"/>
              </a:ext>
            </a:extLst>
          </p:cNvPr>
          <p:cNvSpPr>
            <a:spLocks noGrp="1"/>
          </p:cNvSpPr>
          <p:nvPr>
            <p:ph type="body" sz="quarter" idx="23" hasCustomPrompt="1"/>
          </p:nvPr>
        </p:nvSpPr>
        <p:spPr>
          <a:xfrm>
            <a:off x="8739981" y="2526481"/>
            <a:ext cx="2815432"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US" dirty="0"/>
              <a:t>Position, Location</a:t>
            </a:r>
          </a:p>
        </p:txBody>
      </p:sp>
      <p:sp>
        <p:nvSpPr>
          <p:cNvPr id="7" name="Text Placeholder 16">
            <a:extLst>
              <a:ext uri="{FF2B5EF4-FFF2-40B4-BE49-F238E27FC236}">
                <a16:creationId xmlns:a16="http://schemas.microsoft.com/office/drawing/2014/main" id="{A69A952D-566A-410D-B4DE-2ECBE9B4F982}"/>
              </a:ext>
            </a:extLst>
          </p:cNvPr>
          <p:cNvSpPr>
            <a:spLocks noGrp="1"/>
          </p:cNvSpPr>
          <p:nvPr>
            <p:ph type="body" sz="quarter" idx="24" hasCustomPrompt="1"/>
          </p:nvPr>
        </p:nvSpPr>
        <p:spPr>
          <a:xfrm>
            <a:off x="8739981" y="2309311"/>
            <a:ext cx="2815432" cy="169277"/>
          </a:xfrm>
        </p:spPr>
        <p:txBody>
          <a:bodyPr tIns="0" bIns="0">
            <a:noAutofit/>
          </a:bodyPr>
          <a:lstStyle>
            <a:lvl1pPr algn="l">
              <a:lnSpc>
                <a:spcPct val="100000"/>
              </a:lnSpc>
              <a:spcBef>
                <a:spcPts val="0"/>
              </a:spcBef>
              <a:spcAft>
                <a:spcPts val="0"/>
              </a:spcAft>
              <a:defRPr sz="1100" cap="all" baseline="0">
                <a:solidFill>
                  <a:schemeClr val="tx2"/>
                </a:solidFill>
                <a:latin typeface="+mj-lt"/>
              </a:defRPr>
            </a:lvl1pPr>
            <a:lvl2pPr algn="l">
              <a:lnSpc>
                <a:spcPct val="100000"/>
              </a:lnSpc>
              <a:spcBef>
                <a:spcPts val="200"/>
              </a:spcBef>
              <a:spcAft>
                <a:spcPts val="200"/>
              </a:spcAft>
              <a:defRPr sz="1100">
                <a:solidFill>
                  <a:schemeClr val="tx1"/>
                </a:solidFill>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0"/>
            <a:r>
              <a:rPr lang="en-US" dirty="0"/>
              <a:t>NAME SURNAME</a:t>
            </a:r>
          </a:p>
        </p:txBody>
      </p:sp>
      <p:sp>
        <p:nvSpPr>
          <p:cNvPr id="13" name="Text Placeholder 16">
            <a:extLst>
              <a:ext uri="{FF2B5EF4-FFF2-40B4-BE49-F238E27FC236}">
                <a16:creationId xmlns:a16="http://schemas.microsoft.com/office/drawing/2014/main" id="{E8CEBF66-0D3A-B8D4-69E6-1AA9B15277B0}"/>
              </a:ext>
            </a:extLst>
          </p:cNvPr>
          <p:cNvSpPr>
            <a:spLocks noGrp="1"/>
          </p:cNvSpPr>
          <p:nvPr>
            <p:ph type="body" sz="quarter" idx="27" hasCustomPrompt="1"/>
          </p:nvPr>
        </p:nvSpPr>
        <p:spPr>
          <a:xfrm>
            <a:off x="8915664" y="2743713"/>
            <a:ext cx="263974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21" name="Text Placeholder 16">
            <a:extLst>
              <a:ext uri="{FF2B5EF4-FFF2-40B4-BE49-F238E27FC236}">
                <a16:creationId xmlns:a16="http://schemas.microsoft.com/office/drawing/2014/main" id="{AA5E908F-90A9-1C4A-245C-9274F631123D}"/>
              </a:ext>
            </a:extLst>
          </p:cNvPr>
          <p:cNvSpPr>
            <a:spLocks noGrp="1"/>
          </p:cNvSpPr>
          <p:nvPr>
            <p:ph type="body" sz="quarter" idx="29" hasCustomPrompt="1"/>
          </p:nvPr>
        </p:nvSpPr>
        <p:spPr>
          <a:xfrm>
            <a:off x="8915664" y="2960945"/>
            <a:ext cx="263974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name.surname@hfw.com</a:t>
            </a:r>
            <a:endParaRPr lang="en-US" dirty="0"/>
          </a:p>
        </p:txBody>
      </p:sp>
      <p:sp>
        <p:nvSpPr>
          <p:cNvPr id="23" name="TextBox 22">
            <a:extLst>
              <a:ext uri="{FF2B5EF4-FFF2-40B4-BE49-F238E27FC236}">
                <a16:creationId xmlns:a16="http://schemas.microsoft.com/office/drawing/2014/main" id="{8C9B2E49-6CD4-1010-A6EB-726EBCF3C67B}"/>
              </a:ext>
            </a:extLst>
          </p:cNvPr>
          <p:cNvSpPr txBox="1"/>
          <p:nvPr userDrawn="1"/>
        </p:nvSpPr>
        <p:spPr>
          <a:xfrm flipH="1">
            <a:off x="8741500" y="2743713"/>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24" name="TextBox 23">
            <a:extLst>
              <a:ext uri="{FF2B5EF4-FFF2-40B4-BE49-F238E27FC236}">
                <a16:creationId xmlns:a16="http://schemas.microsoft.com/office/drawing/2014/main" id="{89273EE0-17AE-098F-9BD3-7E2A4B6A13B5}"/>
              </a:ext>
            </a:extLst>
          </p:cNvPr>
          <p:cNvSpPr txBox="1"/>
          <p:nvPr userDrawn="1"/>
        </p:nvSpPr>
        <p:spPr>
          <a:xfrm flipH="1">
            <a:off x="8741500" y="2960945"/>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E</a:t>
            </a:r>
          </a:p>
        </p:txBody>
      </p:sp>
      <p:sp>
        <p:nvSpPr>
          <p:cNvPr id="25" name="Text Placeholder 16">
            <a:extLst>
              <a:ext uri="{FF2B5EF4-FFF2-40B4-BE49-F238E27FC236}">
                <a16:creationId xmlns:a16="http://schemas.microsoft.com/office/drawing/2014/main" id="{7B9E2872-5B11-F39C-4AEC-B809361098FB}"/>
              </a:ext>
            </a:extLst>
          </p:cNvPr>
          <p:cNvSpPr>
            <a:spLocks noGrp="1"/>
          </p:cNvSpPr>
          <p:nvPr>
            <p:ph type="body" sz="quarter" idx="30" hasCustomPrompt="1"/>
          </p:nvPr>
        </p:nvSpPr>
        <p:spPr>
          <a:xfrm>
            <a:off x="8739981" y="4751521"/>
            <a:ext cx="2815432"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US" dirty="0"/>
              <a:t>Position, Location</a:t>
            </a:r>
          </a:p>
        </p:txBody>
      </p:sp>
      <p:sp>
        <p:nvSpPr>
          <p:cNvPr id="26" name="Text Placeholder 16">
            <a:extLst>
              <a:ext uri="{FF2B5EF4-FFF2-40B4-BE49-F238E27FC236}">
                <a16:creationId xmlns:a16="http://schemas.microsoft.com/office/drawing/2014/main" id="{A197D9ED-CD07-7A45-8ECC-527D87545D8B}"/>
              </a:ext>
            </a:extLst>
          </p:cNvPr>
          <p:cNvSpPr>
            <a:spLocks noGrp="1"/>
          </p:cNvSpPr>
          <p:nvPr>
            <p:ph type="body" sz="quarter" idx="31" hasCustomPrompt="1"/>
          </p:nvPr>
        </p:nvSpPr>
        <p:spPr>
          <a:xfrm>
            <a:off x="8739981" y="4534351"/>
            <a:ext cx="2815432" cy="169277"/>
          </a:xfrm>
        </p:spPr>
        <p:txBody>
          <a:bodyPr tIns="0" bIns="0">
            <a:noAutofit/>
          </a:bodyPr>
          <a:lstStyle>
            <a:lvl1pPr algn="l">
              <a:lnSpc>
                <a:spcPct val="100000"/>
              </a:lnSpc>
              <a:spcBef>
                <a:spcPts val="0"/>
              </a:spcBef>
              <a:spcAft>
                <a:spcPts val="0"/>
              </a:spcAft>
              <a:defRPr sz="1100" cap="all" baseline="0">
                <a:solidFill>
                  <a:schemeClr val="tx2"/>
                </a:solidFill>
                <a:latin typeface="+mj-lt"/>
              </a:defRPr>
            </a:lvl1pPr>
            <a:lvl2pPr algn="l">
              <a:lnSpc>
                <a:spcPct val="100000"/>
              </a:lnSpc>
              <a:spcBef>
                <a:spcPts val="200"/>
              </a:spcBef>
              <a:spcAft>
                <a:spcPts val="200"/>
              </a:spcAft>
              <a:defRPr sz="1100">
                <a:solidFill>
                  <a:schemeClr val="tx1"/>
                </a:solidFill>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0"/>
            <a:r>
              <a:rPr lang="en-US" dirty="0"/>
              <a:t>NAME SURNAME</a:t>
            </a:r>
          </a:p>
        </p:txBody>
      </p:sp>
      <p:sp>
        <p:nvSpPr>
          <p:cNvPr id="27" name="Text Placeholder 16">
            <a:extLst>
              <a:ext uri="{FF2B5EF4-FFF2-40B4-BE49-F238E27FC236}">
                <a16:creationId xmlns:a16="http://schemas.microsoft.com/office/drawing/2014/main" id="{16D3FDDE-0FE7-CDAE-2B58-387A9FFC83AB}"/>
              </a:ext>
            </a:extLst>
          </p:cNvPr>
          <p:cNvSpPr>
            <a:spLocks noGrp="1"/>
          </p:cNvSpPr>
          <p:nvPr>
            <p:ph type="body" sz="quarter" idx="32" hasCustomPrompt="1"/>
          </p:nvPr>
        </p:nvSpPr>
        <p:spPr>
          <a:xfrm>
            <a:off x="8915664" y="4968753"/>
            <a:ext cx="263974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28" name="Text Placeholder 16">
            <a:extLst>
              <a:ext uri="{FF2B5EF4-FFF2-40B4-BE49-F238E27FC236}">
                <a16:creationId xmlns:a16="http://schemas.microsoft.com/office/drawing/2014/main" id="{45930608-034F-4DC6-C1F0-2437432D66A2}"/>
              </a:ext>
            </a:extLst>
          </p:cNvPr>
          <p:cNvSpPr>
            <a:spLocks noGrp="1"/>
          </p:cNvSpPr>
          <p:nvPr>
            <p:ph type="body" sz="quarter" idx="33" hasCustomPrompt="1"/>
          </p:nvPr>
        </p:nvSpPr>
        <p:spPr>
          <a:xfrm>
            <a:off x="8915664" y="5185985"/>
            <a:ext cx="263974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name.surname@hfw.com</a:t>
            </a:r>
            <a:endParaRPr lang="en-US" dirty="0"/>
          </a:p>
        </p:txBody>
      </p:sp>
      <p:sp>
        <p:nvSpPr>
          <p:cNvPr id="29" name="TextBox 28">
            <a:extLst>
              <a:ext uri="{FF2B5EF4-FFF2-40B4-BE49-F238E27FC236}">
                <a16:creationId xmlns:a16="http://schemas.microsoft.com/office/drawing/2014/main" id="{C2EE0372-2912-3EA0-A1F1-6890E47D0A1A}"/>
              </a:ext>
            </a:extLst>
          </p:cNvPr>
          <p:cNvSpPr txBox="1"/>
          <p:nvPr userDrawn="1"/>
        </p:nvSpPr>
        <p:spPr>
          <a:xfrm flipH="1">
            <a:off x="8741500" y="4968753"/>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30" name="TextBox 29">
            <a:extLst>
              <a:ext uri="{FF2B5EF4-FFF2-40B4-BE49-F238E27FC236}">
                <a16:creationId xmlns:a16="http://schemas.microsoft.com/office/drawing/2014/main" id="{0CC86D38-4550-44AC-F0A1-D239B26E5B0F}"/>
              </a:ext>
            </a:extLst>
          </p:cNvPr>
          <p:cNvSpPr txBox="1"/>
          <p:nvPr userDrawn="1"/>
        </p:nvSpPr>
        <p:spPr>
          <a:xfrm flipH="1">
            <a:off x="8741500" y="5185985"/>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E</a:t>
            </a:r>
          </a:p>
        </p:txBody>
      </p:sp>
      <p:grpSp>
        <p:nvGrpSpPr>
          <p:cNvPr id="42" name="Group 41">
            <a:extLst>
              <a:ext uri="{FF2B5EF4-FFF2-40B4-BE49-F238E27FC236}">
                <a16:creationId xmlns:a16="http://schemas.microsoft.com/office/drawing/2014/main" id="{17DB7305-994E-790A-87C2-DBAF58E7B5D2}"/>
              </a:ext>
            </a:extLst>
          </p:cNvPr>
          <p:cNvGrpSpPr/>
          <p:nvPr userDrawn="1"/>
        </p:nvGrpSpPr>
        <p:grpSpPr>
          <a:xfrm>
            <a:off x="12437199" y="5138030"/>
            <a:ext cx="2813913" cy="819975"/>
            <a:chOff x="12399099" y="4230487"/>
            <a:chExt cx="2813913" cy="819975"/>
          </a:xfrm>
        </p:grpSpPr>
        <p:sp>
          <p:nvSpPr>
            <p:cNvPr id="37" name="TextBox 36">
              <a:extLst>
                <a:ext uri="{FF2B5EF4-FFF2-40B4-BE49-F238E27FC236}">
                  <a16:creationId xmlns:a16="http://schemas.microsoft.com/office/drawing/2014/main" id="{58BCCC45-F383-DC81-A86C-8A22652B88CA}"/>
                </a:ext>
              </a:extLst>
            </p:cNvPr>
            <p:cNvSpPr txBox="1"/>
            <p:nvPr userDrawn="1"/>
          </p:nvSpPr>
          <p:spPr>
            <a:xfrm flipH="1">
              <a:off x="12573262" y="4663953"/>
              <a:ext cx="2639750"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grpSp>
          <p:nvGrpSpPr>
            <p:cNvPr id="41" name="Group 40">
              <a:extLst>
                <a:ext uri="{FF2B5EF4-FFF2-40B4-BE49-F238E27FC236}">
                  <a16:creationId xmlns:a16="http://schemas.microsoft.com/office/drawing/2014/main" id="{1BB33349-8690-8013-6F87-1258DDEF5B1A}"/>
                </a:ext>
              </a:extLst>
            </p:cNvPr>
            <p:cNvGrpSpPr/>
            <p:nvPr userDrawn="1"/>
          </p:nvGrpSpPr>
          <p:grpSpPr>
            <a:xfrm>
              <a:off x="12399099" y="4230487"/>
              <a:ext cx="2326813" cy="819975"/>
              <a:chOff x="12399099" y="4230487"/>
              <a:chExt cx="2326813" cy="819975"/>
            </a:xfrm>
          </p:grpSpPr>
          <p:sp>
            <p:nvSpPr>
              <p:cNvPr id="35" name="TextBox 34">
                <a:extLst>
                  <a:ext uri="{FF2B5EF4-FFF2-40B4-BE49-F238E27FC236}">
                    <a16:creationId xmlns:a16="http://schemas.microsoft.com/office/drawing/2014/main" id="{C20CE6E1-A066-53BB-DBEF-0A6DA68A4D3A}"/>
                  </a:ext>
                </a:extLst>
              </p:cNvPr>
              <p:cNvSpPr txBox="1"/>
              <p:nvPr userDrawn="1"/>
            </p:nvSpPr>
            <p:spPr>
              <a:xfrm flipH="1">
                <a:off x="12399100" y="4663953"/>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36" name="TextBox 35">
                <a:extLst>
                  <a:ext uri="{FF2B5EF4-FFF2-40B4-BE49-F238E27FC236}">
                    <a16:creationId xmlns:a16="http://schemas.microsoft.com/office/drawing/2014/main" id="{B13F7703-DC5B-8C8E-30E2-431A11F27263}"/>
                  </a:ext>
                </a:extLst>
              </p:cNvPr>
              <p:cNvSpPr txBox="1"/>
              <p:nvPr userDrawn="1"/>
            </p:nvSpPr>
            <p:spPr>
              <a:xfrm flipH="1">
                <a:off x="12399100" y="4881185"/>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E</a:t>
                </a:r>
              </a:p>
            </p:txBody>
          </p:sp>
          <p:sp>
            <p:nvSpPr>
              <p:cNvPr id="38" name="TextBox 37">
                <a:extLst>
                  <a:ext uri="{FF2B5EF4-FFF2-40B4-BE49-F238E27FC236}">
                    <a16:creationId xmlns:a16="http://schemas.microsoft.com/office/drawing/2014/main" id="{0691D8A7-5B42-3F57-A885-08775462759F}"/>
                  </a:ext>
                </a:extLst>
              </p:cNvPr>
              <p:cNvSpPr txBox="1"/>
              <p:nvPr userDrawn="1"/>
            </p:nvSpPr>
            <p:spPr>
              <a:xfrm flipH="1">
                <a:off x="12573262" y="4881185"/>
                <a:ext cx="2152650"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name.surname@hfw.com</a:t>
                </a:r>
                <a:endParaRPr lang="en-US" dirty="0"/>
              </a:p>
            </p:txBody>
          </p:sp>
          <p:sp>
            <p:nvSpPr>
              <p:cNvPr id="39" name="TextBox 38">
                <a:extLst>
                  <a:ext uri="{FF2B5EF4-FFF2-40B4-BE49-F238E27FC236}">
                    <a16:creationId xmlns:a16="http://schemas.microsoft.com/office/drawing/2014/main" id="{E4BF4C4E-606A-D2F9-07F2-69954BA7DCB7}"/>
                  </a:ext>
                </a:extLst>
              </p:cNvPr>
              <p:cNvSpPr txBox="1"/>
              <p:nvPr userDrawn="1"/>
            </p:nvSpPr>
            <p:spPr>
              <a:xfrm flipH="1">
                <a:off x="12399099" y="4230487"/>
                <a:ext cx="1968833"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solidFill>
                      <a:schemeClr val="tx2"/>
                    </a:solidFill>
                    <a:latin typeface="+mj-lt"/>
                  </a:rPr>
                  <a:t>NAME SURNAME</a:t>
                </a:r>
              </a:p>
            </p:txBody>
          </p:sp>
          <p:sp>
            <p:nvSpPr>
              <p:cNvPr id="40" name="TextBox 39">
                <a:extLst>
                  <a:ext uri="{FF2B5EF4-FFF2-40B4-BE49-F238E27FC236}">
                    <a16:creationId xmlns:a16="http://schemas.microsoft.com/office/drawing/2014/main" id="{5B7F22CA-42D9-B311-E68E-F7746660020F}"/>
                  </a:ext>
                </a:extLst>
              </p:cNvPr>
              <p:cNvSpPr txBox="1"/>
              <p:nvPr userDrawn="1"/>
            </p:nvSpPr>
            <p:spPr>
              <a:xfrm flipH="1">
                <a:off x="12399099" y="4445785"/>
                <a:ext cx="1968833"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US" dirty="0"/>
                  <a:t>Position, Location</a:t>
                </a:r>
              </a:p>
            </p:txBody>
          </p:sp>
        </p:grpSp>
      </p:grpSp>
    </p:spTree>
    <p:extLst>
      <p:ext uri="{BB962C8B-B14F-4D97-AF65-F5344CB8AC3E}">
        <p14:creationId xmlns:p14="http://schemas.microsoft.com/office/powerpoint/2010/main" val="649670168"/>
      </p:ext>
    </p:extLst>
  </p:cSld>
  <p:clrMapOvr>
    <a:masterClrMapping/>
  </p:clrMapOvr>
  <p:transition spd="med">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nd Content with 1 Profile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261A4C7-E98D-3660-5C37-C13B3A230A80}"/>
              </a:ext>
            </a:extLst>
          </p:cNvPr>
          <p:cNvSpPr/>
          <p:nvPr userDrawn="1"/>
        </p:nvSpPr>
        <p:spPr>
          <a:xfrm>
            <a:off x="8126413" y="0"/>
            <a:ext cx="40655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Footer Placeholder 4"/>
          <p:cNvSpPr>
            <a:spLocks noGrp="1"/>
          </p:cNvSpPr>
          <p:nvPr>
            <p:ph type="ftr" sz="quarter" idx="11"/>
          </p:nvPr>
        </p:nvSpPr>
        <p:spPr/>
        <p:txBody>
          <a:bodyPr/>
          <a:lstStyle/>
          <a:p>
            <a:r>
              <a:rPr lang="en-GB"/>
              <a:t>INSERT FOOTER HERE</a:t>
            </a:r>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8CFE0557-AA98-4E6C-B0C3-581794696B68}" type="slidenum">
              <a:rPr lang="en-GB" smtClean="0"/>
              <a:pPr/>
              <a:t>‹#›</a:t>
            </a:fld>
            <a:endParaRPr lang="en-GB" dirty="0"/>
          </a:p>
        </p:txBody>
      </p:sp>
      <p:sp>
        <p:nvSpPr>
          <p:cNvPr id="9" name="Content Placeholder 2">
            <a:extLst>
              <a:ext uri="{FF2B5EF4-FFF2-40B4-BE49-F238E27FC236}">
                <a16:creationId xmlns:a16="http://schemas.microsoft.com/office/drawing/2014/main" id="{F7D10F14-7BE2-8A09-1803-2E4B2FCAD5F0}"/>
              </a:ext>
            </a:extLst>
          </p:cNvPr>
          <p:cNvSpPr>
            <a:spLocks noGrp="1"/>
          </p:cNvSpPr>
          <p:nvPr>
            <p:ph idx="1" hasCustomPrompt="1"/>
          </p:nvPr>
        </p:nvSpPr>
        <p:spPr>
          <a:xfrm>
            <a:off x="508000" y="1971039"/>
            <a:ext cx="7134225" cy="365761"/>
          </a:xfrm>
        </p:spPr>
        <p:txBody>
          <a:bodyPr/>
          <a:lstStyle>
            <a:lvl1pPr>
              <a:defRPr cap="all" baseline="0"/>
            </a:lvl1pPr>
          </a:lstStyle>
          <a:p>
            <a:pPr lvl="0"/>
            <a:r>
              <a:rPr lang="en-US" dirty="0"/>
              <a:t>subhead</a:t>
            </a:r>
          </a:p>
        </p:txBody>
      </p:sp>
      <p:sp>
        <p:nvSpPr>
          <p:cNvPr id="15" name="Picture Placeholder 14">
            <a:extLst>
              <a:ext uri="{FF2B5EF4-FFF2-40B4-BE49-F238E27FC236}">
                <a16:creationId xmlns:a16="http://schemas.microsoft.com/office/drawing/2014/main" id="{BB1C9D16-E1E9-792C-AE10-77DE9B549928}"/>
              </a:ext>
            </a:extLst>
          </p:cNvPr>
          <p:cNvSpPr>
            <a:spLocks noGrp="1"/>
          </p:cNvSpPr>
          <p:nvPr>
            <p:ph type="pic" sz="quarter" idx="15" hasCustomPrompt="1"/>
          </p:nvPr>
        </p:nvSpPr>
        <p:spPr>
          <a:xfrm>
            <a:off x="8737601" y="1291427"/>
            <a:ext cx="876299" cy="876299"/>
          </a:xfrm>
          <a:solidFill>
            <a:schemeClr val="bg1"/>
          </a:solidFill>
        </p:spPr>
        <p:txBody>
          <a:bodyPr anchor="ctr">
            <a:normAutofit/>
          </a:bodyPr>
          <a:lstStyle>
            <a:lvl1pPr algn="ctr">
              <a:defRPr sz="1000">
                <a:latin typeface="+mn-lt"/>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GB" dirty="0"/>
              <a:t>Picture</a:t>
            </a:r>
          </a:p>
        </p:txBody>
      </p:sp>
      <p:sp>
        <p:nvSpPr>
          <p:cNvPr id="14" name="Content Placeholder 2">
            <a:extLst>
              <a:ext uri="{FF2B5EF4-FFF2-40B4-BE49-F238E27FC236}">
                <a16:creationId xmlns:a16="http://schemas.microsoft.com/office/drawing/2014/main" id="{E72CD05C-B4F0-E849-8BE5-946F20E9023A}"/>
              </a:ext>
            </a:extLst>
          </p:cNvPr>
          <p:cNvSpPr>
            <a:spLocks noGrp="1"/>
          </p:cNvSpPr>
          <p:nvPr>
            <p:ph idx="19" hasCustomPrompt="1"/>
          </p:nvPr>
        </p:nvSpPr>
        <p:spPr>
          <a:xfrm>
            <a:off x="508000" y="1208877"/>
            <a:ext cx="7134225" cy="626992"/>
          </a:xfrm>
        </p:spPr>
        <p:txBody>
          <a:bodyPr vert="horz" lIns="0" tIns="0" rIns="0" bIns="0" numCol="1" spcCol="216000" rtlCol="0">
            <a:noAutofit/>
          </a:bodyPr>
          <a:lstStyle>
            <a:lvl1pPr>
              <a:lnSpc>
                <a:spcPct val="110000"/>
              </a:lnSpc>
              <a:defRPr lang="en-US" sz="1800" dirty="0">
                <a:solidFill>
                  <a:schemeClr val="accent2"/>
                </a:solidFill>
              </a:defRPr>
            </a:lvl1pPr>
            <a:lvl2pPr>
              <a:defRPr lang="en-US" sz="900" dirty="0">
                <a:solidFill>
                  <a:schemeClr val="tx1"/>
                </a:solidFill>
              </a:defRPr>
            </a:lvl2pPr>
            <a:lvl3pPr>
              <a:defRPr lang="en-US" sz="800" dirty="0">
                <a:solidFill>
                  <a:schemeClr val="tx1"/>
                </a:solidFill>
              </a:defRPr>
            </a:lvl3pPr>
            <a:lvl4pPr>
              <a:defRPr lang="en-US" sz="700" dirty="0">
                <a:solidFill>
                  <a:schemeClr val="tx1"/>
                </a:solidFill>
              </a:defRPr>
            </a:lvl4pPr>
            <a:lvl5pPr>
              <a:defRPr lang="en-US" sz="700" dirty="0">
                <a:solidFill>
                  <a:schemeClr val="tx1"/>
                </a:solidFill>
              </a:defRPr>
            </a:lvl5pPr>
          </a:lstStyle>
          <a:p>
            <a:pPr lvl="0"/>
            <a:r>
              <a:rPr lang="en-US" dirty="0"/>
              <a:t>Intro paragraph text goes here, spans the columns. </a:t>
            </a:r>
            <a:r>
              <a:rPr lang="en-US" dirty="0" err="1"/>
              <a:t>sintum</a:t>
            </a:r>
            <a:r>
              <a:rPr lang="en-US" dirty="0"/>
              <a:t> </a:t>
            </a:r>
            <a:r>
              <a:rPr lang="en-US" dirty="0" err="1"/>
              <a:t>fuga</a:t>
            </a:r>
            <a:r>
              <a:rPr lang="en-US" dirty="0"/>
              <a:t>. Nam </a:t>
            </a:r>
            <a:r>
              <a:rPr lang="en-US" dirty="0" err="1"/>
              <a:t>reperis</a:t>
            </a:r>
            <a:r>
              <a:rPr lang="en-US" dirty="0"/>
              <a:t> et </a:t>
            </a:r>
            <a:r>
              <a:rPr lang="en-US" dirty="0" err="1"/>
              <a:t>offici</a:t>
            </a:r>
            <a:r>
              <a:rPr lang="en-US" dirty="0"/>
              <a:t> rat.</a:t>
            </a:r>
          </a:p>
        </p:txBody>
      </p:sp>
      <p:sp>
        <p:nvSpPr>
          <p:cNvPr id="19" name="Content Placeholder 2">
            <a:extLst>
              <a:ext uri="{FF2B5EF4-FFF2-40B4-BE49-F238E27FC236}">
                <a16:creationId xmlns:a16="http://schemas.microsoft.com/office/drawing/2014/main" id="{C0E0C3DE-23B8-688A-FFA9-104670A26887}"/>
              </a:ext>
            </a:extLst>
          </p:cNvPr>
          <p:cNvSpPr>
            <a:spLocks noGrp="1"/>
          </p:cNvSpPr>
          <p:nvPr>
            <p:ph idx="21" hasCustomPrompt="1"/>
          </p:nvPr>
        </p:nvSpPr>
        <p:spPr>
          <a:xfrm>
            <a:off x="504826" y="2412999"/>
            <a:ext cx="3403599" cy="3806825"/>
          </a:xfrm>
        </p:spPr>
        <p:txBody>
          <a:bodyPr vert="horz" lIns="0" tIns="45720" rIns="0" bIns="4572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marL="0" lvl="0" indent="0" algn="l" defTabSz="914400" rtl="0" eaLnBrk="1" latinLnBrk="0" hangingPunct="1">
              <a:lnSpc>
                <a:spcPct val="130000"/>
              </a:lnSpc>
              <a:spcBef>
                <a:spcPts val="300"/>
              </a:spcBef>
              <a:spcAft>
                <a:spcPts val="300"/>
              </a:spcAft>
              <a:buFont typeface="Arial" panose="020B0604020202020204" pitchFamily="34" charset="0"/>
              <a:buNone/>
            </a:pPr>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20" name="Content Placeholder 2">
            <a:extLst>
              <a:ext uri="{FF2B5EF4-FFF2-40B4-BE49-F238E27FC236}">
                <a16:creationId xmlns:a16="http://schemas.microsoft.com/office/drawing/2014/main" id="{9ED6CF3F-00EB-45B7-DF26-D4DE5E1987F6}"/>
              </a:ext>
            </a:extLst>
          </p:cNvPr>
          <p:cNvSpPr>
            <a:spLocks noGrp="1"/>
          </p:cNvSpPr>
          <p:nvPr>
            <p:ph idx="22" hasCustomPrompt="1"/>
          </p:nvPr>
        </p:nvSpPr>
        <p:spPr>
          <a:xfrm>
            <a:off x="4238626" y="2412999"/>
            <a:ext cx="3403599" cy="3806825"/>
          </a:xfrm>
        </p:spPr>
        <p:txBody>
          <a:bodyPr vert="horz" lIns="0" tIns="45720" rIns="0" bIns="4572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marL="0" lvl="0" indent="0" algn="l" defTabSz="914400" rtl="0" eaLnBrk="1" latinLnBrk="0" hangingPunct="1">
              <a:lnSpc>
                <a:spcPct val="130000"/>
              </a:lnSpc>
              <a:spcBef>
                <a:spcPts val="300"/>
              </a:spcBef>
              <a:spcAft>
                <a:spcPts val="300"/>
              </a:spcAft>
              <a:buFont typeface="Arial" panose="020B0604020202020204" pitchFamily="34" charset="0"/>
              <a:buNone/>
            </a:pPr>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2" name="Title 1">
            <a:extLst>
              <a:ext uri="{FF2B5EF4-FFF2-40B4-BE49-F238E27FC236}">
                <a16:creationId xmlns:a16="http://schemas.microsoft.com/office/drawing/2014/main" id="{8B73AE0C-61B2-36FA-FADC-893087641282}"/>
              </a:ext>
            </a:extLst>
          </p:cNvPr>
          <p:cNvSpPr>
            <a:spLocks noGrp="1"/>
          </p:cNvSpPr>
          <p:nvPr>
            <p:ph type="title" hasCustomPrompt="1"/>
          </p:nvPr>
        </p:nvSpPr>
        <p:spPr>
          <a:xfrm>
            <a:off x="508000" y="454014"/>
            <a:ext cx="7134225" cy="754864"/>
          </a:xfrm>
        </p:spPr>
        <p:txBody>
          <a:bodyPr/>
          <a:lstStyle>
            <a:lvl1pPr>
              <a:defRPr>
                <a:solidFill>
                  <a:schemeClr val="tx2"/>
                </a:solidFill>
              </a:defRPr>
            </a:lvl1pPr>
          </a:lstStyle>
          <a:p>
            <a:r>
              <a:rPr lang="en-US" dirty="0"/>
              <a:t>TITLE: subtitle</a:t>
            </a:r>
            <a:endParaRPr lang="en-GB" dirty="0"/>
          </a:p>
        </p:txBody>
      </p:sp>
      <p:sp>
        <p:nvSpPr>
          <p:cNvPr id="7" name="Text Placeholder 16">
            <a:extLst>
              <a:ext uri="{FF2B5EF4-FFF2-40B4-BE49-F238E27FC236}">
                <a16:creationId xmlns:a16="http://schemas.microsoft.com/office/drawing/2014/main" id="{3098E651-55D5-E35B-B8BF-3E3E4C304884}"/>
              </a:ext>
            </a:extLst>
          </p:cNvPr>
          <p:cNvSpPr>
            <a:spLocks noGrp="1"/>
          </p:cNvSpPr>
          <p:nvPr>
            <p:ph type="body" sz="quarter" idx="23" hasCustomPrompt="1"/>
          </p:nvPr>
        </p:nvSpPr>
        <p:spPr>
          <a:xfrm>
            <a:off x="8739981" y="2526481"/>
            <a:ext cx="2815432"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US" dirty="0"/>
              <a:t>Position, Location</a:t>
            </a:r>
          </a:p>
        </p:txBody>
      </p:sp>
      <p:sp>
        <p:nvSpPr>
          <p:cNvPr id="10" name="Text Placeholder 16">
            <a:extLst>
              <a:ext uri="{FF2B5EF4-FFF2-40B4-BE49-F238E27FC236}">
                <a16:creationId xmlns:a16="http://schemas.microsoft.com/office/drawing/2014/main" id="{F0F169C7-3D19-964C-2AFF-96645437A17A}"/>
              </a:ext>
            </a:extLst>
          </p:cNvPr>
          <p:cNvSpPr>
            <a:spLocks noGrp="1"/>
          </p:cNvSpPr>
          <p:nvPr>
            <p:ph type="body" sz="quarter" idx="24" hasCustomPrompt="1"/>
          </p:nvPr>
        </p:nvSpPr>
        <p:spPr>
          <a:xfrm>
            <a:off x="8739981" y="2309311"/>
            <a:ext cx="2815432" cy="169277"/>
          </a:xfrm>
        </p:spPr>
        <p:txBody>
          <a:bodyPr tIns="0" bIns="0">
            <a:noAutofit/>
          </a:bodyPr>
          <a:lstStyle>
            <a:lvl1pPr algn="l">
              <a:lnSpc>
                <a:spcPct val="100000"/>
              </a:lnSpc>
              <a:spcBef>
                <a:spcPts val="0"/>
              </a:spcBef>
              <a:spcAft>
                <a:spcPts val="0"/>
              </a:spcAft>
              <a:defRPr sz="1100" cap="all" baseline="0">
                <a:solidFill>
                  <a:schemeClr val="tx2"/>
                </a:solidFill>
                <a:latin typeface="+mj-lt"/>
              </a:defRPr>
            </a:lvl1pPr>
            <a:lvl2pPr algn="l">
              <a:lnSpc>
                <a:spcPct val="100000"/>
              </a:lnSpc>
              <a:spcBef>
                <a:spcPts val="200"/>
              </a:spcBef>
              <a:spcAft>
                <a:spcPts val="200"/>
              </a:spcAft>
              <a:defRPr sz="1100">
                <a:solidFill>
                  <a:schemeClr val="tx1"/>
                </a:solidFill>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0"/>
            <a:r>
              <a:rPr lang="en-US" dirty="0"/>
              <a:t>NAME SURNAME</a:t>
            </a:r>
          </a:p>
        </p:txBody>
      </p:sp>
      <p:sp>
        <p:nvSpPr>
          <p:cNvPr id="11" name="Text Placeholder 16">
            <a:extLst>
              <a:ext uri="{FF2B5EF4-FFF2-40B4-BE49-F238E27FC236}">
                <a16:creationId xmlns:a16="http://schemas.microsoft.com/office/drawing/2014/main" id="{7B698049-F1B6-1B5C-62F3-6FE62275F0E2}"/>
              </a:ext>
            </a:extLst>
          </p:cNvPr>
          <p:cNvSpPr>
            <a:spLocks noGrp="1"/>
          </p:cNvSpPr>
          <p:nvPr>
            <p:ph type="body" sz="quarter" idx="27" hasCustomPrompt="1"/>
          </p:nvPr>
        </p:nvSpPr>
        <p:spPr>
          <a:xfrm>
            <a:off x="8915664" y="2743713"/>
            <a:ext cx="263974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12" name="Text Placeholder 16">
            <a:extLst>
              <a:ext uri="{FF2B5EF4-FFF2-40B4-BE49-F238E27FC236}">
                <a16:creationId xmlns:a16="http://schemas.microsoft.com/office/drawing/2014/main" id="{C03DA567-29A7-F47F-BF59-312B80B2C318}"/>
              </a:ext>
            </a:extLst>
          </p:cNvPr>
          <p:cNvSpPr>
            <a:spLocks noGrp="1"/>
          </p:cNvSpPr>
          <p:nvPr>
            <p:ph type="body" sz="quarter" idx="29" hasCustomPrompt="1"/>
          </p:nvPr>
        </p:nvSpPr>
        <p:spPr>
          <a:xfrm>
            <a:off x="8915664" y="2960945"/>
            <a:ext cx="263974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name.surname@hfw.com</a:t>
            </a:r>
            <a:endParaRPr lang="en-US" dirty="0"/>
          </a:p>
        </p:txBody>
      </p:sp>
      <p:sp>
        <p:nvSpPr>
          <p:cNvPr id="13" name="TextBox 12">
            <a:extLst>
              <a:ext uri="{FF2B5EF4-FFF2-40B4-BE49-F238E27FC236}">
                <a16:creationId xmlns:a16="http://schemas.microsoft.com/office/drawing/2014/main" id="{7E08277B-FA8B-91B5-2A17-A49928D16F27}"/>
              </a:ext>
            </a:extLst>
          </p:cNvPr>
          <p:cNvSpPr txBox="1"/>
          <p:nvPr userDrawn="1"/>
        </p:nvSpPr>
        <p:spPr>
          <a:xfrm flipH="1">
            <a:off x="8741500" y="2743713"/>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16" name="TextBox 15">
            <a:extLst>
              <a:ext uri="{FF2B5EF4-FFF2-40B4-BE49-F238E27FC236}">
                <a16:creationId xmlns:a16="http://schemas.microsoft.com/office/drawing/2014/main" id="{D6FCF74B-F2EA-6D18-9B2D-28C8C58D5B6F}"/>
              </a:ext>
            </a:extLst>
          </p:cNvPr>
          <p:cNvSpPr txBox="1"/>
          <p:nvPr userDrawn="1"/>
        </p:nvSpPr>
        <p:spPr>
          <a:xfrm flipH="1">
            <a:off x="8741500" y="2960945"/>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E</a:t>
            </a:r>
          </a:p>
        </p:txBody>
      </p:sp>
      <p:sp>
        <p:nvSpPr>
          <p:cNvPr id="3" name="TextBox 4">
            <a:extLst>
              <a:ext uri="{FF2B5EF4-FFF2-40B4-BE49-F238E27FC236}">
                <a16:creationId xmlns:a16="http://schemas.microsoft.com/office/drawing/2014/main" id="{14F3E476-2287-6EA4-B649-B4182F1EA744}"/>
              </a:ext>
            </a:extLst>
          </p:cNvPr>
          <p:cNvSpPr txBox="1"/>
          <p:nvPr userDrawn="1"/>
        </p:nvSpPr>
        <p:spPr>
          <a:xfrm>
            <a:off x="12346713" y="109538"/>
            <a:ext cx="2253207" cy="498085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INSERTING IMAGES:</a:t>
            </a:r>
          </a:p>
          <a:p>
            <a:pPr marL="179388" indent="-179388">
              <a:spcBef>
                <a:spcPts val="200"/>
              </a:spcBef>
              <a:spcAft>
                <a:spcPts val="200"/>
              </a:spcAft>
              <a:buFont typeface="+mj-lt"/>
              <a:buAutoNum type="arabicPeriod"/>
            </a:pPr>
            <a:r>
              <a:rPr lang="en-US" sz="900" dirty="0">
                <a:solidFill>
                  <a:schemeClr val="tx1"/>
                </a:solidFill>
                <a:latin typeface="+mn-lt"/>
              </a:rPr>
              <a:t>Simply click the image placeholder and select your image.</a:t>
            </a:r>
          </a:p>
          <a:p>
            <a:pPr marL="179388" indent="-179388">
              <a:spcBef>
                <a:spcPts val="200"/>
              </a:spcBef>
              <a:spcAft>
                <a:spcPts val="200"/>
              </a:spcAft>
              <a:buFont typeface="+mj-lt"/>
              <a:buAutoNum type="arabicPeriod"/>
            </a:pPr>
            <a:r>
              <a:rPr lang="en-US" sz="900" dirty="0">
                <a:solidFill>
                  <a:schemeClr val="tx1"/>
                </a:solidFill>
                <a:latin typeface="+mn-lt"/>
              </a:rPr>
              <a:t>Once your image is inserted into the shape it may be distorted. (Stretched or Squashed)</a:t>
            </a:r>
          </a:p>
          <a:p>
            <a:pPr marL="179388" indent="-179388">
              <a:spcBef>
                <a:spcPts val="200"/>
              </a:spcBef>
              <a:spcAft>
                <a:spcPts val="200"/>
              </a:spcAft>
              <a:buFont typeface="+mj-lt"/>
              <a:buAutoNum type="arabicPeriod"/>
            </a:pPr>
            <a:endParaRPr lang="en-US" sz="900" dirty="0">
              <a:solidFill>
                <a:schemeClr val="tx1"/>
              </a:solidFill>
              <a:latin typeface="+mn-lt"/>
            </a:endParaRPr>
          </a:p>
          <a:p>
            <a:pPr>
              <a:spcBef>
                <a:spcPts val="200"/>
              </a:spcBef>
              <a:spcAft>
                <a:spcPts val="200"/>
              </a:spcAft>
            </a:pPr>
            <a:r>
              <a:rPr lang="en-US" sz="900" b="1" dirty="0">
                <a:solidFill>
                  <a:schemeClr val="tx1"/>
                </a:solidFill>
                <a:latin typeface="+mn-lt"/>
              </a:rPr>
              <a:t>To fix this:</a:t>
            </a:r>
          </a:p>
          <a:p>
            <a:pPr marL="179388" indent="-179388">
              <a:spcBef>
                <a:spcPts val="200"/>
              </a:spcBef>
              <a:spcAft>
                <a:spcPts val="200"/>
              </a:spcAft>
              <a:buFont typeface="+mj-lt"/>
              <a:buAutoNum type="arabicPeriod"/>
            </a:pPr>
            <a:r>
              <a:rPr lang="en-US" sz="900" dirty="0">
                <a:solidFill>
                  <a:schemeClr val="tx1"/>
                </a:solidFill>
                <a:latin typeface="+mn-lt"/>
              </a:rPr>
              <a:t>Click on the image and from the top menu under </a:t>
            </a:r>
            <a:r>
              <a:rPr lang="en-US" sz="900" b="1" dirty="0">
                <a:solidFill>
                  <a:schemeClr val="tx1"/>
                </a:solidFill>
                <a:latin typeface="+mn-lt"/>
              </a:rPr>
              <a:t>PICTURE FORMAT </a:t>
            </a:r>
            <a:r>
              <a:rPr lang="en-US" sz="900" dirty="0">
                <a:solidFill>
                  <a:schemeClr val="tx1"/>
                </a:solidFill>
                <a:latin typeface="+mn-lt"/>
              </a:rPr>
              <a:t>select the </a:t>
            </a:r>
            <a:r>
              <a:rPr lang="en-US" sz="900" b="1" dirty="0">
                <a:solidFill>
                  <a:schemeClr val="tx1"/>
                </a:solidFill>
                <a:latin typeface="+mn-lt"/>
              </a:rPr>
              <a:t>CROP</a:t>
            </a:r>
            <a:r>
              <a:rPr lang="en-US" sz="900" dirty="0">
                <a:solidFill>
                  <a:schemeClr val="tx1"/>
                </a:solidFill>
                <a:latin typeface="+mn-lt"/>
              </a:rPr>
              <a:t> on the right and from the drop down menu select </a:t>
            </a:r>
            <a:r>
              <a:rPr lang="en-US" sz="900" b="1" kern="1200" dirty="0">
                <a:solidFill>
                  <a:schemeClr val="tx1"/>
                </a:solidFill>
                <a:latin typeface="+mn-lt"/>
                <a:ea typeface="+mn-ea"/>
                <a:cs typeface="+mn-cs"/>
              </a:rPr>
              <a:t>FILL</a:t>
            </a:r>
          </a:p>
          <a:p>
            <a:pPr marL="179388" indent="-179388">
              <a:spcBef>
                <a:spcPts val="200"/>
              </a:spcBef>
              <a:spcAft>
                <a:spcPts val="200"/>
              </a:spcAft>
              <a:buFont typeface="+mj-lt"/>
              <a:buAutoNum type="arabicPeriod"/>
            </a:pPr>
            <a:r>
              <a:rPr lang="en-US" sz="900" b="0" kern="1200" dirty="0">
                <a:solidFill>
                  <a:schemeClr val="tx1"/>
                </a:solidFill>
                <a:latin typeface="+mn-lt"/>
                <a:ea typeface="+mn-ea"/>
                <a:cs typeface="+mn-cs"/>
              </a:rPr>
              <a:t>From here you can move the image within the shape for best visual appearance</a:t>
            </a:r>
          </a:p>
          <a:p>
            <a:pPr marL="179388" indent="-179388">
              <a:spcBef>
                <a:spcPts val="200"/>
              </a:spcBef>
              <a:spcAft>
                <a:spcPts val="200"/>
              </a:spcAft>
              <a:buFont typeface="+mj-lt"/>
              <a:buAutoNum type="arabicPeriod"/>
            </a:pPr>
            <a:endParaRPr lang="en-US" sz="900" b="0" i="0" kern="1200" dirty="0">
              <a:solidFill>
                <a:schemeClr val="tx1"/>
              </a:solidFill>
              <a:latin typeface="+mn-lt"/>
              <a:ea typeface="+mn-ea"/>
              <a:cs typeface="+mn-cs"/>
            </a:endParaRPr>
          </a:p>
          <a:p>
            <a:pPr marL="0" marR="0" lvl="0" indent="0" algn="l" defTabSz="914400" rtl="0" eaLnBrk="1" fontAlgn="auto" latinLnBrk="0" hangingPunct="1">
              <a:lnSpc>
                <a:spcPct val="100000"/>
              </a:lnSpc>
              <a:spcBef>
                <a:spcPts val="200"/>
              </a:spcBef>
              <a:spcAft>
                <a:spcPts val="200"/>
              </a:spcAft>
              <a:buClrTx/>
              <a:buSzTx/>
              <a:buFont typeface="+mj-lt"/>
              <a:buNone/>
              <a:tabLst/>
              <a:defRPr/>
            </a:pPr>
            <a:r>
              <a:rPr lang="en-GB" sz="1000" b="1" i="0" dirty="0">
                <a:effectLst/>
                <a:latin typeface="Arial" panose="020B0604020202020204" pitchFamily="34" charset="0"/>
                <a:ea typeface="Calibri" panose="020F0502020204030204" pitchFamily="34" charset="0"/>
              </a:rPr>
              <a:t>When inserting staff photos, </a:t>
            </a:r>
            <a:r>
              <a:rPr lang="en-GB" sz="1000" i="0" dirty="0">
                <a:effectLst/>
                <a:latin typeface="Arial" panose="020B0604020202020204" pitchFamily="34" charset="0"/>
                <a:ea typeface="Calibri" panose="020F0502020204030204" pitchFamily="34" charset="0"/>
              </a:rPr>
              <a:t>please use the same method as suggested above. To ensure you are using staff photos that are optimised for use in this Pitch Template, please insert them from the “Staff Photos 40x40 BW” folder, located in the Staff photos section of the HFW Pitch Template folder.</a:t>
            </a:r>
            <a:endParaRPr lang="en-GB" sz="1000" i="0" dirty="0">
              <a:effectLst/>
              <a:latin typeface="Calibri" panose="020F0502020204030204" pitchFamily="34" charset="0"/>
              <a:ea typeface="Calibri" panose="020F0502020204030204" pitchFamily="34" charset="0"/>
            </a:endParaRPr>
          </a:p>
          <a:p>
            <a:pPr marL="179388" indent="-179388">
              <a:spcBef>
                <a:spcPts val="200"/>
              </a:spcBef>
              <a:spcAft>
                <a:spcPts val="200"/>
              </a:spcAft>
              <a:buFont typeface="+mj-lt"/>
              <a:buAutoNum type="arabicPeriod"/>
            </a:pPr>
            <a:endParaRPr lang="en-US" sz="900" b="0" kern="1200" dirty="0">
              <a:solidFill>
                <a:schemeClr val="tx1"/>
              </a:solidFill>
              <a:latin typeface="+mn-lt"/>
              <a:ea typeface="+mn-ea"/>
              <a:cs typeface="+mn-cs"/>
            </a:endParaRPr>
          </a:p>
          <a:p>
            <a:pPr marL="179388" indent="-179388">
              <a:spcBef>
                <a:spcPts val="200"/>
              </a:spcBef>
              <a:spcAft>
                <a:spcPts val="200"/>
              </a:spcAft>
              <a:buFont typeface="+mj-lt"/>
              <a:buAutoNum type="arabicPeriod"/>
            </a:pPr>
            <a:endParaRPr lang="en-US" sz="900" b="0" kern="1200" dirty="0">
              <a:solidFill>
                <a:schemeClr val="tx1"/>
              </a:solidFill>
              <a:latin typeface="+mn-lt"/>
              <a:ea typeface="+mn-ea"/>
              <a:cs typeface="+mn-cs"/>
            </a:endParaRPr>
          </a:p>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SAMPLE CONTACT LAYOUT</a:t>
            </a:r>
          </a:p>
        </p:txBody>
      </p:sp>
      <p:grpSp>
        <p:nvGrpSpPr>
          <p:cNvPr id="17" name="Group 16">
            <a:extLst>
              <a:ext uri="{FF2B5EF4-FFF2-40B4-BE49-F238E27FC236}">
                <a16:creationId xmlns:a16="http://schemas.microsoft.com/office/drawing/2014/main" id="{4C5E72C1-3BF6-A70A-FBAF-77197068EFCE}"/>
              </a:ext>
            </a:extLst>
          </p:cNvPr>
          <p:cNvGrpSpPr/>
          <p:nvPr userDrawn="1"/>
        </p:nvGrpSpPr>
        <p:grpSpPr>
          <a:xfrm>
            <a:off x="12437199" y="5138030"/>
            <a:ext cx="2813913" cy="819975"/>
            <a:chOff x="12399099" y="4230487"/>
            <a:chExt cx="2813913" cy="819975"/>
          </a:xfrm>
        </p:grpSpPr>
        <p:sp>
          <p:nvSpPr>
            <p:cNvPr id="28" name="TextBox 27">
              <a:extLst>
                <a:ext uri="{FF2B5EF4-FFF2-40B4-BE49-F238E27FC236}">
                  <a16:creationId xmlns:a16="http://schemas.microsoft.com/office/drawing/2014/main" id="{9022FA6B-3E01-DA85-9A06-CA0A23131D3F}"/>
                </a:ext>
              </a:extLst>
            </p:cNvPr>
            <p:cNvSpPr txBox="1"/>
            <p:nvPr userDrawn="1"/>
          </p:nvSpPr>
          <p:spPr>
            <a:xfrm flipH="1">
              <a:off x="12573262" y="4663953"/>
              <a:ext cx="2639750"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grpSp>
          <p:nvGrpSpPr>
            <p:cNvPr id="29" name="Group 28">
              <a:extLst>
                <a:ext uri="{FF2B5EF4-FFF2-40B4-BE49-F238E27FC236}">
                  <a16:creationId xmlns:a16="http://schemas.microsoft.com/office/drawing/2014/main" id="{697DAB5F-0E11-D03A-9509-F228122C048F}"/>
                </a:ext>
              </a:extLst>
            </p:cNvPr>
            <p:cNvGrpSpPr/>
            <p:nvPr userDrawn="1"/>
          </p:nvGrpSpPr>
          <p:grpSpPr>
            <a:xfrm>
              <a:off x="12399099" y="4230487"/>
              <a:ext cx="2326813" cy="819975"/>
              <a:chOff x="12399099" y="4230487"/>
              <a:chExt cx="2326813" cy="819975"/>
            </a:xfrm>
          </p:grpSpPr>
          <p:sp>
            <p:nvSpPr>
              <p:cNvPr id="30" name="TextBox 29">
                <a:extLst>
                  <a:ext uri="{FF2B5EF4-FFF2-40B4-BE49-F238E27FC236}">
                    <a16:creationId xmlns:a16="http://schemas.microsoft.com/office/drawing/2014/main" id="{26E173BD-A419-5098-2F5D-9FB35391C17C}"/>
                  </a:ext>
                </a:extLst>
              </p:cNvPr>
              <p:cNvSpPr txBox="1"/>
              <p:nvPr userDrawn="1"/>
            </p:nvSpPr>
            <p:spPr>
              <a:xfrm flipH="1">
                <a:off x="12399100" y="4663953"/>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31" name="TextBox 30">
                <a:extLst>
                  <a:ext uri="{FF2B5EF4-FFF2-40B4-BE49-F238E27FC236}">
                    <a16:creationId xmlns:a16="http://schemas.microsoft.com/office/drawing/2014/main" id="{726CD54A-6D6A-E464-1579-C1316CCD6BB7}"/>
                  </a:ext>
                </a:extLst>
              </p:cNvPr>
              <p:cNvSpPr txBox="1"/>
              <p:nvPr userDrawn="1"/>
            </p:nvSpPr>
            <p:spPr>
              <a:xfrm flipH="1">
                <a:off x="12399100" y="4881185"/>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E</a:t>
                </a:r>
              </a:p>
            </p:txBody>
          </p:sp>
          <p:sp>
            <p:nvSpPr>
              <p:cNvPr id="32" name="TextBox 31">
                <a:extLst>
                  <a:ext uri="{FF2B5EF4-FFF2-40B4-BE49-F238E27FC236}">
                    <a16:creationId xmlns:a16="http://schemas.microsoft.com/office/drawing/2014/main" id="{603188E2-9B73-1109-6A3A-23227B5E6841}"/>
                  </a:ext>
                </a:extLst>
              </p:cNvPr>
              <p:cNvSpPr txBox="1"/>
              <p:nvPr userDrawn="1"/>
            </p:nvSpPr>
            <p:spPr>
              <a:xfrm flipH="1">
                <a:off x="12573262" y="4881185"/>
                <a:ext cx="2152650"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name.surname@hfw.com</a:t>
                </a:r>
                <a:endParaRPr lang="en-US" dirty="0"/>
              </a:p>
            </p:txBody>
          </p:sp>
          <p:sp>
            <p:nvSpPr>
              <p:cNvPr id="33" name="TextBox 32">
                <a:extLst>
                  <a:ext uri="{FF2B5EF4-FFF2-40B4-BE49-F238E27FC236}">
                    <a16:creationId xmlns:a16="http://schemas.microsoft.com/office/drawing/2014/main" id="{3A6BCFB1-A8A4-833C-C713-9210D97AC324}"/>
                  </a:ext>
                </a:extLst>
              </p:cNvPr>
              <p:cNvSpPr txBox="1"/>
              <p:nvPr userDrawn="1"/>
            </p:nvSpPr>
            <p:spPr>
              <a:xfrm flipH="1">
                <a:off x="12399099" y="4230487"/>
                <a:ext cx="1968833"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solidFill>
                      <a:schemeClr val="tx2"/>
                    </a:solidFill>
                    <a:latin typeface="+mj-lt"/>
                  </a:rPr>
                  <a:t>NAME SURNAME</a:t>
                </a:r>
              </a:p>
            </p:txBody>
          </p:sp>
          <p:sp>
            <p:nvSpPr>
              <p:cNvPr id="34" name="TextBox 33">
                <a:extLst>
                  <a:ext uri="{FF2B5EF4-FFF2-40B4-BE49-F238E27FC236}">
                    <a16:creationId xmlns:a16="http://schemas.microsoft.com/office/drawing/2014/main" id="{36BFC5D7-69B1-A4B8-8EAA-05F128EDBC25}"/>
                  </a:ext>
                </a:extLst>
              </p:cNvPr>
              <p:cNvSpPr txBox="1"/>
              <p:nvPr userDrawn="1"/>
            </p:nvSpPr>
            <p:spPr>
              <a:xfrm flipH="1">
                <a:off x="12399099" y="4445785"/>
                <a:ext cx="1968833"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US" dirty="0"/>
                  <a:t>Position, Location</a:t>
                </a:r>
              </a:p>
            </p:txBody>
          </p:sp>
        </p:grpSp>
      </p:grpSp>
    </p:spTree>
    <p:extLst>
      <p:ext uri="{BB962C8B-B14F-4D97-AF65-F5344CB8AC3E}">
        <p14:creationId xmlns:p14="http://schemas.microsoft.com/office/powerpoint/2010/main" val="1388481369"/>
      </p:ext>
    </p:extLst>
  </p:cSld>
  <p:clrMapOvr>
    <a:masterClrMapping/>
  </p:clrMapOvr>
  <p:transition spd="med">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Global Firm Timlin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79E2C85A-49EC-785E-FFFC-7BEDF2F8111D}"/>
              </a:ext>
            </a:extLst>
          </p:cNvPr>
          <p:cNvSpPr>
            <a:spLocks noGrp="1"/>
          </p:cNvSpPr>
          <p:nvPr>
            <p:ph type="ftr" sz="quarter" idx="10"/>
          </p:nvPr>
        </p:nvSpPr>
        <p:spPr/>
        <p:txBody>
          <a:bodyPr/>
          <a:lstStyle/>
          <a:p>
            <a:r>
              <a:rPr lang="en-GB"/>
              <a:t>INSERT FOOTER HERE</a:t>
            </a:r>
            <a:endParaRPr lang="en-GB" dirty="0"/>
          </a:p>
        </p:txBody>
      </p:sp>
      <p:sp>
        <p:nvSpPr>
          <p:cNvPr id="4" name="Slide Number Placeholder 3">
            <a:extLst>
              <a:ext uri="{FF2B5EF4-FFF2-40B4-BE49-F238E27FC236}">
                <a16:creationId xmlns:a16="http://schemas.microsoft.com/office/drawing/2014/main" id="{F010FDB5-C834-DA68-59D3-3E40CB62486F}"/>
              </a:ext>
            </a:extLst>
          </p:cNvPr>
          <p:cNvSpPr>
            <a:spLocks noGrp="1"/>
          </p:cNvSpPr>
          <p:nvPr>
            <p:ph type="sldNum" sz="quarter" idx="11"/>
          </p:nvPr>
        </p:nvSpPr>
        <p:spPr/>
        <p:txBody>
          <a:bodyPr/>
          <a:lstStyle/>
          <a:p>
            <a:fld id="{8CFE0557-AA98-4E6C-B0C3-581794696B68}" type="slidenum">
              <a:rPr lang="en-GB" smtClean="0"/>
              <a:pPr/>
              <a:t>‹#›</a:t>
            </a:fld>
            <a:endParaRPr lang="en-GB" dirty="0"/>
          </a:p>
        </p:txBody>
      </p:sp>
      <p:sp>
        <p:nvSpPr>
          <p:cNvPr id="6" name="Freeform: Shape 5">
            <a:extLst>
              <a:ext uri="{FF2B5EF4-FFF2-40B4-BE49-F238E27FC236}">
                <a16:creationId xmlns:a16="http://schemas.microsoft.com/office/drawing/2014/main" id="{B7DEE0B5-D0FC-6E08-18E4-89F179FBE85F}"/>
              </a:ext>
            </a:extLst>
          </p:cNvPr>
          <p:cNvSpPr/>
          <p:nvPr/>
        </p:nvSpPr>
        <p:spPr>
          <a:xfrm>
            <a:off x="508000" y="1379684"/>
            <a:ext cx="11187411" cy="3584124"/>
          </a:xfrm>
          <a:custGeom>
            <a:avLst/>
            <a:gdLst>
              <a:gd name="connsiteX0" fmla="*/ 0 w 11176000"/>
              <a:gd name="connsiteY0" fmla="*/ 2937933 h 2937933"/>
              <a:gd name="connsiteX1" fmla="*/ 11176000 w 11176000"/>
              <a:gd name="connsiteY1" fmla="*/ 2937933 h 2937933"/>
              <a:gd name="connsiteX2" fmla="*/ 11176000 w 11176000"/>
              <a:gd name="connsiteY2" fmla="*/ 1371600 h 2937933"/>
              <a:gd name="connsiteX3" fmla="*/ 8467 w 11176000"/>
              <a:gd name="connsiteY3" fmla="*/ 1371600 h 2937933"/>
              <a:gd name="connsiteX4" fmla="*/ 8467 w 11176000"/>
              <a:gd name="connsiteY4" fmla="*/ 0 h 2937933"/>
              <a:gd name="connsiteX5" fmla="*/ 11167533 w 11176000"/>
              <a:gd name="connsiteY5" fmla="*/ 0 h 2937933"/>
              <a:gd name="connsiteX0" fmla="*/ 0 w 11187411"/>
              <a:gd name="connsiteY0" fmla="*/ 3122668 h 3122668"/>
              <a:gd name="connsiteX1" fmla="*/ 11176000 w 11187411"/>
              <a:gd name="connsiteY1" fmla="*/ 3122668 h 3122668"/>
              <a:gd name="connsiteX2" fmla="*/ 11176000 w 11187411"/>
              <a:gd name="connsiteY2" fmla="*/ 1556335 h 3122668"/>
              <a:gd name="connsiteX3" fmla="*/ 8467 w 11187411"/>
              <a:gd name="connsiteY3" fmla="*/ 1556335 h 3122668"/>
              <a:gd name="connsiteX4" fmla="*/ 8467 w 11187411"/>
              <a:gd name="connsiteY4" fmla="*/ 184735 h 3122668"/>
              <a:gd name="connsiteX5" fmla="*/ 11187411 w 11187411"/>
              <a:gd name="connsiteY5" fmla="*/ 0 h 3122668"/>
              <a:gd name="connsiteX0" fmla="*/ 0 w 11187411"/>
              <a:gd name="connsiteY0" fmla="*/ 3122668 h 3122668"/>
              <a:gd name="connsiteX1" fmla="*/ 11176000 w 11187411"/>
              <a:gd name="connsiteY1" fmla="*/ 3122668 h 3122668"/>
              <a:gd name="connsiteX2" fmla="*/ 11176000 w 11187411"/>
              <a:gd name="connsiteY2" fmla="*/ 1556335 h 3122668"/>
              <a:gd name="connsiteX3" fmla="*/ 8467 w 11187411"/>
              <a:gd name="connsiteY3" fmla="*/ 1556335 h 3122668"/>
              <a:gd name="connsiteX4" fmla="*/ 1841 w 11187411"/>
              <a:gd name="connsiteY4" fmla="*/ 5773 h 3122668"/>
              <a:gd name="connsiteX5" fmla="*/ 11187411 w 11187411"/>
              <a:gd name="connsiteY5" fmla="*/ 0 h 3122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87411" h="3122668">
                <a:moveTo>
                  <a:pt x="0" y="3122668"/>
                </a:moveTo>
                <a:lnTo>
                  <a:pt x="11176000" y="3122668"/>
                </a:lnTo>
                <a:lnTo>
                  <a:pt x="11176000" y="1556335"/>
                </a:lnTo>
                <a:lnTo>
                  <a:pt x="8467" y="1556335"/>
                </a:lnTo>
                <a:cubicBezTo>
                  <a:pt x="6258" y="1039481"/>
                  <a:pt x="4050" y="522627"/>
                  <a:pt x="1841" y="5773"/>
                </a:cubicBezTo>
                <a:lnTo>
                  <a:pt x="11187411" y="0"/>
                </a:lnTo>
              </a:path>
            </a:pathLst>
          </a:custGeom>
          <a:noFill/>
          <a:ln w="57150" cap="rnd">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172" name="Group 171">
            <a:extLst>
              <a:ext uri="{FF2B5EF4-FFF2-40B4-BE49-F238E27FC236}">
                <a16:creationId xmlns:a16="http://schemas.microsoft.com/office/drawing/2014/main" id="{C7189F71-CCE3-BE56-8F85-3DD492CF8A89}"/>
              </a:ext>
            </a:extLst>
          </p:cNvPr>
          <p:cNvGrpSpPr/>
          <p:nvPr userDrawn="1"/>
        </p:nvGrpSpPr>
        <p:grpSpPr>
          <a:xfrm>
            <a:off x="4705446" y="2934342"/>
            <a:ext cx="1404000" cy="1563333"/>
            <a:chOff x="4705446" y="2934342"/>
            <a:chExt cx="1404000" cy="1563333"/>
          </a:xfrm>
        </p:grpSpPr>
        <p:sp>
          <p:nvSpPr>
            <p:cNvPr id="146" name="TextBox 145">
              <a:extLst>
                <a:ext uri="{FF2B5EF4-FFF2-40B4-BE49-F238E27FC236}">
                  <a16:creationId xmlns:a16="http://schemas.microsoft.com/office/drawing/2014/main" id="{BA927E9F-BDDE-C5A9-8A6B-CFC8A69263EC}"/>
                </a:ext>
              </a:extLst>
            </p:cNvPr>
            <p:cNvSpPr txBox="1"/>
            <p:nvPr/>
          </p:nvSpPr>
          <p:spPr>
            <a:xfrm>
              <a:off x="4705446" y="3468045"/>
              <a:ext cx="1404000" cy="1029630"/>
            </a:xfrm>
            <a:prstGeom prst="rect">
              <a:avLst/>
            </a:prstGeom>
          </p:spPr>
          <p:txBody>
            <a:bodyPr vert="horz" wrap="square" lIns="0" tIns="45720" rIns="0" bIns="45720" rtlCol="0">
              <a:noAutofit/>
            </a:bodyPr>
            <a:lstStyle/>
            <a:p>
              <a:pPr algn="ctr">
                <a:spcBef>
                  <a:spcPts val="500"/>
                </a:spcBef>
                <a:spcAft>
                  <a:spcPts val="400"/>
                </a:spcAft>
              </a:pPr>
              <a:r>
                <a:rPr lang="en-GB" dirty="0">
                  <a:solidFill>
                    <a:schemeClr val="accent2"/>
                  </a:solidFill>
                  <a:latin typeface="+mj-lt"/>
                </a:rPr>
                <a:t>2011</a:t>
              </a:r>
              <a:endParaRPr lang="en-GB" sz="1200" dirty="0">
                <a:solidFill>
                  <a:schemeClr val="accent2"/>
                </a:solidFill>
              </a:endParaRPr>
            </a:p>
            <a:p>
              <a:pPr algn="ctr">
                <a:spcBef>
                  <a:spcPts val="500"/>
                </a:spcBef>
                <a:spcAft>
                  <a:spcPts val="400"/>
                </a:spcAft>
              </a:pPr>
              <a:r>
                <a:rPr lang="en-GB" sz="1100" dirty="0"/>
                <a:t>São Paulo </a:t>
              </a:r>
              <a:br>
                <a:rPr lang="en-GB" sz="1100" dirty="0"/>
              </a:br>
              <a:r>
                <a:rPr lang="en-GB" sz="1100" dirty="0"/>
                <a:t>office</a:t>
              </a:r>
            </a:p>
          </p:txBody>
        </p:sp>
        <p:cxnSp>
          <p:nvCxnSpPr>
            <p:cNvPr id="147" name="Straight Connector 146">
              <a:extLst>
                <a:ext uri="{FF2B5EF4-FFF2-40B4-BE49-F238E27FC236}">
                  <a16:creationId xmlns:a16="http://schemas.microsoft.com/office/drawing/2014/main" id="{0B379C5F-C682-251C-BF54-A92C470C48B4}"/>
                </a:ext>
              </a:extLst>
            </p:cNvPr>
            <p:cNvCxnSpPr>
              <a:cxnSpLocks/>
            </p:cNvCxnSpPr>
            <p:nvPr/>
          </p:nvCxnSpPr>
          <p:spPr>
            <a:xfrm>
              <a:off x="4810093" y="3840944"/>
              <a:ext cx="1194707" cy="0"/>
            </a:xfrm>
            <a:prstGeom prst="line">
              <a:avLst/>
            </a:prstGeom>
            <a:ln w="19050" cap="rnd">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48" name="Group 147">
              <a:extLst>
                <a:ext uri="{FF2B5EF4-FFF2-40B4-BE49-F238E27FC236}">
                  <a16:creationId xmlns:a16="http://schemas.microsoft.com/office/drawing/2014/main" id="{D82B2515-D472-233F-3EC5-962DF2817848}"/>
                </a:ext>
              </a:extLst>
            </p:cNvPr>
            <p:cNvGrpSpPr/>
            <p:nvPr/>
          </p:nvGrpSpPr>
          <p:grpSpPr>
            <a:xfrm>
              <a:off x="5167517" y="2934342"/>
              <a:ext cx="479858" cy="479856"/>
              <a:chOff x="5073920" y="2797526"/>
              <a:chExt cx="644255" cy="644255"/>
            </a:xfrm>
            <a:solidFill>
              <a:schemeClr val="accent2"/>
            </a:solidFill>
          </p:grpSpPr>
          <p:sp>
            <p:nvSpPr>
              <p:cNvPr id="149" name="Oval 148">
                <a:extLst>
                  <a:ext uri="{FF2B5EF4-FFF2-40B4-BE49-F238E27FC236}">
                    <a16:creationId xmlns:a16="http://schemas.microsoft.com/office/drawing/2014/main" id="{28864D32-7F11-8B97-A4E1-B7E10CF5CA9E}"/>
                  </a:ext>
                </a:extLst>
              </p:cNvPr>
              <p:cNvSpPr/>
              <p:nvPr/>
            </p:nvSpPr>
            <p:spPr>
              <a:xfrm>
                <a:off x="5185045" y="2908652"/>
                <a:ext cx="422006" cy="4220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0" name="Circle: Hollow 149">
                <a:extLst>
                  <a:ext uri="{FF2B5EF4-FFF2-40B4-BE49-F238E27FC236}">
                    <a16:creationId xmlns:a16="http://schemas.microsoft.com/office/drawing/2014/main" id="{5C76CD87-2BA8-96CB-E060-33923B1AD7E0}"/>
                  </a:ext>
                </a:extLst>
              </p:cNvPr>
              <p:cNvSpPr/>
              <p:nvPr/>
            </p:nvSpPr>
            <p:spPr>
              <a:xfrm>
                <a:off x="5073920" y="2797526"/>
                <a:ext cx="644255" cy="644255"/>
              </a:xfrm>
              <a:prstGeom prst="donut">
                <a:avLst>
                  <a:gd name="adj" fmla="val 1268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grpSp>
      </p:grpSp>
      <p:grpSp>
        <p:nvGrpSpPr>
          <p:cNvPr id="173" name="Group 172">
            <a:extLst>
              <a:ext uri="{FF2B5EF4-FFF2-40B4-BE49-F238E27FC236}">
                <a16:creationId xmlns:a16="http://schemas.microsoft.com/office/drawing/2014/main" id="{9F45D9BA-C7B4-C20F-B9C5-34B6DE3ADDCA}"/>
              </a:ext>
            </a:extLst>
          </p:cNvPr>
          <p:cNvGrpSpPr/>
          <p:nvPr userDrawn="1"/>
        </p:nvGrpSpPr>
        <p:grpSpPr>
          <a:xfrm>
            <a:off x="6080968" y="2934342"/>
            <a:ext cx="1404000" cy="1563333"/>
            <a:chOff x="6080968" y="2934342"/>
            <a:chExt cx="1404000" cy="1563333"/>
          </a:xfrm>
        </p:grpSpPr>
        <p:sp>
          <p:nvSpPr>
            <p:cNvPr id="141" name="TextBox 140">
              <a:extLst>
                <a:ext uri="{FF2B5EF4-FFF2-40B4-BE49-F238E27FC236}">
                  <a16:creationId xmlns:a16="http://schemas.microsoft.com/office/drawing/2014/main" id="{CAE2E6E8-5070-0DA7-2236-56AA7D288423}"/>
                </a:ext>
              </a:extLst>
            </p:cNvPr>
            <p:cNvSpPr txBox="1"/>
            <p:nvPr/>
          </p:nvSpPr>
          <p:spPr>
            <a:xfrm>
              <a:off x="6080968" y="3468045"/>
              <a:ext cx="1404000" cy="1029630"/>
            </a:xfrm>
            <a:prstGeom prst="rect">
              <a:avLst/>
            </a:prstGeom>
          </p:spPr>
          <p:txBody>
            <a:bodyPr vert="horz" wrap="square" lIns="0" tIns="45720" rIns="0" bIns="45720" rtlCol="0">
              <a:noAutofit/>
            </a:bodyPr>
            <a:lstStyle/>
            <a:p>
              <a:pPr algn="ctr">
                <a:spcBef>
                  <a:spcPts val="500"/>
                </a:spcBef>
                <a:spcAft>
                  <a:spcPts val="400"/>
                </a:spcAft>
              </a:pPr>
              <a:r>
                <a:rPr lang="en-GB" dirty="0">
                  <a:solidFill>
                    <a:schemeClr val="accent2"/>
                  </a:solidFill>
                  <a:latin typeface="+mj-lt"/>
                </a:rPr>
                <a:t>2016</a:t>
              </a:r>
              <a:endParaRPr lang="en-GB" sz="1200" dirty="0">
                <a:solidFill>
                  <a:schemeClr val="accent2"/>
                </a:solidFill>
              </a:endParaRPr>
            </a:p>
            <a:p>
              <a:pPr algn="ctr">
                <a:spcBef>
                  <a:spcPts val="500"/>
                </a:spcBef>
                <a:spcAft>
                  <a:spcPts val="400"/>
                </a:spcAft>
              </a:pPr>
              <a:r>
                <a:rPr lang="en-GB" sz="1100" dirty="0"/>
                <a:t>Kuwait </a:t>
              </a:r>
              <a:br>
                <a:rPr lang="en-GB" sz="1100" dirty="0"/>
              </a:br>
              <a:r>
                <a:rPr lang="en-GB" sz="1100" dirty="0"/>
                <a:t>office</a:t>
              </a:r>
            </a:p>
          </p:txBody>
        </p:sp>
        <p:cxnSp>
          <p:nvCxnSpPr>
            <p:cNvPr id="142" name="Straight Connector 141">
              <a:extLst>
                <a:ext uri="{FF2B5EF4-FFF2-40B4-BE49-F238E27FC236}">
                  <a16:creationId xmlns:a16="http://schemas.microsoft.com/office/drawing/2014/main" id="{4C46D408-A28A-0AFC-730B-DD0828DC5F2F}"/>
                </a:ext>
              </a:extLst>
            </p:cNvPr>
            <p:cNvCxnSpPr>
              <a:cxnSpLocks/>
            </p:cNvCxnSpPr>
            <p:nvPr/>
          </p:nvCxnSpPr>
          <p:spPr>
            <a:xfrm>
              <a:off x="6185615" y="3840944"/>
              <a:ext cx="1194707" cy="0"/>
            </a:xfrm>
            <a:prstGeom prst="line">
              <a:avLst/>
            </a:prstGeom>
            <a:ln w="19050" cap="rnd">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43" name="Group 142">
              <a:extLst>
                <a:ext uri="{FF2B5EF4-FFF2-40B4-BE49-F238E27FC236}">
                  <a16:creationId xmlns:a16="http://schemas.microsoft.com/office/drawing/2014/main" id="{52C06CA0-FF5B-468F-6E8B-2CAB1527B7C4}"/>
                </a:ext>
              </a:extLst>
            </p:cNvPr>
            <p:cNvGrpSpPr/>
            <p:nvPr/>
          </p:nvGrpSpPr>
          <p:grpSpPr>
            <a:xfrm>
              <a:off x="6543039" y="2934342"/>
              <a:ext cx="479858" cy="479856"/>
              <a:chOff x="5073920" y="2797526"/>
              <a:chExt cx="644255" cy="644255"/>
            </a:xfrm>
            <a:solidFill>
              <a:schemeClr val="accent2"/>
            </a:solidFill>
          </p:grpSpPr>
          <p:sp>
            <p:nvSpPr>
              <p:cNvPr id="144" name="Oval 143">
                <a:extLst>
                  <a:ext uri="{FF2B5EF4-FFF2-40B4-BE49-F238E27FC236}">
                    <a16:creationId xmlns:a16="http://schemas.microsoft.com/office/drawing/2014/main" id="{D9B73AC9-BF19-2194-2A97-9C1EF0E6E3F9}"/>
                  </a:ext>
                </a:extLst>
              </p:cNvPr>
              <p:cNvSpPr/>
              <p:nvPr/>
            </p:nvSpPr>
            <p:spPr>
              <a:xfrm>
                <a:off x="5185045" y="2908652"/>
                <a:ext cx="422006" cy="4220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5" name="Circle: Hollow 144">
                <a:extLst>
                  <a:ext uri="{FF2B5EF4-FFF2-40B4-BE49-F238E27FC236}">
                    <a16:creationId xmlns:a16="http://schemas.microsoft.com/office/drawing/2014/main" id="{B37DFA53-D99A-8578-A48B-8983C0D60611}"/>
                  </a:ext>
                </a:extLst>
              </p:cNvPr>
              <p:cNvSpPr/>
              <p:nvPr/>
            </p:nvSpPr>
            <p:spPr>
              <a:xfrm>
                <a:off x="5073920" y="2797526"/>
                <a:ext cx="644255" cy="644255"/>
              </a:xfrm>
              <a:prstGeom prst="donut">
                <a:avLst>
                  <a:gd name="adj" fmla="val 1268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grpSp>
      </p:grpSp>
      <p:grpSp>
        <p:nvGrpSpPr>
          <p:cNvPr id="174" name="Group 173">
            <a:extLst>
              <a:ext uri="{FF2B5EF4-FFF2-40B4-BE49-F238E27FC236}">
                <a16:creationId xmlns:a16="http://schemas.microsoft.com/office/drawing/2014/main" id="{EC3A4A00-88BA-8333-B304-667D46E2E4C3}"/>
              </a:ext>
            </a:extLst>
          </p:cNvPr>
          <p:cNvGrpSpPr/>
          <p:nvPr userDrawn="1"/>
        </p:nvGrpSpPr>
        <p:grpSpPr>
          <a:xfrm>
            <a:off x="7456490" y="2934342"/>
            <a:ext cx="1404000" cy="1563333"/>
            <a:chOff x="7456490" y="2934342"/>
            <a:chExt cx="1404000" cy="1563333"/>
          </a:xfrm>
        </p:grpSpPr>
        <p:sp>
          <p:nvSpPr>
            <p:cNvPr id="136" name="TextBox 135">
              <a:extLst>
                <a:ext uri="{FF2B5EF4-FFF2-40B4-BE49-F238E27FC236}">
                  <a16:creationId xmlns:a16="http://schemas.microsoft.com/office/drawing/2014/main" id="{2B543638-2B50-3808-1322-2B721C654CDD}"/>
                </a:ext>
              </a:extLst>
            </p:cNvPr>
            <p:cNvSpPr txBox="1"/>
            <p:nvPr/>
          </p:nvSpPr>
          <p:spPr>
            <a:xfrm>
              <a:off x="7456490" y="3468045"/>
              <a:ext cx="1404000" cy="1029630"/>
            </a:xfrm>
            <a:prstGeom prst="rect">
              <a:avLst/>
            </a:prstGeom>
          </p:spPr>
          <p:txBody>
            <a:bodyPr vert="horz" wrap="square" lIns="0" tIns="45720" rIns="0" bIns="45720" rtlCol="0">
              <a:noAutofit/>
            </a:bodyPr>
            <a:lstStyle/>
            <a:p>
              <a:pPr algn="ctr">
                <a:spcBef>
                  <a:spcPts val="500"/>
                </a:spcBef>
                <a:spcAft>
                  <a:spcPts val="400"/>
                </a:spcAft>
              </a:pPr>
              <a:r>
                <a:rPr lang="en-GB" dirty="0">
                  <a:solidFill>
                    <a:schemeClr val="accent2"/>
                  </a:solidFill>
                  <a:latin typeface="+mj-lt"/>
                </a:rPr>
                <a:t>2016</a:t>
              </a:r>
              <a:endParaRPr lang="en-GB" sz="1200" dirty="0">
                <a:solidFill>
                  <a:schemeClr val="accent2"/>
                </a:solidFill>
              </a:endParaRPr>
            </a:p>
            <a:p>
              <a:pPr algn="ctr">
                <a:spcBef>
                  <a:spcPts val="500"/>
                </a:spcBef>
                <a:spcAft>
                  <a:spcPts val="400"/>
                </a:spcAft>
              </a:pPr>
              <a:r>
                <a:rPr lang="en-GB" sz="1100" dirty="0"/>
                <a:t>Riyadh </a:t>
              </a:r>
              <a:br>
                <a:rPr lang="en-GB" sz="1100" dirty="0"/>
              </a:br>
              <a:r>
                <a:rPr lang="en-GB" sz="1100" dirty="0"/>
                <a:t>office</a:t>
              </a:r>
            </a:p>
          </p:txBody>
        </p:sp>
        <p:cxnSp>
          <p:nvCxnSpPr>
            <p:cNvPr id="137" name="Straight Connector 136">
              <a:extLst>
                <a:ext uri="{FF2B5EF4-FFF2-40B4-BE49-F238E27FC236}">
                  <a16:creationId xmlns:a16="http://schemas.microsoft.com/office/drawing/2014/main" id="{B1E09565-7AA4-F157-8852-5DC41F7A66B6}"/>
                </a:ext>
              </a:extLst>
            </p:cNvPr>
            <p:cNvCxnSpPr>
              <a:cxnSpLocks/>
            </p:cNvCxnSpPr>
            <p:nvPr/>
          </p:nvCxnSpPr>
          <p:spPr>
            <a:xfrm>
              <a:off x="7561137" y="3840944"/>
              <a:ext cx="1194707" cy="0"/>
            </a:xfrm>
            <a:prstGeom prst="line">
              <a:avLst/>
            </a:prstGeom>
            <a:ln w="19050" cap="rnd">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38" name="Group 137">
              <a:extLst>
                <a:ext uri="{FF2B5EF4-FFF2-40B4-BE49-F238E27FC236}">
                  <a16:creationId xmlns:a16="http://schemas.microsoft.com/office/drawing/2014/main" id="{DA26A4AF-446D-D8D0-BD01-317F62DBD187}"/>
                </a:ext>
              </a:extLst>
            </p:cNvPr>
            <p:cNvGrpSpPr/>
            <p:nvPr/>
          </p:nvGrpSpPr>
          <p:grpSpPr>
            <a:xfrm>
              <a:off x="7918561" y="2934342"/>
              <a:ext cx="479858" cy="479856"/>
              <a:chOff x="5073920" y="2797526"/>
              <a:chExt cx="644255" cy="644255"/>
            </a:xfrm>
            <a:solidFill>
              <a:schemeClr val="accent2"/>
            </a:solidFill>
          </p:grpSpPr>
          <p:sp>
            <p:nvSpPr>
              <p:cNvPr id="139" name="Oval 138">
                <a:extLst>
                  <a:ext uri="{FF2B5EF4-FFF2-40B4-BE49-F238E27FC236}">
                    <a16:creationId xmlns:a16="http://schemas.microsoft.com/office/drawing/2014/main" id="{A0EEE40E-C29B-77EB-794D-9A4281659718}"/>
                  </a:ext>
                </a:extLst>
              </p:cNvPr>
              <p:cNvSpPr/>
              <p:nvPr/>
            </p:nvSpPr>
            <p:spPr>
              <a:xfrm>
                <a:off x="5185045" y="2908652"/>
                <a:ext cx="422006" cy="4220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0" name="Circle: Hollow 139">
                <a:extLst>
                  <a:ext uri="{FF2B5EF4-FFF2-40B4-BE49-F238E27FC236}">
                    <a16:creationId xmlns:a16="http://schemas.microsoft.com/office/drawing/2014/main" id="{ABE0B33B-0A2A-3B29-DB36-23AF72C3C3B9}"/>
                  </a:ext>
                </a:extLst>
              </p:cNvPr>
              <p:cNvSpPr/>
              <p:nvPr/>
            </p:nvSpPr>
            <p:spPr>
              <a:xfrm>
                <a:off x="5073920" y="2797526"/>
                <a:ext cx="644255" cy="644255"/>
              </a:xfrm>
              <a:prstGeom prst="donut">
                <a:avLst>
                  <a:gd name="adj" fmla="val 1268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grpSp>
      </p:grpSp>
      <p:grpSp>
        <p:nvGrpSpPr>
          <p:cNvPr id="175" name="Group 174">
            <a:extLst>
              <a:ext uri="{FF2B5EF4-FFF2-40B4-BE49-F238E27FC236}">
                <a16:creationId xmlns:a16="http://schemas.microsoft.com/office/drawing/2014/main" id="{BE685E0D-E5FD-E89F-BB5B-860104156B68}"/>
              </a:ext>
            </a:extLst>
          </p:cNvPr>
          <p:cNvGrpSpPr/>
          <p:nvPr userDrawn="1"/>
        </p:nvGrpSpPr>
        <p:grpSpPr>
          <a:xfrm>
            <a:off x="8832012" y="2934342"/>
            <a:ext cx="1404000" cy="1563333"/>
            <a:chOff x="8832012" y="2934342"/>
            <a:chExt cx="1404000" cy="1563333"/>
          </a:xfrm>
        </p:grpSpPr>
        <p:sp>
          <p:nvSpPr>
            <p:cNvPr id="131" name="TextBox 130">
              <a:extLst>
                <a:ext uri="{FF2B5EF4-FFF2-40B4-BE49-F238E27FC236}">
                  <a16:creationId xmlns:a16="http://schemas.microsoft.com/office/drawing/2014/main" id="{188A7F4D-B7C1-C7FE-8E7C-31E4D36D6449}"/>
                </a:ext>
              </a:extLst>
            </p:cNvPr>
            <p:cNvSpPr txBox="1"/>
            <p:nvPr/>
          </p:nvSpPr>
          <p:spPr>
            <a:xfrm>
              <a:off x="8832012" y="3468045"/>
              <a:ext cx="1404000" cy="1029630"/>
            </a:xfrm>
            <a:prstGeom prst="rect">
              <a:avLst/>
            </a:prstGeom>
          </p:spPr>
          <p:txBody>
            <a:bodyPr vert="horz" wrap="square" lIns="0" tIns="45720" rIns="0" bIns="45720" rtlCol="0">
              <a:noAutofit/>
            </a:bodyPr>
            <a:lstStyle/>
            <a:p>
              <a:pPr algn="ctr">
                <a:spcBef>
                  <a:spcPts val="500"/>
                </a:spcBef>
                <a:spcAft>
                  <a:spcPts val="400"/>
                </a:spcAft>
              </a:pPr>
              <a:r>
                <a:rPr lang="en-GB" dirty="0">
                  <a:solidFill>
                    <a:schemeClr val="accent2"/>
                  </a:solidFill>
                  <a:latin typeface="+mj-lt"/>
                </a:rPr>
                <a:t>2009</a:t>
              </a:r>
              <a:endParaRPr lang="en-GB" sz="1200" dirty="0">
                <a:solidFill>
                  <a:schemeClr val="accent2"/>
                </a:solidFill>
              </a:endParaRPr>
            </a:p>
            <a:p>
              <a:pPr algn="ctr">
                <a:spcBef>
                  <a:spcPts val="500"/>
                </a:spcBef>
                <a:spcAft>
                  <a:spcPts val="400"/>
                </a:spcAft>
              </a:pPr>
              <a:r>
                <a:rPr lang="en-GB" sz="1100" dirty="0"/>
                <a:t>Brussels </a:t>
              </a:r>
              <a:br>
                <a:rPr lang="en-GB" sz="1100" dirty="0"/>
              </a:br>
              <a:r>
                <a:rPr lang="en-GB" sz="1100" dirty="0"/>
                <a:t>office</a:t>
              </a:r>
            </a:p>
          </p:txBody>
        </p:sp>
        <p:cxnSp>
          <p:nvCxnSpPr>
            <p:cNvPr id="132" name="Straight Connector 131">
              <a:extLst>
                <a:ext uri="{FF2B5EF4-FFF2-40B4-BE49-F238E27FC236}">
                  <a16:creationId xmlns:a16="http://schemas.microsoft.com/office/drawing/2014/main" id="{ADAE2CB4-C824-5502-6EFB-AE04DF504211}"/>
                </a:ext>
              </a:extLst>
            </p:cNvPr>
            <p:cNvCxnSpPr>
              <a:cxnSpLocks/>
            </p:cNvCxnSpPr>
            <p:nvPr/>
          </p:nvCxnSpPr>
          <p:spPr>
            <a:xfrm>
              <a:off x="8936659" y="3840944"/>
              <a:ext cx="1194707" cy="0"/>
            </a:xfrm>
            <a:prstGeom prst="line">
              <a:avLst/>
            </a:prstGeom>
            <a:ln w="19050" cap="rnd">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33" name="Group 132">
              <a:extLst>
                <a:ext uri="{FF2B5EF4-FFF2-40B4-BE49-F238E27FC236}">
                  <a16:creationId xmlns:a16="http://schemas.microsoft.com/office/drawing/2014/main" id="{3904A1A5-655C-82ED-FBCD-7473B540D62C}"/>
                </a:ext>
              </a:extLst>
            </p:cNvPr>
            <p:cNvGrpSpPr/>
            <p:nvPr/>
          </p:nvGrpSpPr>
          <p:grpSpPr>
            <a:xfrm>
              <a:off x="9294083" y="2934342"/>
              <a:ext cx="479858" cy="479856"/>
              <a:chOff x="5073920" y="2797526"/>
              <a:chExt cx="644255" cy="644255"/>
            </a:xfrm>
            <a:solidFill>
              <a:schemeClr val="accent2"/>
            </a:solidFill>
          </p:grpSpPr>
          <p:sp>
            <p:nvSpPr>
              <p:cNvPr id="134" name="Oval 133">
                <a:extLst>
                  <a:ext uri="{FF2B5EF4-FFF2-40B4-BE49-F238E27FC236}">
                    <a16:creationId xmlns:a16="http://schemas.microsoft.com/office/drawing/2014/main" id="{8DB537DF-C803-5B63-7D02-DE5170F0EBA9}"/>
                  </a:ext>
                </a:extLst>
              </p:cNvPr>
              <p:cNvSpPr/>
              <p:nvPr/>
            </p:nvSpPr>
            <p:spPr>
              <a:xfrm>
                <a:off x="5185045" y="2908652"/>
                <a:ext cx="422006" cy="4220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5" name="Circle: Hollow 134">
                <a:extLst>
                  <a:ext uri="{FF2B5EF4-FFF2-40B4-BE49-F238E27FC236}">
                    <a16:creationId xmlns:a16="http://schemas.microsoft.com/office/drawing/2014/main" id="{0BAC0AD0-02DB-2086-9C26-028257364B8A}"/>
                  </a:ext>
                </a:extLst>
              </p:cNvPr>
              <p:cNvSpPr/>
              <p:nvPr/>
            </p:nvSpPr>
            <p:spPr>
              <a:xfrm>
                <a:off x="5073920" y="2797526"/>
                <a:ext cx="644255" cy="644255"/>
              </a:xfrm>
              <a:prstGeom prst="donut">
                <a:avLst>
                  <a:gd name="adj" fmla="val 1268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grpSp>
      </p:grpSp>
      <p:grpSp>
        <p:nvGrpSpPr>
          <p:cNvPr id="159" name="Group 158">
            <a:extLst>
              <a:ext uri="{FF2B5EF4-FFF2-40B4-BE49-F238E27FC236}">
                <a16:creationId xmlns:a16="http://schemas.microsoft.com/office/drawing/2014/main" id="{B78F2388-FD6F-485F-9EB8-E76A14CB7AE2}"/>
              </a:ext>
            </a:extLst>
          </p:cNvPr>
          <p:cNvGrpSpPr/>
          <p:nvPr userDrawn="1"/>
        </p:nvGrpSpPr>
        <p:grpSpPr>
          <a:xfrm>
            <a:off x="10207533" y="2934342"/>
            <a:ext cx="1404000" cy="1563333"/>
            <a:chOff x="10207533" y="2934342"/>
            <a:chExt cx="1404000" cy="1563333"/>
          </a:xfrm>
        </p:grpSpPr>
        <p:sp>
          <p:nvSpPr>
            <p:cNvPr id="126" name="TextBox 125">
              <a:extLst>
                <a:ext uri="{FF2B5EF4-FFF2-40B4-BE49-F238E27FC236}">
                  <a16:creationId xmlns:a16="http://schemas.microsoft.com/office/drawing/2014/main" id="{284EB7C1-CAD5-63F7-0051-067552496E37}"/>
                </a:ext>
              </a:extLst>
            </p:cNvPr>
            <p:cNvSpPr txBox="1"/>
            <p:nvPr/>
          </p:nvSpPr>
          <p:spPr>
            <a:xfrm>
              <a:off x="10207533" y="3468045"/>
              <a:ext cx="1404000" cy="1029630"/>
            </a:xfrm>
            <a:prstGeom prst="rect">
              <a:avLst/>
            </a:prstGeom>
          </p:spPr>
          <p:txBody>
            <a:bodyPr vert="horz" wrap="square" lIns="0" tIns="45720" rIns="0" bIns="45720" rtlCol="0">
              <a:noAutofit/>
            </a:bodyPr>
            <a:lstStyle/>
            <a:p>
              <a:pPr algn="ctr">
                <a:spcBef>
                  <a:spcPts val="500"/>
                </a:spcBef>
                <a:spcAft>
                  <a:spcPts val="400"/>
                </a:spcAft>
              </a:pPr>
              <a:r>
                <a:rPr lang="en-GB" dirty="0">
                  <a:solidFill>
                    <a:schemeClr val="accent2"/>
                  </a:solidFill>
                  <a:latin typeface="+mj-lt"/>
                </a:rPr>
                <a:t>2009</a:t>
              </a:r>
              <a:endParaRPr lang="en-GB" sz="1200" dirty="0">
                <a:solidFill>
                  <a:schemeClr val="accent2"/>
                </a:solidFill>
              </a:endParaRPr>
            </a:p>
            <a:p>
              <a:pPr algn="ctr">
                <a:spcBef>
                  <a:spcPts val="500"/>
                </a:spcBef>
                <a:spcAft>
                  <a:spcPts val="400"/>
                </a:spcAft>
              </a:pPr>
              <a:r>
                <a:rPr lang="en-GB" sz="1100" dirty="0"/>
                <a:t>Sydney </a:t>
              </a:r>
              <a:br>
                <a:rPr lang="en-GB" sz="1100" dirty="0"/>
              </a:br>
              <a:r>
                <a:rPr lang="en-GB" sz="1100" dirty="0"/>
                <a:t>office</a:t>
              </a:r>
            </a:p>
          </p:txBody>
        </p:sp>
        <p:cxnSp>
          <p:nvCxnSpPr>
            <p:cNvPr id="127" name="Straight Connector 126">
              <a:extLst>
                <a:ext uri="{FF2B5EF4-FFF2-40B4-BE49-F238E27FC236}">
                  <a16:creationId xmlns:a16="http://schemas.microsoft.com/office/drawing/2014/main" id="{0BF52C1C-B544-B889-BAE5-7AA8D763F09B}"/>
                </a:ext>
              </a:extLst>
            </p:cNvPr>
            <p:cNvCxnSpPr>
              <a:cxnSpLocks/>
            </p:cNvCxnSpPr>
            <p:nvPr/>
          </p:nvCxnSpPr>
          <p:spPr>
            <a:xfrm>
              <a:off x="10312180" y="3840944"/>
              <a:ext cx="1194707" cy="0"/>
            </a:xfrm>
            <a:prstGeom prst="line">
              <a:avLst/>
            </a:prstGeom>
            <a:ln w="19050" cap="rnd">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28" name="Group 127">
              <a:extLst>
                <a:ext uri="{FF2B5EF4-FFF2-40B4-BE49-F238E27FC236}">
                  <a16:creationId xmlns:a16="http://schemas.microsoft.com/office/drawing/2014/main" id="{A8615157-FF69-43F5-72FE-90C05FB5968C}"/>
                </a:ext>
              </a:extLst>
            </p:cNvPr>
            <p:cNvGrpSpPr/>
            <p:nvPr/>
          </p:nvGrpSpPr>
          <p:grpSpPr>
            <a:xfrm>
              <a:off x="10669604" y="2934342"/>
              <a:ext cx="479858" cy="479856"/>
              <a:chOff x="5073920" y="2797526"/>
              <a:chExt cx="644255" cy="644255"/>
            </a:xfrm>
            <a:solidFill>
              <a:schemeClr val="accent2"/>
            </a:solidFill>
          </p:grpSpPr>
          <p:sp>
            <p:nvSpPr>
              <p:cNvPr id="129" name="Oval 128">
                <a:extLst>
                  <a:ext uri="{FF2B5EF4-FFF2-40B4-BE49-F238E27FC236}">
                    <a16:creationId xmlns:a16="http://schemas.microsoft.com/office/drawing/2014/main" id="{78487857-4238-77FA-40E9-A5450461B59B}"/>
                  </a:ext>
                </a:extLst>
              </p:cNvPr>
              <p:cNvSpPr/>
              <p:nvPr/>
            </p:nvSpPr>
            <p:spPr>
              <a:xfrm>
                <a:off x="5185045" y="2908652"/>
                <a:ext cx="422006" cy="4220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0" name="Circle: Hollow 129">
                <a:extLst>
                  <a:ext uri="{FF2B5EF4-FFF2-40B4-BE49-F238E27FC236}">
                    <a16:creationId xmlns:a16="http://schemas.microsoft.com/office/drawing/2014/main" id="{D96ABB3D-73D9-3DE8-FBD5-DCBC88A69236}"/>
                  </a:ext>
                </a:extLst>
              </p:cNvPr>
              <p:cNvSpPr/>
              <p:nvPr/>
            </p:nvSpPr>
            <p:spPr>
              <a:xfrm>
                <a:off x="5073920" y="2797526"/>
                <a:ext cx="644255" cy="644255"/>
              </a:xfrm>
              <a:prstGeom prst="donut">
                <a:avLst>
                  <a:gd name="adj" fmla="val 1268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grpSp>
      </p:grpSp>
      <p:grpSp>
        <p:nvGrpSpPr>
          <p:cNvPr id="169" name="Group 168">
            <a:extLst>
              <a:ext uri="{FF2B5EF4-FFF2-40B4-BE49-F238E27FC236}">
                <a16:creationId xmlns:a16="http://schemas.microsoft.com/office/drawing/2014/main" id="{14F62E32-C35E-6058-246D-5DD6FFF43F4A}"/>
              </a:ext>
            </a:extLst>
          </p:cNvPr>
          <p:cNvGrpSpPr/>
          <p:nvPr userDrawn="1"/>
        </p:nvGrpSpPr>
        <p:grpSpPr>
          <a:xfrm>
            <a:off x="578880" y="2934342"/>
            <a:ext cx="1404000" cy="1563333"/>
            <a:chOff x="578880" y="2934342"/>
            <a:chExt cx="1404000" cy="1563333"/>
          </a:xfrm>
        </p:grpSpPr>
        <p:sp>
          <p:nvSpPr>
            <p:cNvPr id="121" name="TextBox 120">
              <a:extLst>
                <a:ext uri="{FF2B5EF4-FFF2-40B4-BE49-F238E27FC236}">
                  <a16:creationId xmlns:a16="http://schemas.microsoft.com/office/drawing/2014/main" id="{4898E3CE-CB33-8DDB-C927-02EED62722F0}"/>
                </a:ext>
              </a:extLst>
            </p:cNvPr>
            <p:cNvSpPr txBox="1"/>
            <p:nvPr/>
          </p:nvSpPr>
          <p:spPr>
            <a:xfrm>
              <a:off x="578880" y="3468045"/>
              <a:ext cx="1404000" cy="1029630"/>
            </a:xfrm>
            <a:prstGeom prst="rect">
              <a:avLst/>
            </a:prstGeom>
          </p:spPr>
          <p:txBody>
            <a:bodyPr vert="horz" wrap="square" lIns="0" tIns="45720" rIns="0" bIns="45720" rtlCol="0">
              <a:noAutofit/>
            </a:bodyPr>
            <a:lstStyle/>
            <a:p>
              <a:pPr algn="ctr">
                <a:spcBef>
                  <a:spcPts val="500"/>
                </a:spcBef>
                <a:spcAft>
                  <a:spcPts val="400"/>
                </a:spcAft>
              </a:pPr>
              <a:r>
                <a:rPr lang="en-GB" dirty="0">
                  <a:solidFill>
                    <a:schemeClr val="accent2"/>
                  </a:solidFill>
                  <a:latin typeface="+mj-lt"/>
                </a:rPr>
                <a:t>2016</a:t>
              </a:r>
              <a:endParaRPr lang="en-GB" sz="1200" dirty="0">
                <a:solidFill>
                  <a:schemeClr val="accent2"/>
                </a:solidFill>
              </a:endParaRPr>
            </a:p>
            <a:p>
              <a:pPr algn="ctr">
                <a:spcBef>
                  <a:spcPts val="500"/>
                </a:spcBef>
                <a:spcAft>
                  <a:spcPts val="400"/>
                </a:spcAft>
              </a:pPr>
              <a:r>
                <a:rPr lang="en-GB" sz="1100" dirty="0"/>
                <a:t>Association with Chinese Law firm </a:t>
              </a:r>
              <a:r>
                <a:rPr lang="en-GB" sz="1100" dirty="0" err="1"/>
                <a:t>Wintell</a:t>
              </a:r>
              <a:r>
                <a:rPr lang="en-GB" sz="1100" dirty="0"/>
                <a:t> &amp; Co</a:t>
              </a:r>
            </a:p>
          </p:txBody>
        </p:sp>
        <p:cxnSp>
          <p:nvCxnSpPr>
            <p:cNvPr id="122" name="Straight Connector 121">
              <a:extLst>
                <a:ext uri="{FF2B5EF4-FFF2-40B4-BE49-F238E27FC236}">
                  <a16:creationId xmlns:a16="http://schemas.microsoft.com/office/drawing/2014/main" id="{2BDD9C2F-683A-ACB7-D9A6-DED52236DFCE}"/>
                </a:ext>
              </a:extLst>
            </p:cNvPr>
            <p:cNvCxnSpPr>
              <a:cxnSpLocks/>
            </p:cNvCxnSpPr>
            <p:nvPr/>
          </p:nvCxnSpPr>
          <p:spPr>
            <a:xfrm>
              <a:off x="683527" y="3840944"/>
              <a:ext cx="1194707" cy="0"/>
            </a:xfrm>
            <a:prstGeom prst="line">
              <a:avLst/>
            </a:prstGeom>
            <a:ln w="19050" cap="rnd">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23" name="Group 122">
              <a:extLst>
                <a:ext uri="{FF2B5EF4-FFF2-40B4-BE49-F238E27FC236}">
                  <a16:creationId xmlns:a16="http://schemas.microsoft.com/office/drawing/2014/main" id="{335D654A-7CA7-8E32-1C77-5AD52E09C535}"/>
                </a:ext>
              </a:extLst>
            </p:cNvPr>
            <p:cNvGrpSpPr/>
            <p:nvPr/>
          </p:nvGrpSpPr>
          <p:grpSpPr>
            <a:xfrm>
              <a:off x="1040951" y="2934342"/>
              <a:ext cx="479858" cy="479856"/>
              <a:chOff x="5073920" y="2797526"/>
              <a:chExt cx="644255" cy="644255"/>
            </a:xfrm>
            <a:solidFill>
              <a:schemeClr val="accent2"/>
            </a:solidFill>
          </p:grpSpPr>
          <p:sp>
            <p:nvSpPr>
              <p:cNvPr id="124" name="Oval 123">
                <a:extLst>
                  <a:ext uri="{FF2B5EF4-FFF2-40B4-BE49-F238E27FC236}">
                    <a16:creationId xmlns:a16="http://schemas.microsoft.com/office/drawing/2014/main" id="{1E3DF109-3D1D-2B89-EA77-2B28DA90A02E}"/>
                  </a:ext>
                </a:extLst>
              </p:cNvPr>
              <p:cNvSpPr/>
              <p:nvPr/>
            </p:nvSpPr>
            <p:spPr>
              <a:xfrm>
                <a:off x="5185045" y="2908652"/>
                <a:ext cx="422006" cy="4220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5" name="Circle: Hollow 124">
                <a:extLst>
                  <a:ext uri="{FF2B5EF4-FFF2-40B4-BE49-F238E27FC236}">
                    <a16:creationId xmlns:a16="http://schemas.microsoft.com/office/drawing/2014/main" id="{89B6675B-0FD6-8334-E2F4-673AAA6FD654}"/>
                  </a:ext>
                </a:extLst>
              </p:cNvPr>
              <p:cNvSpPr/>
              <p:nvPr/>
            </p:nvSpPr>
            <p:spPr>
              <a:xfrm>
                <a:off x="5073920" y="2797526"/>
                <a:ext cx="644255" cy="644255"/>
              </a:xfrm>
              <a:prstGeom prst="donut">
                <a:avLst>
                  <a:gd name="adj" fmla="val 1268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grpSp>
      </p:grpSp>
      <p:grpSp>
        <p:nvGrpSpPr>
          <p:cNvPr id="170" name="Group 169">
            <a:extLst>
              <a:ext uri="{FF2B5EF4-FFF2-40B4-BE49-F238E27FC236}">
                <a16:creationId xmlns:a16="http://schemas.microsoft.com/office/drawing/2014/main" id="{401B6155-6D72-18A8-B955-3F460AC393A2}"/>
              </a:ext>
            </a:extLst>
          </p:cNvPr>
          <p:cNvGrpSpPr/>
          <p:nvPr userDrawn="1"/>
        </p:nvGrpSpPr>
        <p:grpSpPr>
          <a:xfrm>
            <a:off x="1954402" y="2934342"/>
            <a:ext cx="1404000" cy="1563333"/>
            <a:chOff x="1954402" y="2934342"/>
            <a:chExt cx="1404000" cy="1563333"/>
          </a:xfrm>
        </p:grpSpPr>
        <p:sp>
          <p:nvSpPr>
            <p:cNvPr id="116" name="TextBox 115">
              <a:extLst>
                <a:ext uri="{FF2B5EF4-FFF2-40B4-BE49-F238E27FC236}">
                  <a16:creationId xmlns:a16="http://schemas.microsoft.com/office/drawing/2014/main" id="{8EFC5E1E-1D4A-F0F3-1FB1-11EDC435CB6A}"/>
                </a:ext>
              </a:extLst>
            </p:cNvPr>
            <p:cNvSpPr txBox="1"/>
            <p:nvPr/>
          </p:nvSpPr>
          <p:spPr>
            <a:xfrm>
              <a:off x="1954402" y="3468045"/>
              <a:ext cx="1404000" cy="1029630"/>
            </a:xfrm>
            <a:prstGeom prst="rect">
              <a:avLst/>
            </a:prstGeom>
          </p:spPr>
          <p:txBody>
            <a:bodyPr vert="horz" wrap="square" lIns="0" tIns="45720" rIns="0" bIns="45720" rtlCol="0">
              <a:noAutofit/>
            </a:bodyPr>
            <a:lstStyle/>
            <a:p>
              <a:pPr algn="ctr">
                <a:spcBef>
                  <a:spcPts val="500"/>
                </a:spcBef>
                <a:spcAft>
                  <a:spcPts val="400"/>
                </a:spcAft>
              </a:pPr>
              <a:r>
                <a:rPr lang="en-GB" dirty="0">
                  <a:solidFill>
                    <a:schemeClr val="accent2"/>
                  </a:solidFill>
                  <a:latin typeface="+mj-lt"/>
                </a:rPr>
                <a:t>2010</a:t>
              </a:r>
              <a:endParaRPr lang="en-GB" sz="1200" dirty="0">
                <a:solidFill>
                  <a:schemeClr val="accent2"/>
                </a:solidFill>
              </a:endParaRPr>
            </a:p>
            <a:p>
              <a:pPr algn="ctr">
                <a:spcBef>
                  <a:spcPts val="500"/>
                </a:spcBef>
                <a:spcAft>
                  <a:spcPts val="400"/>
                </a:spcAft>
              </a:pPr>
              <a:r>
                <a:rPr lang="en-GB" sz="1100" dirty="0"/>
                <a:t>Geneva </a:t>
              </a:r>
              <a:br>
                <a:rPr lang="en-GB" sz="1100" dirty="0"/>
              </a:br>
              <a:r>
                <a:rPr lang="en-GB" sz="1100" dirty="0"/>
                <a:t>office</a:t>
              </a:r>
            </a:p>
          </p:txBody>
        </p:sp>
        <p:cxnSp>
          <p:nvCxnSpPr>
            <p:cNvPr id="117" name="Straight Connector 116">
              <a:extLst>
                <a:ext uri="{FF2B5EF4-FFF2-40B4-BE49-F238E27FC236}">
                  <a16:creationId xmlns:a16="http://schemas.microsoft.com/office/drawing/2014/main" id="{18A384E0-447F-9303-E8EC-0313A6E85322}"/>
                </a:ext>
              </a:extLst>
            </p:cNvPr>
            <p:cNvCxnSpPr>
              <a:cxnSpLocks/>
            </p:cNvCxnSpPr>
            <p:nvPr/>
          </p:nvCxnSpPr>
          <p:spPr>
            <a:xfrm>
              <a:off x="2059049" y="3840944"/>
              <a:ext cx="1194707" cy="0"/>
            </a:xfrm>
            <a:prstGeom prst="line">
              <a:avLst/>
            </a:prstGeom>
            <a:ln w="19050" cap="rnd">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18" name="Group 117">
              <a:extLst>
                <a:ext uri="{FF2B5EF4-FFF2-40B4-BE49-F238E27FC236}">
                  <a16:creationId xmlns:a16="http://schemas.microsoft.com/office/drawing/2014/main" id="{273498C0-F414-2D61-DCE4-A9F63DF1449C}"/>
                </a:ext>
              </a:extLst>
            </p:cNvPr>
            <p:cNvGrpSpPr/>
            <p:nvPr/>
          </p:nvGrpSpPr>
          <p:grpSpPr>
            <a:xfrm>
              <a:off x="2416473" y="2934342"/>
              <a:ext cx="479858" cy="479856"/>
              <a:chOff x="5073920" y="2797526"/>
              <a:chExt cx="644255" cy="644255"/>
            </a:xfrm>
            <a:solidFill>
              <a:schemeClr val="accent2"/>
            </a:solidFill>
          </p:grpSpPr>
          <p:sp>
            <p:nvSpPr>
              <p:cNvPr id="119" name="Oval 118">
                <a:extLst>
                  <a:ext uri="{FF2B5EF4-FFF2-40B4-BE49-F238E27FC236}">
                    <a16:creationId xmlns:a16="http://schemas.microsoft.com/office/drawing/2014/main" id="{4BF25657-F8B6-E47A-54C8-725DC7E83888}"/>
                  </a:ext>
                </a:extLst>
              </p:cNvPr>
              <p:cNvSpPr/>
              <p:nvPr/>
            </p:nvSpPr>
            <p:spPr>
              <a:xfrm>
                <a:off x="5185045" y="2908652"/>
                <a:ext cx="422006" cy="4220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0" name="Circle: Hollow 119">
                <a:extLst>
                  <a:ext uri="{FF2B5EF4-FFF2-40B4-BE49-F238E27FC236}">
                    <a16:creationId xmlns:a16="http://schemas.microsoft.com/office/drawing/2014/main" id="{07BE023E-7E55-19EC-FB19-EDD63BF9A90D}"/>
                  </a:ext>
                </a:extLst>
              </p:cNvPr>
              <p:cNvSpPr/>
              <p:nvPr/>
            </p:nvSpPr>
            <p:spPr>
              <a:xfrm>
                <a:off x="5073920" y="2797526"/>
                <a:ext cx="644255" cy="644255"/>
              </a:xfrm>
              <a:prstGeom prst="donut">
                <a:avLst>
                  <a:gd name="adj" fmla="val 1268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grpSp>
      </p:grpSp>
      <p:grpSp>
        <p:nvGrpSpPr>
          <p:cNvPr id="171" name="Group 170">
            <a:extLst>
              <a:ext uri="{FF2B5EF4-FFF2-40B4-BE49-F238E27FC236}">
                <a16:creationId xmlns:a16="http://schemas.microsoft.com/office/drawing/2014/main" id="{197D4103-6DDD-0FA2-7BD2-EDA716737E51}"/>
              </a:ext>
            </a:extLst>
          </p:cNvPr>
          <p:cNvGrpSpPr/>
          <p:nvPr userDrawn="1"/>
        </p:nvGrpSpPr>
        <p:grpSpPr>
          <a:xfrm>
            <a:off x="3329924" y="2934342"/>
            <a:ext cx="1404000" cy="1563333"/>
            <a:chOff x="3329924" y="2934342"/>
            <a:chExt cx="1404000" cy="1563333"/>
          </a:xfrm>
        </p:grpSpPr>
        <p:sp>
          <p:nvSpPr>
            <p:cNvPr id="111" name="TextBox 110">
              <a:extLst>
                <a:ext uri="{FF2B5EF4-FFF2-40B4-BE49-F238E27FC236}">
                  <a16:creationId xmlns:a16="http://schemas.microsoft.com/office/drawing/2014/main" id="{0A670F0E-F12D-6F6F-D452-2790C64F5D71}"/>
                </a:ext>
              </a:extLst>
            </p:cNvPr>
            <p:cNvSpPr txBox="1"/>
            <p:nvPr/>
          </p:nvSpPr>
          <p:spPr>
            <a:xfrm>
              <a:off x="3329924" y="3468045"/>
              <a:ext cx="1404000" cy="1029630"/>
            </a:xfrm>
            <a:prstGeom prst="rect">
              <a:avLst/>
            </a:prstGeom>
          </p:spPr>
          <p:txBody>
            <a:bodyPr vert="horz" wrap="square" lIns="0" tIns="45720" rIns="0" bIns="45720" rtlCol="0">
              <a:noAutofit/>
            </a:bodyPr>
            <a:lstStyle/>
            <a:p>
              <a:pPr algn="ctr">
                <a:spcBef>
                  <a:spcPts val="500"/>
                </a:spcBef>
                <a:spcAft>
                  <a:spcPts val="400"/>
                </a:spcAft>
              </a:pPr>
              <a:r>
                <a:rPr lang="en-GB" dirty="0">
                  <a:solidFill>
                    <a:schemeClr val="accent2"/>
                  </a:solidFill>
                  <a:latin typeface="+mj-lt"/>
                </a:rPr>
                <a:t>2011</a:t>
              </a:r>
              <a:endParaRPr lang="en-GB" sz="1200" dirty="0">
                <a:solidFill>
                  <a:schemeClr val="accent2"/>
                </a:solidFill>
              </a:endParaRPr>
            </a:p>
            <a:p>
              <a:pPr algn="ctr">
                <a:spcBef>
                  <a:spcPts val="500"/>
                </a:spcBef>
                <a:spcAft>
                  <a:spcPts val="400"/>
                </a:spcAft>
              </a:pPr>
              <a:r>
                <a:rPr lang="en-GB" sz="1100" dirty="0"/>
                <a:t>Perth </a:t>
              </a:r>
              <a:br>
                <a:rPr lang="en-GB" sz="1100" dirty="0"/>
              </a:br>
              <a:r>
                <a:rPr lang="en-GB" sz="1100" dirty="0"/>
                <a:t>office</a:t>
              </a:r>
            </a:p>
          </p:txBody>
        </p:sp>
        <p:cxnSp>
          <p:nvCxnSpPr>
            <p:cNvPr id="112" name="Straight Connector 111">
              <a:extLst>
                <a:ext uri="{FF2B5EF4-FFF2-40B4-BE49-F238E27FC236}">
                  <a16:creationId xmlns:a16="http://schemas.microsoft.com/office/drawing/2014/main" id="{BD8908B3-2A6B-653B-6220-E834E11A9312}"/>
                </a:ext>
              </a:extLst>
            </p:cNvPr>
            <p:cNvCxnSpPr>
              <a:cxnSpLocks/>
            </p:cNvCxnSpPr>
            <p:nvPr/>
          </p:nvCxnSpPr>
          <p:spPr>
            <a:xfrm>
              <a:off x="3434571" y="3840944"/>
              <a:ext cx="1194707" cy="0"/>
            </a:xfrm>
            <a:prstGeom prst="line">
              <a:avLst/>
            </a:prstGeom>
            <a:ln w="19050" cap="rnd">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13" name="Group 112">
              <a:extLst>
                <a:ext uri="{FF2B5EF4-FFF2-40B4-BE49-F238E27FC236}">
                  <a16:creationId xmlns:a16="http://schemas.microsoft.com/office/drawing/2014/main" id="{D3BD617B-26A2-BE47-11C1-9F6A266D3A95}"/>
                </a:ext>
              </a:extLst>
            </p:cNvPr>
            <p:cNvGrpSpPr/>
            <p:nvPr/>
          </p:nvGrpSpPr>
          <p:grpSpPr>
            <a:xfrm>
              <a:off x="3791995" y="2934342"/>
              <a:ext cx="479858" cy="479856"/>
              <a:chOff x="5073920" y="2797526"/>
              <a:chExt cx="644255" cy="644255"/>
            </a:xfrm>
            <a:solidFill>
              <a:schemeClr val="accent2"/>
            </a:solidFill>
          </p:grpSpPr>
          <p:sp>
            <p:nvSpPr>
              <p:cNvPr id="114" name="Oval 113">
                <a:extLst>
                  <a:ext uri="{FF2B5EF4-FFF2-40B4-BE49-F238E27FC236}">
                    <a16:creationId xmlns:a16="http://schemas.microsoft.com/office/drawing/2014/main" id="{940ED238-7AB3-F8F7-6445-F836C0A8C467}"/>
                  </a:ext>
                </a:extLst>
              </p:cNvPr>
              <p:cNvSpPr/>
              <p:nvPr/>
            </p:nvSpPr>
            <p:spPr>
              <a:xfrm>
                <a:off x="5185045" y="2908652"/>
                <a:ext cx="422006" cy="4220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5" name="Circle: Hollow 114">
                <a:extLst>
                  <a:ext uri="{FF2B5EF4-FFF2-40B4-BE49-F238E27FC236}">
                    <a16:creationId xmlns:a16="http://schemas.microsoft.com/office/drawing/2014/main" id="{9BB915E4-CC18-FA54-FF40-371811020112}"/>
                  </a:ext>
                </a:extLst>
              </p:cNvPr>
              <p:cNvSpPr/>
              <p:nvPr/>
            </p:nvSpPr>
            <p:spPr>
              <a:xfrm>
                <a:off x="5073920" y="2797526"/>
                <a:ext cx="644255" cy="644255"/>
              </a:xfrm>
              <a:prstGeom prst="donut">
                <a:avLst>
                  <a:gd name="adj" fmla="val 1268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grpSp>
      </p:grpSp>
      <p:grpSp>
        <p:nvGrpSpPr>
          <p:cNvPr id="154" name="Group 153">
            <a:extLst>
              <a:ext uri="{FF2B5EF4-FFF2-40B4-BE49-F238E27FC236}">
                <a16:creationId xmlns:a16="http://schemas.microsoft.com/office/drawing/2014/main" id="{A47A0BAE-203E-7484-DF3E-26FBB47E4088}"/>
              </a:ext>
            </a:extLst>
          </p:cNvPr>
          <p:cNvGrpSpPr/>
          <p:nvPr userDrawn="1"/>
        </p:nvGrpSpPr>
        <p:grpSpPr>
          <a:xfrm>
            <a:off x="4705446" y="4726619"/>
            <a:ext cx="1404000" cy="1570418"/>
            <a:chOff x="4705446" y="4726619"/>
            <a:chExt cx="1404000" cy="1570418"/>
          </a:xfrm>
        </p:grpSpPr>
        <p:sp>
          <p:nvSpPr>
            <p:cNvPr id="106" name="TextBox 105">
              <a:extLst>
                <a:ext uri="{FF2B5EF4-FFF2-40B4-BE49-F238E27FC236}">
                  <a16:creationId xmlns:a16="http://schemas.microsoft.com/office/drawing/2014/main" id="{6DF39C72-3EA6-6710-6CAD-E91409C62680}"/>
                </a:ext>
              </a:extLst>
            </p:cNvPr>
            <p:cNvSpPr txBox="1"/>
            <p:nvPr/>
          </p:nvSpPr>
          <p:spPr>
            <a:xfrm>
              <a:off x="4705446" y="5267407"/>
              <a:ext cx="1404000" cy="1029630"/>
            </a:xfrm>
            <a:prstGeom prst="rect">
              <a:avLst/>
            </a:prstGeom>
          </p:spPr>
          <p:txBody>
            <a:bodyPr vert="horz" wrap="square" lIns="0" tIns="45720" rIns="0" bIns="45720" rtlCol="0">
              <a:noAutofit/>
            </a:bodyPr>
            <a:lstStyle/>
            <a:p>
              <a:pPr algn="ctr">
                <a:spcBef>
                  <a:spcPts val="500"/>
                </a:spcBef>
                <a:spcAft>
                  <a:spcPts val="400"/>
                </a:spcAft>
              </a:pPr>
              <a:r>
                <a:rPr lang="en-GB" dirty="0">
                  <a:solidFill>
                    <a:schemeClr val="accent2"/>
                  </a:solidFill>
                  <a:latin typeface="+mj-lt"/>
                </a:rPr>
                <a:t>1990</a:t>
              </a:r>
              <a:endParaRPr lang="en-GB" sz="1200" dirty="0">
                <a:solidFill>
                  <a:schemeClr val="accent2"/>
                </a:solidFill>
              </a:endParaRPr>
            </a:p>
            <a:p>
              <a:pPr algn="ctr">
                <a:spcBef>
                  <a:spcPts val="500"/>
                </a:spcBef>
                <a:spcAft>
                  <a:spcPts val="400"/>
                </a:spcAft>
              </a:pPr>
              <a:r>
                <a:rPr lang="en-GB" sz="1100" dirty="0"/>
                <a:t>Singapore </a:t>
              </a:r>
              <a:br>
                <a:rPr lang="en-GB" sz="1100" dirty="0"/>
              </a:br>
              <a:r>
                <a:rPr lang="en-GB" sz="1100" dirty="0"/>
                <a:t>office</a:t>
              </a:r>
            </a:p>
          </p:txBody>
        </p:sp>
        <p:cxnSp>
          <p:nvCxnSpPr>
            <p:cNvPr id="107" name="Straight Connector 106">
              <a:extLst>
                <a:ext uri="{FF2B5EF4-FFF2-40B4-BE49-F238E27FC236}">
                  <a16:creationId xmlns:a16="http://schemas.microsoft.com/office/drawing/2014/main" id="{2A3309B3-6E1E-4245-EBDE-275DB4002197}"/>
                </a:ext>
              </a:extLst>
            </p:cNvPr>
            <p:cNvCxnSpPr>
              <a:cxnSpLocks/>
            </p:cNvCxnSpPr>
            <p:nvPr/>
          </p:nvCxnSpPr>
          <p:spPr>
            <a:xfrm>
              <a:off x="4810093" y="5636830"/>
              <a:ext cx="1194707" cy="0"/>
            </a:xfrm>
            <a:prstGeom prst="line">
              <a:avLst/>
            </a:prstGeom>
            <a:ln w="19050" cap="rnd">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08" name="Group 107">
              <a:extLst>
                <a:ext uri="{FF2B5EF4-FFF2-40B4-BE49-F238E27FC236}">
                  <a16:creationId xmlns:a16="http://schemas.microsoft.com/office/drawing/2014/main" id="{84FE8639-CAC1-2DD2-C361-7517F0551021}"/>
                </a:ext>
              </a:extLst>
            </p:cNvPr>
            <p:cNvGrpSpPr/>
            <p:nvPr/>
          </p:nvGrpSpPr>
          <p:grpSpPr>
            <a:xfrm>
              <a:off x="5167517" y="4726619"/>
              <a:ext cx="479858" cy="479856"/>
              <a:chOff x="5073920" y="2797526"/>
              <a:chExt cx="644255" cy="644255"/>
            </a:xfrm>
            <a:solidFill>
              <a:schemeClr val="accent2"/>
            </a:solidFill>
          </p:grpSpPr>
          <p:sp>
            <p:nvSpPr>
              <p:cNvPr id="109" name="Oval 108">
                <a:extLst>
                  <a:ext uri="{FF2B5EF4-FFF2-40B4-BE49-F238E27FC236}">
                    <a16:creationId xmlns:a16="http://schemas.microsoft.com/office/drawing/2014/main" id="{A7EBFE07-9990-1A84-591C-F5C7AF35776D}"/>
                  </a:ext>
                </a:extLst>
              </p:cNvPr>
              <p:cNvSpPr/>
              <p:nvPr/>
            </p:nvSpPr>
            <p:spPr>
              <a:xfrm>
                <a:off x="5185045" y="2908652"/>
                <a:ext cx="422006" cy="4220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0" name="Circle: Hollow 109">
                <a:extLst>
                  <a:ext uri="{FF2B5EF4-FFF2-40B4-BE49-F238E27FC236}">
                    <a16:creationId xmlns:a16="http://schemas.microsoft.com/office/drawing/2014/main" id="{19968E03-BFA5-9E8D-1987-F3F76336F775}"/>
                  </a:ext>
                </a:extLst>
              </p:cNvPr>
              <p:cNvSpPr/>
              <p:nvPr/>
            </p:nvSpPr>
            <p:spPr>
              <a:xfrm>
                <a:off x="5073920" y="2797526"/>
                <a:ext cx="644255" cy="644255"/>
              </a:xfrm>
              <a:prstGeom prst="donut">
                <a:avLst>
                  <a:gd name="adj" fmla="val 1268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grpSp>
      </p:grpSp>
      <p:grpSp>
        <p:nvGrpSpPr>
          <p:cNvPr id="155" name="Group 154">
            <a:extLst>
              <a:ext uri="{FF2B5EF4-FFF2-40B4-BE49-F238E27FC236}">
                <a16:creationId xmlns:a16="http://schemas.microsoft.com/office/drawing/2014/main" id="{B628C566-5A9C-2963-2E69-80383A242FB2}"/>
              </a:ext>
            </a:extLst>
          </p:cNvPr>
          <p:cNvGrpSpPr/>
          <p:nvPr userDrawn="1"/>
        </p:nvGrpSpPr>
        <p:grpSpPr>
          <a:xfrm>
            <a:off x="6080968" y="4726619"/>
            <a:ext cx="1404000" cy="1570418"/>
            <a:chOff x="6080968" y="4726619"/>
            <a:chExt cx="1404000" cy="1570418"/>
          </a:xfrm>
        </p:grpSpPr>
        <p:sp>
          <p:nvSpPr>
            <p:cNvPr id="101" name="TextBox 100">
              <a:extLst>
                <a:ext uri="{FF2B5EF4-FFF2-40B4-BE49-F238E27FC236}">
                  <a16:creationId xmlns:a16="http://schemas.microsoft.com/office/drawing/2014/main" id="{B70AED99-321F-DADB-6E21-1959FB7826DB}"/>
                </a:ext>
              </a:extLst>
            </p:cNvPr>
            <p:cNvSpPr txBox="1"/>
            <p:nvPr/>
          </p:nvSpPr>
          <p:spPr>
            <a:xfrm>
              <a:off x="6080968" y="5267407"/>
              <a:ext cx="1404000" cy="1029630"/>
            </a:xfrm>
            <a:prstGeom prst="rect">
              <a:avLst/>
            </a:prstGeom>
          </p:spPr>
          <p:txBody>
            <a:bodyPr vert="horz" wrap="square" lIns="0" tIns="45720" rIns="0" bIns="45720" rtlCol="0">
              <a:noAutofit/>
            </a:bodyPr>
            <a:lstStyle/>
            <a:p>
              <a:pPr algn="ctr">
                <a:spcBef>
                  <a:spcPts val="500"/>
                </a:spcBef>
                <a:spcAft>
                  <a:spcPts val="400"/>
                </a:spcAft>
              </a:pPr>
              <a:r>
                <a:rPr lang="en-GB" dirty="0">
                  <a:solidFill>
                    <a:schemeClr val="accent2"/>
                  </a:solidFill>
                  <a:latin typeface="+mj-lt"/>
                </a:rPr>
                <a:t>1993</a:t>
              </a:r>
              <a:endParaRPr lang="en-GB" sz="1200" dirty="0">
                <a:solidFill>
                  <a:schemeClr val="accent2"/>
                </a:solidFill>
              </a:endParaRPr>
            </a:p>
            <a:p>
              <a:pPr algn="ctr">
                <a:spcBef>
                  <a:spcPts val="500"/>
                </a:spcBef>
                <a:spcAft>
                  <a:spcPts val="400"/>
                </a:spcAft>
              </a:pPr>
              <a:r>
                <a:rPr lang="en-GB" sz="1100" dirty="0"/>
                <a:t>Piraeus </a:t>
              </a:r>
              <a:br>
                <a:rPr lang="en-GB" sz="1100" dirty="0"/>
              </a:br>
              <a:r>
                <a:rPr lang="en-GB" sz="1100" dirty="0"/>
                <a:t>office</a:t>
              </a:r>
            </a:p>
          </p:txBody>
        </p:sp>
        <p:cxnSp>
          <p:nvCxnSpPr>
            <p:cNvPr id="102" name="Straight Connector 101">
              <a:extLst>
                <a:ext uri="{FF2B5EF4-FFF2-40B4-BE49-F238E27FC236}">
                  <a16:creationId xmlns:a16="http://schemas.microsoft.com/office/drawing/2014/main" id="{429F81BC-2C64-DE4F-64F5-618A266B4461}"/>
                </a:ext>
              </a:extLst>
            </p:cNvPr>
            <p:cNvCxnSpPr>
              <a:cxnSpLocks/>
            </p:cNvCxnSpPr>
            <p:nvPr/>
          </p:nvCxnSpPr>
          <p:spPr>
            <a:xfrm>
              <a:off x="6185615" y="5636830"/>
              <a:ext cx="1194707" cy="0"/>
            </a:xfrm>
            <a:prstGeom prst="line">
              <a:avLst/>
            </a:prstGeom>
            <a:ln w="19050" cap="rnd">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03" name="Group 102">
              <a:extLst>
                <a:ext uri="{FF2B5EF4-FFF2-40B4-BE49-F238E27FC236}">
                  <a16:creationId xmlns:a16="http://schemas.microsoft.com/office/drawing/2014/main" id="{D326A7F7-1485-B354-65FE-31A08CAECC00}"/>
                </a:ext>
              </a:extLst>
            </p:cNvPr>
            <p:cNvGrpSpPr/>
            <p:nvPr/>
          </p:nvGrpSpPr>
          <p:grpSpPr>
            <a:xfrm>
              <a:off x="6543039" y="4726619"/>
              <a:ext cx="479858" cy="479856"/>
              <a:chOff x="5073920" y="2797526"/>
              <a:chExt cx="644255" cy="644255"/>
            </a:xfrm>
            <a:solidFill>
              <a:schemeClr val="accent2"/>
            </a:solidFill>
          </p:grpSpPr>
          <p:sp>
            <p:nvSpPr>
              <p:cNvPr id="104" name="Oval 103">
                <a:extLst>
                  <a:ext uri="{FF2B5EF4-FFF2-40B4-BE49-F238E27FC236}">
                    <a16:creationId xmlns:a16="http://schemas.microsoft.com/office/drawing/2014/main" id="{78FF9D21-CD90-23A3-45B5-A5A5A77B6B4E}"/>
                  </a:ext>
                </a:extLst>
              </p:cNvPr>
              <p:cNvSpPr/>
              <p:nvPr/>
            </p:nvSpPr>
            <p:spPr>
              <a:xfrm>
                <a:off x="5185045" y="2908652"/>
                <a:ext cx="422006" cy="4220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5" name="Circle: Hollow 104">
                <a:extLst>
                  <a:ext uri="{FF2B5EF4-FFF2-40B4-BE49-F238E27FC236}">
                    <a16:creationId xmlns:a16="http://schemas.microsoft.com/office/drawing/2014/main" id="{81A1B621-A6C9-1032-E525-F8917070E119}"/>
                  </a:ext>
                </a:extLst>
              </p:cNvPr>
              <p:cNvSpPr/>
              <p:nvPr/>
            </p:nvSpPr>
            <p:spPr>
              <a:xfrm>
                <a:off x="5073920" y="2797526"/>
                <a:ext cx="644255" cy="644255"/>
              </a:xfrm>
              <a:prstGeom prst="donut">
                <a:avLst>
                  <a:gd name="adj" fmla="val 1268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grpSp>
      </p:grpSp>
      <p:grpSp>
        <p:nvGrpSpPr>
          <p:cNvPr id="156" name="Group 155">
            <a:extLst>
              <a:ext uri="{FF2B5EF4-FFF2-40B4-BE49-F238E27FC236}">
                <a16:creationId xmlns:a16="http://schemas.microsoft.com/office/drawing/2014/main" id="{E43DAF00-F369-9EE8-5272-0B2F69DF962A}"/>
              </a:ext>
            </a:extLst>
          </p:cNvPr>
          <p:cNvGrpSpPr/>
          <p:nvPr userDrawn="1"/>
        </p:nvGrpSpPr>
        <p:grpSpPr>
          <a:xfrm>
            <a:off x="7456490" y="4726619"/>
            <a:ext cx="1404000" cy="1570418"/>
            <a:chOff x="7456490" y="4726619"/>
            <a:chExt cx="1404000" cy="1570418"/>
          </a:xfrm>
        </p:grpSpPr>
        <p:sp>
          <p:nvSpPr>
            <p:cNvPr id="96" name="TextBox 95">
              <a:extLst>
                <a:ext uri="{FF2B5EF4-FFF2-40B4-BE49-F238E27FC236}">
                  <a16:creationId xmlns:a16="http://schemas.microsoft.com/office/drawing/2014/main" id="{4B731D89-587A-65E1-1830-30F8E085AF3E}"/>
                </a:ext>
              </a:extLst>
            </p:cNvPr>
            <p:cNvSpPr txBox="1"/>
            <p:nvPr/>
          </p:nvSpPr>
          <p:spPr>
            <a:xfrm>
              <a:off x="7456490" y="5267407"/>
              <a:ext cx="1404000" cy="1029630"/>
            </a:xfrm>
            <a:prstGeom prst="rect">
              <a:avLst/>
            </a:prstGeom>
          </p:spPr>
          <p:txBody>
            <a:bodyPr vert="horz" wrap="square" lIns="0" tIns="45720" rIns="0" bIns="45720" rtlCol="0">
              <a:noAutofit/>
            </a:bodyPr>
            <a:lstStyle/>
            <a:p>
              <a:pPr algn="ctr">
                <a:spcBef>
                  <a:spcPts val="500"/>
                </a:spcBef>
                <a:spcAft>
                  <a:spcPts val="400"/>
                </a:spcAft>
              </a:pPr>
              <a:r>
                <a:rPr lang="en-GB" dirty="0">
                  <a:solidFill>
                    <a:schemeClr val="accent2"/>
                  </a:solidFill>
                  <a:latin typeface="+mj-lt"/>
                </a:rPr>
                <a:t>1999</a:t>
              </a:r>
              <a:endParaRPr lang="en-GB" sz="1200" dirty="0">
                <a:solidFill>
                  <a:schemeClr val="accent2"/>
                </a:solidFill>
              </a:endParaRPr>
            </a:p>
            <a:p>
              <a:pPr algn="ctr">
                <a:spcBef>
                  <a:spcPts val="500"/>
                </a:spcBef>
                <a:spcAft>
                  <a:spcPts val="400"/>
                </a:spcAft>
              </a:pPr>
              <a:r>
                <a:rPr lang="en-GB" sz="1100" dirty="0"/>
                <a:t>Shanghai </a:t>
              </a:r>
              <a:br>
                <a:rPr lang="en-GB" sz="1100" dirty="0"/>
              </a:br>
              <a:r>
                <a:rPr lang="en-GB" sz="1100" dirty="0"/>
                <a:t>office</a:t>
              </a:r>
            </a:p>
          </p:txBody>
        </p:sp>
        <p:cxnSp>
          <p:nvCxnSpPr>
            <p:cNvPr id="97" name="Straight Connector 96">
              <a:extLst>
                <a:ext uri="{FF2B5EF4-FFF2-40B4-BE49-F238E27FC236}">
                  <a16:creationId xmlns:a16="http://schemas.microsoft.com/office/drawing/2014/main" id="{C62BFA41-E9DC-2173-783F-86AC8417A6DB}"/>
                </a:ext>
              </a:extLst>
            </p:cNvPr>
            <p:cNvCxnSpPr>
              <a:cxnSpLocks/>
            </p:cNvCxnSpPr>
            <p:nvPr/>
          </p:nvCxnSpPr>
          <p:spPr>
            <a:xfrm>
              <a:off x="7561137" y="5636830"/>
              <a:ext cx="1194707" cy="0"/>
            </a:xfrm>
            <a:prstGeom prst="line">
              <a:avLst/>
            </a:prstGeom>
            <a:ln w="19050" cap="rnd">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98" name="Group 97">
              <a:extLst>
                <a:ext uri="{FF2B5EF4-FFF2-40B4-BE49-F238E27FC236}">
                  <a16:creationId xmlns:a16="http://schemas.microsoft.com/office/drawing/2014/main" id="{977FE167-AFEB-39DE-B4D9-962D0E77AA4A}"/>
                </a:ext>
              </a:extLst>
            </p:cNvPr>
            <p:cNvGrpSpPr/>
            <p:nvPr/>
          </p:nvGrpSpPr>
          <p:grpSpPr>
            <a:xfrm>
              <a:off x="7918561" y="4726619"/>
              <a:ext cx="479858" cy="479856"/>
              <a:chOff x="5073920" y="2797526"/>
              <a:chExt cx="644255" cy="644255"/>
            </a:xfrm>
            <a:solidFill>
              <a:schemeClr val="accent2"/>
            </a:solidFill>
          </p:grpSpPr>
          <p:sp>
            <p:nvSpPr>
              <p:cNvPr id="99" name="Oval 98">
                <a:extLst>
                  <a:ext uri="{FF2B5EF4-FFF2-40B4-BE49-F238E27FC236}">
                    <a16:creationId xmlns:a16="http://schemas.microsoft.com/office/drawing/2014/main" id="{D763B050-1DF4-D519-CC07-B37169165F8E}"/>
                  </a:ext>
                </a:extLst>
              </p:cNvPr>
              <p:cNvSpPr/>
              <p:nvPr/>
            </p:nvSpPr>
            <p:spPr>
              <a:xfrm>
                <a:off x="5185045" y="2908652"/>
                <a:ext cx="422006" cy="4220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0" name="Circle: Hollow 99">
                <a:extLst>
                  <a:ext uri="{FF2B5EF4-FFF2-40B4-BE49-F238E27FC236}">
                    <a16:creationId xmlns:a16="http://schemas.microsoft.com/office/drawing/2014/main" id="{BDD3D480-E5CC-DDD4-5FCC-74E8328FAEB9}"/>
                  </a:ext>
                </a:extLst>
              </p:cNvPr>
              <p:cNvSpPr/>
              <p:nvPr/>
            </p:nvSpPr>
            <p:spPr>
              <a:xfrm>
                <a:off x="5073920" y="2797526"/>
                <a:ext cx="644255" cy="644255"/>
              </a:xfrm>
              <a:prstGeom prst="donut">
                <a:avLst>
                  <a:gd name="adj" fmla="val 1268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grpSp>
      </p:grpSp>
      <p:grpSp>
        <p:nvGrpSpPr>
          <p:cNvPr id="157" name="Group 156">
            <a:extLst>
              <a:ext uri="{FF2B5EF4-FFF2-40B4-BE49-F238E27FC236}">
                <a16:creationId xmlns:a16="http://schemas.microsoft.com/office/drawing/2014/main" id="{BE63A145-9BB2-F4DB-A764-59F5C31732F1}"/>
              </a:ext>
            </a:extLst>
          </p:cNvPr>
          <p:cNvGrpSpPr/>
          <p:nvPr userDrawn="1"/>
        </p:nvGrpSpPr>
        <p:grpSpPr>
          <a:xfrm>
            <a:off x="8832012" y="4726619"/>
            <a:ext cx="1404000" cy="1570418"/>
            <a:chOff x="8832012" y="4726619"/>
            <a:chExt cx="1404000" cy="1570418"/>
          </a:xfrm>
        </p:grpSpPr>
        <p:sp>
          <p:nvSpPr>
            <p:cNvPr id="91" name="TextBox 90">
              <a:extLst>
                <a:ext uri="{FF2B5EF4-FFF2-40B4-BE49-F238E27FC236}">
                  <a16:creationId xmlns:a16="http://schemas.microsoft.com/office/drawing/2014/main" id="{55EC4B71-6ED5-6378-3AD9-54075763ACDC}"/>
                </a:ext>
              </a:extLst>
            </p:cNvPr>
            <p:cNvSpPr txBox="1"/>
            <p:nvPr/>
          </p:nvSpPr>
          <p:spPr>
            <a:xfrm>
              <a:off x="8832012" y="5267407"/>
              <a:ext cx="1404000" cy="1029630"/>
            </a:xfrm>
            <a:prstGeom prst="rect">
              <a:avLst/>
            </a:prstGeom>
          </p:spPr>
          <p:txBody>
            <a:bodyPr vert="horz" wrap="square" lIns="0" tIns="45720" rIns="0" bIns="45720" rtlCol="0">
              <a:noAutofit/>
            </a:bodyPr>
            <a:lstStyle/>
            <a:p>
              <a:pPr algn="ctr">
                <a:spcBef>
                  <a:spcPts val="500"/>
                </a:spcBef>
                <a:spcAft>
                  <a:spcPts val="400"/>
                </a:spcAft>
              </a:pPr>
              <a:r>
                <a:rPr lang="en-GB" dirty="0">
                  <a:solidFill>
                    <a:schemeClr val="accent2"/>
                  </a:solidFill>
                  <a:latin typeface="+mj-lt"/>
                </a:rPr>
                <a:t>2006</a:t>
              </a:r>
              <a:endParaRPr lang="en-GB" sz="1200" dirty="0">
                <a:solidFill>
                  <a:schemeClr val="accent2"/>
                </a:solidFill>
              </a:endParaRPr>
            </a:p>
            <a:p>
              <a:pPr algn="ctr">
                <a:spcBef>
                  <a:spcPts val="500"/>
                </a:spcBef>
                <a:spcAft>
                  <a:spcPts val="400"/>
                </a:spcAft>
              </a:pPr>
              <a:r>
                <a:rPr lang="en-GB" sz="1100" dirty="0"/>
                <a:t>Melbourne </a:t>
              </a:r>
              <a:br>
                <a:rPr lang="en-GB" sz="1100" dirty="0"/>
              </a:br>
              <a:r>
                <a:rPr lang="en-GB" sz="1100" dirty="0"/>
                <a:t>office</a:t>
              </a:r>
            </a:p>
          </p:txBody>
        </p:sp>
        <p:cxnSp>
          <p:nvCxnSpPr>
            <p:cNvPr id="92" name="Straight Connector 91">
              <a:extLst>
                <a:ext uri="{FF2B5EF4-FFF2-40B4-BE49-F238E27FC236}">
                  <a16:creationId xmlns:a16="http://schemas.microsoft.com/office/drawing/2014/main" id="{10D09659-EE00-43EB-6FA3-6B4AEB47B54A}"/>
                </a:ext>
              </a:extLst>
            </p:cNvPr>
            <p:cNvCxnSpPr>
              <a:cxnSpLocks/>
            </p:cNvCxnSpPr>
            <p:nvPr/>
          </p:nvCxnSpPr>
          <p:spPr>
            <a:xfrm>
              <a:off x="8936659" y="5636830"/>
              <a:ext cx="1194707" cy="0"/>
            </a:xfrm>
            <a:prstGeom prst="line">
              <a:avLst/>
            </a:prstGeom>
            <a:ln w="19050" cap="rnd">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93" name="Group 92">
              <a:extLst>
                <a:ext uri="{FF2B5EF4-FFF2-40B4-BE49-F238E27FC236}">
                  <a16:creationId xmlns:a16="http://schemas.microsoft.com/office/drawing/2014/main" id="{98DB2F59-6EAC-DED0-9688-99086982128F}"/>
                </a:ext>
              </a:extLst>
            </p:cNvPr>
            <p:cNvGrpSpPr/>
            <p:nvPr/>
          </p:nvGrpSpPr>
          <p:grpSpPr>
            <a:xfrm>
              <a:off x="9294083" y="4726619"/>
              <a:ext cx="479858" cy="479856"/>
              <a:chOff x="5073920" y="2797526"/>
              <a:chExt cx="644255" cy="644255"/>
            </a:xfrm>
            <a:solidFill>
              <a:schemeClr val="accent2"/>
            </a:solidFill>
          </p:grpSpPr>
          <p:sp>
            <p:nvSpPr>
              <p:cNvPr id="94" name="Oval 93">
                <a:extLst>
                  <a:ext uri="{FF2B5EF4-FFF2-40B4-BE49-F238E27FC236}">
                    <a16:creationId xmlns:a16="http://schemas.microsoft.com/office/drawing/2014/main" id="{7DDEBCEE-1E11-447E-734E-E3AFACD697A5}"/>
                  </a:ext>
                </a:extLst>
              </p:cNvPr>
              <p:cNvSpPr/>
              <p:nvPr/>
            </p:nvSpPr>
            <p:spPr>
              <a:xfrm>
                <a:off x="5185045" y="2908652"/>
                <a:ext cx="422006" cy="4220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5" name="Circle: Hollow 94">
                <a:extLst>
                  <a:ext uri="{FF2B5EF4-FFF2-40B4-BE49-F238E27FC236}">
                    <a16:creationId xmlns:a16="http://schemas.microsoft.com/office/drawing/2014/main" id="{8D1107D8-4457-FB48-749E-411ED76CCB35}"/>
                  </a:ext>
                </a:extLst>
              </p:cNvPr>
              <p:cNvSpPr/>
              <p:nvPr/>
            </p:nvSpPr>
            <p:spPr>
              <a:xfrm>
                <a:off x="5073920" y="2797526"/>
                <a:ext cx="644255" cy="644255"/>
              </a:xfrm>
              <a:prstGeom prst="donut">
                <a:avLst>
                  <a:gd name="adj" fmla="val 1268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grpSp>
      </p:grpSp>
      <p:grpSp>
        <p:nvGrpSpPr>
          <p:cNvPr id="158" name="Group 157">
            <a:extLst>
              <a:ext uri="{FF2B5EF4-FFF2-40B4-BE49-F238E27FC236}">
                <a16:creationId xmlns:a16="http://schemas.microsoft.com/office/drawing/2014/main" id="{8EB6761A-3BEA-31A2-2A0C-FA7191A53DA5}"/>
              </a:ext>
            </a:extLst>
          </p:cNvPr>
          <p:cNvGrpSpPr/>
          <p:nvPr userDrawn="1"/>
        </p:nvGrpSpPr>
        <p:grpSpPr>
          <a:xfrm>
            <a:off x="10207533" y="4726619"/>
            <a:ext cx="1404000" cy="1570418"/>
            <a:chOff x="10207533" y="4726619"/>
            <a:chExt cx="1404000" cy="1570418"/>
          </a:xfrm>
        </p:grpSpPr>
        <p:sp>
          <p:nvSpPr>
            <p:cNvPr id="86" name="TextBox 85">
              <a:extLst>
                <a:ext uri="{FF2B5EF4-FFF2-40B4-BE49-F238E27FC236}">
                  <a16:creationId xmlns:a16="http://schemas.microsoft.com/office/drawing/2014/main" id="{97D7FE37-955F-5294-B1E7-650D3414A130}"/>
                </a:ext>
              </a:extLst>
            </p:cNvPr>
            <p:cNvSpPr txBox="1"/>
            <p:nvPr/>
          </p:nvSpPr>
          <p:spPr>
            <a:xfrm>
              <a:off x="10207533" y="5267407"/>
              <a:ext cx="1404000" cy="1029630"/>
            </a:xfrm>
            <a:prstGeom prst="rect">
              <a:avLst/>
            </a:prstGeom>
          </p:spPr>
          <p:txBody>
            <a:bodyPr vert="horz" wrap="square" lIns="0" tIns="45720" rIns="0" bIns="45720" rtlCol="0">
              <a:noAutofit/>
            </a:bodyPr>
            <a:lstStyle/>
            <a:p>
              <a:pPr algn="ctr">
                <a:spcBef>
                  <a:spcPts val="500"/>
                </a:spcBef>
                <a:spcAft>
                  <a:spcPts val="400"/>
                </a:spcAft>
              </a:pPr>
              <a:r>
                <a:rPr lang="en-GB" dirty="0">
                  <a:solidFill>
                    <a:schemeClr val="accent2"/>
                  </a:solidFill>
                  <a:latin typeface="+mj-lt"/>
                </a:rPr>
                <a:t>2006</a:t>
              </a:r>
              <a:endParaRPr lang="en-GB" sz="1200" dirty="0">
                <a:solidFill>
                  <a:schemeClr val="accent2"/>
                </a:solidFill>
              </a:endParaRPr>
            </a:p>
            <a:p>
              <a:pPr algn="ctr">
                <a:spcBef>
                  <a:spcPts val="500"/>
                </a:spcBef>
                <a:spcAft>
                  <a:spcPts val="400"/>
                </a:spcAft>
              </a:pPr>
              <a:r>
                <a:rPr lang="en-GB" sz="1100" dirty="0"/>
                <a:t>Dubai </a:t>
              </a:r>
              <a:br>
                <a:rPr lang="en-GB" sz="1100" dirty="0"/>
              </a:br>
              <a:r>
                <a:rPr lang="en-GB" sz="1100" dirty="0"/>
                <a:t>office</a:t>
              </a:r>
            </a:p>
          </p:txBody>
        </p:sp>
        <p:cxnSp>
          <p:nvCxnSpPr>
            <p:cNvPr id="87" name="Straight Connector 86">
              <a:extLst>
                <a:ext uri="{FF2B5EF4-FFF2-40B4-BE49-F238E27FC236}">
                  <a16:creationId xmlns:a16="http://schemas.microsoft.com/office/drawing/2014/main" id="{9B7AE7BC-9440-5DDA-F66F-89674B912A37}"/>
                </a:ext>
              </a:extLst>
            </p:cNvPr>
            <p:cNvCxnSpPr>
              <a:cxnSpLocks/>
            </p:cNvCxnSpPr>
            <p:nvPr/>
          </p:nvCxnSpPr>
          <p:spPr>
            <a:xfrm>
              <a:off x="10312180" y="5636830"/>
              <a:ext cx="1194707" cy="0"/>
            </a:xfrm>
            <a:prstGeom prst="line">
              <a:avLst/>
            </a:prstGeom>
            <a:ln w="19050" cap="rnd">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88" name="Group 87">
              <a:extLst>
                <a:ext uri="{FF2B5EF4-FFF2-40B4-BE49-F238E27FC236}">
                  <a16:creationId xmlns:a16="http://schemas.microsoft.com/office/drawing/2014/main" id="{C8E51AE2-D1B3-4E04-A7E6-EA11DCC16D0C}"/>
                </a:ext>
              </a:extLst>
            </p:cNvPr>
            <p:cNvGrpSpPr/>
            <p:nvPr/>
          </p:nvGrpSpPr>
          <p:grpSpPr>
            <a:xfrm>
              <a:off x="10669604" y="4726619"/>
              <a:ext cx="479858" cy="479856"/>
              <a:chOff x="5073920" y="2797526"/>
              <a:chExt cx="644255" cy="644255"/>
            </a:xfrm>
            <a:solidFill>
              <a:schemeClr val="accent2"/>
            </a:solidFill>
          </p:grpSpPr>
          <p:sp>
            <p:nvSpPr>
              <p:cNvPr id="89" name="Oval 88">
                <a:extLst>
                  <a:ext uri="{FF2B5EF4-FFF2-40B4-BE49-F238E27FC236}">
                    <a16:creationId xmlns:a16="http://schemas.microsoft.com/office/drawing/2014/main" id="{16F95781-36B3-89CD-0CC1-88126C50914D}"/>
                  </a:ext>
                </a:extLst>
              </p:cNvPr>
              <p:cNvSpPr/>
              <p:nvPr/>
            </p:nvSpPr>
            <p:spPr>
              <a:xfrm>
                <a:off x="5185045" y="2908652"/>
                <a:ext cx="422006" cy="4220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0" name="Circle: Hollow 89">
                <a:extLst>
                  <a:ext uri="{FF2B5EF4-FFF2-40B4-BE49-F238E27FC236}">
                    <a16:creationId xmlns:a16="http://schemas.microsoft.com/office/drawing/2014/main" id="{5ABA17E2-EFEF-4C57-E37F-C8AAB6A6DFBD}"/>
                  </a:ext>
                </a:extLst>
              </p:cNvPr>
              <p:cNvSpPr/>
              <p:nvPr/>
            </p:nvSpPr>
            <p:spPr>
              <a:xfrm>
                <a:off x="5073920" y="2797526"/>
                <a:ext cx="644255" cy="644255"/>
              </a:xfrm>
              <a:prstGeom prst="donut">
                <a:avLst>
                  <a:gd name="adj" fmla="val 1268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grpSp>
      </p:grpSp>
      <p:grpSp>
        <p:nvGrpSpPr>
          <p:cNvPr id="2" name="Group 1">
            <a:extLst>
              <a:ext uri="{FF2B5EF4-FFF2-40B4-BE49-F238E27FC236}">
                <a16:creationId xmlns:a16="http://schemas.microsoft.com/office/drawing/2014/main" id="{8584EE59-6341-F3B8-C79B-7B8D46DF284B}"/>
              </a:ext>
            </a:extLst>
          </p:cNvPr>
          <p:cNvGrpSpPr/>
          <p:nvPr userDrawn="1"/>
        </p:nvGrpSpPr>
        <p:grpSpPr>
          <a:xfrm>
            <a:off x="578880" y="4726619"/>
            <a:ext cx="1404000" cy="1570418"/>
            <a:chOff x="578880" y="4726619"/>
            <a:chExt cx="1404000" cy="1570418"/>
          </a:xfrm>
        </p:grpSpPr>
        <p:sp>
          <p:nvSpPr>
            <p:cNvPr id="81" name="TextBox 80">
              <a:extLst>
                <a:ext uri="{FF2B5EF4-FFF2-40B4-BE49-F238E27FC236}">
                  <a16:creationId xmlns:a16="http://schemas.microsoft.com/office/drawing/2014/main" id="{E5CF3D82-95D6-3858-628C-99A09C515169}"/>
                </a:ext>
              </a:extLst>
            </p:cNvPr>
            <p:cNvSpPr txBox="1"/>
            <p:nvPr/>
          </p:nvSpPr>
          <p:spPr>
            <a:xfrm>
              <a:off x="578880" y="5267407"/>
              <a:ext cx="1404000" cy="1029630"/>
            </a:xfrm>
            <a:prstGeom prst="rect">
              <a:avLst/>
            </a:prstGeom>
          </p:spPr>
          <p:txBody>
            <a:bodyPr vert="horz" wrap="square" lIns="0" tIns="45720" rIns="0" bIns="45720" rtlCol="0">
              <a:noAutofit/>
            </a:bodyPr>
            <a:lstStyle/>
            <a:p>
              <a:pPr algn="ctr">
                <a:spcBef>
                  <a:spcPts val="500"/>
                </a:spcBef>
                <a:spcAft>
                  <a:spcPts val="400"/>
                </a:spcAft>
              </a:pPr>
              <a:r>
                <a:rPr lang="en-GB" dirty="0">
                  <a:solidFill>
                    <a:schemeClr val="accent2"/>
                  </a:solidFill>
                  <a:latin typeface="+mj-lt"/>
                </a:rPr>
                <a:t>1883</a:t>
              </a:r>
              <a:endParaRPr lang="en-GB" sz="1200" dirty="0">
                <a:solidFill>
                  <a:schemeClr val="accent2"/>
                </a:solidFill>
              </a:endParaRPr>
            </a:p>
            <a:p>
              <a:pPr algn="ctr">
                <a:spcBef>
                  <a:spcPts val="500"/>
                </a:spcBef>
                <a:spcAft>
                  <a:spcPts val="400"/>
                </a:spcAft>
              </a:pPr>
              <a:r>
                <a:rPr lang="en-GB" sz="1100" dirty="0"/>
                <a:t>Firm </a:t>
              </a:r>
              <a:br>
                <a:rPr lang="en-GB" sz="1100" dirty="0"/>
              </a:br>
              <a:r>
                <a:rPr lang="en-GB" sz="1100" dirty="0"/>
                <a:t>founded</a:t>
              </a:r>
            </a:p>
          </p:txBody>
        </p:sp>
        <p:cxnSp>
          <p:nvCxnSpPr>
            <p:cNvPr id="82" name="Straight Connector 81">
              <a:extLst>
                <a:ext uri="{FF2B5EF4-FFF2-40B4-BE49-F238E27FC236}">
                  <a16:creationId xmlns:a16="http://schemas.microsoft.com/office/drawing/2014/main" id="{A12A8C39-1273-4AF2-0FAB-3829C40E65C0}"/>
                </a:ext>
              </a:extLst>
            </p:cNvPr>
            <p:cNvCxnSpPr>
              <a:cxnSpLocks/>
            </p:cNvCxnSpPr>
            <p:nvPr/>
          </p:nvCxnSpPr>
          <p:spPr>
            <a:xfrm>
              <a:off x="683527" y="5636830"/>
              <a:ext cx="1194707" cy="0"/>
            </a:xfrm>
            <a:prstGeom prst="line">
              <a:avLst/>
            </a:prstGeom>
            <a:ln w="19050" cap="rnd">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83" name="Group 82">
              <a:extLst>
                <a:ext uri="{FF2B5EF4-FFF2-40B4-BE49-F238E27FC236}">
                  <a16:creationId xmlns:a16="http://schemas.microsoft.com/office/drawing/2014/main" id="{A7D37AC4-9E78-239E-8E70-0BAA7441EA30}"/>
                </a:ext>
              </a:extLst>
            </p:cNvPr>
            <p:cNvGrpSpPr/>
            <p:nvPr/>
          </p:nvGrpSpPr>
          <p:grpSpPr>
            <a:xfrm>
              <a:off x="1040951" y="4726619"/>
              <a:ext cx="479858" cy="479856"/>
              <a:chOff x="5073920" y="2797526"/>
              <a:chExt cx="644255" cy="644255"/>
            </a:xfrm>
            <a:solidFill>
              <a:schemeClr val="accent2"/>
            </a:solidFill>
          </p:grpSpPr>
          <p:sp>
            <p:nvSpPr>
              <p:cNvPr id="84" name="Oval 83">
                <a:extLst>
                  <a:ext uri="{FF2B5EF4-FFF2-40B4-BE49-F238E27FC236}">
                    <a16:creationId xmlns:a16="http://schemas.microsoft.com/office/drawing/2014/main" id="{703F38F4-F896-B6D1-7F9C-623D73D39FA6}"/>
                  </a:ext>
                </a:extLst>
              </p:cNvPr>
              <p:cNvSpPr/>
              <p:nvPr/>
            </p:nvSpPr>
            <p:spPr>
              <a:xfrm>
                <a:off x="5185045" y="2908652"/>
                <a:ext cx="422006" cy="4220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5" name="Circle: Hollow 84">
                <a:extLst>
                  <a:ext uri="{FF2B5EF4-FFF2-40B4-BE49-F238E27FC236}">
                    <a16:creationId xmlns:a16="http://schemas.microsoft.com/office/drawing/2014/main" id="{99E3BA89-9DB0-09AE-CEC4-C4E8FDCE3488}"/>
                  </a:ext>
                </a:extLst>
              </p:cNvPr>
              <p:cNvSpPr/>
              <p:nvPr/>
            </p:nvSpPr>
            <p:spPr>
              <a:xfrm>
                <a:off x="5073920" y="2797526"/>
                <a:ext cx="644255" cy="644255"/>
              </a:xfrm>
              <a:prstGeom prst="donut">
                <a:avLst>
                  <a:gd name="adj" fmla="val 1268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grpSp>
      </p:grpSp>
      <p:grpSp>
        <p:nvGrpSpPr>
          <p:cNvPr id="152" name="Group 151">
            <a:extLst>
              <a:ext uri="{FF2B5EF4-FFF2-40B4-BE49-F238E27FC236}">
                <a16:creationId xmlns:a16="http://schemas.microsoft.com/office/drawing/2014/main" id="{7A885361-631F-3417-56F9-FC9398F7B0DA}"/>
              </a:ext>
            </a:extLst>
          </p:cNvPr>
          <p:cNvGrpSpPr/>
          <p:nvPr userDrawn="1"/>
        </p:nvGrpSpPr>
        <p:grpSpPr>
          <a:xfrm>
            <a:off x="1954402" y="4726619"/>
            <a:ext cx="1404000" cy="1570418"/>
            <a:chOff x="1954402" y="4726619"/>
            <a:chExt cx="1404000" cy="1570418"/>
          </a:xfrm>
        </p:grpSpPr>
        <p:sp>
          <p:nvSpPr>
            <p:cNvPr id="76" name="TextBox 75">
              <a:extLst>
                <a:ext uri="{FF2B5EF4-FFF2-40B4-BE49-F238E27FC236}">
                  <a16:creationId xmlns:a16="http://schemas.microsoft.com/office/drawing/2014/main" id="{9191D490-1AC4-2E34-4770-74FD82FAF6EC}"/>
                </a:ext>
              </a:extLst>
            </p:cNvPr>
            <p:cNvSpPr txBox="1"/>
            <p:nvPr/>
          </p:nvSpPr>
          <p:spPr>
            <a:xfrm>
              <a:off x="1954402" y="5267407"/>
              <a:ext cx="1404000" cy="1029630"/>
            </a:xfrm>
            <a:prstGeom prst="rect">
              <a:avLst/>
            </a:prstGeom>
          </p:spPr>
          <p:txBody>
            <a:bodyPr vert="horz" wrap="square" lIns="0" tIns="45720" rIns="0" bIns="45720" rtlCol="0">
              <a:noAutofit/>
            </a:bodyPr>
            <a:lstStyle/>
            <a:p>
              <a:pPr algn="ctr">
                <a:spcBef>
                  <a:spcPts val="500"/>
                </a:spcBef>
                <a:spcAft>
                  <a:spcPts val="400"/>
                </a:spcAft>
              </a:pPr>
              <a:r>
                <a:rPr lang="en-GB" dirty="0">
                  <a:solidFill>
                    <a:schemeClr val="accent2"/>
                  </a:solidFill>
                  <a:latin typeface="+mj-lt"/>
                </a:rPr>
                <a:t>1977</a:t>
              </a:r>
              <a:endParaRPr lang="en-GB" sz="1200" dirty="0">
                <a:solidFill>
                  <a:schemeClr val="accent2"/>
                </a:solidFill>
              </a:endParaRPr>
            </a:p>
            <a:p>
              <a:pPr algn="ctr">
                <a:spcBef>
                  <a:spcPts val="500"/>
                </a:spcBef>
                <a:spcAft>
                  <a:spcPts val="400"/>
                </a:spcAft>
              </a:pPr>
              <a:r>
                <a:rPr lang="en-GB" sz="1100" dirty="0"/>
                <a:t>Paris </a:t>
              </a:r>
              <a:br>
                <a:rPr lang="en-GB" sz="1100" dirty="0"/>
              </a:br>
              <a:r>
                <a:rPr lang="en-GB" sz="1100" dirty="0"/>
                <a:t>office</a:t>
              </a:r>
            </a:p>
          </p:txBody>
        </p:sp>
        <p:cxnSp>
          <p:nvCxnSpPr>
            <p:cNvPr id="77" name="Straight Connector 76">
              <a:extLst>
                <a:ext uri="{FF2B5EF4-FFF2-40B4-BE49-F238E27FC236}">
                  <a16:creationId xmlns:a16="http://schemas.microsoft.com/office/drawing/2014/main" id="{4374C9F4-ACB1-8E8E-D14C-67EBC22B2731}"/>
                </a:ext>
              </a:extLst>
            </p:cNvPr>
            <p:cNvCxnSpPr>
              <a:cxnSpLocks/>
            </p:cNvCxnSpPr>
            <p:nvPr/>
          </p:nvCxnSpPr>
          <p:spPr>
            <a:xfrm>
              <a:off x="2059049" y="5636830"/>
              <a:ext cx="1194707" cy="0"/>
            </a:xfrm>
            <a:prstGeom prst="line">
              <a:avLst/>
            </a:prstGeom>
            <a:ln w="19050" cap="rnd">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78" name="Group 77">
              <a:extLst>
                <a:ext uri="{FF2B5EF4-FFF2-40B4-BE49-F238E27FC236}">
                  <a16:creationId xmlns:a16="http://schemas.microsoft.com/office/drawing/2014/main" id="{C1F89162-8803-7FDD-B715-2F8054DBEE71}"/>
                </a:ext>
              </a:extLst>
            </p:cNvPr>
            <p:cNvGrpSpPr/>
            <p:nvPr/>
          </p:nvGrpSpPr>
          <p:grpSpPr>
            <a:xfrm>
              <a:off x="2416473" y="4726619"/>
              <a:ext cx="479858" cy="479856"/>
              <a:chOff x="5073920" y="2797526"/>
              <a:chExt cx="644255" cy="644255"/>
            </a:xfrm>
            <a:solidFill>
              <a:schemeClr val="accent2"/>
            </a:solidFill>
          </p:grpSpPr>
          <p:sp>
            <p:nvSpPr>
              <p:cNvPr id="79" name="Oval 78">
                <a:extLst>
                  <a:ext uri="{FF2B5EF4-FFF2-40B4-BE49-F238E27FC236}">
                    <a16:creationId xmlns:a16="http://schemas.microsoft.com/office/drawing/2014/main" id="{89CDB999-3E45-2367-D94F-6E2BD35697B0}"/>
                  </a:ext>
                </a:extLst>
              </p:cNvPr>
              <p:cNvSpPr/>
              <p:nvPr/>
            </p:nvSpPr>
            <p:spPr>
              <a:xfrm>
                <a:off x="5185045" y="2908652"/>
                <a:ext cx="422006" cy="4220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0" name="Circle: Hollow 79">
                <a:extLst>
                  <a:ext uri="{FF2B5EF4-FFF2-40B4-BE49-F238E27FC236}">
                    <a16:creationId xmlns:a16="http://schemas.microsoft.com/office/drawing/2014/main" id="{B5BBECBB-D1A4-C398-AEF9-7BA6A5EE13FD}"/>
                  </a:ext>
                </a:extLst>
              </p:cNvPr>
              <p:cNvSpPr/>
              <p:nvPr/>
            </p:nvSpPr>
            <p:spPr>
              <a:xfrm>
                <a:off x="5073920" y="2797526"/>
                <a:ext cx="644255" cy="644255"/>
              </a:xfrm>
              <a:prstGeom prst="donut">
                <a:avLst>
                  <a:gd name="adj" fmla="val 1268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grpSp>
      </p:grpSp>
      <p:grpSp>
        <p:nvGrpSpPr>
          <p:cNvPr id="153" name="Group 152">
            <a:extLst>
              <a:ext uri="{FF2B5EF4-FFF2-40B4-BE49-F238E27FC236}">
                <a16:creationId xmlns:a16="http://schemas.microsoft.com/office/drawing/2014/main" id="{4D511561-81D7-F576-EBE9-EFD1F161FD8A}"/>
              </a:ext>
            </a:extLst>
          </p:cNvPr>
          <p:cNvGrpSpPr/>
          <p:nvPr userDrawn="1"/>
        </p:nvGrpSpPr>
        <p:grpSpPr>
          <a:xfrm>
            <a:off x="3329924" y="4726619"/>
            <a:ext cx="1404000" cy="1570418"/>
            <a:chOff x="3329924" y="4726619"/>
            <a:chExt cx="1404000" cy="1570418"/>
          </a:xfrm>
        </p:grpSpPr>
        <p:sp>
          <p:nvSpPr>
            <p:cNvPr id="71" name="TextBox 70">
              <a:extLst>
                <a:ext uri="{FF2B5EF4-FFF2-40B4-BE49-F238E27FC236}">
                  <a16:creationId xmlns:a16="http://schemas.microsoft.com/office/drawing/2014/main" id="{63BA816C-5824-3238-028E-0C550F5A28D6}"/>
                </a:ext>
              </a:extLst>
            </p:cNvPr>
            <p:cNvSpPr txBox="1"/>
            <p:nvPr/>
          </p:nvSpPr>
          <p:spPr>
            <a:xfrm>
              <a:off x="3329924" y="5267407"/>
              <a:ext cx="1404000" cy="1029630"/>
            </a:xfrm>
            <a:prstGeom prst="rect">
              <a:avLst/>
            </a:prstGeom>
          </p:spPr>
          <p:txBody>
            <a:bodyPr vert="horz" wrap="square" lIns="0" tIns="45720" rIns="0" bIns="45720" rtlCol="0">
              <a:noAutofit/>
            </a:bodyPr>
            <a:lstStyle/>
            <a:p>
              <a:pPr algn="ctr">
                <a:spcBef>
                  <a:spcPts val="500"/>
                </a:spcBef>
                <a:spcAft>
                  <a:spcPts val="400"/>
                </a:spcAft>
              </a:pPr>
              <a:r>
                <a:rPr lang="en-GB" dirty="0">
                  <a:solidFill>
                    <a:schemeClr val="accent2"/>
                  </a:solidFill>
                  <a:latin typeface="+mj-lt"/>
                </a:rPr>
                <a:t>1978</a:t>
              </a:r>
              <a:endParaRPr lang="en-GB" sz="1200" dirty="0">
                <a:solidFill>
                  <a:schemeClr val="accent2"/>
                </a:solidFill>
              </a:endParaRPr>
            </a:p>
            <a:p>
              <a:pPr algn="ctr">
                <a:spcBef>
                  <a:spcPts val="500"/>
                </a:spcBef>
                <a:spcAft>
                  <a:spcPts val="400"/>
                </a:spcAft>
              </a:pPr>
              <a:r>
                <a:rPr lang="en-GB" sz="1100" dirty="0"/>
                <a:t>Hong Kong </a:t>
              </a:r>
              <a:br>
                <a:rPr lang="en-GB" sz="1100" dirty="0"/>
              </a:br>
              <a:r>
                <a:rPr lang="en-GB" sz="1100" dirty="0"/>
                <a:t>office</a:t>
              </a:r>
            </a:p>
          </p:txBody>
        </p:sp>
        <p:cxnSp>
          <p:nvCxnSpPr>
            <p:cNvPr id="72" name="Straight Connector 71">
              <a:extLst>
                <a:ext uri="{FF2B5EF4-FFF2-40B4-BE49-F238E27FC236}">
                  <a16:creationId xmlns:a16="http://schemas.microsoft.com/office/drawing/2014/main" id="{22000B24-688B-60AF-CDEF-A5428CA766BF}"/>
                </a:ext>
              </a:extLst>
            </p:cNvPr>
            <p:cNvCxnSpPr>
              <a:cxnSpLocks/>
            </p:cNvCxnSpPr>
            <p:nvPr/>
          </p:nvCxnSpPr>
          <p:spPr>
            <a:xfrm>
              <a:off x="3434571" y="5636830"/>
              <a:ext cx="1194707" cy="0"/>
            </a:xfrm>
            <a:prstGeom prst="line">
              <a:avLst/>
            </a:prstGeom>
            <a:ln w="19050" cap="rnd">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73" name="Group 72">
              <a:extLst>
                <a:ext uri="{FF2B5EF4-FFF2-40B4-BE49-F238E27FC236}">
                  <a16:creationId xmlns:a16="http://schemas.microsoft.com/office/drawing/2014/main" id="{43A67DAE-5DC8-10DE-9AE1-A46FB9619358}"/>
                </a:ext>
              </a:extLst>
            </p:cNvPr>
            <p:cNvGrpSpPr/>
            <p:nvPr/>
          </p:nvGrpSpPr>
          <p:grpSpPr>
            <a:xfrm>
              <a:off x="3791995" y="4726619"/>
              <a:ext cx="479858" cy="479856"/>
              <a:chOff x="5073920" y="2797526"/>
              <a:chExt cx="644255" cy="644255"/>
            </a:xfrm>
            <a:solidFill>
              <a:schemeClr val="accent2"/>
            </a:solidFill>
          </p:grpSpPr>
          <p:sp>
            <p:nvSpPr>
              <p:cNvPr id="74" name="Oval 73">
                <a:extLst>
                  <a:ext uri="{FF2B5EF4-FFF2-40B4-BE49-F238E27FC236}">
                    <a16:creationId xmlns:a16="http://schemas.microsoft.com/office/drawing/2014/main" id="{9980E016-E7DD-CF3C-A8FC-FF9FC77DE304}"/>
                  </a:ext>
                </a:extLst>
              </p:cNvPr>
              <p:cNvSpPr/>
              <p:nvPr/>
            </p:nvSpPr>
            <p:spPr>
              <a:xfrm>
                <a:off x="5185045" y="2908652"/>
                <a:ext cx="422006" cy="4220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5" name="Circle: Hollow 74">
                <a:extLst>
                  <a:ext uri="{FF2B5EF4-FFF2-40B4-BE49-F238E27FC236}">
                    <a16:creationId xmlns:a16="http://schemas.microsoft.com/office/drawing/2014/main" id="{54EB970B-95FF-5449-ACA3-AB0466F5F9A3}"/>
                  </a:ext>
                </a:extLst>
              </p:cNvPr>
              <p:cNvSpPr/>
              <p:nvPr/>
            </p:nvSpPr>
            <p:spPr>
              <a:xfrm>
                <a:off x="5073920" y="2797526"/>
                <a:ext cx="644255" cy="644255"/>
              </a:xfrm>
              <a:prstGeom prst="donut">
                <a:avLst>
                  <a:gd name="adj" fmla="val 1268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grpSp>
      </p:grpSp>
      <p:grpSp>
        <p:nvGrpSpPr>
          <p:cNvPr id="164" name="Group 163">
            <a:extLst>
              <a:ext uri="{FF2B5EF4-FFF2-40B4-BE49-F238E27FC236}">
                <a16:creationId xmlns:a16="http://schemas.microsoft.com/office/drawing/2014/main" id="{144C19F1-5138-48A1-7923-19D349F6E27A}"/>
              </a:ext>
            </a:extLst>
          </p:cNvPr>
          <p:cNvGrpSpPr/>
          <p:nvPr userDrawn="1"/>
        </p:nvGrpSpPr>
        <p:grpSpPr>
          <a:xfrm>
            <a:off x="4705446" y="1153052"/>
            <a:ext cx="1404000" cy="1566055"/>
            <a:chOff x="4705446" y="1153052"/>
            <a:chExt cx="1404000" cy="1566055"/>
          </a:xfrm>
        </p:grpSpPr>
        <p:sp>
          <p:nvSpPr>
            <p:cNvPr id="66" name="TextBox 65">
              <a:extLst>
                <a:ext uri="{FF2B5EF4-FFF2-40B4-BE49-F238E27FC236}">
                  <a16:creationId xmlns:a16="http://schemas.microsoft.com/office/drawing/2014/main" id="{35FCFBCB-18F8-0B45-67C2-7C10124A1C7C}"/>
                </a:ext>
              </a:extLst>
            </p:cNvPr>
            <p:cNvSpPr txBox="1"/>
            <p:nvPr/>
          </p:nvSpPr>
          <p:spPr>
            <a:xfrm>
              <a:off x="4705446" y="1689477"/>
              <a:ext cx="1404000" cy="1029630"/>
            </a:xfrm>
            <a:prstGeom prst="rect">
              <a:avLst/>
            </a:prstGeom>
          </p:spPr>
          <p:txBody>
            <a:bodyPr vert="horz" wrap="square" lIns="0" tIns="45720" rIns="0" bIns="45720" rtlCol="0">
              <a:noAutofit/>
            </a:bodyPr>
            <a:lstStyle/>
            <a:p>
              <a:pPr algn="ctr">
                <a:spcBef>
                  <a:spcPts val="500"/>
                </a:spcBef>
                <a:spcAft>
                  <a:spcPts val="400"/>
                </a:spcAft>
              </a:pPr>
              <a:r>
                <a:rPr lang="en-GB" dirty="0">
                  <a:solidFill>
                    <a:schemeClr val="accent2"/>
                  </a:solidFill>
                  <a:latin typeface="+mj-lt"/>
                </a:rPr>
                <a:t>2018</a:t>
              </a:r>
              <a:endParaRPr lang="en-GB" sz="1200" dirty="0">
                <a:solidFill>
                  <a:schemeClr val="accent2"/>
                </a:solidFill>
              </a:endParaRPr>
            </a:p>
            <a:p>
              <a:pPr algn="ctr">
                <a:spcBef>
                  <a:spcPts val="500"/>
                </a:spcBef>
                <a:spcAft>
                  <a:spcPts val="400"/>
                </a:spcAft>
              </a:pPr>
              <a:r>
                <a:rPr lang="en-GB" sz="1100" dirty="0"/>
                <a:t>Abu Dhabi </a:t>
              </a:r>
              <a:br>
                <a:rPr lang="en-GB" sz="1100" dirty="0"/>
              </a:br>
              <a:r>
                <a:rPr lang="en-GB" sz="1100" dirty="0"/>
                <a:t>office</a:t>
              </a:r>
            </a:p>
          </p:txBody>
        </p:sp>
        <p:cxnSp>
          <p:nvCxnSpPr>
            <p:cNvPr id="67" name="Straight Connector 66">
              <a:extLst>
                <a:ext uri="{FF2B5EF4-FFF2-40B4-BE49-F238E27FC236}">
                  <a16:creationId xmlns:a16="http://schemas.microsoft.com/office/drawing/2014/main" id="{6BCAC3C7-04BA-D485-4ED0-E88FCDB8528A}"/>
                </a:ext>
              </a:extLst>
            </p:cNvPr>
            <p:cNvCxnSpPr>
              <a:cxnSpLocks/>
            </p:cNvCxnSpPr>
            <p:nvPr/>
          </p:nvCxnSpPr>
          <p:spPr>
            <a:xfrm>
              <a:off x="4799966" y="2060742"/>
              <a:ext cx="1194707" cy="0"/>
            </a:xfrm>
            <a:prstGeom prst="line">
              <a:avLst/>
            </a:prstGeom>
            <a:ln w="19050" cap="rnd">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68" name="Group 67">
              <a:extLst>
                <a:ext uri="{FF2B5EF4-FFF2-40B4-BE49-F238E27FC236}">
                  <a16:creationId xmlns:a16="http://schemas.microsoft.com/office/drawing/2014/main" id="{F910B938-316B-38E9-8513-36D309E91193}"/>
                </a:ext>
              </a:extLst>
            </p:cNvPr>
            <p:cNvGrpSpPr/>
            <p:nvPr/>
          </p:nvGrpSpPr>
          <p:grpSpPr>
            <a:xfrm>
              <a:off x="5173392" y="1153052"/>
              <a:ext cx="479858" cy="479856"/>
              <a:chOff x="5073920" y="2797526"/>
              <a:chExt cx="644255" cy="644255"/>
            </a:xfrm>
            <a:solidFill>
              <a:schemeClr val="accent2"/>
            </a:solidFill>
          </p:grpSpPr>
          <p:sp>
            <p:nvSpPr>
              <p:cNvPr id="69" name="Oval 68">
                <a:extLst>
                  <a:ext uri="{FF2B5EF4-FFF2-40B4-BE49-F238E27FC236}">
                    <a16:creationId xmlns:a16="http://schemas.microsoft.com/office/drawing/2014/main" id="{B308CFAF-D7A9-484C-2A4F-40EB1124C6F2}"/>
                  </a:ext>
                </a:extLst>
              </p:cNvPr>
              <p:cNvSpPr/>
              <p:nvPr/>
            </p:nvSpPr>
            <p:spPr>
              <a:xfrm>
                <a:off x="5185045" y="2908652"/>
                <a:ext cx="422006" cy="4220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0" name="Circle: Hollow 69">
                <a:extLst>
                  <a:ext uri="{FF2B5EF4-FFF2-40B4-BE49-F238E27FC236}">
                    <a16:creationId xmlns:a16="http://schemas.microsoft.com/office/drawing/2014/main" id="{5B89C7C4-C6C8-6EBF-BF3A-EEB2C266D3C8}"/>
                  </a:ext>
                </a:extLst>
              </p:cNvPr>
              <p:cNvSpPr/>
              <p:nvPr/>
            </p:nvSpPr>
            <p:spPr>
              <a:xfrm>
                <a:off x="5073920" y="2797526"/>
                <a:ext cx="644255" cy="644255"/>
              </a:xfrm>
              <a:prstGeom prst="donut">
                <a:avLst>
                  <a:gd name="adj" fmla="val 1268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grpSp>
      </p:grpSp>
      <p:grpSp>
        <p:nvGrpSpPr>
          <p:cNvPr id="163" name="Group 162">
            <a:extLst>
              <a:ext uri="{FF2B5EF4-FFF2-40B4-BE49-F238E27FC236}">
                <a16:creationId xmlns:a16="http://schemas.microsoft.com/office/drawing/2014/main" id="{9C2890D9-92B4-2FD0-C6E5-164EBC8FFDF1}"/>
              </a:ext>
            </a:extLst>
          </p:cNvPr>
          <p:cNvGrpSpPr/>
          <p:nvPr userDrawn="1"/>
        </p:nvGrpSpPr>
        <p:grpSpPr>
          <a:xfrm>
            <a:off x="6080968" y="1153052"/>
            <a:ext cx="1404000" cy="1566055"/>
            <a:chOff x="6080968" y="1153052"/>
            <a:chExt cx="1404000" cy="1566055"/>
          </a:xfrm>
        </p:grpSpPr>
        <p:sp>
          <p:nvSpPr>
            <p:cNvPr id="61" name="TextBox 60">
              <a:extLst>
                <a:ext uri="{FF2B5EF4-FFF2-40B4-BE49-F238E27FC236}">
                  <a16:creationId xmlns:a16="http://schemas.microsoft.com/office/drawing/2014/main" id="{C3560A04-B9CD-5C13-797C-B6CAED173C00}"/>
                </a:ext>
              </a:extLst>
            </p:cNvPr>
            <p:cNvSpPr txBox="1"/>
            <p:nvPr/>
          </p:nvSpPr>
          <p:spPr>
            <a:xfrm>
              <a:off x="6080968" y="1689477"/>
              <a:ext cx="1404000" cy="1029630"/>
            </a:xfrm>
            <a:prstGeom prst="rect">
              <a:avLst/>
            </a:prstGeom>
          </p:spPr>
          <p:txBody>
            <a:bodyPr vert="horz" wrap="square" lIns="0" tIns="45720" rIns="0" bIns="45720" rtlCol="0">
              <a:noAutofit/>
            </a:bodyPr>
            <a:lstStyle/>
            <a:p>
              <a:pPr algn="ctr">
                <a:spcBef>
                  <a:spcPts val="500"/>
                </a:spcBef>
                <a:spcAft>
                  <a:spcPts val="400"/>
                </a:spcAft>
              </a:pPr>
              <a:r>
                <a:rPr lang="en-GB" dirty="0">
                  <a:solidFill>
                    <a:schemeClr val="accent2"/>
                  </a:solidFill>
                  <a:latin typeface="+mj-lt"/>
                </a:rPr>
                <a:t>2019</a:t>
              </a:r>
              <a:endParaRPr lang="en-GB" sz="1200" dirty="0">
                <a:solidFill>
                  <a:schemeClr val="accent2"/>
                </a:solidFill>
              </a:endParaRPr>
            </a:p>
            <a:p>
              <a:pPr algn="ctr">
                <a:spcBef>
                  <a:spcPts val="500"/>
                </a:spcBef>
                <a:spcAft>
                  <a:spcPts val="400"/>
                </a:spcAft>
              </a:pPr>
              <a:r>
                <a:rPr lang="en-GB" sz="1100" dirty="0"/>
                <a:t>Monaco </a:t>
              </a:r>
              <a:br>
                <a:rPr lang="en-GB" sz="1100" dirty="0"/>
              </a:br>
              <a:r>
                <a:rPr lang="en-GB" sz="1100" dirty="0"/>
                <a:t>office</a:t>
              </a:r>
            </a:p>
          </p:txBody>
        </p:sp>
        <p:cxnSp>
          <p:nvCxnSpPr>
            <p:cNvPr id="62" name="Straight Connector 61">
              <a:extLst>
                <a:ext uri="{FF2B5EF4-FFF2-40B4-BE49-F238E27FC236}">
                  <a16:creationId xmlns:a16="http://schemas.microsoft.com/office/drawing/2014/main" id="{DDFF8267-D2D5-7C1A-FEA8-8552EE2CC7AE}"/>
                </a:ext>
              </a:extLst>
            </p:cNvPr>
            <p:cNvCxnSpPr>
              <a:cxnSpLocks/>
            </p:cNvCxnSpPr>
            <p:nvPr/>
          </p:nvCxnSpPr>
          <p:spPr>
            <a:xfrm>
              <a:off x="6195739" y="2060742"/>
              <a:ext cx="1194707" cy="0"/>
            </a:xfrm>
            <a:prstGeom prst="line">
              <a:avLst/>
            </a:prstGeom>
            <a:ln w="19050" cap="rnd">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63" name="Group 62">
              <a:extLst>
                <a:ext uri="{FF2B5EF4-FFF2-40B4-BE49-F238E27FC236}">
                  <a16:creationId xmlns:a16="http://schemas.microsoft.com/office/drawing/2014/main" id="{FBCAF5D0-63C8-5675-6F07-5AEA410B7235}"/>
                </a:ext>
              </a:extLst>
            </p:cNvPr>
            <p:cNvGrpSpPr/>
            <p:nvPr/>
          </p:nvGrpSpPr>
          <p:grpSpPr>
            <a:xfrm>
              <a:off x="6546956" y="1153052"/>
              <a:ext cx="479858" cy="479856"/>
              <a:chOff x="5073920" y="2797526"/>
              <a:chExt cx="644255" cy="644255"/>
            </a:xfrm>
            <a:solidFill>
              <a:schemeClr val="accent2"/>
            </a:solidFill>
          </p:grpSpPr>
          <p:sp>
            <p:nvSpPr>
              <p:cNvPr id="64" name="Oval 63">
                <a:extLst>
                  <a:ext uri="{FF2B5EF4-FFF2-40B4-BE49-F238E27FC236}">
                    <a16:creationId xmlns:a16="http://schemas.microsoft.com/office/drawing/2014/main" id="{389196CF-A8D3-E5E5-5454-2A926FB1F9FC}"/>
                  </a:ext>
                </a:extLst>
              </p:cNvPr>
              <p:cNvSpPr/>
              <p:nvPr/>
            </p:nvSpPr>
            <p:spPr>
              <a:xfrm>
                <a:off x="5185045" y="2908652"/>
                <a:ext cx="422006" cy="4220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5" name="Circle: Hollow 64">
                <a:extLst>
                  <a:ext uri="{FF2B5EF4-FFF2-40B4-BE49-F238E27FC236}">
                    <a16:creationId xmlns:a16="http://schemas.microsoft.com/office/drawing/2014/main" id="{40991054-6A15-6B7B-C339-83582895F859}"/>
                  </a:ext>
                </a:extLst>
              </p:cNvPr>
              <p:cNvSpPr/>
              <p:nvPr/>
            </p:nvSpPr>
            <p:spPr>
              <a:xfrm>
                <a:off x="5073920" y="2797526"/>
                <a:ext cx="644255" cy="644255"/>
              </a:xfrm>
              <a:prstGeom prst="donut">
                <a:avLst>
                  <a:gd name="adj" fmla="val 1268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grpSp>
      </p:grpSp>
      <p:grpSp>
        <p:nvGrpSpPr>
          <p:cNvPr id="162" name="Group 161">
            <a:extLst>
              <a:ext uri="{FF2B5EF4-FFF2-40B4-BE49-F238E27FC236}">
                <a16:creationId xmlns:a16="http://schemas.microsoft.com/office/drawing/2014/main" id="{BF023312-D10F-60C7-0ED7-8A4F8417D8AF}"/>
              </a:ext>
            </a:extLst>
          </p:cNvPr>
          <p:cNvGrpSpPr/>
          <p:nvPr userDrawn="1"/>
        </p:nvGrpSpPr>
        <p:grpSpPr>
          <a:xfrm>
            <a:off x="7456490" y="1153052"/>
            <a:ext cx="1404000" cy="1566055"/>
            <a:chOff x="7456490" y="1153052"/>
            <a:chExt cx="1404000" cy="1566055"/>
          </a:xfrm>
        </p:grpSpPr>
        <p:sp>
          <p:nvSpPr>
            <p:cNvPr id="56" name="TextBox 55">
              <a:extLst>
                <a:ext uri="{FF2B5EF4-FFF2-40B4-BE49-F238E27FC236}">
                  <a16:creationId xmlns:a16="http://schemas.microsoft.com/office/drawing/2014/main" id="{5B63FADD-57A0-B23D-D50A-1356F603C0D2}"/>
                </a:ext>
              </a:extLst>
            </p:cNvPr>
            <p:cNvSpPr txBox="1"/>
            <p:nvPr/>
          </p:nvSpPr>
          <p:spPr>
            <a:xfrm>
              <a:off x="7456490" y="1689477"/>
              <a:ext cx="1404000" cy="1029630"/>
            </a:xfrm>
            <a:prstGeom prst="rect">
              <a:avLst/>
            </a:prstGeom>
          </p:spPr>
          <p:txBody>
            <a:bodyPr vert="horz" wrap="square" lIns="0" tIns="45720" rIns="0" bIns="45720" rtlCol="0">
              <a:noAutofit/>
            </a:bodyPr>
            <a:lstStyle/>
            <a:p>
              <a:pPr algn="ctr">
                <a:spcBef>
                  <a:spcPts val="500"/>
                </a:spcBef>
                <a:spcAft>
                  <a:spcPts val="400"/>
                </a:spcAft>
              </a:pPr>
              <a:r>
                <a:rPr lang="en-GB" dirty="0">
                  <a:solidFill>
                    <a:schemeClr val="accent2"/>
                  </a:solidFill>
                  <a:latin typeface="+mj-lt"/>
                </a:rPr>
                <a:t>2022</a:t>
              </a:r>
              <a:endParaRPr lang="en-GB" sz="1200" dirty="0">
                <a:solidFill>
                  <a:schemeClr val="accent2"/>
                </a:solidFill>
              </a:endParaRPr>
            </a:p>
            <a:p>
              <a:pPr algn="ctr">
                <a:spcBef>
                  <a:spcPts val="500"/>
                </a:spcBef>
                <a:spcAft>
                  <a:spcPts val="400"/>
                </a:spcAft>
              </a:pPr>
              <a:r>
                <a:rPr lang="en-GB" sz="1100" dirty="0"/>
                <a:t>BVI </a:t>
              </a:r>
              <a:br>
                <a:rPr lang="en-GB" sz="1100" dirty="0"/>
              </a:br>
              <a:r>
                <a:rPr lang="en-GB" sz="1100" dirty="0"/>
                <a:t>office</a:t>
              </a:r>
            </a:p>
          </p:txBody>
        </p:sp>
        <p:cxnSp>
          <p:nvCxnSpPr>
            <p:cNvPr id="57" name="Straight Connector 56">
              <a:extLst>
                <a:ext uri="{FF2B5EF4-FFF2-40B4-BE49-F238E27FC236}">
                  <a16:creationId xmlns:a16="http://schemas.microsoft.com/office/drawing/2014/main" id="{21F276BE-789B-8460-A67F-FF74F49D972D}"/>
                </a:ext>
              </a:extLst>
            </p:cNvPr>
            <p:cNvCxnSpPr>
              <a:cxnSpLocks/>
            </p:cNvCxnSpPr>
            <p:nvPr/>
          </p:nvCxnSpPr>
          <p:spPr>
            <a:xfrm>
              <a:off x="7591512" y="2060742"/>
              <a:ext cx="1194707" cy="0"/>
            </a:xfrm>
            <a:prstGeom prst="line">
              <a:avLst/>
            </a:prstGeom>
            <a:ln w="19050" cap="rnd">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1CA53444-AC03-48EB-2CDB-0E99730F0440}"/>
                </a:ext>
              </a:extLst>
            </p:cNvPr>
            <p:cNvGrpSpPr/>
            <p:nvPr/>
          </p:nvGrpSpPr>
          <p:grpSpPr>
            <a:xfrm>
              <a:off x="7920520" y="1153052"/>
              <a:ext cx="479858" cy="479856"/>
              <a:chOff x="5073920" y="2797526"/>
              <a:chExt cx="644255" cy="644255"/>
            </a:xfrm>
            <a:solidFill>
              <a:schemeClr val="accent2"/>
            </a:solidFill>
          </p:grpSpPr>
          <p:sp>
            <p:nvSpPr>
              <p:cNvPr id="59" name="Oval 58">
                <a:extLst>
                  <a:ext uri="{FF2B5EF4-FFF2-40B4-BE49-F238E27FC236}">
                    <a16:creationId xmlns:a16="http://schemas.microsoft.com/office/drawing/2014/main" id="{E550A42C-11B4-D92F-8A2F-7EC0E5B304F4}"/>
                  </a:ext>
                </a:extLst>
              </p:cNvPr>
              <p:cNvSpPr/>
              <p:nvPr/>
            </p:nvSpPr>
            <p:spPr>
              <a:xfrm>
                <a:off x="5185045" y="2908652"/>
                <a:ext cx="422006" cy="4220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0" name="Circle: Hollow 59">
                <a:extLst>
                  <a:ext uri="{FF2B5EF4-FFF2-40B4-BE49-F238E27FC236}">
                    <a16:creationId xmlns:a16="http://schemas.microsoft.com/office/drawing/2014/main" id="{7869BA5A-7F2C-F06B-2583-0EA9F16C391E}"/>
                  </a:ext>
                </a:extLst>
              </p:cNvPr>
              <p:cNvSpPr/>
              <p:nvPr/>
            </p:nvSpPr>
            <p:spPr>
              <a:xfrm>
                <a:off x="5073920" y="2797526"/>
                <a:ext cx="644255" cy="644255"/>
              </a:xfrm>
              <a:prstGeom prst="donut">
                <a:avLst>
                  <a:gd name="adj" fmla="val 1268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grpSp>
      </p:grpSp>
      <p:grpSp>
        <p:nvGrpSpPr>
          <p:cNvPr id="168" name="Group 167">
            <a:extLst>
              <a:ext uri="{FF2B5EF4-FFF2-40B4-BE49-F238E27FC236}">
                <a16:creationId xmlns:a16="http://schemas.microsoft.com/office/drawing/2014/main" id="{F6301540-6E01-99C2-7A3D-F6B3F28027CA}"/>
              </a:ext>
            </a:extLst>
          </p:cNvPr>
          <p:cNvGrpSpPr/>
          <p:nvPr userDrawn="1"/>
        </p:nvGrpSpPr>
        <p:grpSpPr>
          <a:xfrm>
            <a:off x="578880" y="1153052"/>
            <a:ext cx="1404000" cy="1566055"/>
            <a:chOff x="578880" y="1153052"/>
            <a:chExt cx="1404000" cy="1566055"/>
          </a:xfrm>
        </p:grpSpPr>
        <p:sp>
          <p:nvSpPr>
            <p:cNvPr id="51" name="TextBox 50">
              <a:extLst>
                <a:ext uri="{FF2B5EF4-FFF2-40B4-BE49-F238E27FC236}">
                  <a16:creationId xmlns:a16="http://schemas.microsoft.com/office/drawing/2014/main" id="{FFE6B78A-E0AB-12F1-23EE-F6E48BF28BD6}"/>
                </a:ext>
              </a:extLst>
            </p:cNvPr>
            <p:cNvSpPr txBox="1"/>
            <p:nvPr/>
          </p:nvSpPr>
          <p:spPr>
            <a:xfrm>
              <a:off x="578880" y="1689477"/>
              <a:ext cx="1404000" cy="1029630"/>
            </a:xfrm>
            <a:prstGeom prst="rect">
              <a:avLst/>
            </a:prstGeom>
          </p:spPr>
          <p:txBody>
            <a:bodyPr vert="horz" wrap="square" lIns="0" tIns="45720" rIns="0" bIns="45720" rtlCol="0">
              <a:noAutofit/>
            </a:bodyPr>
            <a:lstStyle/>
            <a:p>
              <a:pPr algn="ctr">
                <a:spcBef>
                  <a:spcPts val="500"/>
                </a:spcBef>
                <a:spcAft>
                  <a:spcPts val="400"/>
                </a:spcAft>
              </a:pPr>
              <a:r>
                <a:rPr lang="en-GB" dirty="0">
                  <a:solidFill>
                    <a:schemeClr val="accent2"/>
                  </a:solidFill>
                  <a:latin typeface="+mj-lt"/>
                </a:rPr>
                <a:t>2017</a:t>
              </a:r>
              <a:endParaRPr lang="en-GB" sz="1200" dirty="0">
                <a:solidFill>
                  <a:schemeClr val="accent2"/>
                </a:solidFill>
              </a:endParaRPr>
            </a:p>
            <a:p>
              <a:pPr algn="ctr">
                <a:spcBef>
                  <a:spcPts val="500"/>
                </a:spcBef>
                <a:spcAft>
                  <a:spcPts val="400"/>
                </a:spcAft>
              </a:pPr>
              <a:r>
                <a:rPr lang="en-GB" sz="1100" dirty="0"/>
                <a:t>Houston </a:t>
              </a:r>
              <a:br>
                <a:rPr lang="en-GB" sz="1100" dirty="0"/>
              </a:br>
              <a:r>
                <a:rPr lang="en-GB" sz="1100" dirty="0"/>
                <a:t>office</a:t>
              </a:r>
            </a:p>
          </p:txBody>
        </p:sp>
        <p:grpSp>
          <p:nvGrpSpPr>
            <p:cNvPr id="167" name="Group 166">
              <a:extLst>
                <a:ext uri="{FF2B5EF4-FFF2-40B4-BE49-F238E27FC236}">
                  <a16:creationId xmlns:a16="http://schemas.microsoft.com/office/drawing/2014/main" id="{71C983E6-86C6-AA5A-8B78-CAD2D7D89FCF}"/>
                </a:ext>
              </a:extLst>
            </p:cNvPr>
            <p:cNvGrpSpPr/>
            <p:nvPr userDrawn="1"/>
          </p:nvGrpSpPr>
          <p:grpSpPr>
            <a:xfrm>
              <a:off x="683527" y="1153052"/>
              <a:ext cx="1194707" cy="907690"/>
              <a:chOff x="683527" y="1153052"/>
              <a:chExt cx="1194707" cy="907690"/>
            </a:xfrm>
          </p:grpSpPr>
          <p:cxnSp>
            <p:nvCxnSpPr>
              <p:cNvPr id="52" name="Straight Connector 51">
                <a:extLst>
                  <a:ext uri="{FF2B5EF4-FFF2-40B4-BE49-F238E27FC236}">
                    <a16:creationId xmlns:a16="http://schemas.microsoft.com/office/drawing/2014/main" id="{AE8DC941-9297-C412-2D62-B266A653E482}"/>
                  </a:ext>
                </a:extLst>
              </p:cNvPr>
              <p:cNvCxnSpPr>
                <a:cxnSpLocks/>
              </p:cNvCxnSpPr>
              <p:nvPr/>
            </p:nvCxnSpPr>
            <p:spPr>
              <a:xfrm>
                <a:off x="683527" y="2060742"/>
                <a:ext cx="1194707" cy="0"/>
              </a:xfrm>
              <a:prstGeom prst="line">
                <a:avLst/>
              </a:prstGeom>
              <a:ln w="19050" cap="rnd">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53" name="Group 52">
                <a:extLst>
                  <a:ext uri="{FF2B5EF4-FFF2-40B4-BE49-F238E27FC236}">
                    <a16:creationId xmlns:a16="http://schemas.microsoft.com/office/drawing/2014/main" id="{D7B055DA-B3B1-C954-A502-FBFC73EC564B}"/>
                  </a:ext>
                </a:extLst>
              </p:cNvPr>
              <p:cNvGrpSpPr/>
              <p:nvPr/>
            </p:nvGrpSpPr>
            <p:grpSpPr>
              <a:xfrm>
                <a:off x="1052700" y="1153052"/>
                <a:ext cx="479858" cy="479856"/>
                <a:chOff x="5073920" y="2797526"/>
                <a:chExt cx="644255" cy="644255"/>
              </a:xfrm>
              <a:solidFill>
                <a:schemeClr val="accent2"/>
              </a:solidFill>
            </p:grpSpPr>
            <p:sp>
              <p:nvSpPr>
                <p:cNvPr id="54" name="Oval 53">
                  <a:extLst>
                    <a:ext uri="{FF2B5EF4-FFF2-40B4-BE49-F238E27FC236}">
                      <a16:creationId xmlns:a16="http://schemas.microsoft.com/office/drawing/2014/main" id="{0DC514AA-AE05-92BB-9A9F-06DBA270F37A}"/>
                    </a:ext>
                  </a:extLst>
                </p:cNvPr>
                <p:cNvSpPr/>
                <p:nvPr/>
              </p:nvSpPr>
              <p:spPr>
                <a:xfrm>
                  <a:off x="5185045" y="2908652"/>
                  <a:ext cx="422006" cy="4220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5" name="Circle: Hollow 54">
                  <a:extLst>
                    <a:ext uri="{FF2B5EF4-FFF2-40B4-BE49-F238E27FC236}">
                      <a16:creationId xmlns:a16="http://schemas.microsoft.com/office/drawing/2014/main" id="{E28B821A-3884-46E9-7D75-C43A07E950FC}"/>
                    </a:ext>
                  </a:extLst>
                </p:cNvPr>
                <p:cNvSpPr/>
                <p:nvPr/>
              </p:nvSpPr>
              <p:spPr>
                <a:xfrm>
                  <a:off x="5073920" y="2797526"/>
                  <a:ext cx="644255" cy="644255"/>
                </a:xfrm>
                <a:prstGeom prst="donut">
                  <a:avLst>
                    <a:gd name="adj" fmla="val 1268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grpSp>
        </p:grpSp>
      </p:grpSp>
      <p:grpSp>
        <p:nvGrpSpPr>
          <p:cNvPr id="166" name="Group 165">
            <a:extLst>
              <a:ext uri="{FF2B5EF4-FFF2-40B4-BE49-F238E27FC236}">
                <a16:creationId xmlns:a16="http://schemas.microsoft.com/office/drawing/2014/main" id="{5D9C826B-4844-7BD7-D839-035BD7EBFF42}"/>
              </a:ext>
            </a:extLst>
          </p:cNvPr>
          <p:cNvGrpSpPr/>
          <p:nvPr userDrawn="1"/>
        </p:nvGrpSpPr>
        <p:grpSpPr>
          <a:xfrm>
            <a:off x="1954402" y="1153052"/>
            <a:ext cx="1404000" cy="1566055"/>
            <a:chOff x="1954402" y="1153052"/>
            <a:chExt cx="1404000" cy="1566055"/>
          </a:xfrm>
        </p:grpSpPr>
        <p:sp>
          <p:nvSpPr>
            <p:cNvPr id="46" name="TextBox 45">
              <a:extLst>
                <a:ext uri="{FF2B5EF4-FFF2-40B4-BE49-F238E27FC236}">
                  <a16:creationId xmlns:a16="http://schemas.microsoft.com/office/drawing/2014/main" id="{903BA688-9754-B5F0-7D4D-B1526A13A4B9}"/>
                </a:ext>
              </a:extLst>
            </p:cNvPr>
            <p:cNvSpPr txBox="1"/>
            <p:nvPr/>
          </p:nvSpPr>
          <p:spPr>
            <a:xfrm>
              <a:off x="1954402" y="1689477"/>
              <a:ext cx="1404000" cy="1029630"/>
            </a:xfrm>
            <a:prstGeom prst="rect">
              <a:avLst/>
            </a:prstGeom>
          </p:spPr>
          <p:txBody>
            <a:bodyPr vert="horz" wrap="square" lIns="0" tIns="45720" rIns="0" bIns="45720" rtlCol="0">
              <a:noAutofit/>
            </a:bodyPr>
            <a:lstStyle/>
            <a:p>
              <a:pPr algn="ctr">
                <a:spcBef>
                  <a:spcPts val="500"/>
                </a:spcBef>
                <a:spcAft>
                  <a:spcPts val="400"/>
                </a:spcAft>
              </a:pPr>
              <a:r>
                <a:rPr lang="en-GB" dirty="0">
                  <a:solidFill>
                    <a:schemeClr val="accent2"/>
                  </a:solidFill>
                  <a:latin typeface="+mj-lt"/>
                </a:rPr>
                <a:t>2017</a:t>
              </a:r>
              <a:endParaRPr lang="en-GB" sz="1200" dirty="0">
                <a:solidFill>
                  <a:schemeClr val="accent2"/>
                </a:solidFill>
              </a:endParaRPr>
            </a:p>
            <a:p>
              <a:pPr algn="ctr">
                <a:spcBef>
                  <a:spcPts val="500"/>
                </a:spcBef>
                <a:spcAft>
                  <a:spcPts val="400"/>
                </a:spcAft>
              </a:pPr>
              <a:r>
                <a:rPr lang="en-GB" sz="1100" dirty="0"/>
                <a:t>Name </a:t>
              </a:r>
              <a:br>
                <a:rPr lang="en-GB" sz="1100" dirty="0"/>
              </a:br>
              <a:r>
                <a:rPr lang="en-GB" sz="1100" dirty="0"/>
                <a:t>changed </a:t>
              </a:r>
              <a:br>
                <a:rPr lang="en-GB" sz="1100" dirty="0"/>
              </a:br>
              <a:r>
                <a:rPr lang="en-GB" sz="1100" dirty="0"/>
                <a:t>to HFW</a:t>
              </a:r>
            </a:p>
          </p:txBody>
        </p:sp>
        <p:cxnSp>
          <p:nvCxnSpPr>
            <p:cNvPr id="47" name="Straight Connector 46">
              <a:extLst>
                <a:ext uri="{FF2B5EF4-FFF2-40B4-BE49-F238E27FC236}">
                  <a16:creationId xmlns:a16="http://schemas.microsoft.com/office/drawing/2014/main" id="{EDE93961-B072-E891-7788-A33E2CF840A4}"/>
                </a:ext>
              </a:extLst>
            </p:cNvPr>
            <p:cNvCxnSpPr>
              <a:cxnSpLocks/>
            </p:cNvCxnSpPr>
            <p:nvPr/>
          </p:nvCxnSpPr>
          <p:spPr>
            <a:xfrm>
              <a:off x="2008420" y="2060742"/>
              <a:ext cx="1194707" cy="0"/>
            </a:xfrm>
            <a:prstGeom prst="line">
              <a:avLst/>
            </a:prstGeom>
            <a:ln w="19050" cap="rnd">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48" name="Group 47">
              <a:extLst>
                <a:ext uri="{FF2B5EF4-FFF2-40B4-BE49-F238E27FC236}">
                  <a16:creationId xmlns:a16="http://schemas.microsoft.com/office/drawing/2014/main" id="{FE64826C-8E1D-CB48-8CBF-9EB4AA98F3E8}"/>
                </a:ext>
              </a:extLst>
            </p:cNvPr>
            <p:cNvGrpSpPr/>
            <p:nvPr/>
          </p:nvGrpSpPr>
          <p:grpSpPr>
            <a:xfrm>
              <a:off x="2426264" y="1153052"/>
              <a:ext cx="479858" cy="479856"/>
              <a:chOff x="5073920" y="2797526"/>
              <a:chExt cx="644255" cy="644255"/>
            </a:xfrm>
            <a:solidFill>
              <a:schemeClr val="accent2"/>
            </a:solidFill>
          </p:grpSpPr>
          <p:sp>
            <p:nvSpPr>
              <p:cNvPr id="49" name="Oval 48">
                <a:extLst>
                  <a:ext uri="{FF2B5EF4-FFF2-40B4-BE49-F238E27FC236}">
                    <a16:creationId xmlns:a16="http://schemas.microsoft.com/office/drawing/2014/main" id="{C36F09B2-599C-B885-2222-A06E532992EE}"/>
                  </a:ext>
                </a:extLst>
              </p:cNvPr>
              <p:cNvSpPr/>
              <p:nvPr/>
            </p:nvSpPr>
            <p:spPr>
              <a:xfrm>
                <a:off x="5185045" y="2908652"/>
                <a:ext cx="422006" cy="4220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0" name="Circle: Hollow 49">
                <a:extLst>
                  <a:ext uri="{FF2B5EF4-FFF2-40B4-BE49-F238E27FC236}">
                    <a16:creationId xmlns:a16="http://schemas.microsoft.com/office/drawing/2014/main" id="{18A4F4EC-AC3E-3F9A-BB3B-ED6E6808664D}"/>
                  </a:ext>
                </a:extLst>
              </p:cNvPr>
              <p:cNvSpPr/>
              <p:nvPr/>
            </p:nvSpPr>
            <p:spPr>
              <a:xfrm>
                <a:off x="5073920" y="2797526"/>
                <a:ext cx="644255" cy="644255"/>
              </a:xfrm>
              <a:prstGeom prst="donut">
                <a:avLst>
                  <a:gd name="adj" fmla="val 1268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grpSp>
      </p:grpSp>
      <p:grpSp>
        <p:nvGrpSpPr>
          <p:cNvPr id="165" name="Group 164">
            <a:extLst>
              <a:ext uri="{FF2B5EF4-FFF2-40B4-BE49-F238E27FC236}">
                <a16:creationId xmlns:a16="http://schemas.microsoft.com/office/drawing/2014/main" id="{F1CE6E50-746B-B285-C585-EB822694EE32}"/>
              </a:ext>
            </a:extLst>
          </p:cNvPr>
          <p:cNvGrpSpPr/>
          <p:nvPr userDrawn="1"/>
        </p:nvGrpSpPr>
        <p:grpSpPr>
          <a:xfrm>
            <a:off x="3329924" y="1153052"/>
            <a:ext cx="1404000" cy="1566055"/>
            <a:chOff x="3329924" y="1153052"/>
            <a:chExt cx="1404000" cy="1566055"/>
          </a:xfrm>
        </p:grpSpPr>
        <p:sp>
          <p:nvSpPr>
            <p:cNvPr id="41" name="TextBox 40">
              <a:extLst>
                <a:ext uri="{FF2B5EF4-FFF2-40B4-BE49-F238E27FC236}">
                  <a16:creationId xmlns:a16="http://schemas.microsoft.com/office/drawing/2014/main" id="{A14FC103-8622-A455-A6B1-56545D00E90D}"/>
                </a:ext>
              </a:extLst>
            </p:cNvPr>
            <p:cNvSpPr txBox="1"/>
            <p:nvPr/>
          </p:nvSpPr>
          <p:spPr>
            <a:xfrm>
              <a:off x="3329924" y="1689477"/>
              <a:ext cx="1404000" cy="1029630"/>
            </a:xfrm>
            <a:prstGeom prst="rect">
              <a:avLst/>
            </a:prstGeom>
          </p:spPr>
          <p:txBody>
            <a:bodyPr vert="horz" wrap="square" lIns="0" tIns="45720" rIns="0" bIns="45720" rtlCol="0">
              <a:noAutofit/>
            </a:bodyPr>
            <a:lstStyle/>
            <a:p>
              <a:pPr algn="ctr">
                <a:spcBef>
                  <a:spcPts val="500"/>
                </a:spcBef>
                <a:spcAft>
                  <a:spcPts val="400"/>
                </a:spcAft>
              </a:pPr>
              <a:r>
                <a:rPr lang="en-GB" dirty="0">
                  <a:solidFill>
                    <a:schemeClr val="accent2"/>
                  </a:solidFill>
                  <a:latin typeface="+mj-lt"/>
                </a:rPr>
                <a:t>2018</a:t>
              </a:r>
              <a:endParaRPr lang="en-GB" sz="1200" dirty="0">
                <a:solidFill>
                  <a:schemeClr val="accent2"/>
                </a:solidFill>
              </a:endParaRPr>
            </a:p>
            <a:p>
              <a:pPr algn="ctr">
                <a:spcBef>
                  <a:spcPts val="500"/>
                </a:spcBef>
                <a:spcAft>
                  <a:spcPts val="400"/>
                </a:spcAft>
              </a:pPr>
              <a:r>
                <a:rPr lang="en-GB" sz="1100" dirty="0"/>
                <a:t>Cooperation arrangement with Brazilian law Firm CAL</a:t>
              </a:r>
            </a:p>
          </p:txBody>
        </p:sp>
        <p:cxnSp>
          <p:nvCxnSpPr>
            <p:cNvPr id="42" name="Straight Connector 41">
              <a:extLst>
                <a:ext uri="{FF2B5EF4-FFF2-40B4-BE49-F238E27FC236}">
                  <a16:creationId xmlns:a16="http://schemas.microsoft.com/office/drawing/2014/main" id="{7F2421F3-C042-968F-ECAA-6E8EE6103AAA}"/>
                </a:ext>
              </a:extLst>
            </p:cNvPr>
            <p:cNvCxnSpPr>
              <a:cxnSpLocks/>
            </p:cNvCxnSpPr>
            <p:nvPr/>
          </p:nvCxnSpPr>
          <p:spPr>
            <a:xfrm>
              <a:off x="3404193" y="2060742"/>
              <a:ext cx="1194707" cy="0"/>
            </a:xfrm>
            <a:prstGeom prst="line">
              <a:avLst/>
            </a:prstGeom>
            <a:ln w="19050" cap="rnd">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43" name="Group 42">
              <a:extLst>
                <a:ext uri="{FF2B5EF4-FFF2-40B4-BE49-F238E27FC236}">
                  <a16:creationId xmlns:a16="http://schemas.microsoft.com/office/drawing/2014/main" id="{C71EB7C3-4840-4A6D-F482-447E5821DF33}"/>
                </a:ext>
              </a:extLst>
            </p:cNvPr>
            <p:cNvGrpSpPr/>
            <p:nvPr/>
          </p:nvGrpSpPr>
          <p:grpSpPr>
            <a:xfrm>
              <a:off x="3799828" y="1153052"/>
              <a:ext cx="479858" cy="479856"/>
              <a:chOff x="5073920" y="2797526"/>
              <a:chExt cx="644255" cy="644255"/>
            </a:xfrm>
            <a:solidFill>
              <a:schemeClr val="accent2"/>
            </a:solidFill>
          </p:grpSpPr>
          <p:sp>
            <p:nvSpPr>
              <p:cNvPr id="44" name="Oval 43">
                <a:extLst>
                  <a:ext uri="{FF2B5EF4-FFF2-40B4-BE49-F238E27FC236}">
                    <a16:creationId xmlns:a16="http://schemas.microsoft.com/office/drawing/2014/main" id="{946B2327-0A41-726F-DE68-2AD8F3209ED8}"/>
                  </a:ext>
                </a:extLst>
              </p:cNvPr>
              <p:cNvSpPr/>
              <p:nvPr/>
            </p:nvSpPr>
            <p:spPr>
              <a:xfrm>
                <a:off x="5185045" y="2908652"/>
                <a:ext cx="422006" cy="4220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5" name="Circle: Hollow 44">
                <a:extLst>
                  <a:ext uri="{FF2B5EF4-FFF2-40B4-BE49-F238E27FC236}">
                    <a16:creationId xmlns:a16="http://schemas.microsoft.com/office/drawing/2014/main" id="{775429A8-AC86-4502-30E5-FBEC6B5E9B4A}"/>
                  </a:ext>
                </a:extLst>
              </p:cNvPr>
              <p:cNvSpPr/>
              <p:nvPr/>
            </p:nvSpPr>
            <p:spPr>
              <a:xfrm>
                <a:off x="5073920" y="2797526"/>
                <a:ext cx="644255" cy="644255"/>
              </a:xfrm>
              <a:prstGeom prst="donut">
                <a:avLst>
                  <a:gd name="adj" fmla="val 1268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grpSp>
      </p:grpSp>
      <p:grpSp>
        <p:nvGrpSpPr>
          <p:cNvPr id="161" name="Group 160">
            <a:extLst>
              <a:ext uri="{FF2B5EF4-FFF2-40B4-BE49-F238E27FC236}">
                <a16:creationId xmlns:a16="http://schemas.microsoft.com/office/drawing/2014/main" id="{64A49B72-2103-5B90-C124-B9354107EC4C}"/>
              </a:ext>
            </a:extLst>
          </p:cNvPr>
          <p:cNvGrpSpPr/>
          <p:nvPr userDrawn="1"/>
        </p:nvGrpSpPr>
        <p:grpSpPr>
          <a:xfrm>
            <a:off x="8853490" y="1153052"/>
            <a:ext cx="1404000" cy="1566055"/>
            <a:chOff x="8853490" y="1153052"/>
            <a:chExt cx="1404000" cy="1566055"/>
          </a:xfrm>
        </p:grpSpPr>
        <p:sp>
          <p:nvSpPr>
            <p:cNvPr id="36" name="TextBox 35">
              <a:extLst>
                <a:ext uri="{FF2B5EF4-FFF2-40B4-BE49-F238E27FC236}">
                  <a16:creationId xmlns:a16="http://schemas.microsoft.com/office/drawing/2014/main" id="{BB3F976E-F8F4-2D67-6B9C-90B66418A424}"/>
                </a:ext>
              </a:extLst>
            </p:cNvPr>
            <p:cNvSpPr txBox="1"/>
            <p:nvPr/>
          </p:nvSpPr>
          <p:spPr>
            <a:xfrm>
              <a:off x="8853490" y="1689477"/>
              <a:ext cx="1404000" cy="1029630"/>
            </a:xfrm>
            <a:prstGeom prst="rect">
              <a:avLst/>
            </a:prstGeom>
          </p:spPr>
          <p:txBody>
            <a:bodyPr vert="horz" wrap="square" lIns="0" tIns="45720" rIns="0" bIns="45720" rtlCol="0">
              <a:noAutofit/>
            </a:bodyPr>
            <a:lstStyle/>
            <a:p>
              <a:pPr algn="ctr">
                <a:spcBef>
                  <a:spcPts val="500"/>
                </a:spcBef>
                <a:spcAft>
                  <a:spcPts val="400"/>
                </a:spcAft>
              </a:pPr>
              <a:r>
                <a:rPr lang="en-GB" dirty="0">
                  <a:solidFill>
                    <a:schemeClr val="accent2"/>
                  </a:solidFill>
                  <a:latin typeface="+mj-lt"/>
                </a:rPr>
                <a:t>2023</a:t>
              </a:r>
              <a:endParaRPr lang="en-GB" sz="1200" dirty="0">
                <a:solidFill>
                  <a:schemeClr val="accent2"/>
                </a:solidFill>
              </a:endParaRPr>
            </a:p>
            <a:p>
              <a:pPr algn="ctr">
                <a:spcBef>
                  <a:spcPts val="500"/>
                </a:spcBef>
                <a:spcAft>
                  <a:spcPts val="400"/>
                </a:spcAft>
              </a:pPr>
              <a:r>
                <a:rPr lang="en-GB" sz="1100" dirty="0"/>
                <a:t>Merger of CAL &amp; </a:t>
              </a:r>
              <a:r>
                <a:rPr lang="pt-BR" sz="1100" dirty="0"/>
                <a:t>DR&amp;A Advogados forming CAR</a:t>
              </a:r>
              <a:endParaRPr lang="en-GB" sz="1100" dirty="0"/>
            </a:p>
          </p:txBody>
        </p:sp>
        <p:cxnSp>
          <p:nvCxnSpPr>
            <p:cNvPr id="37" name="Straight Connector 36">
              <a:extLst>
                <a:ext uri="{FF2B5EF4-FFF2-40B4-BE49-F238E27FC236}">
                  <a16:creationId xmlns:a16="http://schemas.microsoft.com/office/drawing/2014/main" id="{F6A8EF16-BFF6-8A39-5232-62C0D35A5DD1}"/>
                </a:ext>
              </a:extLst>
            </p:cNvPr>
            <p:cNvCxnSpPr>
              <a:cxnSpLocks/>
            </p:cNvCxnSpPr>
            <p:nvPr/>
          </p:nvCxnSpPr>
          <p:spPr>
            <a:xfrm>
              <a:off x="8988512" y="2060742"/>
              <a:ext cx="1194707" cy="0"/>
            </a:xfrm>
            <a:prstGeom prst="line">
              <a:avLst/>
            </a:prstGeom>
            <a:ln w="19050" cap="rnd">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38" name="Group 37">
              <a:extLst>
                <a:ext uri="{FF2B5EF4-FFF2-40B4-BE49-F238E27FC236}">
                  <a16:creationId xmlns:a16="http://schemas.microsoft.com/office/drawing/2014/main" id="{79F5DC42-50BF-6CBF-E8AE-8A872081A1A3}"/>
                </a:ext>
              </a:extLst>
            </p:cNvPr>
            <p:cNvGrpSpPr/>
            <p:nvPr/>
          </p:nvGrpSpPr>
          <p:grpSpPr>
            <a:xfrm>
              <a:off x="9317520" y="1153052"/>
              <a:ext cx="479858" cy="479856"/>
              <a:chOff x="5073920" y="2797526"/>
              <a:chExt cx="644255" cy="644255"/>
            </a:xfrm>
            <a:solidFill>
              <a:schemeClr val="accent2"/>
            </a:solidFill>
          </p:grpSpPr>
          <p:sp>
            <p:nvSpPr>
              <p:cNvPr id="39" name="Oval 38">
                <a:extLst>
                  <a:ext uri="{FF2B5EF4-FFF2-40B4-BE49-F238E27FC236}">
                    <a16:creationId xmlns:a16="http://schemas.microsoft.com/office/drawing/2014/main" id="{AA0BF9C1-4D19-4273-AACE-10D0AA52B237}"/>
                  </a:ext>
                </a:extLst>
              </p:cNvPr>
              <p:cNvSpPr/>
              <p:nvPr/>
            </p:nvSpPr>
            <p:spPr>
              <a:xfrm>
                <a:off x="5185045" y="2908652"/>
                <a:ext cx="422006" cy="4220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0" name="Circle: Hollow 39">
                <a:extLst>
                  <a:ext uri="{FF2B5EF4-FFF2-40B4-BE49-F238E27FC236}">
                    <a16:creationId xmlns:a16="http://schemas.microsoft.com/office/drawing/2014/main" id="{F363565A-A236-E115-C601-6DA37D96550F}"/>
                  </a:ext>
                </a:extLst>
              </p:cNvPr>
              <p:cNvSpPr/>
              <p:nvPr/>
            </p:nvSpPr>
            <p:spPr>
              <a:xfrm>
                <a:off x="5073920" y="2797526"/>
                <a:ext cx="644255" cy="644255"/>
              </a:xfrm>
              <a:prstGeom prst="donut">
                <a:avLst>
                  <a:gd name="adj" fmla="val 1268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grpSp>
      </p:grpSp>
      <p:grpSp>
        <p:nvGrpSpPr>
          <p:cNvPr id="160" name="Group 159">
            <a:extLst>
              <a:ext uri="{FF2B5EF4-FFF2-40B4-BE49-F238E27FC236}">
                <a16:creationId xmlns:a16="http://schemas.microsoft.com/office/drawing/2014/main" id="{C556CEF6-856B-8981-3DB8-436152A5F680}"/>
              </a:ext>
            </a:extLst>
          </p:cNvPr>
          <p:cNvGrpSpPr/>
          <p:nvPr userDrawn="1"/>
        </p:nvGrpSpPr>
        <p:grpSpPr>
          <a:xfrm>
            <a:off x="10199690" y="1153052"/>
            <a:ext cx="1404000" cy="1566055"/>
            <a:chOff x="10199690" y="1153052"/>
            <a:chExt cx="1404000" cy="1566055"/>
          </a:xfrm>
        </p:grpSpPr>
        <p:sp>
          <p:nvSpPr>
            <p:cNvPr id="31" name="TextBox 30">
              <a:extLst>
                <a:ext uri="{FF2B5EF4-FFF2-40B4-BE49-F238E27FC236}">
                  <a16:creationId xmlns:a16="http://schemas.microsoft.com/office/drawing/2014/main" id="{4A821ACC-AD43-2881-B321-EA73606AEFD4}"/>
                </a:ext>
              </a:extLst>
            </p:cNvPr>
            <p:cNvSpPr txBox="1"/>
            <p:nvPr/>
          </p:nvSpPr>
          <p:spPr>
            <a:xfrm>
              <a:off x="10199690" y="1689477"/>
              <a:ext cx="1404000" cy="1029630"/>
            </a:xfrm>
            <a:prstGeom prst="rect">
              <a:avLst/>
            </a:prstGeom>
          </p:spPr>
          <p:txBody>
            <a:bodyPr vert="horz" wrap="square" lIns="0" tIns="45720" rIns="0" bIns="45720" rtlCol="0">
              <a:noAutofit/>
            </a:bodyPr>
            <a:lstStyle/>
            <a:p>
              <a:pPr algn="ctr">
                <a:spcBef>
                  <a:spcPts val="500"/>
                </a:spcBef>
                <a:spcAft>
                  <a:spcPts val="400"/>
                </a:spcAft>
              </a:pPr>
              <a:r>
                <a:rPr lang="en-GB" dirty="0">
                  <a:solidFill>
                    <a:schemeClr val="accent2"/>
                  </a:solidFill>
                  <a:latin typeface="+mj-lt"/>
                </a:rPr>
                <a:t>2023</a:t>
              </a:r>
              <a:endParaRPr lang="en-GB" sz="1200" dirty="0">
                <a:solidFill>
                  <a:schemeClr val="accent2"/>
                </a:solidFill>
              </a:endParaRPr>
            </a:p>
            <a:p>
              <a:pPr algn="ctr">
                <a:spcBef>
                  <a:spcPts val="500"/>
                </a:spcBef>
                <a:spcAft>
                  <a:spcPts val="400"/>
                </a:spcAft>
              </a:pPr>
              <a:r>
                <a:rPr lang="en-GB" sz="1100" dirty="0"/>
                <a:t>London</a:t>
              </a:r>
              <a:br>
                <a:rPr lang="en-GB" sz="1100" dirty="0"/>
              </a:br>
              <a:r>
                <a:rPr lang="en-GB" sz="1100" dirty="0"/>
                <a:t>office move</a:t>
              </a:r>
            </a:p>
          </p:txBody>
        </p:sp>
        <p:cxnSp>
          <p:nvCxnSpPr>
            <p:cNvPr id="32" name="Straight Connector 31">
              <a:extLst>
                <a:ext uri="{FF2B5EF4-FFF2-40B4-BE49-F238E27FC236}">
                  <a16:creationId xmlns:a16="http://schemas.microsoft.com/office/drawing/2014/main" id="{9935C652-B768-0258-D810-D8CC30CD714D}"/>
                </a:ext>
              </a:extLst>
            </p:cNvPr>
            <p:cNvCxnSpPr>
              <a:cxnSpLocks/>
            </p:cNvCxnSpPr>
            <p:nvPr/>
          </p:nvCxnSpPr>
          <p:spPr>
            <a:xfrm>
              <a:off x="10334712" y="2060742"/>
              <a:ext cx="1194707" cy="0"/>
            </a:xfrm>
            <a:prstGeom prst="line">
              <a:avLst/>
            </a:prstGeom>
            <a:ln w="19050" cap="rnd">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33" name="Group 32">
              <a:extLst>
                <a:ext uri="{FF2B5EF4-FFF2-40B4-BE49-F238E27FC236}">
                  <a16:creationId xmlns:a16="http://schemas.microsoft.com/office/drawing/2014/main" id="{C9673253-DBE3-7DFF-303D-1F3525E04388}"/>
                </a:ext>
              </a:extLst>
            </p:cNvPr>
            <p:cNvGrpSpPr/>
            <p:nvPr/>
          </p:nvGrpSpPr>
          <p:grpSpPr>
            <a:xfrm>
              <a:off x="10663720" y="1153052"/>
              <a:ext cx="479858" cy="479856"/>
              <a:chOff x="5073920" y="2797526"/>
              <a:chExt cx="644255" cy="644255"/>
            </a:xfrm>
            <a:solidFill>
              <a:schemeClr val="accent2"/>
            </a:solidFill>
          </p:grpSpPr>
          <p:sp>
            <p:nvSpPr>
              <p:cNvPr id="34" name="Oval 33">
                <a:extLst>
                  <a:ext uri="{FF2B5EF4-FFF2-40B4-BE49-F238E27FC236}">
                    <a16:creationId xmlns:a16="http://schemas.microsoft.com/office/drawing/2014/main" id="{685E794F-DB90-7BFA-FEB4-4DC29B8268BE}"/>
                  </a:ext>
                </a:extLst>
              </p:cNvPr>
              <p:cNvSpPr/>
              <p:nvPr/>
            </p:nvSpPr>
            <p:spPr>
              <a:xfrm>
                <a:off x="5185045" y="2908652"/>
                <a:ext cx="422006" cy="4220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5" name="Circle: Hollow 34">
                <a:extLst>
                  <a:ext uri="{FF2B5EF4-FFF2-40B4-BE49-F238E27FC236}">
                    <a16:creationId xmlns:a16="http://schemas.microsoft.com/office/drawing/2014/main" id="{4133AB1C-44F2-B56A-97A5-9B6C0C98BF35}"/>
                  </a:ext>
                </a:extLst>
              </p:cNvPr>
              <p:cNvSpPr/>
              <p:nvPr/>
            </p:nvSpPr>
            <p:spPr>
              <a:xfrm>
                <a:off x="5073920" y="2797526"/>
                <a:ext cx="644255" cy="644255"/>
              </a:xfrm>
              <a:prstGeom prst="donut">
                <a:avLst>
                  <a:gd name="adj" fmla="val 1268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grpSp>
      </p:grpSp>
      <p:sp>
        <p:nvSpPr>
          <p:cNvPr id="151" name="Title 3">
            <a:extLst>
              <a:ext uri="{FF2B5EF4-FFF2-40B4-BE49-F238E27FC236}">
                <a16:creationId xmlns:a16="http://schemas.microsoft.com/office/drawing/2014/main" id="{23918033-B871-EED5-7460-BCAA90942BF9}"/>
              </a:ext>
            </a:extLst>
          </p:cNvPr>
          <p:cNvSpPr txBox="1">
            <a:spLocks/>
          </p:cNvSpPr>
          <p:nvPr/>
        </p:nvSpPr>
        <p:spPr>
          <a:xfrm>
            <a:off x="508000" y="454014"/>
            <a:ext cx="7134225" cy="669934"/>
          </a:xfrm>
          <a:prstGeom prst="rect">
            <a:avLst/>
          </a:prstGeom>
        </p:spPr>
        <p:txBody>
          <a:bodyPr vert="horz" lIns="0" tIns="0" rIns="0" bIns="72000" rtlCol="0" anchor="t" anchorCtr="0">
            <a:noAutofit/>
          </a:bodyPr>
          <a:lstStyle>
            <a:lvl1pPr algn="l" defTabSz="914400" rtl="0" eaLnBrk="1" latinLnBrk="0" hangingPunct="1">
              <a:lnSpc>
                <a:spcPct val="90000"/>
              </a:lnSpc>
              <a:spcBef>
                <a:spcPct val="0"/>
              </a:spcBef>
              <a:buNone/>
              <a:defRPr sz="3200" kern="1200" cap="all" baseline="0">
                <a:solidFill>
                  <a:schemeClr val="tx2"/>
                </a:solidFill>
                <a:latin typeface="+mn-lt"/>
                <a:ea typeface="+mj-ea"/>
                <a:cs typeface="+mj-cs"/>
              </a:defRPr>
            </a:lvl1pPr>
          </a:lstStyle>
          <a:p>
            <a:r>
              <a:rPr lang="en-GB" dirty="0"/>
              <a:t>BUILDING A GLOBAL FIRM</a:t>
            </a:r>
          </a:p>
        </p:txBody>
      </p:sp>
    </p:spTree>
    <p:extLst>
      <p:ext uri="{BB962C8B-B14F-4D97-AF65-F5344CB8AC3E}">
        <p14:creationId xmlns:p14="http://schemas.microsoft.com/office/powerpoint/2010/main" val="3897149532"/>
      </p:ext>
    </p:extLst>
  </p:cSld>
  <p:clrMapOvr>
    <a:masterClrMapping/>
  </p:clrMapOvr>
  <p:transition spd="med">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About u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261A4C7-E98D-3660-5C37-C13B3A230A80}"/>
              </a:ext>
            </a:extLst>
          </p:cNvPr>
          <p:cNvSpPr/>
          <p:nvPr userDrawn="1"/>
        </p:nvSpPr>
        <p:spPr>
          <a:xfrm>
            <a:off x="8126413" y="0"/>
            <a:ext cx="4065587"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Footer Placeholder 4"/>
          <p:cNvSpPr>
            <a:spLocks noGrp="1"/>
          </p:cNvSpPr>
          <p:nvPr>
            <p:ph type="ftr" sz="quarter" idx="11"/>
          </p:nvPr>
        </p:nvSpPr>
        <p:spPr>
          <a:xfrm>
            <a:off x="1244600" y="6350094"/>
            <a:ext cx="4114800" cy="239183"/>
          </a:xfrm>
        </p:spPr>
        <p:txBody>
          <a:bodyPr/>
          <a:lstStyle/>
          <a:p>
            <a:r>
              <a:rPr lang="en-GB"/>
              <a:t>INSERT FOOTER HERE</a:t>
            </a:r>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8CFE0557-AA98-4E6C-B0C3-581794696B68}" type="slidenum">
              <a:rPr lang="en-GB" smtClean="0"/>
              <a:pPr/>
              <a:t>‹#›</a:t>
            </a:fld>
            <a:endParaRPr lang="en-GB" dirty="0"/>
          </a:p>
        </p:txBody>
      </p:sp>
      <p:sp>
        <p:nvSpPr>
          <p:cNvPr id="3" name="TextBox 4">
            <a:extLst>
              <a:ext uri="{FF2B5EF4-FFF2-40B4-BE49-F238E27FC236}">
                <a16:creationId xmlns:a16="http://schemas.microsoft.com/office/drawing/2014/main" id="{059D8B5A-9275-E70C-ABEF-408099EE7215}"/>
              </a:ext>
            </a:extLst>
          </p:cNvPr>
          <p:cNvSpPr txBox="1"/>
          <p:nvPr userDrawn="1"/>
        </p:nvSpPr>
        <p:spPr>
          <a:xfrm>
            <a:off x="12346713" y="109538"/>
            <a:ext cx="1934437" cy="31700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INSERTING IMAGES:</a:t>
            </a:r>
          </a:p>
          <a:p>
            <a:pPr marL="179388" indent="-179388">
              <a:spcBef>
                <a:spcPts val="200"/>
              </a:spcBef>
              <a:spcAft>
                <a:spcPts val="200"/>
              </a:spcAft>
              <a:buFont typeface="+mj-lt"/>
              <a:buAutoNum type="arabicPeriod"/>
            </a:pPr>
            <a:r>
              <a:rPr lang="en-US" sz="900" dirty="0">
                <a:solidFill>
                  <a:schemeClr val="tx1"/>
                </a:solidFill>
                <a:latin typeface="+mn-lt"/>
              </a:rPr>
              <a:t>Simply click the image placeholder and select your image.</a:t>
            </a:r>
          </a:p>
          <a:p>
            <a:pPr marL="179388" indent="-179388">
              <a:spcBef>
                <a:spcPts val="200"/>
              </a:spcBef>
              <a:spcAft>
                <a:spcPts val="200"/>
              </a:spcAft>
              <a:buFont typeface="+mj-lt"/>
              <a:buAutoNum type="arabicPeriod"/>
            </a:pPr>
            <a:r>
              <a:rPr lang="en-US" sz="900" dirty="0">
                <a:solidFill>
                  <a:schemeClr val="tx1"/>
                </a:solidFill>
                <a:latin typeface="+mn-lt"/>
              </a:rPr>
              <a:t>Once your image is inserted into the shape it may be distorted. (Stretched or Squashed)</a:t>
            </a:r>
          </a:p>
          <a:p>
            <a:pPr marL="179388" indent="-179388">
              <a:spcBef>
                <a:spcPts val="200"/>
              </a:spcBef>
              <a:spcAft>
                <a:spcPts val="200"/>
              </a:spcAft>
              <a:buFont typeface="+mj-lt"/>
              <a:buAutoNum type="arabicPeriod"/>
            </a:pPr>
            <a:endParaRPr lang="en-US" sz="900" dirty="0">
              <a:solidFill>
                <a:schemeClr val="tx1"/>
              </a:solidFill>
              <a:latin typeface="+mn-lt"/>
            </a:endParaRPr>
          </a:p>
          <a:p>
            <a:pPr>
              <a:spcBef>
                <a:spcPts val="200"/>
              </a:spcBef>
              <a:spcAft>
                <a:spcPts val="200"/>
              </a:spcAft>
            </a:pPr>
            <a:r>
              <a:rPr lang="en-US" sz="900" b="1" dirty="0">
                <a:solidFill>
                  <a:schemeClr val="tx1"/>
                </a:solidFill>
                <a:latin typeface="+mn-lt"/>
              </a:rPr>
              <a:t>To fix this:</a:t>
            </a:r>
          </a:p>
          <a:p>
            <a:pPr marL="179388" indent="-179388">
              <a:spcBef>
                <a:spcPts val="200"/>
              </a:spcBef>
              <a:spcAft>
                <a:spcPts val="200"/>
              </a:spcAft>
              <a:buFont typeface="+mj-lt"/>
              <a:buAutoNum type="arabicPeriod"/>
            </a:pPr>
            <a:r>
              <a:rPr lang="en-US" sz="900" dirty="0">
                <a:solidFill>
                  <a:schemeClr val="tx1"/>
                </a:solidFill>
                <a:latin typeface="+mn-lt"/>
              </a:rPr>
              <a:t>Click on the image and from the top menu under </a:t>
            </a:r>
            <a:r>
              <a:rPr lang="en-US" sz="900" b="1" dirty="0">
                <a:solidFill>
                  <a:schemeClr val="tx1"/>
                </a:solidFill>
                <a:latin typeface="+mn-lt"/>
              </a:rPr>
              <a:t>PICTURE FORMAT </a:t>
            </a:r>
            <a:r>
              <a:rPr lang="en-US" sz="900" dirty="0">
                <a:solidFill>
                  <a:schemeClr val="tx1"/>
                </a:solidFill>
                <a:latin typeface="+mn-lt"/>
              </a:rPr>
              <a:t>select the </a:t>
            </a:r>
            <a:r>
              <a:rPr lang="en-US" sz="900" b="1" dirty="0">
                <a:solidFill>
                  <a:schemeClr val="tx1"/>
                </a:solidFill>
                <a:latin typeface="+mn-lt"/>
              </a:rPr>
              <a:t>CROP</a:t>
            </a:r>
            <a:r>
              <a:rPr lang="en-US" sz="900" dirty="0">
                <a:solidFill>
                  <a:schemeClr val="tx1"/>
                </a:solidFill>
                <a:latin typeface="+mn-lt"/>
              </a:rPr>
              <a:t> on the right and from the drop down menu select </a:t>
            </a:r>
            <a:r>
              <a:rPr lang="en-US" sz="900" b="1" kern="1200" dirty="0">
                <a:solidFill>
                  <a:schemeClr val="tx1"/>
                </a:solidFill>
                <a:latin typeface="+mn-lt"/>
                <a:ea typeface="+mn-ea"/>
                <a:cs typeface="+mn-cs"/>
              </a:rPr>
              <a:t>FILL</a:t>
            </a:r>
          </a:p>
          <a:p>
            <a:pPr marL="179388" indent="-179388">
              <a:spcBef>
                <a:spcPts val="200"/>
              </a:spcBef>
              <a:spcAft>
                <a:spcPts val="200"/>
              </a:spcAft>
              <a:buFont typeface="+mj-lt"/>
              <a:buAutoNum type="arabicPeriod"/>
            </a:pPr>
            <a:r>
              <a:rPr lang="en-US" sz="900" b="0" kern="1200" dirty="0">
                <a:solidFill>
                  <a:schemeClr val="tx1"/>
                </a:solidFill>
                <a:latin typeface="+mn-lt"/>
                <a:ea typeface="+mn-ea"/>
                <a:cs typeface="+mn-cs"/>
              </a:rPr>
              <a:t>From here you can move the image within the shape for best visual appearance</a:t>
            </a:r>
          </a:p>
        </p:txBody>
      </p:sp>
      <p:sp>
        <p:nvSpPr>
          <p:cNvPr id="7" name="TextBox 6">
            <a:extLst>
              <a:ext uri="{FF2B5EF4-FFF2-40B4-BE49-F238E27FC236}">
                <a16:creationId xmlns:a16="http://schemas.microsoft.com/office/drawing/2014/main" id="{73D10B0A-F22D-7272-14D2-169122397CB5}"/>
              </a:ext>
            </a:extLst>
          </p:cNvPr>
          <p:cNvSpPr txBox="1"/>
          <p:nvPr userDrawn="1"/>
        </p:nvSpPr>
        <p:spPr>
          <a:xfrm>
            <a:off x="8839200" y="1123947"/>
            <a:ext cx="2843213" cy="1447800"/>
          </a:xfrm>
          <a:prstGeom prst="rect">
            <a:avLst/>
          </a:prstGeom>
        </p:spPr>
        <p:txBody>
          <a:bodyPr vert="horz" wrap="square" lIns="0" tIns="45720" rIns="0" bIns="45720" rtlCol="0">
            <a:normAutofit/>
          </a:bodyPr>
          <a:lstStyle/>
          <a:p>
            <a:pPr algn="l">
              <a:lnSpc>
                <a:spcPct val="80000"/>
              </a:lnSpc>
            </a:pPr>
            <a:r>
              <a:rPr lang="en-GB" sz="7200" b="1" dirty="0">
                <a:solidFill>
                  <a:schemeClr val="bg1"/>
                </a:solidFill>
                <a:latin typeface="+mn-lt"/>
              </a:rPr>
              <a:t>700</a:t>
            </a:r>
          </a:p>
          <a:p>
            <a:pPr algn="l">
              <a:lnSpc>
                <a:spcPct val="80000"/>
              </a:lnSpc>
            </a:pPr>
            <a:r>
              <a:rPr lang="en-GB" sz="3200" dirty="0">
                <a:solidFill>
                  <a:schemeClr val="tx2"/>
                </a:solidFill>
                <a:latin typeface="+mn-lt"/>
              </a:rPr>
              <a:t>lawyers</a:t>
            </a:r>
            <a:endParaRPr lang="en-GB" sz="8000" kern="1200" dirty="0">
              <a:solidFill>
                <a:schemeClr val="bg1"/>
              </a:solidFill>
              <a:latin typeface="+mj-lt"/>
              <a:ea typeface="+mn-ea"/>
              <a:cs typeface="+mn-cs"/>
            </a:endParaRPr>
          </a:p>
        </p:txBody>
      </p:sp>
      <p:sp>
        <p:nvSpPr>
          <p:cNvPr id="11" name="TextBox 10">
            <a:extLst>
              <a:ext uri="{FF2B5EF4-FFF2-40B4-BE49-F238E27FC236}">
                <a16:creationId xmlns:a16="http://schemas.microsoft.com/office/drawing/2014/main" id="{67C871FE-B1B0-A638-ADC0-218F5F432E20}"/>
              </a:ext>
            </a:extLst>
          </p:cNvPr>
          <p:cNvSpPr txBox="1"/>
          <p:nvPr userDrawn="1"/>
        </p:nvSpPr>
        <p:spPr>
          <a:xfrm>
            <a:off x="8839200" y="2895933"/>
            <a:ext cx="2843213" cy="1447800"/>
          </a:xfrm>
          <a:prstGeom prst="rect">
            <a:avLst/>
          </a:prstGeom>
        </p:spPr>
        <p:txBody>
          <a:bodyPr vert="horz" wrap="square" lIns="0" tIns="45720" rIns="0" bIns="45720" rtlCol="0">
            <a:normAutofit/>
          </a:bodyPr>
          <a:lstStyle/>
          <a:p>
            <a:pPr algn="l">
              <a:lnSpc>
                <a:spcPct val="80000"/>
              </a:lnSpc>
            </a:pPr>
            <a:r>
              <a:rPr lang="en-GB" sz="7200" b="1" dirty="0">
                <a:solidFill>
                  <a:schemeClr val="bg1"/>
                </a:solidFill>
                <a:latin typeface="+mn-lt"/>
              </a:rPr>
              <a:t>185</a:t>
            </a:r>
          </a:p>
          <a:p>
            <a:pPr algn="l">
              <a:lnSpc>
                <a:spcPct val="80000"/>
              </a:lnSpc>
            </a:pPr>
            <a:r>
              <a:rPr lang="en-GB" sz="3200" dirty="0">
                <a:solidFill>
                  <a:schemeClr val="tx2"/>
                </a:solidFill>
                <a:latin typeface="+mn-lt"/>
              </a:rPr>
              <a:t>partners</a:t>
            </a:r>
            <a:endParaRPr lang="en-GB" sz="8000" kern="1200" dirty="0">
              <a:solidFill>
                <a:schemeClr val="bg1"/>
              </a:solidFill>
              <a:latin typeface="+mj-lt"/>
              <a:ea typeface="+mn-ea"/>
              <a:cs typeface="+mn-cs"/>
            </a:endParaRPr>
          </a:p>
        </p:txBody>
      </p:sp>
      <p:sp>
        <p:nvSpPr>
          <p:cNvPr id="12" name="TextBox 11">
            <a:extLst>
              <a:ext uri="{FF2B5EF4-FFF2-40B4-BE49-F238E27FC236}">
                <a16:creationId xmlns:a16="http://schemas.microsoft.com/office/drawing/2014/main" id="{F11CE0C1-0666-DC6D-F362-A93308F22743}"/>
              </a:ext>
            </a:extLst>
          </p:cNvPr>
          <p:cNvSpPr txBox="1"/>
          <p:nvPr userDrawn="1"/>
        </p:nvSpPr>
        <p:spPr>
          <a:xfrm>
            <a:off x="8839200" y="4667920"/>
            <a:ext cx="2843213" cy="1447800"/>
          </a:xfrm>
          <a:prstGeom prst="rect">
            <a:avLst/>
          </a:prstGeom>
        </p:spPr>
        <p:txBody>
          <a:bodyPr vert="horz" wrap="square" lIns="0" tIns="45720" rIns="0" bIns="45720" rtlCol="0">
            <a:normAutofit/>
          </a:bodyPr>
          <a:lstStyle/>
          <a:p>
            <a:pPr algn="l">
              <a:lnSpc>
                <a:spcPct val="80000"/>
              </a:lnSpc>
            </a:pPr>
            <a:r>
              <a:rPr lang="en-GB" sz="7200" b="1" dirty="0">
                <a:solidFill>
                  <a:schemeClr val="bg1"/>
                </a:solidFill>
                <a:latin typeface="+mn-lt"/>
              </a:rPr>
              <a:t>21</a:t>
            </a:r>
          </a:p>
          <a:p>
            <a:pPr algn="l">
              <a:lnSpc>
                <a:spcPct val="80000"/>
              </a:lnSpc>
            </a:pPr>
            <a:r>
              <a:rPr lang="en-GB" sz="3200" dirty="0">
                <a:solidFill>
                  <a:schemeClr val="tx2"/>
                </a:solidFill>
                <a:latin typeface="+mn-lt"/>
              </a:rPr>
              <a:t>offices</a:t>
            </a:r>
            <a:endParaRPr lang="en-GB" sz="8000" kern="1200" dirty="0">
              <a:solidFill>
                <a:schemeClr val="bg1"/>
              </a:solidFill>
              <a:latin typeface="+mj-lt"/>
              <a:ea typeface="+mn-ea"/>
              <a:cs typeface="+mn-cs"/>
            </a:endParaRPr>
          </a:p>
        </p:txBody>
      </p:sp>
      <p:sp>
        <p:nvSpPr>
          <p:cNvPr id="9" name="Title 3">
            <a:extLst>
              <a:ext uri="{FF2B5EF4-FFF2-40B4-BE49-F238E27FC236}">
                <a16:creationId xmlns:a16="http://schemas.microsoft.com/office/drawing/2014/main" id="{3D309353-E846-B87E-E507-035374B457F5}"/>
              </a:ext>
            </a:extLst>
          </p:cNvPr>
          <p:cNvSpPr txBox="1">
            <a:spLocks/>
          </p:cNvSpPr>
          <p:nvPr userDrawn="1"/>
        </p:nvSpPr>
        <p:spPr>
          <a:xfrm>
            <a:off x="508000" y="454014"/>
            <a:ext cx="7134225" cy="669934"/>
          </a:xfrm>
          <a:prstGeom prst="rect">
            <a:avLst/>
          </a:prstGeom>
        </p:spPr>
        <p:txBody>
          <a:bodyPr vert="horz" lIns="0" tIns="0" rIns="0" bIns="72000" rtlCol="0" anchor="t" anchorCtr="0">
            <a:noAutofit/>
          </a:bodyPr>
          <a:lstStyle>
            <a:lvl1pPr algn="l" defTabSz="914400" rtl="0" eaLnBrk="1" latinLnBrk="0" hangingPunct="1">
              <a:lnSpc>
                <a:spcPct val="90000"/>
              </a:lnSpc>
              <a:spcBef>
                <a:spcPct val="0"/>
              </a:spcBef>
              <a:buNone/>
              <a:defRPr sz="3200" kern="1200" cap="all" baseline="0">
                <a:solidFill>
                  <a:schemeClr val="tx2"/>
                </a:solidFill>
                <a:latin typeface="+mn-lt"/>
                <a:ea typeface="+mj-ea"/>
                <a:cs typeface="+mj-cs"/>
              </a:defRPr>
            </a:lvl1pPr>
          </a:lstStyle>
          <a:p>
            <a:r>
              <a:rPr lang="en-GB" sz="2800" b="1" dirty="0"/>
              <a:t>ABOUT US</a:t>
            </a:r>
          </a:p>
        </p:txBody>
      </p:sp>
      <p:sp>
        <p:nvSpPr>
          <p:cNvPr id="10" name="TextBox 9">
            <a:extLst>
              <a:ext uri="{FF2B5EF4-FFF2-40B4-BE49-F238E27FC236}">
                <a16:creationId xmlns:a16="http://schemas.microsoft.com/office/drawing/2014/main" id="{CDC96D03-984C-02F6-F9B3-744474D84AC3}"/>
              </a:ext>
            </a:extLst>
          </p:cNvPr>
          <p:cNvSpPr txBox="1"/>
          <p:nvPr userDrawn="1"/>
        </p:nvSpPr>
        <p:spPr>
          <a:xfrm>
            <a:off x="504827" y="1123946"/>
            <a:ext cx="4515694" cy="1400814"/>
          </a:xfrm>
          <a:prstGeom prst="rect">
            <a:avLst/>
          </a:prstGeom>
        </p:spPr>
        <p:txBody>
          <a:bodyPr vert="horz" wrap="square" lIns="0" tIns="45720" rIns="0" bIns="45720" rtlCol="0">
            <a:normAutofit lnSpcReduction="10000"/>
          </a:bodyPr>
          <a:lstStyle/>
          <a:p>
            <a:pPr marL="0" lvl="0" indent="0" algn="l" defTabSz="914400" rtl="0" eaLnBrk="1" latinLnBrk="0" hangingPunct="1">
              <a:lnSpc>
                <a:spcPct val="110000"/>
              </a:lnSpc>
              <a:spcBef>
                <a:spcPts val="300"/>
              </a:spcBef>
              <a:spcAft>
                <a:spcPts val="300"/>
              </a:spcAft>
              <a:buFont typeface="Arial" panose="020B0604020202020204" pitchFamily="34" charset="0"/>
              <a:buNone/>
            </a:pPr>
            <a:r>
              <a:rPr lang="en-US" sz="2000" b="1" kern="1200" dirty="0">
                <a:solidFill>
                  <a:schemeClr val="accent2"/>
                </a:solidFill>
                <a:latin typeface="+mn-lt"/>
                <a:ea typeface="+mn-ea"/>
                <a:cs typeface="+mn-cs"/>
              </a:rPr>
              <a:t>We are a leading global law firm </a:t>
            </a:r>
            <a:br>
              <a:rPr lang="en-US" sz="2000" b="1" kern="1200" dirty="0">
                <a:solidFill>
                  <a:schemeClr val="accent2"/>
                </a:solidFill>
                <a:latin typeface="+mn-lt"/>
                <a:ea typeface="+mn-ea"/>
                <a:cs typeface="+mn-cs"/>
              </a:rPr>
            </a:br>
            <a:r>
              <a:rPr lang="en-US" sz="2000" b="1" kern="1200" dirty="0">
                <a:solidFill>
                  <a:schemeClr val="accent2"/>
                </a:solidFill>
                <a:latin typeface="+mn-lt"/>
                <a:ea typeface="+mn-ea"/>
                <a:cs typeface="+mn-cs"/>
              </a:rPr>
              <a:t>in the aerospace, commodities, construction, energy, insurance, and shipping sectors.</a:t>
            </a:r>
          </a:p>
        </p:txBody>
      </p:sp>
      <p:sp>
        <p:nvSpPr>
          <p:cNvPr id="13" name="TextBox 12">
            <a:extLst>
              <a:ext uri="{FF2B5EF4-FFF2-40B4-BE49-F238E27FC236}">
                <a16:creationId xmlns:a16="http://schemas.microsoft.com/office/drawing/2014/main" id="{ED36428F-05BF-6A45-7E21-F8FED5875160}"/>
              </a:ext>
            </a:extLst>
          </p:cNvPr>
          <p:cNvSpPr txBox="1"/>
          <p:nvPr userDrawn="1"/>
        </p:nvSpPr>
        <p:spPr>
          <a:xfrm>
            <a:off x="504825" y="2571748"/>
            <a:ext cx="4498267" cy="1468744"/>
          </a:xfrm>
          <a:prstGeom prst="rect">
            <a:avLst/>
          </a:prstGeom>
        </p:spPr>
        <p:txBody>
          <a:bodyPr vert="horz" lIns="0" tIns="45720" rIns="0" bIns="45720" rtlCol="0">
            <a:normAutofit/>
          </a:bodyPr>
          <a:lstStyle>
            <a:lvl1pPr indent="0" defTabSz="914400">
              <a:lnSpc>
                <a:spcPct val="130000"/>
              </a:lnSpc>
              <a:spcBef>
                <a:spcPts val="300"/>
              </a:spcBef>
              <a:spcAft>
                <a:spcPts val="300"/>
              </a:spcAft>
              <a:buFont typeface="Arial" panose="020B0604020202020204" pitchFamily="34" charset="0"/>
              <a:buNone/>
              <a:defRPr sz="1400">
                <a:solidFill>
                  <a:schemeClr val="tx2"/>
                </a:solidFill>
                <a:latin typeface="+mj-lt"/>
              </a:defRPr>
            </a:lvl1pPr>
            <a:lvl2pPr marL="0" lvl="1" indent="0" defTabSz="914400">
              <a:lnSpc>
                <a:spcPct val="130000"/>
              </a:lnSpc>
              <a:spcBef>
                <a:spcPts val="300"/>
              </a:spcBef>
              <a:spcAft>
                <a:spcPts val="300"/>
              </a:spcAft>
              <a:buFont typeface="Arial" panose="020B0604020202020204" pitchFamily="34" charset="0"/>
              <a:buNone/>
              <a:defRPr sz="1100"/>
            </a:lvl2pPr>
            <a:lvl3pPr marL="180975" indent="-180975" defTabSz="914400">
              <a:lnSpc>
                <a:spcPct val="130000"/>
              </a:lnSpc>
              <a:spcBef>
                <a:spcPts val="300"/>
              </a:spcBef>
              <a:spcAft>
                <a:spcPts val="300"/>
              </a:spcAft>
              <a:buClr>
                <a:schemeClr val="tx2"/>
              </a:buClr>
              <a:buSzPct val="105000"/>
              <a:buFont typeface="Arial" panose="020B0604020202020204" pitchFamily="34" charset="0"/>
              <a:buChar char="•"/>
              <a:defRPr sz="1100"/>
            </a:lvl3pPr>
            <a:lvl4pPr marL="539750" indent="-180975" defTabSz="914400">
              <a:lnSpc>
                <a:spcPct val="130000"/>
              </a:lnSpc>
              <a:spcBef>
                <a:spcPts val="300"/>
              </a:spcBef>
              <a:spcAft>
                <a:spcPts val="300"/>
              </a:spcAft>
              <a:buClr>
                <a:schemeClr val="tx2"/>
              </a:buClr>
              <a:buSzPct val="105000"/>
              <a:buFont typeface="Arial" panose="020B0604020202020204" pitchFamily="34" charset="0"/>
              <a:buChar char="•"/>
              <a:defRPr sz="1050"/>
            </a:lvl4pPr>
            <a:lvl5pPr marL="898525" indent="-180975" defTabSz="914400">
              <a:lnSpc>
                <a:spcPct val="130000"/>
              </a:lnSpc>
              <a:spcBef>
                <a:spcPts val="300"/>
              </a:spcBef>
              <a:spcAft>
                <a:spcPts val="300"/>
              </a:spcAft>
              <a:buClr>
                <a:schemeClr val="tx2"/>
              </a:buClr>
              <a:buSzPct val="105000"/>
              <a:buFont typeface="Arial" panose="020B0604020202020204" pitchFamily="34" charset="0"/>
              <a:buChar char="•"/>
              <a:defRPr sz="105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1"/>
            <a:r>
              <a:rPr lang="en-GB" sz="1100" dirty="0"/>
              <a:t>HFW was founded over 140 years ago. We are unapologetically, true sector experts. Clients come to us because of our deep industry expertise and ability to think about the commercial solution first, and then underpin our advice with a solid foundation of legal expertise.</a:t>
            </a:r>
            <a:endParaRPr lang="en-GB" dirty="0"/>
          </a:p>
        </p:txBody>
      </p:sp>
      <p:sp>
        <p:nvSpPr>
          <p:cNvPr id="15" name="Freeform: Shape 14">
            <a:extLst>
              <a:ext uri="{FF2B5EF4-FFF2-40B4-BE49-F238E27FC236}">
                <a16:creationId xmlns:a16="http://schemas.microsoft.com/office/drawing/2014/main" id="{32C92CD0-BBF2-5139-98FC-5FE9DD234A65}"/>
              </a:ext>
            </a:extLst>
          </p:cNvPr>
          <p:cNvSpPr/>
          <p:nvPr userDrawn="1"/>
        </p:nvSpPr>
        <p:spPr>
          <a:xfrm>
            <a:off x="4059321" y="5175462"/>
            <a:ext cx="961200" cy="964800"/>
          </a:xfrm>
          <a:custGeom>
            <a:avLst/>
            <a:gdLst>
              <a:gd name="connsiteX0" fmla="*/ 291169 w 586112"/>
              <a:gd name="connsiteY0" fmla="*/ 297268 h 586450"/>
              <a:gd name="connsiteX1" fmla="*/ 117027 w 586112"/>
              <a:gd name="connsiteY1" fmla="*/ 315633 h 586450"/>
              <a:gd name="connsiteX2" fmla="*/ 113758 w 586112"/>
              <a:gd name="connsiteY2" fmla="*/ 315970 h 586450"/>
              <a:gd name="connsiteX3" fmla="*/ 110321 w 586112"/>
              <a:gd name="connsiteY3" fmla="*/ 322776 h 586450"/>
              <a:gd name="connsiteX4" fmla="*/ 174984 w 586112"/>
              <a:gd name="connsiteY4" fmla="*/ 455169 h 586450"/>
              <a:gd name="connsiteX5" fmla="*/ 410824 w 586112"/>
              <a:gd name="connsiteY5" fmla="*/ 455169 h 586450"/>
              <a:gd name="connsiteX6" fmla="*/ 475420 w 586112"/>
              <a:gd name="connsiteY6" fmla="*/ 322776 h 586450"/>
              <a:gd name="connsiteX7" fmla="*/ 471949 w 586112"/>
              <a:gd name="connsiteY7" fmla="*/ 315970 h 586450"/>
              <a:gd name="connsiteX8" fmla="*/ 470433 w 586112"/>
              <a:gd name="connsiteY8" fmla="*/ 315835 h 586450"/>
              <a:gd name="connsiteX9" fmla="*/ 291944 w 586112"/>
              <a:gd name="connsiteY9" fmla="*/ 297369 h 586450"/>
              <a:gd name="connsiteX10" fmla="*/ 301345 w 586112"/>
              <a:gd name="connsiteY10" fmla="*/ 264010 h 586450"/>
              <a:gd name="connsiteX11" fmla="*/ 301345 w 586112"/>
              <a:gd name="connsiteY11" fmla="*/ 279510 h 586450"/>
              <a:gd name="connsiteX12" fmla="*/ 303872 w 586112"/>
              <a:gd name="connsiteY12" fmla="*/ 279780 h 586450"/>
              <a:gd name="connsiteX13" fmla="*/ 366143 w 586112"/>
              <a:gd name="connsiteY13" fmla="*/ 286249 h 586450"/>
              <a:gd name="connsiteX14" fmla="*/ 366143 w 586112"/>
              <a:gd name="connsiteY14" fmla="*/ 264010 h 586450"/>
              <a:gd name="connsiteX15" fmla="*/ 384878 w 586112"/>
              <a:gd name="connsiteY15" fmla="*/ 263976 h 586450"/>
              <a:gd name="connsiteX16" fmla="*/ 384878 w 586112"/>
              <a:gd name="connsiteY16" fmla="*/ 288136 h 586450"/>
              <a:gd name="connsiteX17" fmla="*/ 386934 w 586112"/>
              <a:gd name="connsiteY17" fmla="*/ 288372 h 586450"/>
              <a:gd name="connsiteX18" fmla="*/ 451732 w 586112"/>
              <a:gd name="connsiteY18" fmla="*/ 295078 h 586450"/>
              <a:gd name="connsiteX19" fmla="*/ 451732 w 586112"/>
              <a:gd name="connsiteY19" fmla="*/ 263976 h 586450"/>
              <a:gd name="connsiteX20" fmla="*/ 218351 w 586112"/>
              <a:gd name="connsiteY20" fmla="*/ 263976 h 586450"/>
              <a:gd name="connsiteX21" fmla="*/ 218351 w 586112"/>
              <a:gd name="connsiteY21" fmla="*/ 286081 h 586450"/>
              <a:gd name="connsiteX22" fmla="*/ 221350 w 586112"/>
              <a:gd name="connsiteY22" fmla="*/ 285811 h 586450"/>
              <a:gd name="connsiteX23" fmla="*/ 282644 w 586112"/>
              <a:gd name="connsiteY23" fmla="*/ 279342 h 586450"/>
              <a:gd name="connsiteX24" fmla="*/ 282644 w 586112"/>
              <a:gd name="connsiteY24" fmla="*/ 263976 h 586450"/>
              <a:gd name="connsiteX25" fmla="*/ 218385 w 586112"/>
              <a:gd name="connsiteY25" fmla="*/ 263976 h 586450"/>
              <a:gd name="connsiteX26" fmla="*/ 135796 w 586112"/>
              <a:gd name="connsiteY26" fmla="*/ 263976 h 586450"/>
              <a:gd name="connsiteX27" fmla="*/ 135796 w 586112"/>
              <a:gd name="connsiteY27" fmla="*/ 294808 h 586450"/>
              <a:gd name="connsiteX28" fmla="*/ 199583 w 586112"/>
              <a:gd name="connsiteY28" fmla="*/ 288103 h 586450"/>
              <a:gd name="connsiteX29" fmla="*/ 199583 w 586112"/>
              <a:gd name="connsiteY29" fmla="*/ 263976 h 586450"/>
              <a:gd name="connsiteX30" fmla="*/ 384878 w 586112"/>
              <a:gd name="connsiteY30" fmla="*/ 209725 h 586450"/>
              <a:gd name="connsiteX31" fmla="*/ 384878 w 586112"/>
              <a:gd name="connsiteY31" fmla="*/ 245241 h 586450"/>
              <a:gd name="connsiteX32" fmla="*/ 451732 w 586112"/>
              <a:gd name="connsiteY32" fmla="*/ 245241 h 586450"/>
              <a:gd name="connsiteX33" fmla="*/ 451732 w 586112"/>
              <a:gd name="connsiteY33" fmla="*/ 209725 h 586450"/>
              <a:gd name="connsiteX34" fmla="*/ 301345 w 586112"/>
              <a:gd name="connsiteY34" fmla="*/ 209725 h 586450"/>
              <a:gd name="connsiteX35" fmla="*/ 301345 w 586112"/>
              <a:gd name="connsiteY35" fmla="*/ 245241 h 586450"/>
              <a:gd name="connsiteX36" fmla="*/ 366143 w 586112"/>
              <a:gd name="connsiteY36" fmla="*/ 245241 h 586450"/>
              <a:gd name="connsiteX37" fmla="*/ 366143 w 586112"/>
              <a:gd name="connsiteY37" fmla="*/ 209725 h 586450"/>
              <a:gd name="connsiteX38" fmla="*/ 218351 w 586112"/>
              <a:gd name="connsiteY38" fmla="*/ 209725 h 586450"/>
              <a:gd name="connsiteX39" fmla="*/ 218351 w 586112"/>
              <a:gd name="connsiteY39" fmla="*/ 245241 h 586450"/>
              <a:gd name="connsiteX40" fmla="*/ 282610 w 586112"/>
              <a:gd name="connsiteY40" fmla="*/ 245241 h 586450"/>
              <a:gd name="connsiteX41" fmla="*/ 282610 w 586112"/>
              <a:gd name="connsiteY41" fmla="*/ 209725 h 586450"/>
              <a:gd name="connsiteX42" fmla="*/ 135829 w 586112"/>
              <a:gd name="connsiteY42" fmla="*/ 209725 h 586450"/>
              <a:gd name="connsiteX43" fmla="*/ 135829 w 586112"/>
              <a:gd name="connsiteY43" fmla="*/ 245241 h 586450"/>
              <a:gd name="connsiteX44" fmla="*/ 199616 w 586112"/>
              <a:gd name="connsiteY44" fmla="*/ 245241 h 586450"/>
              <a:gd name="connsiteX45" fmla="*/ 199616 w 586112"/>
              <a:gd name="connsiteY45" fmla="*/ 209725 h 586450"/>
              <a:gd name="connsiteX46" fmla="*/ 204637 w 586112"/>
              <a:gd name="connsiteY46" fmla="*/ 127102 h 586450"/>
              <a:gd name="connsiteX47" fmla="*/ 204637 w 586112"/>
              <a:gd name="connsiteY47" fmla="*/ 155205 h 586450"/>
              <a:gd name="connsiteX48" fmla="*/ 242107 w 586112"/>
              <a:gd name="connsiteY48" fmla="*/ 155205 h 586450"/>
              <a:gd name="connsiteX49" fmla="*/ 242107 w 586112"/>
              <a:gd name="connsiteY49" fmla="*/ 190990 h 586450"/>
              <a:gd name="connsiteX50" fmla="*/ 345150 w 586112"/>
              <a:gd name="connsiteY50" fmla="*/ 190990 h 586450"/>
              <a:gd name="connsiteX51" fmla="*/ 345150 w 586112"/>
              <a:gd name="connsiteY51" fmla="*/ 155205 h 586450"/>
              <a:gd name="connsiteX52" fmla="*/ 382621 w 586112"/>
              <a:gd name="connsiteY52" fmla="*/ 155205 h 586450"/>
              <a:gd name="connsiteX53" fmla="*/ 382621 w 586112"/>
              <a:gd name="connsiteY53" fmla="*/ 127102 h 586450"/>
              <a:gd name="connsiteX54" fmla="*/ 293056 w 586112"/>
              <a:gd name="connsiteY54" fmla="*/ 0 h 586450"/>
              <a:gd name="connsiteX55" fmla="*/ 586112 w 586112"/>
              <a:gd name="connsiteY55" fmla="*/ 293225 h 586450"/>
              <a:gd name="connsiteX56" fmla="*/ 293056 w 586112"/>
              <a:gd name="connsiteY56" fmla="*/ 586450 h 586450"/>
              <a:gd name="connsiteX57" fmla="*/ 0 w 586112"/>
              <a:gd name="connsiteY57" fmla="*/ 293225 h 586450"/>
              <a:gd name="connsiteX58" fmla="*/ 293056 w 586112"/>
              <a:gd name="connsiteY58" fmla="*/ 0 h 586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586112" h="586450">
                <a:moveTo>
                  <a:pt x="291169" y="297268"/>
                </a:moveTo>
                <a:lnTo>
                  <a:pt x="117027" y="315633"/>
                </a:lnTo>
                <a:lnTo>
                  <a:pt x="113758" y="315970"/>
                </a:lnTo>
                <a:cubicBezTo>
                  <a:pt x="110456" y="316374"/>
                  <a:pt x="108704" y="319979"/>
                  <a:pt x="110321" y="322776"/>
                </a:cubicBezTo>
                <a:lnTo>
                  <a:pt x="174984" y="455169"/>
                </a:lnTo>
                <a:lnTo>
                  <a:pt x="410824" y="455169"/>
                </a:lnTo>
                <a:lnTo>
                  <a:pt x="475420" y="322776"/>
                </a:lnTo>
                <a:cubicBezTo>
                  <a:pt x="477071" y="319946"/>
                  <a:pt x="475218" y="316340"/>
                  <a:pt x="471949" y="315970"/>
                </a:cubicBezTo>
                <a:lnTo>
                  <a:pt x="470433" y="315835"/>
                </a:lnTo>
                <a:lnTo>
                  <a:pt x="291944" y="297369"/>
                </a:lnTo>
                <a:close/>
                <a:moveTo>
                  <a:pt x="301345" y="264010"/>
                </a:moveTo>
                <a:lnTo>
                  <a:pt x="301345" y="279510"/>
                </a:lnTo>
                <a:lnTo>
                  <a:pt x="303872" y="279780"/>
                </a:lnTo>
                <a:lnTo>
                  <a:pt x="366143" y="286249"/>
                </a:lnTo>
                <a:lnTo>
                  <a:pt x="366143" y="264010"/>
                </a:lnTo>
                <a:close/>
                <a:moveTo>
                  <a:pt x="384878" y="263976"/>
                </a:moveTo>
                <a:lnTo>
                  <a:pt x="384878" y="288136"/>
                </a:lnTo>
                <a:lnTo>
                  <a:pt x="386934" y="288372"/>
                </a:lnTo>
                <a:lnTo>
                  <a:pt x="451732" y="295078"/>
                </a:lnTo>
                <a:lnTo>
                  <a:pt x="451732" y="263976"/>
                </a:lnTo>
                <a:close/>
                <a:moveTo>
                  <a:pt x="218351" y="263976"/>
                </a:moveTo>
                <a:lnTo>
                  <a:pt x="218351" y="286081"/>
                </a:lnTo>
                <a:lnTo>
                  <a:pt x="221350" y="285811"/>
                </a:lnTo>
                <a:lnTo>
                  <a:pt x="282644" y="279342"/>
                </a:lnTo>
                <a:lnTo>
                  <a:pt x="282644" y="263976"/>
                </a:lnTo>
                <a:lnTo>
                  <a:pt x="218385" y="263976"/>
                </a:lnTo>
                <a:close/>
                <a:moveTo>
                  <a:pt x="135796" y="263976"/>
                </a:moveTo>
                <a:lnTo>
                  <a:pt x="135796" y="294808"/>
                </a:lnTo>
                <a:lnTo>
                  <a:pt x="199583" y="288103"/>
                </a:lnTo>
                <a:lnTo>
                  <a:pt x="199583" y="263976"/>
                </a:lnTo>
                <a:close/>
                <a:moveTo>
                  <a:pt x="384878" y="209725"/>
                </a:moveTo>
                <a:lnTo>
                  <a:pt x="384878" y="245241"/>
                </a:lnTo>
                <a:lnTo>
                  <a:pt x="451732" y="245241"/>
                </a:lnTo>
                <a:lnTo>
                  <a:pt x="451732" y="209725"/>
                </a:lnTo>
                <a:close/>
                <a:moveTo>
                  <a:pt x="301345" y="209725"/>
                </a:moveTo>
                <a:lnTo>
                  <a:pt x="301345" y="245241"/>
                </a:lnTo>
                <a:lnTo>
                  <a:pt x="366143" y="245241"/>
                </a:lnTo>
                <a:lnTo>
                  <a:pt x="366143" y="209725"/>
                </a:lnTo>
                <a:close/>
                <a:moveTo>
                  <a:pt x="218351" y="209725"/>
                </a:moveTo>
                <a:lnTo>
                  <a:pt x="218351" y="245241"/>
                </a:lnTo>
                <a:lnTo>
                  <a:pt x="282610" y="245241"/>
                </a:lnTo>
                <a:lnTo>
                  <a:pt x="282610" y="209725"/>
                </a:lnTo>
                <a:close/>
                <a:moveTo>
                  <a:pt x="135829" y="209725"/>
                </a:moveTo>
                <a:lnTo>
                  <a:pt x="135829" y="245241"/>
                </a:lnTo>
                <a:lnTo>
                  <a:pt x="199616" y="245241"/>
                </a:lnTo>
                <a:lnTo>
                  <a:pt x="199616" y="209725"/>
                </a:lnTo>
                <a:close/>
                <a:moveTo>
                  <a:pt x="204637" y="127102"/>
                </a:moveTo>
                <a:lnTo>
                  <a:pt x="204637" y="155205"/>
                </a:lnTo>
                <a:lnTo>
                  <a:pt x="242107" y="155205"/>
                </a:lnTo>
                <a:lnTo>
                  <a:pt x="242107" y="190990"/>
                </a:lnTo>
                <a:lnTo>
                  <a:pt x="345150" y="190990"/>
                </a:lnTo>
                <a:lnTo>
                  <a:pt x="345150" y="155205"/>
                </a:lnTo>
                <a:lnTo>
                  <a:pt x="382621" y="155205"/>
                </a:lnTo>
                <a:lnTo>
                  <a:pt x="382621" y="127102"/>
                </a:lnTo>
                <a:close/>
                <a:moveTo>
                  <a:pt x="293056" y="0"/>
                </a:moveTo>
                <a:cubicBezTo>
                  <a:pt x="454899" y="0"/>
                  <a:pt x="586112" y="131281"/>
                  <a:pt x="586112" y="293225"/>
                </a:cubicBezTo>
                <a:cubicBezTo>
                  <a:pt x="586112" y="455169"/>
                  <a:pt x="454899" y="586450"/>
                  <a:pt x="293056" y="586450"/>
                </a:cubicBezTo>
                <a:cubicBezTo>
                  <a:pt x="131213" y="586450"/>
                  <a:pt x="0" y="455169"/>
                  <a:pt x="0" y="293225"/>
                </a:cubicBezTo>
                <a:cubicBezTo>
                  <a:pt x="0" y="131281"/>
                  <a:pt x="131213" y="0"/>
                  <a:pt x="293056" y="0"/>
                </a:cubicBezTo>
                <a:close/>
              </a:path>
            </a:pathLst>
          </a:custGeom>
          <a:solidFill>
            <a:schemeClr val="accent2"/>
          </a:solidFill>
          <a:ln w="3364" cap="flat">
            <a:noFill/>
            <a:prstDash val="solid"/>
            <a:miter/>
          </a:ln>
        </p:spPr>
        <p:txBody>
          <a:bodyPr wrap="square" rtlCol="0" anchor="ctr">
            <a:noAutofit/>
          </a:bodyPr>
          <a:lstStyle/>
          <a:p>
            <a:endParaRPr lang="en-GB"/>
          </a:p>
        </p:txBody>
      </p:sp>
      <p:sp>
        <p:nvSpPr>
          <p:cNvPr id="16" name="Freeform: Shape 15">
            <a:extLst>
              <a:ext uri="{FF2B5EF4-FFF2-40B4-BE49-F238E27FC236}">
                <a16:creationId xmlns:a16="http://schemas.microsoft.com/office/drawing/2014/main" id="{FF99F7FF-1D2E-058E-2318-E190A6E84247}"/>
              </a:ext>
            </a:extLst>
          </p:cNvPr>
          <p:cNvSpPr/>
          <p:nvPr userDrawn="1"/>
        </p:nvSpPr>
        <p:spPr>
          <a:xfrm>
            <a:off x="2366819" y="5177147"/>
            <a:ext cx="962563" cy="963115"/>
          </a:xfrm>
          <a:custGeom>
            <a:avLst/>
            <a:gdLst>
              <a:gd name="connsiteX0" fmla="*/ 293259 w 586113"/>
              <a:gd name="connsiteY0" fmla="*/ 293360 h 586450"/>
              <a:gd name="connsiteX1" fmla="*/ 271963 w 586113"/>
              <a:gd name="connsiteY1" fmla="*/ 303300 h 586450"/>
              <a:gd name="connsiteX2" fmla="*/ 266909 w 586113"/>
              <a:gd name="connsiteY2" fmla="*/ 312162 h 586450"/>
              <a:gd name="connsiteX3" fmla="*/ 265392 w 586113"/>
              <a:gd name="connsiteY3" fmla="*/ 321024 h 586450"/>
              <a:gd name="connsiteX4" fmla="*/ 265392 w 586113"/>
              <a:gd name="connsiteY4" fmla="*/ 321159 h 586450"/>
              <a:gd name="connsiteX5" fmla="*/ 275973 w 586113"/>
              <a:gd name="connsiteY5" fmla="*/ 342994 h 586450"/>
              <a:gd name="connsiteX6" fmla="*/ 279848 w 586113"/>
              <a:gd name="connsiteY6" fmla="*/ 346060 h 586450"/>
              <a:gd name="connsiteX7" fmla="*/ 275703 w 586113"/>
              <a:gd name="connsiteY7" fmla="*/ 381711 h 586450"/>
              <a:gd name="connsiteX8" fmla="*/ 310714 w 586113"/>
              <a:gd name="connsiteY8" fmla="*/ 381711 h 586450"/>
              <a:gd name="connsiteX9" fmla="*/ 306502 w 586113"/>
              <a:gd name="connsiteY9" fmla="*/ 346060 h 586450"/>
              <a:gd name="connsiteX10" fmla="*/ 310444 w 586113"/>
              <a:gd name="connsiteY10" fmla="*/ 342994 h 586450"/>
              <a:gd name="connsiteX11" fmla="*/ 321025 w 586113"/>
              <a:gd name="connsiteY11" fmla="*/ 321159 h 586450"/>
              <a:gd name="connsiteX12" fmla="*/ 321025 w 586113"/>
              <a:gd name="connsiteY12" fmla="*/ 321024 h 586450"/>
              <a:gd name="connsiteX13" fmla="*/ 321092 w 586113"/>
              <a:gd name="connsiteY13" fmla="*/ 321024 h 586450"/>
              <a:gd name="connsiteX14" fmla="*/ 319576 w 586113"/>
              <a:gd name="connsiteY14" fmla="*/ 312162 h 586450"/>
              <a:gd name="connsiteX15" fmla="*/ 314521 w 586113"/>
              <a:gd name="connsiteY15" fmla="*/ 303300 h 586450"/>
              <a:gd name="connsiteX16" fmla="*/ 293259 w 586113"/>
              <a:gd name="connsiteY16" fmla="*/ 293360 h 586450"/>
              <a:gd name="connsiteX17" fmla="*/ 293259 w 586113"/>
              <a:gd name="connsiteY17" fmla="*/ 275635 h 586450"/>
              <a:gd name="connsiteX18" fmla="*/ 335143 w 586113"/>
              <a:gd name="connsiteY18" fmla="*/ 303300 h 586450"/>
              <a:gd name="connsiteX19" fmla="*/ 337940 w 586113"/>
              <a:gd name="connsiteY19" fmla="*/ 312162 h 586450"/>
              <a:gd name="connsiteX20" fmla="*/ 338816 w 586113"/>
              <a:gd name="connsiteY20" fmla="*/ 321024 h 586450"/>
              <a:gd name="connsiteX21" fmla="*/ 338816 w 586113"/>
              <a:gd name="connsiteY21" fmla="*/ 321159 h 586450"/>
              <a:gd name="connsiteX22" fmla="*/ 325304 w 586113"/>
              <a:gd name="connsiteY22" fmla="*/ 353507 h 586450"/>
              <a:gd name="connsiteX23" fmla="*/ 330696 w 586113"/>
              <a:gd name="connsiteY23" fmla="*/ 399469 h 586450"/>
              <a:gd name="connsiteX24" fmla="*/ 255822 w 586113"/>
              <a:gd name="connsiteY24" fmla="*/ 399469 h 586450"/>
              <a:gd name="connsiteX25" fmla="*/ 261180 w 586113"/>
              <a:gd name="connsiteY25" fmla="*/ 353507 h 586450"/>
              <a:gd name="connsiteX26" fmla="*/ 247668 w 586113"/>
              <a:gd name="connsiteY26" fmla="*/ 321159 h 586450"/>
              <a:gd name="connsiteX27" fmla="*/ 247668 w 586113"/>
              <a:gd name="connsiteY27" fmla="*/ 321024 h 586450"/>
              <a:gd name="connsiteX28" fmla="*/ 248578 w 586113"/>
              <a:gd name="connsiteY28" fmla="*/ 312162 h 586450"/>
              <a:gd name="connsiteX29" fmla="*/ 251375 w 586113"/>
              <a:gd name="connsiteY29" fmla="*/ 303300 h 586450"/>
              <a:gd name="connsiteX30" fmla="*/ 293259 w 586113"/>
              <a:gd name="connsiteY30" fmla="*/ 275635 h 586450"/>
              <a:gd name="connsiteX31" fmla="*/ 166022 w 586113"/>
              <a:gd name="connsiteY31" fmla="*/ 239445 h 586450"/>
              <a:gd name="connsiteX32" fmla="*/ 166022 w 586113"/>
              <a:gd name="connsiteY32" fmla="*/ 449137 h 586450"/>
              <a:gd name="connsiteX33" fmla="*/ 420530 w 586113"/>
              <a:gd name="connsiteY33" fmla="*/ 449137 h 586450"/>
              <a:gd name="connsiteX34" fmla="*/ 420530 w 586113"/>
              <a:gd name="connsiteY34" fmla="*/ 239445 h 586450"/>
              <a:gd name="connsiteX35" fmla="*/ 293259 w 586113"/>
              <a:gd name="connsiteY35" fmla="*/ 122014 h 586450"/>
              <a:gd name="connsiteX36" fmla="*/ 193754 w 586113"/>
              <a:gd name="connsiteY36" fmla="*/ 221553 h 586450"/>
              <a:gd name="connsiteX37" fmla="*/ 193754 w 586113"/>
              <a:gd name="connsiteY37" fmla="*/ 221721 h 586450"/>
              <a:gd name="connsiteX38" fmla="*/ 211478 w 586113"/>
              <a:gd name="connsiteY38" fmla="*/ 221721 h 586450"/>
              <a:gd name="connsiteX39" fmla="*/ 211478 w 586113"/>
              <a:gd name="connsiteY39" fmla="*/ 221553 h 586450"/>
              <a:gd name="connsiteX40" fmla="*/ 293259 w 586113"/>
              <a:gd name="connsiteY40" fmla="*/ 139738 h 586450"/>
              <a:gd name="connsiteX41" fmla="*/ 375073 w 586113"/>
              <a:gd name="connsiteY41" fmla="*/ 221553 h 586450"/>
              <a:gd name="connsiteX42" fmla="*/ 375073 w 586113"/>
              <a:gd name="connsiteY42" fmla="*/ 221721 h 586450"/>
              <a:gd name="connsiteX43" fmla="*/ 392798 w 586113"/>
              <a:gd name="connsiteY43" fmla="*/ 221721 h 586450"/>
              <a:gd name="connsiteX44" fmla="*/ 392798 w 586113"/>
              <a:gd name="connsiteY44" fmla="*/ 221553 h 586450"/>
              <a:gd name="connsiteX45" fmla="*/ 293259 w 586113"/>
              <a:gd name="connsiteY45" fmla="*/ 122014 h 586450"/>
              <a:gd name="connsiteX46" fmla="*/ 293056 w 586113"/>
              <a:gd name="connsiteY46" fmla="*/ 0 h 586450"/>
              <a:gd name="connsiteX47" fmla="*/ 586113 w 586113"/>
              <a:gd name="connsiteY47" fmla="*/ 293225 h 586450"/>
              <a:gd name="connsiteX48" fmla="*/ 293056 w 586113"/>
              <a:gd name="connsiteY48" fmla="*/ 586450 h 586450"/>
              <a:gd name="connsiteX49" fmla="*/ 0 w 586113"/>
              <a:gd name="connsiteY49" fmla="*/ 293225 h 586450"/>
              <a:gd name="connsiteX50" fmla="*/ 293056 w 586113"/>
              <a:gd name="connsiteY50" fmla="*/ 0 h 586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586113" h="586450">
                <a:moveTo>
                  <a:pt x="293259" y="293360"/>
                </a:moveTo>
                <a:cubicBezTo>
                  <a:pt x="284700" y="293360"/>
                  <a:pt x="277085" y="297235"/>
                  <a:pt x="271963" y="303300"/>
                </a:cubicBezTo>
                <a:cubicBezTo>
                  <a:pt x="269739" y="305928"/>
                  <a:pt x="268021" y="308893"/>
                  <a:pt x="266909" y="312162"/>
                </a:cubicBezTo>
                <a:cubicBezTo>
                  <a:pt x="265898" y="314959"/>
                  <a:pt x="265392" y="317924"/>
                  <a:pt x="265392" y="321024"/>
                </a:cubicBezTo>
                <a:lnTo>
                  <a:pt x="265392" y="321159"/>
                </a:lnTo>
                <a:cubicBezTo>
                  <a:pt x="265392" y="329751"/>
                  <a:pt x="269234" y="337670"/>
                  <a:pt x="275973" y="342994"/>
                </a:cubicBezTo>
                <a:lnTo>
                  <a:pt x="279848" y="346060"/>
                </a:lnTo>
                <a:lnTo>
                  <a:pt x="275703" y="381711"/>
                </a:lnTo>
                <a:lnTo>
                  <a:pt x="310714" y="381711"/>
                </a:lnTo>
                <a:lnTo>
                  <a:pt x="306502" y="346060"/>
                </a:lnTo>
                <a:lnTo>
                  <a:pt x="310444" y="342994"/>
                </a:lnTo>
                <a:cubicBezTo>
                  <a:pt x="317150" y="337670"/>
                  <a:pt x="321025" y="329751"/>
                  <a:pt x="321025" y="321159"/>
                </a:cubicBezTo>
                <a:lnTo>
                  <a:pt x="321025" y="321024"/>
                </a:lnTo>
                <a:lnTo>
                  <a:pt x="321092" y="321024"/>
                </a:lnTo>
                <a:cubicBezTo>
                  <a:pt x="321092" y="317924"/>
                  <a:pt x="320553" y="314959"/>
                  <a:pt x="319576" y="312162"/>
                </a:cubicBezTo>
                <a:cubicBezTo>
                  <a:pt x="318464" y="308893"/>
                  <a:pt x="316745" y="305928"/>
                  <a:pt x="314521" y="303300"/>
                </a:cubicBezTo>
                <a:cubicBezTo>
                  <a:pt x="309433" y="297235"/>
                  <a:pt x="301818" y="293360"/>
                  <a:pt x="293259" y="293360"/>
                </a:cubicBezTo>
                <a:close/>
                <a:moveTo>
                  <a:pt x="293259" y="275635"/>
                </a:moveTo>
                <a:cubicBezTo>
                  <a:pt x="312061" y="275635"/>
                  <a:pt x="328202" y="287025"/>
                  <a:pt x="335143" y="303300"/>
                </a:cubicBezTo>
                <a:cubicBezTo>
                  <a:pt x="336390" y="306097"/>
                  <a:pt x="337334" y="309129"/>
                  <a:pt x="337940" y="312162"/>
                </a:cubicBezTo>
                <a:cubicBezTo>
                  <a:pt x="338513" y="315026"/>
                  <a:pt x="338816" y="318025"/>
                  <a:pt x="338816" y="321024"/>
                </a:cubicBezTo>
                <a:lnTo>
                  <a:pt x="338816" y="321159"/>
                </a:lnTo>
                <a:cubicBezTo>
                  <a:pt x="338816" y="333492"/>
                  <a:pt x="333930" y="344982"/>
                  <a:pt x="325304" y="353507"/>
                </a:cubicBezTo>
                <a:lnTo>
                  <a:pt x="330696" y="399469"/>
                </a:lnTo>
                <a:lnTo>
                  <a:pt x="255822" y="399469"/>
                </a:lnTo>
                <a:lnTo>
                  <a:pt x="261180" y="353507"/>
                </a:lnTo>
                <a:cubicBezTo>
                  <a:pt x="252554" y="344982"/>
                  <a:pt x="247668" y="333458"/>
                  <a:pt x="247668" y="321159"/>
                </a:cubicBezTo>
                <a:lnTo>
                  <a:pt x="247668" y="321024"/>
                </a:lnTo>
                <a:cubicBezTo>
                  <a:pt x="247668" y="318025"/>
                  <a:pt x="248005" y="315026"/>
                  <a:pt x="248578" y="312162"/>
                </a:cubicBezTo>
                <a:cubicBezTo>
                  <a:pt x="249218" y="309129"/>
                  <a:pt x="250128" y="306097"/>
                  <a:pt x="251375" y="303300"/>
                </a:cubicBezTo>
                <a:cubicBezTo>
                  <a:pt x="258350" y="287025"/>
                  <a:pt x="274456" y="275635"/>
                  <a:pt x="293259" y="275635"/>
                </a:cubicBezTo>
                <a:close/>
                <a:moveTo>
                  <a:pt x="166022" y="239445"/>
                </a:moveTo>
                <a:lnTo>
                  <a:pt x="166022" y="449137"/>
                </a:lnTo>
                <a:lnTo>
                  <a:pt x="420530" y="449137"/>
                </a:lnTo>
                <a:lnTo>
                  <a:pt x="420530" y="239445"/>
                </a:lnTo>
                <a:close/>
                <a:moveTo>
                  <a:pt x="293259" y="122014"/>
                </a:moveTo>
                <a:cubicBezTo>
                  <a:pt x="238401" y="122014"/>
                  <a:pt x="193754" y="166695"/>
                  <a:pt x="193754" y="221553"/>
                </a:cubicBezTo>
                <a:lnTo>
                  <a:pt x="193754" y="221721"/>
                </a:lnTo>
                <a:lnTo>
                  <a:pt x="211478" y="221721"/>
                </a:lnTo>
                <a:lnTo>
                  <a:pt x="211478" y="221553"/>
                </a:lnTo>
                <a:cubicBezTo>
                  <a:pt x="211478" y="176433"/>
                  <a:pt x="248140" y="139738"/>
                  <a:pt x="293259" y="139738"/>
                </a:cubicBezTo>
                <a:cubicBezTo>
                  <a:pt x="338378" y="139738"/>
                  <a:pt x="375073" y="176433"/>
                  <a:pt x="375073" y="221553"/>
                </a:cubicBezTo>
                <a:lnTo>
                  <a:pt x="375073" y="221721"/>
                </a:lnTo>
                <a:lnTo>
                  <a:pt x="392798" y="221721"/>
                </a:lnTo>
                <a:lnTo>
                  <a:pt x="392798" y="221553"/>
                </a:lnTo>
                <a:cubicBezTo>
                  <a:pt x="392798" y="166695"/>
                  <a:pt x="348116" y="122014"/>
                  <a:pt x="293259" y="122014"/>
                </a:cubicBezTo>
                <a:close/>
                <a:moveTo>
                  <a:pt x="293056" y="0"/>
                </a:moveTo>
                <a:cubicBezTo>
                  <a:pt x="454899" y="0"/>
                  <a:pt x="586113" y="131281"/>
                  <a:pt x="586113" y="293225"/>
                </a:cubicBezTo>
                <a:cubicBezTo>
                  <a:pt x="586113" y="455169"/>
                  <a:pt x="454899" y="586450"/>
                  <a:pt x="293056" y="586450"/>
                </a:cubicBezTo>
                <a:cubicBezTo>
                  <a:pt x="131213" y="586450"/>
                  <a:pt x="0" y="455169"/>
                  <a:pt x="0" y="293225"/>
                </a:cubicBezTo>
                <a:cubicBezTo>
                  <a:pt x="0" y="131281"/>
                  <a:pt x="131213" y="0"/>
                  <a:pt x="293056" y="0"/>
                </a:cubicBezTo>
                <a:close/>
              </a:path>
            </a:pathLst>
          </a:custGeom>
          <a:solidFill>
            <a:schemeClr val="tx2"/>
          </a:solidFill>
          <a:ln w="3364" cap="flat">
            <a:noFill/>
            <a:prstDash val="solid"/>
            <a:miter/>
          </a:ln>
        </p:spPr>
        <p:txBody>
          <a:bodyPr wrap="square" rtlCol="0" anchor="ctr">
            <a:noAutofit/>
          </a:bodyPr>
          <a:lstStyle/>
          <a:p>
            <a:endParaRPr lang="en-GB"/>
          </a:p>
        </p:txBody>
      </p:sp>
      <p:sp>
        <p:nvSpPr>
          <p:cNvPr id="17" name="Freeform: Shape 16">
            <a:extLst>
              <a:ext uri="{FF2B5EF4-FFF2-40B4-BE49-F238E27FC236}">
                <a16:creationId xmlns:a16="http://schemas.microsoft.com/office/drawing/2014/main" id="{92B78CA3-1BD5-9812-6801-6C702FBCA15D}"/>
              </a:ext>
            </a:extLst>
          </p:cNvPr>
          <p:cNvSpPr/>
          <p:nvPr userDrawn="1"/>
        </p:nvSpPr>
        <p:spPr>
          <a:xfrm>
            <a:off x="673765" y="5167503"/>
            <a:ext cx="963115" cy="963115"/>
          </a:xfrm>
          <a:custGeom>
            <a:avLst/>
            <a:gdLst>
              <a:gd name="connsiteX0" fmla="*/ 315093 w 586449"/>
              <a:gd name="connsiteY0" fmla="*/ 247060 h 586450"/>
              <a:gd name="connsiteX1" fmla="*/ 243657 w 586449"/>
              <a:gd name="connsiteY1" fmla="*/ 521112 h 586450"/>
              <a:gd name="connsiteX2" fmla="*/ 426762 w 586449"/>
              <a:gd name="connsiteY2" fmla="*/ 276140 h 586450"/>
              <a:gd name="connsiteX3" fmla="*/ 315127 w 586449"/>
              <a:gd name="connsiteY3" fmla="*/ 247060 h 586450"/>
              <a:gd name="connsiteX4" fmla="*/ 333727 w 586449"/>
              <a:gd name="connsiteY4" fmla="*/ 70795 h 586450"/>
              <a:gd name="connsiteX5" fmla="*/ 159686 w 586449"/>
              <a:gd name="connsiteY5" fmla="*/ 303602 h 586450"/>
              <a:gd name="connsiteX6" fmla="*/ 265829 w 586449"/>
              <a:gd name="connsiteY6" fmla="*/ 331233 h 586450"/>
              <a:gd name="connsiteX7" fmla="*/ 333727 w 586449"/>
              <a:gd name="connsiteY7" fmla="*/ 70829 h 586450"/>
              <a:gd name="connsiteX8" fmla="*/ 293225 w 586449"/>
              <a:gd name="connsiteY8" fmla="*/ 0 h 586450"/>
              <a:gd name="connsiteX9" fmla="*/ 586449 w 586449"/>
              <a:gd name="connsiteY9" fmla="*/ 293225 h 586450"/>
              <a:gd name="connsiteX10" fmla="*/ 293225 w 586449"/>
              <a:gd name="connsiteY10" fmla="*/ 586450 h 586450"/>
              <a:gd name="connsiteX11" fmla="*/ 0 w 586449"/>
              <a:gd name="connsiteY11" fmla="*/ 293225 h 586450"/>
              <a:gd name="connsiteX12" fmla="*/ 293225 w 586449"/>
              <a:gd name="connsiteY12" fmla="*/ 0 h 586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86449" h="586450">
                <a:moveTo>
                  <a:pt x="315093" y="247060"/>
                </a:moveTo>
                <a:lnTo>
                  <a:pt x="243657" y="521112"/>
                </a:lnTo>
                <a:lnTo>
                  <a:pt x="426762" y="276140"/>
                </a:lnTo>
                <a:lnTo>
                  <a:pt x="315127" y="247060"/>
                </a:lnTo>
                <a:close/>
                <a:moveTo>
                  <a:pt x="333727" y="70795"/>
                </a:moveTo>
                <a:lnTo>
                  <a:pt x="159686" y="303602"/>
                </a:lnTo>
                <a:lnTo>
                  <a:pt x="265829" y="331233"/>
                </a:lnTo>
                <a:lnTo>
                  <a:pt x="333727" y="70829"/>
                </a:lnTo>
                <a:close/>
                <a:moveTo>
                  <a:pt x="293225" y="0"/>
                </a:moveTo>
                <a:cubicBezTo>
                  <a:pt x="455169" y="0"/>
                  <a:pt x="586449" y="131281"/>
                  <a:pt x="586449" y="293225"/>
                </a:cubicBezTo>
                <a:cubicBezTo>
                  <a:pt x="586449" y="455169"/>
                  <a:pt x="455169" y="586450"/>
                  <a:pt x="293225" y="586450"/>
                </a:cubicBezTo>
                <a:cubicBezTo>
                  <a:pt x="131281" y="586450"/>
                  <a:pt x="0" y="455169"/>
                  <a:pt x="0" y="293225"/>
                </a:cubicBezTo>
                <a:cubicBezTo>
                  <a:pt x="0" y="131281"/>
                  <a:pt x="131281" y="0"/>
                  <a:pt x="293225" y="0"/>
                </a:cubicBezTo>
                <a:close/>
              </a:path>
            </a:pathLst>
          </a:custGeom>
          <a:solidFill>
            <a:schemeClr val="accent2"/>
          </a:solidFill>
          <a:ln w="3364" cap="flat">
            <a:noFill/>
            <a:prstDash val="solid"/>
            <a:miter/>
          </a:ln>
        </p:spPr>
        <p:txBody>
          <a:bodyPr wrap="square" rtlCol="0" anchor="ctr">
            <a:noAutofit/>
          </a:bodyPr>
          <a:lstStyle/>
          <a:p>
            <a:endParaRPr lang="en-GB"/>
          </a:p>
        </p:txBody>
      </p:sp>
      <p:sp>
        <p:nvSpPr>
          <p:cNvPr id="18" name="Freeform: Shape 17">
            <a:extLst>
              <a:ext uri="{FF2B5EF4-FFF2-40B4-BE49-F238E27FC236}">
                <a16:creationId xmlns:a16="http://schemas.microsoft.com/office/drawing/2014/main" id="{3E291D5E-20C2-FF2B-5A5C-ADDBEA06A041}"/>
              </a:ext>
            </a:extLst>
          </p:cNvPr>
          <p:cNvSpPr/>
          <p:nvPr userDrawn="1"/>
        </p:nvSpPr>
        <p:spPr>
          <a:xfrm>
            <a:off x="4039978" y="4056277"/>
            <a:ext cx="963114" cy="963115"/>
          </a:xfrm>
          <a:custGeom>
            <a:avLst/>
            <a:gdLst>
              <a:gd name="connsiteX0" fmla="*/ 281028 w 586449"/>
              <a:gd name="connsiteY0" fmla="*/ 365401 h 586450"/>
              <a:gd name="connsiteX1" fmla="*/ 281028 w 586449"/>
              <a:gd name="connsiteY1" fmla="*/ 410723 h 586450"/>
              <a:gd name="connsiteX2" fmla="*/ 293226 w 586449"/>
              <a:gd name="connsiteY2" fmla="*/ 410723 h 586450"/>
              <a:gd name="connsiteX3" fmla="*/ 341074 w 586449"/>
              <a:gd name="connsiteY3" fmla="*/ 457931 h 586450"/>
              <a:gd name="connsiteX4" fmla="*/ 293226 w 586449"/>
              <a:gd name="connsiteY4" fmla="*/ 505140 h 586450"/>
              <a:gd name="connsiteX5" fmla="*/ 245377 w 586449"/>
              <a:gd name="connsiteY5" fmla="*/ 457931 h 586450"/>
              <a:gd name="connsiteX6" fmla="*/ 220981 w 586449"/>
              <a:gd name="connsiteY6" fmla="*/ 457931 h 586450"/>
              <a:gd name="connsiteX7" fmla="*/ 293226 w 586449"/>
              <a:gd name="connsiteY7" fmla="*/ 529233 h 586450"/>
              <a:gd name="connsiteX8" fmla="*/ 293226 w 586449"/>
              <a:gd name="connsiteY8" fmla="*/ 529266 h 586450"/>
              <a:gd name="connsiteX9" fmla="*/ 365470 w 586449"/>
              <a:gd name="connsiteY9" fmla="*/ 457965 h 586450"/>
              <a:gd name="connsiteX10" fmla="*/ 305424 w 586449"/>
              <a:gd name="connsiteY10" fmla="*/ 387675 h 586450"/>
              <a:gd name="connsiteX11" fmla="*/ 305424 w 586449"/>
              <a:gd name="connsiteY11" fmla="*/ 365401 h 586450"/>
              <a:gd name="connsiteX12" fmla="*/ 293360 w 586449"/>
              <a:gd name="connsiteY12" fmla="*/ 216396 h 586450"/>
              <a:gd name="connsiteX13" fmla="*/ 254509 w 586449"/>
              <a:gd name="connsiteY13" fmla="*/ 255248 h 586450"/>
              <a:gd name="connsiteX14" fmla="*/ 293360 w 586449"/>
              <a:gd name="connsiteY14" fmla="*/ 294066 h 586450"/>
              <a:gd name="connsiteX15" fmla="*/ 332179 w 586449"/>
              <a:gd name="connsiteY15" fmla="*/ 255248 h 586450"/>
              <a:gd name="connsiteX16" fmla="*/ 293360 w 586449"/>
              <a:gd name="connsiteY16" fmla="*/ 216396 h 586450"/>
              <a:gd name="connsiteX17" fmla="*/ 293360 w 586449"/>
              <a:gd name="connsiteY17" fmla="*/ 192135 h 586450"/>
              <a:gd name="connsiteX18" fmla="*/ 356473 w 586449"/>
              <a:gd name="connsiteY18" fmla="*/ 255215 h 586450"/>
              <a:gd name="connsiteX19" fmla="*/ 293360 w 586449"/>
              <a:gd name="connsiteY19" fmla="*/ 318328 h 586450"/>
              <a:gd name="connsiteX20" fmla="*/ 230247 w 586449"/>
              <a:gd name="connsiteY20" fmla="*/ 255215 h 586450"/>
              <a:gd name="connsiteX21" fmla="*/ 293360 w 586449"/>
              <a:gd name="connsiteY21" fmla="*/ 192135 h 586450"/>
              <a:gd name="connsiteX22" fmla="*/ 167168 w 586449"/>
              <a:gd name="connsiteY22" fmla="*/ 171783 h 586450"/>
              <a:gd name="connsiteX23" fmla="*/ 204941 w 586449"/>
              <a:gd name="connsiteY23" fmla="*/ 341073 h 586450"/>
              <a:gd name="connsiteX24" fmla="*/ 381476 w 586449"/>
              <a:gd name="connsiteY24" fmla="*/ 341073 h 586450"/>
              <a:gd name="connsiteX25" fmla="*/ 419283 w 586449"/>
              <a:gd name="connsiteY25" fmla="*/ 171783 h 586450"/>
              <a:gd name="connsiteX26" fmla="*/ 167202 w 586449"/>
              <a:gd name="connsiteY26" fmla="*/ 171783 h 586450"/>
              <a:gd name="connsiteX27" fmla="*/ 341074 w 586449"/>
              <a:gd name="connsiteY27" fmla="*/ 72783 h 586450"/>
              <a:gd name="connsiteX28" fmla="*/ 341074 w 586449"/>
              <a:gd name="connsiteY28" fmla="*/ 147656 h 586450"/>
              <a:gd name="connsiteX29" fmla="*/ 365470 w 586449"/>
              <a:gd name="connsiteY29" fmla="*/ 147656 h 586450"/>
              <a:gd name="connsiteX30" fmla="*/ 365470 w 586449"/>
              <a:gd name="connsiteY30" fmla="*/ 72783 h 586450"/>
              <a:gd name="connsiteX31" fmla="*/ 220981 w 586449"/>
              <a:gd name="connsiteY31" fmla="*/ 72783 h 586450"/>
              <a:gd name="connsiteX32" fmla="*/ 220981 w 586449"/>
              <a:gd name="connsiteY32" fmla="*/ 147656 h 586450"/>
              <a:gd name="connsiteX33" fmla="*/ 245411 w 586449"/>
              <a:gd name="connsiteY33" fmla="*/ 147656 h 586450"/>
              <a:gd name="connsiteX34" fmla="*/ 245411 w 586449"/>
              <a:gd name="connsiteY34" fmla="*/ 72783 h 586450"/>
              <a:gd name="connsiteX35" fmla="*/ 293225 w 586449"/>
              <a:gd name="connsiteY35" fmla="*/ 0 h 586450"/>
              <a:gd name="connsiteX36" fmla="*/ 586449 w 586449"/>
              <a:gd name="connsiteY36" fmla="*/ 293225 h 586450"/>
              <a:gd name="connsiteX37" fmla="*/ 293225 w 586449"/>
              <a:gd name="connsiteY37" fmla="*/ 586450 h 586450"/>
              <a:gd name="connsiteX38" fmla="*/ 0 w 586449"/>
              <a:gd name="connsiteY38" fmla="*/ 293225 h 586450"/>
              <a:gd name="connsiteX39" fmla="*/ 293225 w 586449"/>
              <a:gd name="connsiteY39" fmla="*/ 0 h 586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586449" h="586450">
                <a:moveTo>
                  <a:pt x="281028" y="365401"/>
                </a:moveTo>
                <a:lnTo>
                  <a:pt x="281028" y="410723"/>
                </a:lnTo>
                <a:lnTo>
                  <a:pt x="293226" y="410723"/>
                </a:lnTo>
                <a:cubicBezTo>
                  <a:pt x="319610" y="410723"/>
                  <a:pt x="341074" y="431918"/>
                  <a:pt x="341074" y="457931"/>
                </a:cubicBezTo>
                <a:cubicBezTo>
                  <a:pt x="341074" y="483945"/>
                  <a:pt x="319610" y="505140"/>
                  <a:pt x="293226" y="505140"/>
                </a:cubicBezTo>
                <a:cubicBezTo>
                  <a:pt x="266841" y="505140"/>
                  <a:pt x="245377" y="483945"/>
                  <a:pt x="245377" y="457931"/>
                </a:cubicBezTo>
                <a:lnTo>
                  <a:pt x="220981" y="457931"/>
                </a:lnTo>
                <a:cubicBezTo>
                  <a:pt x="220981" y="497255"/>
                  <a:pt x="253397" y="529233"/>
                  <a:pt x="293226" y="529233"/>
                </a:cubicBezTo>
                <a:lnTo>
                  <a:pt x="293226" y="529266"/>
                </a:lnTo>
                <a:cubicBezTo>
                  <a:pt x="333055" y="529266"/>
                  <a:pt x="365470" y="497255"/>
                  <a:pt x="365470" y="457965"/>
                </a:cubicBezTo>
                <a:cubicBezTo>
                  <a:pt x="365470" y="422752"/>
                  <a:pt x="339457" y="393403"/>
                  <a:pt x="305424" y="387675"/>
                </a:cubicBezTo>
                <a:lnTo>
                  <a:pt x="305424" y="365401"/>
                </a:lnTo>
                <a:close/>
                <a:moveTo>
                  <a:pt x="293360" y="216396"/>
                </a:moveTo>
                <a:cubicBezTo>
                  <a:pt x="271896" y="216396"/>
                  <a:pt x="254509" y="233817"/>
                  <a:pt x="254509" y="255248"/>
                </a:cubicBezTo>
                <a:cubicBezTo>
                  <a:pt x="254509" y="276679"/>
                  <a:pt x="271930" y="294066"/>
                  <a:pt x="293360" y="294066"/>
                </a:cubicBezTo>
                <a:cubicBezTo>
                  <a:pt x="314791" y="294066"/>
                  <a:pt x="332179" y="276679"/>
                  <a:pt x="332179" y="255248"/>
                </a:cubicBezTo>
                <a:cubicBezTo>
                  <a:pt x="332179" y="233784"/>
                  <a:pt x="314825" y="216396"/>
                  <a:pt x="293360" y="216396"/>
                </a:cubicBezTo>
                <a:close/>
                <a:moveTo>
                  <a:pt x="293360" y="192135"/>
                </a:moveTo>
                <a:cubicBezTo>
                  <a:pt x="328236" y="192135"/>
                  <a:pt x="356473" y="220373"/>
                  <a:pt x="356473" y="255215"/>
                </a:cubicBezTo>
                <a:cubicBezTo>
                  <a:pt x="356473" y="290057"/>
                  <a:pt x="328236" y="318328"/>
                  <a:pt x="293360" y="318328"/>
                </a:cubicBezTo>
                <a:cubicBezTo>
                  <a:pt x="258485" y="318328"/>
                  <a:pt x="230247" y="290090"/>
                  <a:pt x="230247" y="255215"/>
                </a:cubicBezTo>
                <a:cubicBezTo>
                  <a:pt x="230247" y="220339"/>
                  <a:pt x="258485" y="192135"/>
                  <a:pt x="293360" y="192135"/>
                </a:cubicBezTo>
                <a:close/>
                <a:moveTo>
                  <a:pt x="167168" y="171783"/>
                </a:moveTo>
                <a:lnTo>
                  <a:pt x="204941" y="341073"/>
                </a:lnTo>
                <a:lnTo>
                  <a:pt x="381476" y="341073"/>
                </a:lnTo>
                <a:lnTo>
                  <a:pt x="419283" y="171783"/>
                </a:lnTo>
                <a:lnTo>
                  <a:pt x="167202" y="171783"/>
                </a:lnTo>
                <a:close/>
                <a:moveTo>
                  <a:pt x="341074" y="72783"/>
                </a:moveTo>
                <a:lnTo>
                  <a:pt x="341074" y="147656"/>
                </a:lnTo>
                <a:cubicBezTo>
                  <a:pt x="341074" y="147656"/>
                  <a:pt x="365470" y="147656"/>
                  <a:pt x="365470" y="147656"/>
                </a:cubicBezTo>
                <a:lnTo>
                  <a:pt x="365470" y="72783"/>
                </a:lnTo>
                <a:close/>
                <a:moveTo>
                  <a:pt x="220981" y="72783"/>
                </a:moveTo>
                <a:lnTo>
                  <a:pt x="220981" y="147656"/>
                </a:lnTo>
                <a:lnTo>
                  <a:pt x="245411" y="147656"/>
                </a:lnTo>
                <a:lnTo>
                  <a:pt x="245411" y="72783"/>
                </a:lnTo>
                <a:close/>
                <a:moveTo>
                  <a:pt x="293225" y="0"/>
                </a:moveTo>
                <a:cubicBezTo>
                  <a:pt x="455169" y="0"/>
                  <a:pt x="586449" y="131281"/>
                  <a:pt x="586449" y="293225"/>
                </a:cubicBezTo>
                <a:cubicBezTo>
                  <a:pt x="586449" y="455169"/>
                  <a:pt x="455169" y="586450"/>
                  <a:pt x="293225" y="586450"/>
                </a:cubicBezTo>
                <a:cubicBezTo>
                  <a:pt x="131281" y="586450"/>
                  <a:pt x="0" y="455169"/>
                  <a:pt x="0" y="293225"/>
                </a:cubicBezTo>
                <a:cubicBezTo>
                  <a:pt x="0" y="131281"/>
                  <a:pt x="131281" y="0"/>
                  <a:pt x="293225" y="0"/>
                </a:cubicBezTo>
                <a:close/>
              </a:path>
            </a:pathLst>
          </a:custGeom>
          <a:solidFill>
            <a:schemeClr val="tx2"/>
          </a:solidFill>
          <a:ln w="3364" cap="flat">
            <a:noFill/>
            <a:prstDash val="solid"/>
            <a:miter/>
          </a:ln>
        </p:spPr>
        <p:txBody>
          <a:bodyPr wrap="square" rtlCol="0" anchor="ctr">
            <a:noAutofit/>
          </a:bodyPr>
          <a:lstStyle/>
          <a:p>
            <a:endParaRPr lang="en-GB"/>
          </a:p>
        </p:txBody>
      </p:sp>
      <p:sp>
        <p:nvSpPr>
          <p:cNvPr id="20" name="Freeform: Shape 19">
            <a:extLst>
              <a:ext uri="{FF2B5EF4-FFF2-40B4-BE49-F238E27FC236}">
                <a16:creationId xmlns:a16="http://schemas.microsoft.com/office/drawing/2014/main" id="{3C54B019-BA4A-E1BE-B1E6-5B88E93C847F}"/>
              </a:ext>
            </a:extLst>
          </p:cNvPr>
          <p:cNvSpPr/>
          <p:nvPr userDrawn="1"/>
        </p:nvSpPr>
        <p:spPr>
          <a:xfrm>
            <a:off x="2367173" y="4087480"/>
            <a:ext cx="963115" cy="963115"/>
          </a:xfrm>
          <a:custGeom>
            <a:avLst/>
            <a:gdLst>
              <a:gd name="connsiteX0" fmla="*/ 347543 w 586450"/>
              <a:gd name="connsiteY0" fmla="*/ 286182 h 586450"/>
              <a:gd name="connsiteX1" fmla="*/ 306131 w 586450"/>
              <a:gd name="connsiteY1" fmla="*/ 411229 h 586450"/>
              <a:gd name="connsiteX2" fmla="*/ 449137 w 586450"/>
              <a:gd name="connsiteY2" fmla="*/ 411229 h 586450"/>
              <a:gd name="connsiteX3" fmla="*/ 449137 w 586450"/>
              <a:gd name="connsiteY3" fmla="*/ 286182 h 586450"/>
              <a:gd name="connsiteX4" fmla="*/ 470737 w 586450"/>
              <a:gd name="connsiteY4" fmla="*/ 286148 h 586450"/>
              <a:gd name="connsiteX5" fmla="*/ 470737 w 586450"/>
              <a:gd name="connsiteY5" fmla="*/ 411195 h 586450"/>
              <a:gd name="connsiteX6" fmla="*/ 512149 w 586450"/>
              <a:gd name="connsiteY6" fmla="*/ 411195 h 586450"/>
              <a:gd name="connsiteX7" fmla="*/ 238839 w 586450"/>
              <a:gd name="connsiteY7" fmla="*/ 285407 h 586450"/>
              <a:gd name="connsiteX8" fmla="*/ 238839 w 586450"/>
              <a:gd name="connsiteY8" fmla="*/ 410386 h 586450"/>
              <a:gd name="connsiteX9" fmla="*/ 280252 w 586450"/>
              <a:gd name="connsiteY9" fmla="*/ 410386 h 586450"/>
              <a:gd name="connsiteX10" fmla="*/ 115646 w 586450"/>
              <a:gd name="connsiteY10" fmla="*/ 285407 h 586450"/>
              <a:gd name="connsiteX11" fmla="*/ 74233 w 586450"/>
              <a:gd name="connsiteY11" fmla="*/ 410386 h 586450"/>
              <a:gd name="connsiteX12" fmla="*/ 217240 w 586450"/>
              <a:gd name="connsiteY12" fmla="*/ 410386 h 586450"/>
              <a:gd name="connsiteX13" fmla="*/ 217240 w 586450"/>
              <a:gd name="connsiteY13" fmla="*/ 285407 h 586450"/>
              <a:gd name="connsiteX14" fmla="*/ 353710 w 586450"/>
              <a:gd name="connsiteY14" fmla="*/ 137413 h 586450"/>
              <a:gd name="connsiteX15" fmla="*/ 353710 w 586450"/>
              <a:gd name="connsiteY15" fmla="*/ 262392 h 586450"/>
              <a:gd name="connsiteX16" fmla="*/ 395122 w 586450"/>
              <a:gd name="connsiteY16" fmla="*/ 262392 h 586450"/>
              <a:gd name="connsiteX17" fmla="*/ 230482 w 586450"/>
              <a:gd name="connsiteY17" fmla="*/ 137413 h 586450"/>
              <a:gd name="connsiteX18" fmla="*/ 221519 w 586450"/>
              <a:gd name="connsiteY18" fmla="*/ 164404 h 586450"/>
              <a:gd name="connsiteX19" fmla="*/ 217274 w 586450"/>
              <a:gd name="connsiteY19" fmla="*/ 177309 h 586450"/>
              <a:gd name="connsiteX20" fmla="*/ 189103 w 586450"/>
              <a:gd name="connsiteY20" fmla="*/ 262392 h 586450"/>
              <a:gd name="connsiteX21" fmla="*/ 332110 w 586450"/>
              <a:gd name="connsiteY21" fmla="*/ 262392 h 586450"/>
              <a:gd name="connsiteX22" fmla="*/ 332110 w 586450"/>
              <a:gd name="connsiteY22" fmla="*/ 137413 h 586450"/>
              <a:gd name="connsiteX23" fmla="*/ 332077 w 586450"/>
              <a:gd name="connsiteY23" fmla="*/ 137413 h 586450"/>
              <a:gd name="connsiteX24" fmla="*/ 293225 w 586450"/>
              <a:gd name="connsiteY24" fmla="*/ 0 h 586450"/>
              <a:gd name="connsiteX25" fmla="*/ 586450 w 586450"/>
              <a:gd name="connsiteY25" fmla="*/ 293225 h 586450"/>
              <a:gd name="connsiteX26" fmla="*/ 293225 w 586450"/>
              <a:gd name="connsiteY26" fmla="*/ 586450 h 586450"/>
              <a:gd name="connsiteX27" fmla="*/ 0 w 586450"/>
              <a:gd name="connsiteY27" fmla="*/ 293225 h 586450"/>
              <a:gd name="connsiteX28" fmla="*/ 293225 w 586450"/>
              <a:gd name="connsiteY28" fmla="*/ 0 h 586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6450" h="586450">
                <a:moveTo>
                  <a:pt x="347543" y="286182"/>
                </a:moveTo>
                <a:lnTo>
                  <a:pt x="306131" y="411229"/>
                </a:lnTo>
                <a:lnTo>
                  <a:pt x="449137" y="411229"/>
                </a:lnTo>
                <a:lnTo>
                  <a:pt x="449137" y="286182"/>
                </a:lnTo>
                <a:close/>
                <a:moveTo>
                  <a:pt x="470737" y="286148"/>
                </a:moveTo>
                <a:lnTo>
                  <a:pt x="470737" y="411195"/>
                </a:lnTo>
                <a:lnTo>
                  <a:pt x="512149" y="411195"/>
                </a:lnTo>
                <a:close/>
                <a:moveTo>
                  <a:pt x="238839" y="285407"/>
                </a:moveTo>
                <a:lnTo>
                  <a:pt x="238839" y="410386"/>
                </a:lnTo>
                <a:lnTo>
                  <a:pt x="280252" y="410386"/>
                </a:lnTo>
                <a:close/>
                <a:moveTo>
                  <a:pt x="115646" y="285407"/>
                </a:moveTo>
                <a:lnTo>
                  <a:pt x="74233" y="410386"/>
                </a:lnTo>
                <a:lnTo>
                  <a:pt x="217240" y="410386"/>
                </a:lnTo>
                <a:lnTo>
                  <a:pt x="217240" y="285407"/>
                </a:lnTo>
                <a:close/>
                <a:moveTo>
                  <a:pt x="353710" y="137413"/>
                </a:moveTo>
                <a:lnTo>
                  <a:pt x="353710" y="262392"/>
                </a:lnTo>
                <a:lnTo>
                  <a:pt x="395122" y="262392"/>
                </a:lnTo>
                <a:close/>
                <a:moveTo>
                  <a:pt x="230482" y="137413"/>
                </a:moveTo>
                <a:lnTo>
                  <a:pt x="221519" y="164404"/>
                </a:lnTo>
                <a:lnTo>
                  <a:pt x="217274" y="177309"/>
                </a:lnTo>
                <a:lnTo>
                  <a:pt x="189103" y="262392"/>
                </a:lnTo>
                <a:lnTo>
                  <a:pt x="332110" y="262392"/>
                </a:lnTo>
                <a:lnTo>
                  <a:pt x="332110" y="137413"/>
                </a:lnTo>
                <a:lnTo>
                  <a:pt x="332077" y="137413"/>
                </a:lnTo>
                <a:close/>
                <a:moveTo>
                  <a:pt x="293225" y="0"/>
                </a:moveTo>
                <a:cubicBezTo>
                  <a:pt x="455169" y="0"/>
                  <a:pt x="586450" y="131281"/>
                  <a:pt x="586450" y="293225"/>
                </a:cubicBezTo>
                <a:cubicBezTo>
                  <a:pt x="586450" y="455169"/>
                  <a:pt x="455169" y="586450"/>
                  <a:pt x="293225" y="586450"/>
                </a:cubicBezTo>
                <a:cubicBezTo>
                  <a:pt x="131281" y="586450"/>
                  <a:pt x="0" y="455169"/>
                  <a:pt x="0" y="293225"/>
                </a:cubicBezTo>
                <a:cubicBezTo>
                  <a:pt x="0" y="131281"/>
                  <a:pt x="131281" y="0"/>
                  <a:pt x="293225" y="0"/>
                </a:cubicBezTo>
                <a:close/>
              </a:path>
            </a:pathLst>
          </a:custGeom>
          <a:solidFill>
            <a:schemeClr val="accent2"/>
          </a:solidFill>
          <a:ln w="3364" cap="flat">
            <a:noFill/>
            <a:prstDash val="solid"/>
            <a:miter/>
          </a:ln>
        </p:spPr>
        <p:txBody>
          <a:bodyPr wrap="square" rtlCol="0" anchor="ctr">
            <a:noAutofit/>
          </a:bodyPr>
          <a:lstStyle/>
          <a:p>
            <a:endParaRPr lang="en-GB"/>
          </a:p>
        </p:txBody>
      </p:sp>
      <p:sp>
        <p:nvSpPr>
          <p:cNvPr id="21" name="Freeform: Shape 20">
            <a:extLst>
              <a:ext uri="{FF2B5EF4-FFF2-40B4-BE49-F238E27FC236}">
                <a16:creationId xmlns:a16="http://schemas.microsoft.com/office/drawing/2014/main" id="{1A1D9A0B-5126-25DD-5A37-6C7538A223F7}"/>
              </a:ext>
            </a:extLst>
          </p:cNvPr>
          <p:cNvSpPr/>
          <p:nvPr userDrawn="1"/>
        </p:nvSpPr>
        <p:spPr>
          <a:xfrm>
            <a:off x="724032" y="4056278"/>
            <a:ext cx="963115" cy="963115"/>
          </a:xfrm>
          <a:custGeom>
            <a:avLst/>
            <a:gdLst>
              <a:gd name="connsiteX0" fmla="*/ 367928 w 586449"/>
              <a:gd name="connsiteY0" fmla="*/ 313206 h 586450"/>
              <a:gd name="connsiteX1" fmla="*/ 322304 w 586449"/>
              <a:gd name="connsiteY1" fmla="*/ 336793 h 586450"/>
              <a:gd name="connsiteX2" fmla="*/ 322270 w 586449"/>
              <a:gd name="connsiteY2" fmla="*/ 336827 h 586450"/>
              <a:gd name="connsiteX3" fmla="*/ 322337 w 586449"/>
              <a:gd name="connsiteY3" fmla="*/ 338040 h 586450"/>
              <a:gd name="connsiteX4" fmla="*/ 322270 w 586449"/>
              <a:gd name="connsiteY4" fmla="*/ 338074 h 586450"/>
              <a:gd name="connsiteX5" fmla="*/ 328908 w 586449"/>
              <a:gd name="connsiteY5" fmla="*/ 450350 h 586450"/>
              <a:gd name="connsiteX6" fmla="*/ 332042 w 586449"/>
              <a:gd name="connsiteY6" fmla="*/ 448598 h 586450"/>
              <a:gd name="connsiteX7" fmla="*/ 351889 w 586449"/>
              <a:gd name="connsiteY7" fmla="*/ 415205 h 586450"/>
              <a:gd name="connsiteX8" fmla="*/ 367928 w 586449"/>
              <a:gd name="connsiteY8" fmla="*/ 314487 h 586450"/>
              <a:gd name="connsiteX9" fmla="*/ 367693 w 586449"/>
              <a:gd name="connsiteY9" fmla="*/ 314588 h 586450"/>
              <a:gd name="connsiteX10" fmla="*/ 367928 w 586449"/>
              <a:gd name="connsiteY10" fmla="*/ 313206 h 586450"/>
              <a:gd name="connsiteX11" fmla="*/ 133390 w 586449"/>
              <a:gd name="connsiteY11" fmla="*/ 168822 h 586450"/>
              <a:gd name="connsiteX12" fmla="*/ 116521 w 586449"/>
              <a:gd name="connsiteY12" fmla="*/ 175355 h 586450"/>
              <a:gd name="connsiteX13" fmla="*/ 113690 w 586449"/>
              <a:gd name="connsiteY13" fmla="*/ 177882 h 586450"/>
              <a:gd name="connsiteX14" fmla="*/ 248340 w 586449"/>
              <a:gd name="connsiteY14" fmla="*/ 256495 h 586450"/>
              <a:gd name="connsiteX15" fmla="*/ 248340 w 586449"/>
              <a:gd name="connsiteY15" fmla="*/ 256462 h 586450"/>
              <a:gd name="connsiteX16" fmla="*/ 314250 w 586449"/>
              <a:gd name="connsiteY16" fmla="*/ 221451 h 586450"/>
              <a:gd name="connsiteX17" fmla="*/ 155036 w 586449"/>
              <a:gd name="connsiteY17" fmla="*/ 172726 h 586450"/>
              <a:gd name="connsiteX18" fmla="*/ 133390 w 586449"/>
              <a:gd name="connsiteY18" fmla="*/ 168822 h 586450"/>
              <a:gd name="connsiteX19" fmla="*/ 486977 w 586449"/>
              <a:gd name="connsiteY19" fmla="*/ 168253 h 586450"/>
              <a:gd name="connsiteX20" fmla="*/ 463996 w 586449"/>
              <a:gd name="connsiteY20" fmla="*/ 170199 h 586450"/>
              <a:gd name="connsiteX21" fmla="*/ 171681 w 586449"/>
              <a:gd name="connsiteY21" fmla="*/ 321260 h 586450"/>
              <a:gd name="connsiteX22" fmla="*/ 154699 w 586449"/>
              <a:gd name="connsiteY22" fmla="*/ 322304 h 586450"/>
              <a:gd name="connsiteX23" fmla="*/ 90137 w 586449"/>
              <a:gd name="connsiteY23" fmla="*/ 303131 h 586450"/>
              <a:gd name="connsiteX24" fmla="*/ 74333 w 586449"/>
              <a:gd name="connsiteY24" fmla="*/ 311319 h 586450"/>
              <a:gd name="connsiteX25" fmla="*/ 170367 w 586449"/>
              <a:gd name="connsiteY25" fmla="*/ 376387 h 586450"/>
              <a:gd name="connsiteX26" fmla="*/ 195168 w 586449"/>
              <a:gd name="connsiteY26" fmla="*/ 376926 h 586450"/>
              <a:gd name="connsiteX27" fmla="*/ 491661 w 586449"/>
              <a:gd name="connsiteY27" fmla="*/ 223709 h 586450"/>
              <a:gd name="connsiteX28" fmla="*/ 504600 w 586449"/>
              <a:gd name="connsiteY28" fmla="*/ 183139 h 586450"/>
              <a:gd name="connsiteX29" fmla="*/ 486977 w 586449"/>
              <a:gd name="connsiteY29" fmla="*/ 168253 h 586450"/>
              <a:gd name="connsiteX30" fmla="*/ 293225 w 586449"/>
              <a:gd name="connsiteY30" fmla="*/ 0 h 586450"/>
              <a:gd name="connsiteX31" fmla="*/ 586449 w 586449"/>
              <a:gd name="connsiteY31" fmla="*/ 293225 h 586450"/>
              <a:gd name="connsiteX32" fmla="*/ 293225 w 586449"/>
              <a:gd name="connsiteY32" fmla="*/ 586450 h 586450"/>
              <a:gd name="connsiteX33" fmla="*/ 0 w 586449"/>
              <a:gd name="connsiteY33" fmla="*/ 293225 h 586450"/>
              <a:gd name="connsiteX34" fmla="*/ 293225 w 586449"/>
              <a:gd name="connsiteY34" fmla="*/ 0 h 586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86449" h="586450">
                <a:moveTo>
                  <a:pt x="367928" y="313206"/>
                </a:moveTo>
                <a:cubicBezTo>
                  <a:pt x="358460" y="318092"/>
                  <a:pt x="328066" y="333795"/>
                  <a:pt x="322304" y="336793"/>
                </a:cubicBezTo>
                <a:lnTo>
                  <a:pt x="322270" y="336827"/>
                </a:lnTo>
                <a:cubicBezTo>
                  <a:pt x="322270" y="337097"/>
                  <a:pt x="322337" y="337703"/>
                  <a:pt x="322337" y="338040"/>
                </a:cubicBezTo>
                <a:cubicBezTo>
                  <a:pt x="322337" y="338040"/>
                  <a:pt x="322270" y="338040"/>
                  <a:pt x="322270" y="338074"/>
                </a:cubicBezTo>
                <a:cubicBezTo>
                  <a:pt x="323247" y="353877"/>
                  <a:pt x="327594" y="427302"/>
                  <a:pt x="328908" y="450350"/>
                </a:cubicBezTo>
                <a:cubicBezTo>
                  <a:pt x="329919" y="449743"/>
                  <a:pt x="330930" y="449171"/>
                  <a:pt x="332042" y="448598"/>
                </a:cubicBezTo>
                <a:cubicBezTo>
                  <a:pt x="344071" y="442364"/>
                  <a:pt x="349429" y="433300"/>
                  <a:pt x="351889" y="415205"/>
                </a:cubicBezTo>
                <a:cubicBezTo>
                  <a:pt x="356708" y="378981"/>
                  <a:pt x="362133" y="347408"/>
                  <a:pt x="367928" y="314487"/>
                </a:cubicBezTo>
                <a:cubicBezTo>
                  <a:pt x="367861" y="314487"/>
                  <a:pt x="367760" y="314588"/>
                  <a:pt x="367693" y="314588"/>
                </a:cubicBezTo>
                <a:cubicBezTo>
                  <a:pt x="367794" y="314150"/>
                  <a:pt x="367861" y="313678"/>
                  <a:pt x="367928" y="313206"/>
                </a:cubicBezTo>
                <a:close/>
                <a:moveTo>
                  <a:pt x="133390" y="168822"/>
                </a:moveTo>
                <a:cubicBezTo>
                  <a:pt x="127287" y="169189"/>
                  <a:pt x="121980" y="171295"/>
                  <a:pt x="116521" y="175355"/>
                </a:cubicBezTo>
                <a:cubicBezTo>
                  <a:pt x="115577" y="176029"/>
                  <a:pt x="114735" y="176804"/>
                  <a:pt x="113690" y="177882"/>
                </a:cubicBezTo>
                <a:cubicBezTo>
                  <a:pt x="113690" y="177882"/>
                  <a:pt x="223675" y="242612"/>
                  <a:pt x="248340" y="256495"/>
                </a:cubicBezTo>
                <a:lnTo>
                  <a:pt x="248340" y="256462"/>
                </a:lnTo>
                <a:lnTo>
                  <a:pt x="314250" y="221451"/>
                </a:lnTo>
                <a:cubicBezTo>
                  <a:pt x="300839" y="217441"/>
                  <a:pt x="169761" y="177646"/>
                  <a:pt x="155036" y="172726"/>
                </a:cubicBezTo>
                <a:cubicBezTo>
                  <a:pt x="146393" y="169829"/>
                  <a:pt x="139493" y="168456"/>
                  <a:pt x="133390" y="168822"/>
                </a:cubicBezTo>
                <a:close/>
                <a:moveTo>
                  <a:pt x="486977" y="168253"/>
                </a:moveTo>
                <a:cubicBezTo>
                  <a:pt x="479631" y="165911"/>
                  <a:pt x="471393" y="166375"/>
                  <a:pt x="463996" y="170199"/>
                </a:cubicBezTo>
                <a:cubicBezTo>
                  <a:pt x="463356" y="170536"/>
                  <a:pt x="194730" y="309365"/>
                  <a:pt x="171681" y="321260"/>
                </a:cubicBezTo>
                <a:cubicBezTo>
                  <a:pt x="164673" y="324865"/>
                  <a:pt x="156889" y="322911"/>
                  <a:pt x="154699" y="322304"/>
                </a:cubicBezTo>
                <a:cubicBezTo>
                  <a:pt x="144152" y="319170"/>
                  <a:pt x="90137" y="303131"/>
                  <a:pt x="90137" y="303131"/>
                </a:cubicBezTo>
                <a:cubicBezTo>
                  <a:pt x="84374" y="306130"/>
                  <a:pt x="79758" y="308489"/>
                  <a:pt x="74333" y="311319"/>
                </a:cubicBezTo>
                <a:cubicBezTo>
                  <a:pt x="74333" y="311319"/>
                  <a:pt x="142972" y="357786"/>
                  <a:pt x="170367" y="376387"/>
                </a:cubicBezTo>
                <a:cubicBezTo>
                  <a:pt x="178421" y="381845"/>
                  <a:pt x="184958" y="382149"/>
                  <a:pt x="195168" y="376926"/>
                </a:cubicBezTo>
                <a:cubicBezTo>
                  <a:pt x="215385" y="366547"/>
                  <a:pt x="480508" y="229437"/>
                  <a:pt x="491661" y="223709"/>
                </a:cubicBezTo>
                <a:cubicBezTo>
                  <a:pt x="506420" y="216127"/>
                  <a:pt x="512216" y="197897"/>
                  <a:pt x="504600" y="183139"/>
                </a:cubicBezTo>
                <a:cubicBezTo>
                  <a:pt x="500776" y="175743"/>
                  <a:pt x="494323" y="170595"/>
                  <a:pt x="486977" y="168253"/>
                </a:cubicBezTo>
                <a:close/>
                <a:moveTo>
                  <a:pt x="293225" y="0"/>
                </a:moveTo>
                <a:cubicBezTo>
                  <a:pt x="455169" y="0"/>
                  <a:pt x="586449" y="131281"/>
                  <a:pt x="586449" y="293225"/>
                </a:cubicBezTo>
                <a:cubicBezTo>
                  <a:pt x="586449" y="455169"/>
                  <a:pt x="455169" y="586450"/>
                  <a:pt x="293225" y="586450"/>
                </a:cubicBezTo>
                <a:cubicBezTo>
                  <a:pt x="131281" y="586450"/>
                  <a:pt x="0" y="455169"/>
                  <a:pt x="0" y="293225"/>
                </a:cubicBezTo>
                <a:cubicBezTo>
                  <a:pt x="0" y="131281"/>
                  <a:pt x="131281" y="0"/>
                  <a:pt x="293225" y="0"/>
                </a:cubicBezTo>
                <a:close/>
              </a:path>
            </a:pathLst>
          </a:custGeom>
          <a:solidFill>
            <a:schemeClr val="tx2"/>
          </a:solidFill>
          <a:ln w="3364" cap="flat">
            <a:noFill/>
            <a:prstDash val="solid"/>
            <a:miter/>
          </a:ln>
        </p:spPr>
        <p:txBody>
          <a:bodyPr wrap="square" rtlCol="0" anchor="ctr">
            <a:noAutofit/>
          </a:bodyPr>
          <a:lstStyle/>
          <a:p>
            <a:endParaRPr lang="en-GB"/>
          </a:p>
        </p:txBody>
      </p:sp>
      <p:sp>
        <p:nvSpPr>
          <p:cNvPr id="4" name="Picture Placeholder 10">
            <a:extLst>
              <a:ext uri="{FF2B5EF4-FFF2-40B4-BE49-F238E27FC236}">
                <a16:creationId xmlns:a16="http://schemas.microsoft.com/office/drawing/2014/main" id="{C7714F4E-8A98-080F-4890-99722AF2380D}"/>
              </a:ext>
            </a:extLst>
          </p:cNvPr>
          <p:cNvSpPr>
            <a:spLocks noGrp="1"/>
          </p:cNvSpPr>
          <p:nvPr>
            <p:ph type="pic" sz="quarter" idx="13" hasCustomPrompt="1"/>
          </p:nvPr>
        </p:nvSpPr>
        <p:spPr>
          <a:xfrm>
            <a:off x="6096000" y="0"/>
            <a:ext cx="2030413" cy="6857999"/>
          </a:xfrm>
          <a:solidFill>
            <a:schemeClr val="tx1"/>
          </a:solidFill>
        </p:spPr>
        <p:txBody>
          <a:bodyPr vert="vert270" lIns="0" tIns="45720" rIns="0" bIns="45720" rtlCol="0" anchor="ctr">
            <a:noAutofit/>
          </a:bodyPr>
          <a:lstStyle>
            <a:lvl1pPr algn="ctr">
              <a:defRPr lang="en-GB" sz="2800" b="0" dirty="0">
                <a:solidFill>
                  <a:schemeClr val="bg1"/>
                </a:solidFill>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US" dirty="0"/>
              <a:t>ADD RELATED IMAGE </a:t>
            </a:r>
          </a:p>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US" dirty="0"/>
              <a:t>FROM HFW IMAGE LIBRARY</a:t>
            </a:r>
          </a:p>
        </p:txBody>
      </p:sp>
    </p:spTree>
    <p:extLst>
      <p:ext uri="{BB962C8B-B14F-4D97-AF65-F5344CB8AC3E}">
        <p14:creationId xmlns:p14="http://schemas.microsoft.com/office/powerpoint/2010/main" val="1647022786"/>
      </p:ext>
    </p:extLst>
  </p:cSld>
  <p:clrMapOvr>
    <a:masterClrMapping/>
  </p:clrMapOvr>
  <p:transition spd="med">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About u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261A4C7-E98D-3660-5C37-C13B3A230A80}"/>
              </a:ext>
            </a:extLst>
          </p:cNvPr>
          <p:cNvSpPr/>
          <p:nvPr userDrawn="1"/>
        </p:nvSpPr>
        <p:spPr>
          <a:xfrm>
            <a:off x="8126413" y="0"/>
            <a:ext cx="4065587"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Footer Placeholder 4"/>
          <p:cNvSpPr>
            <a:spLocks noGrp="1"/>
          </p:cNvSpPr>
          <p:nvPr>
            <p:ph type="ftr" sz="quarter" idx="11"/>
          </p:nvPr>
        </p:nvSpPr>
        <p:spPr/>
        <p:txBody>
          <a:bodyPr/>
          <a:lstStyle/>
          <a:p>
            <a:r>
              <a:rPr lang="en-GB"/>
              <a:t>INSERT FOOTER HERE</a:t>
            </a:r>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8CFE0557-AA98-4E6C-B0C3-581794696B68}" type="slidenum">
              <a:rPr lang="en-GB" smtClean="0"/>
              <a:pPr/>
              <a:t>‹#›</a:t>
            </a:fld>
            <a:endParaRPr lang="en-GB" dirty="0"/>
          </a:p>
        </p:txBody>
      </p:sp>
      <p:sp>
        <p:nvSpPr>
          <p:cNvPr id="3" name="TextBox 4">
            <a:extLst>
              <a:ext uri="{FF2B5EF4-FFF2-40B4-BE49-F238E27FC236}">
                <a16:creationId xmlns:a16="http://schemas.microsoft.com/office/drawing/2014/main" id="{059D8B5A-9275-E70C-ABEF-408099EE7215}"/>
              </a:ext>
            </a:extLst>
          </p:cNvPr>
          <p:cNvSpPr txBox="1"/>
          <p:nvPr userDrawn="1"/>
        </p:nvSpPr>
        <p:spPr>
          <a:xfrm>
            <a:off x="12346713" y="109538"/>
            <a:ext cx="1934437" cy="31700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INSERTING IMAGES:</a:t>
            </a:r>
          </a:p>
          <a:p>
            <a:pPr marL="179388" indent="-179388">
              <a:spcBef>
                <a:spcPts val="200"/>
              </a:spcBef>
              <a:spcAft>
                <a:spcPts val="200"/>
              </a:spcAft>
              <a:buFont typeface="+mj-lt"/>
              <a:buAutoNum type="arabicPeriod"/>
            </a:pPr>
            <a:r>
              <a:rPr lang="en-US" sz="900" dirty="0">
                <a:solidFill>
                  <a:schemeClr val="tx1"/>
                </a:solidFill>
                <a:latin typeface="+mn-lt"/>
              </a:rPr>
              <a:t>Simply click the image placeholder and select your image.</a:t>
            </a:r>
          </a:p>
          <a:p>
            <a:pPr marL="179388" indent="-179388">
              <a:spcBef>
                <a:spcPts val="200"/>
              </a:spcBef>
              <a:spcAft>
                <a:spcPts val="200"/>
              </a:spcAft>
              <a:buFont typeface="+mj-lt"/>
              <a:buAutoNum type="arabicPeriod"/>
            </a:pPr>
            <a:r>
              <a:rPr lang="en-US" sz="900" dirty="0">
                <a:solidFill>
                  <a:schemeClr val="tx1"/>
                </a:solidFill>
                <a:latin typeface="+mn-lt"/>
              </a:rPr>
              <a:t>Once your image is inserted into the shape it may be distorted. (Stretched or Squashed)</a:t>
            </a:r>
          </a:p>
          <a:p>
            <a:pPr marL="179388" indent="-179388">
              <a:spcBef>
                <a:spcPts val="200"/>
              </a:spcBef>
              <a:spcAft>
                <a:spcPts val="200"/>
              </a:spcAft>
              <a:buFont typeface="+mj-lt"/>
              <a:buAutoNum type="arabicPeriod"/>
            </a:pPr>
            <a:endParaRPr lang="en-US" sz="900" dirty="0">
              <a:solidFill>
                <a:schemeClr val="tx1"/>
              </a:solidFill>
              <a:latin typeface="+mn-lt"/>
            </a:endParaRPr>
          </a:p>
          <a:p>
            <a:pPr>
              <a:spcBef>
                <a:spcPts val="200"/>
              </a:spcBef>
              <a:spcAft>
                <a:spcPts val="200"/>
              </a:spcAft>
            </a:pPr>
            <a:r>
              <a:rPr lang="en-US" sz="900" b="1" dirty="0">
                <a:solidFill>
                  <a:schemeClr val="tx1"/>
                </a:solidFill>
                <a:latin typeface="+mn-lt"/>
              </a:rPr>
              <a:t>To fix this:</a:t>
            </a:r>
          </a:p>
          <a:p>
            <a:pPr marL="179388" indent="-179388">
              <a:spcBef>
                <a:spcPts val="200"/>
              </a:spcBef>
              <a:spcAft>
                <a:spcPts val="200"/>
              </a:spcAft>
              <a:buFont typeface="+mj-lt"/>
              <a:buAutoNum type="arabicPeriod"/>
            </a:pPr>
            <a:r>
              <a:rPr lang="en-US" sz="900" dirty="0">
                <a:solidFill>
                  <a:schemeClr val="tx1"/>
                </a:solidFill>
                <a:latin typeface="+mn-lt"/>
              </a:rPr>
              <a:t>Click on the image and from the top menu under </a:t>
            </a:r>
            <a:r>
              <a:rPr lang="en-US" sz="900" b="1" dirty="0">
                <a:solidFill>
                  <a:schemeClr val="tx1"/>
                </a:solidFill>
                <a:latin typeface="+mn-lt"/>
              </a:rPr>
              <a:t>PICTURE FORMAT </a:t>
            </a:r>
            <a:r>
              <a:rPr lang="en-US" sz="900" dirty="0">
                <a:solidFill>
                  <a:schemeClr val="tx1"/>
                </a:solidFill>
                <a:latin typeface="+mn-lt"/>
              </a:rPr>
              <a:t>select the </a:t>
            </a:r>
            <a:r>
              <a:rPr lang="en-US" sz="900" b="1" dirty="0">
                <a:solidFill>
                  <a:schemeClr val="tx1"/>
                </a:solidFill>
                <a:latin typeface="+mn-lt"/>
              </a:rPr>
              <a:t>CROP</a:t>
            </a:r>
            <a:r>
              <a:rPr lang="en-US" sz="900" dirty="0">
                <a:solidFill>
                  <a:schemeClr val="tx1"/>
                </a:solidFill>
                <a:latin typeface="+mn-lt"/>
              </a:rPr>
              <a:t> on the right and from the drop down menu select </a:t>
            </a:r>
            <a:r>
              <a:rPr lang="en-US" sz="900" b="1" kern="1200" dirty="0">
                <a:solidFill>
                  <a:schemeClr val="tx1"/>
                </a:solidFill>
                <a:latin typeface="+mn-lt"/>
                <a:ea typeface="+mn-ea"/>
                <a:cs typeface="+mn-cs"/>
              </a:rPr>
              <a:t>FILL</a:t>
            </a:r>
          </a:p>
          <a:p>
            <a:pPr marL="179388" indent="-179388">
              <a:spcBef>
                <a:spcPts val="200"/>
              </a:spcBef>
              <a:spcAft>
                <a:spcPts val="200"/>
              </a:spcAft>
              <a:buFont typeface="+mj-lt"/>
              <a:buAutoNum type="arabicPeriod"/>
            </a:pPr>
            <a:r>
              <a:rPr lang="en-US" sz="900" b="0" kern="1200" dirty="0">
                <a:solidFill>
                  <a:schemeClr val="tx1"/>
                </a:solidFill>
                <a:latin typeface="+mn-lt"/>
                <a:ea typeface="+mn-ea"/>
                <a:cs typeface="+mn-cs"/>
              </a:rPr>
              <a:t>From here you can move the image within the shape for best visual appearance</a:t>
            </a:r>
          </a:p>
        </p:txBody>
      </p:sp>
      <p:sp>
        <p:nvSpPr>
          <p:cNvPr id="2" name="Picture Placeholder 10">
            <a:extLst>
              <a:ext uri="{FF2B5EF4-FFF2-40B4-BE49-F238E27FC236}">
                <a16:creationId xmlns:a16="http://schemas.microsoft.com/office/drawing/2014/main" id="{B9AAF41E-3A8B-EA04-CCD3-A70F3B5518DD}"/>
              </a:ext>
            </a:extLst>
          </p:cNvPr>
          <p:cNvSpPr>
            <a:spLocks noGrp="1"/>
          </p:cNvSpPr>
          <p:nvPr>
            <p:ph type="pic" sz="quarter" idx="13" hasCustomPrompt="1"/>
          </p:nvPr>
        </p:nvSpPr>
        <p:spPr>
          <a:xfrm>
            <a:off x="6096000" y="0"/>
            <a:ext cx="2030413" cy="6857999"/>
          </a:xfrm>
          <a:solidFill>
            <a:schemeClr val="tx1"/>
          </a:solidFill>
        </p:spPr>
        <p:txBody>
          <a:bodyPr vert="vert270" lIns="0" tIns="45720" rIns="0" bIns="45720" rtlCol="0" anchor="ctr">
            <a:noAutofit/>
          </a:bodyPr>
          <a:lstStyle>
            <a:lvl1pPr algn="ctr">
              <a:defRPr lang="en-GB" sz="2800" b="0" dirty="0">
                <a:solidFill>
                  <a:schemeClr val="bg1"/>
                </a:solidFill>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US" dirty="0"/>
              <a:t>ADD RELATED IMAGE </a:t>
            </a:r>
          </a:p>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US" dirty="0"/>
              <a:t>FROM HFW IMAGE LIBRARY</a:t>
            </a:r>
          </a:p>
        </p:txBody>
      </p:sp>
      <p:sp>
        <p:nvSpPr>
          <p:cNvPr id="4" name="Title 3">
            <a:extLst>
              <a:ext uri="{FF2B5EF4-FFF2-40B4-BE49-F238E27FC236}">
                <a16:creationId xmlns:a16="http://schemas.microsoft.com/office/drawing/2014/main" id="{DDA8AFF9-7F92-D375-BA4C-74B0EB0D2EEF}"/>
              </a:ext>
            </a:extLst>
          </p:cNvPr>
          <p:cNvSpPr>
            <a:spLocks noGrp="1"/>
          </p:cNvSpPr>
          <p:nvPr>
            <p:ph type="title"/>
          </p:nvPr>
        </p:nvSpPr>
        <p:spPr>
          <a:xfrm>
            <a:off x="508000" y="454013"/>
            <a:ext cx="5266267" cy="1039999"/>
          </a:xfrm>
        </p:spPr>
        <p:txBody>
          <a:bodyPr/>
          <a:lstStyle/>
          <a:p>
            <a:r>
              <a:rPr lang="en-US" dirty="0"/>
              <a:t>Click to edit Master title style</a:t>
            </a:r>
            <a:endParaRPr lang="en-GB" dirty="0"/>
          </a:p>
        </p:txBody>
      </p:sp>
    </p:spTree>
    <p:extLst>
      <p:ext uri="{BB962C8B-B14F-4D97-AF65-F5344CB8AC3E}">
        <p14:creationId xmlns:p14="http://schemas.microsoft.com/office/powerpoint/2010/main" val="3770941172"/>
      </p:ext>
    </p:extLst>
  </p:cSld>
  <p:clrMapOvr>
    <a:masterClrMapping/>
  </p:clrMapOvr>
  <p:transition spd="med">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AEROSPACE Boilerplate">
    <p:spTree>
      <p:nvGrpSpPr>
        <p:cNvPr id="1" name=""/>
        <p:cNvGrpSpPr/>
        <p:nvPr/>
      </p:nvGrpSpPr>
      <p:grpSpPr>
        <a:xfrm>
          <a:off x="0" y="0"/>
          <a:ext cx="0" cy="0"/>
          <a:chOff x="0" y="0"/>
          <a:chExt cx="0" cy="0"/>
        </a:xfrm>
      </p:grpSpPr>
      <p:pic>
        <p:nvPicPr>
          <p:cNvPr id="29" name="Graphic 28">
            <a:extLst>
              <a:ext uri="{FF2B5EF4-FFF2-40B4-BE49-F238E27FC236}">
                <a16:creationId xmlns:a16="http://schemas.microsoft.com/office/drawing/2014/main" id="{E445D92A-A268-DC4C-148C-0441419733C2}"/>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66653"/>
          <a:stretch/>
        </p:blipFill>
        <p:spPr>
          <a:xfrm>
            <a:off x="8126412" y="0"/>
            <a:ext cx="4065587" cy="6858000"/>
          </a:xfrm>
          <a:prstGeom prst="rect">
            <a:avLst/>
          </a:prstGeom>
        </p:spPr>
      </p:pic>
      <p:sp>
        <p:nvSpPr>
          <p:cNvPr id="7" name="TextBox 6">
            <a:extLst>
              <a:ext uri="{FF2B5EF4-FFF2-40B4-BE49-F238E27FC236}">
                <a16:creationId xmlns:a16="http://schemas.microsoft.com/office/drawing/2014/main" id="{73D10B0A-F22D-7272-14D2-169122397CB5}"/>
              </a:ext>
            </a:extLst>
          </p:cNvPr>
          <p:cNvSpPr txBox="1"/>
          <p:nvPr userDrawn="1"/>
        </p:nvSpPr>
        <p:spPr>
          <a:xfrm>
            <a:off x="8839200" y="1123947"/>
            <a:ext cx="2843213" cy="1447800"/>
          </a:xfrm>
          <a:prstGeom prst="rect">
            <a:avLst/>
          </a:prstGeom>
        </p:spPr>
        <p:txBody>
          <a:bodyPr vert="horz" wrap="square" lIns="0" tIns="45720" rIns="0" bIns="45720" rtlCol="0">
            <a:normAutofit/>
          </a:bodyPr>
          <a:lstStyle/>
          <a:p>
            <a:pPr algn="l">
              <a:lnSpc>
                <a:spcPct val="80000"/>
              </a:lnSpc>
            </a:pPr>
            <a:r>
              <a:rPr lang="en-GB" sz="7200" dirty="0">
                <a:solidFill>
                  <a:schemeClr val="bg1"/>
                </a:solidFill>
                <a:latin typeface="+mj-lt"/>
              </a:rPr>
              <a:t>20</a:t>
            </a:r>
          </a:p>
          <a:p>
            <a:pPr algn="l">
              <a:lnSpc>
                <a:spcPct val="80000"/>
              </a:lnSpc>
            </a:pPr>
            <a:r>
              <a:rPr lang="en-GB" sz="3200" dirty="0">
                <a:solidFill>
                  <a:schemeClr val="accent2"/>
                </a:solidFill>
                <a:latin typeface="+mn-lt"/>
              </a:rPr>
              <a:t>partners</a:t>
            </a:r>
            <a:endParaRPr lang="en-GB" sz="8000" kern="1200" dirty="0">
              <a:solidFill>
                <a:schemeClr val="accent2"/>
              </a:solidFill>
              <a:latin typeface="+mj-lt"/>
              <a:ea typeface="+mn-ea"/>
              <a:cs typeface="+mn-cs"/>
            </a:endParaRPr>
          </a:p>
        </p:txBody>
      </p:sp>
      <p:sp>
        <p:nvSpPr>
          <p:cNvPr id="11" name="TextBox 10">
            <a:extLst>
              <a:ext uri="{FF2B5EF4-FFF2-40B4-BE49-F238E27FC236}">
                <a16:creationId xmlns:a16="http://schemas.microsoft.com/office/drawing/2014/main" id="{67C871FE-B1B0-A638-ADC0-218F5F432E20}"/>
              </a:ext>
            </a:extLst>
          </p:cNvPr>
          <p:cNvSpPr txBox="1"/>
          <p:nvPr userDrawn="1"/>
        </p:nvSpPr>
        <p:spPr>
          <a:xfrm>
            <a:off x="8839200" y="2819215"/>
            <a:ext cx="2843213" cy="1447800"/>
          </a:xfrm>
          <a:prstGeom prst="rect">
            <a:avLst/>
          </a:prstGeom>
        </p:spPr>
        <p:txBody>
          <a:bodyPr vert="horz" wrap="square" lIns="0" tIns="45720" rIns="0" bIns="45720" rtlCol="0">
            <a:normAutofit/>
          </a:bodyPr>
          <a:lstStyle/>
          <a:p>
            <a:pPr algn="l">
              <a:lnSpc>
                <a:spcPct val="80000"/>
              </a:lnSpc>
            </a:pPr>
            <a:r>
              <a:rPr lang="en-GB" sz="7200" dirty="0">
                <a:solidFill>
                  <a:schemeClr val="bg1"/>
                </a:solidFill>
                <a:latin typeface="+mj-lt"/>
              </a:rPr>
              <a:t>85+</a:t>
            </a:r>
          </a:p>
          <a:p>
            <a:pPr algn="l">
              <a:lnSpc>
                <a:spcPct val="80000"/>
              </a:lnSpc>
            </a:pPr>
            <a:r>
              <a:rPr lang="en-GB" sz="3200" dirty="0">
                <a:solidFill>
                  <a:schemeClr val="accent2"/>
                </a:solidFill>
                <a:latin typeface="+mn-lt"/>
              </a:rPr>
              <a:t>lawyers</a:t>
            </a:r>
            <a:endParaRPr lang="en-GB" sz="8000" kern="1200" dirty="0">
              <a:solidFill>
                <a:schemeClr val="accent2"/>
              </a:solidFill>
              <a:latin typeface="+mj-lt"/>
              <a:ea typeface="+mn-ea"/>
              <a:cs typeface="+mn-cs"/>
            </a:endParaRPr>
          </a:p>
        </p:txBody>
      </p:sp>
      <p:sp>
        <p:nvSpPr>
          <p:cNvPr id="12" name="TextBox 11">
            <a:extLst>
              <a:ext uri="{FF2B5EF4-FFF2-40B4-BE49-F238E27FC236}">
                <a16:creationId xmlns:a16="http://schemas.microsoft.com/office/drawing/2014/main" id="{F11CE0C1-0666-DC6D-F362-A93308F22743}"/>
              </a:ext>
            </a:extLst>
          </p:cNvPr>
          <p:cNvSpPr txBox="1"/>
          <p:nvPr userDrawn="1"/>
        </p:nvSpPr>
        <p:spPr>
          <a:xfrm>
            <a:off x="8778240" y="4546753"/>
            <a:ext cx="2843213" cy="1775416"/>
          </a:xfrm>
          <a:prstGeom prst="rect">
            <a:avLst/>
          </a:prstGeom>
        </p:spPr>
        <p:txBody>
          <a:bodyPr vert="horz" wrap="square" lIns="0" tIns="45720" rIns="0" bIns="45720" rtlCol="0">
            <a:normAutofit/>
          </a:bodyPr>
          <a:lstStyle/>
          <a:p>
            <a:pPr marL="92075" indent="-92075" algn="l">
              <a:lnSpc>
                <a:spcPct val="100000"/>
              </a:lnSpc>
              <a:spcBef>
                <a:spcPts val="200"/>
              </a:spcBef>
              <a:spcAft>
                <a:spcPts val="200"/>
              </a:spcAft>
            </a:pPr>
            <a:r>
              <a:rPr lang="en-US" sz="1600" dirty="0">
                <a:solidFill>
                  <a:schemeClr val="bg1"/>
                </a:solidFill>
                <a:latin typeface="+mj-lt"/>
              </a:rPr>
              <a:t>“HFW are the </a:t>
            </a:r>
            <a:br>
              <a:rPr lang="en-US" sz="1600" dirty="0">
                <a:solidFill>
                  <a:schemeClr val="bg1"/>
                </a:solidFill>
                <a:latin typeface="+mj-lt"/>
              </a:rPr>
            </a:br>
            <a:r>
              <a:rPr lang="en-US" sz="1600" dirty="0">
                <a:solidFill>
                  <a:schemeClr val="bg1"/>
                </a:solidFill>
                <a:latin typeface="+mj-lt"/>
              </a:rPr>
              <a:t>most reliable, knowledgeable law </a:t>
            </a:r>
            <a:br>
              <a:rPr lang="en-US" sz="1600" dirty="0">
                <a:solidFill>
                  <a:schemeClr val="bg1"/>
                </a:solidFill>
                <a:latin typeface="+mj-lt"/>
              </a:rPr>
            </a:br>
            <a:r>
              <a:rPr lang="en-US" sz="1600" dirty="0">
                <a:solidFill>
                  <a:schemeClr val="bg1"/>
                </a:solidFill>
                <a:latin typeface="+mj-lt"/>
              </a:rPr>
              <a:t>firm I work with... </a:t>
            </a:r>
            <a:br>
              <a:rPr lang="en-US" sz="1600" dirty="0">
                <a:solidFill>
                  <a:schemeClr val="bg1"/>
                </a:solidFill>
                <a:latin typeface="+mj-lt"/>
              </a:rPr>
            </a:br>
            <a:r>
              <a:rPr lang="en-US" sz="1600" dirty="0">
                <a:solidFill>
                  <a:schemeClr val="bg1"/>
                </a:solidFill>
                <a:latin typeface="+mj-lt"/>
              </a:rPr>
              <a:t>they are my go-to.”</a:t>
            </a:r>
          </a:p>
          <a:p>
            <a:pPr marL="92075" indent="0" algn="l">
              <a:lnSpc>
                <a:spcPct val="100000"/>
              </a:lnSpc>
              <a:spcBef>
                <a:spcPts val="200"/>
              </a:spcBef>
              <a:spcAft>
                <a:spcPts val="200"/>
              </a:spcAft>
            </a:pPr>
            <a:r>
              <a:rPr lang="en-US" sz="1200" dirty="0">
                <a:solidFill>
                  <a:schemeClr val="accent2"/>
                </a:solidFill>
                <a:latin typeface="+mj-lt"/>
              </a:rPr>
              <a:t>AVIATION CLIENT</a:t>
            </a:r>
            <a:endParaRPr lang="en-GB" sz="1400" kern="1200" dirty="0">
              <a:solidFill>
                <a:schemeClr val="accent2"/>
              </a:solidFill>
              <a:latin typeface="+mj-lt"/>
              <a:ea typeface="+mn-ea"/>
              <a:cs typeface="+mn-cs"/>
            </a:endParaRPr>
          </a:p>
        </p:txBody>
      </p:sp>
      <p:sp>
        <p:nvSpPr>
          <p:cNvPr id="5" name="Footer Placeholder 4"/>
          <p:cNvSpPr>
            <a:spLocks noGrp="1"/>
          </p:cNvSpPr>
          <p:nvPr>
            <p:ph type="ftr" sz="quarter" idx="11"/>
          </p:nvPr>
        </p:nvSpPr>
        <p:spPr/>
        <p:txBody>
          <a:bodyPr/>
          <a:lstStyle/>
          <a:p>
            <a:r>
              <a:rPr lang="en-GB"/>
              <a:t>INSERT FOOTER HER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8CFE0557-AA98-4E6C-B0C3-581794696B68}" type="slidenum">
              <a:rPr lang="en-GB" smtClean="0"/>
              <a:pPr/>
              <a:t>‹#›</a:t>
            </a:fld>
            <a:endParaRPr lang="en-GB" dirty="0"/>
          </a:p>
        </p:txBody>
      </p:sp>
      <p:sp>
        <p:nvSpPr>
          <p:cNvPr id="23" name="Title 3">
            <a:extLst>
              <a:ext uri="{FF2B5EF4-FFF2-40B4-BE49-F238E27FC236}">
                <a16:creationId xmlns:a16="http://schemas.microsoft.com/office/drawing/2014/main" id="{8AB09B44-EDBF-17A6-8435-B2F4F07AB3F6}"/>
              </a:ext>
            </a:extLst>
          </p:cNvPr>
          <p:cNvSpPr txBox="1">
            <a:spLocks/>
          </p:cNvSpPr>
          <p:nvPr userDrawn="1"/>
        </p:nvSpPr>
        <p:spPr>
          <a:xfrm>
            <a:off x="508000" y="454014"/>
            <a:ext cx="7134225" cy="669934"/>
          </a:xfrm>
          <a:prstGeom prst="rect">
            <a:avLst/>
          </a:prstGeom>
        </p:spPr>
        <p:txBody>
          <a:bodyPr vert="horz" lIns="0" tIns="0" rIns="0" bIns="72000" rtlCol="0" anchor="t" anchorCtr="0">
            <a:noAutofit/>
          </a:bodyPr>
          <a:lstStyle>
            <a:lvl1pPr algn="l" defTabSz="914400" rtl="0" eaLnBrk="1" latinLnBrk="0" hangingPunct="1">
              <a:lnSpc>
                <a:spcPct val="90000"/>
              </a:lnSpc>
              <a:spcBef>
                <a:spcPct val="0"/>
              </a:spcBef>
              <a:buNone/>
              <a:defRPr sz="3200" kern="1200" cap="all" baseline="0">
                <a:solidFill>
                  <a:schemeClr val="tx2"/>
                </a:solidFill>
                <a:latin typeface="+mn-lt"/>
                <a:ea typeface="+mj-ea"/>
                <a:cs typeface="+mj-cs"/>
              </a:defRPr>
            </a:lvl1pPr>
          </a:lstStyle>
          <a:p>
            <a:r>
              <a:rPr lang="en-GB" dirty="0"/>
              <a:t>AEROSPACE</a:t>
            </a:r>
          </a:p>
        </p:txBody>
      </p:sp>
      <p:sp>
        <p:nvSpPr>
          <p:cNvPr id="25" name="TextBox 24">
            <a:extLst>
              <a:ext uri="{FF2B5EF4-FFF2-40B4-BE49-F238E27FC236}">
                <a16:creationId xmlns:a16="http://schemas.microsoft.com/office/drawing/2014/main" id="{A5EA36E1-4129-FEF6-9C2F-9D7197C7629D}"/>
              </a:ext>
            </a:extLst>
          </p:cNvPr>
          <p:cNvSpPr txBox="1"/>
          <p:nvPr userDrawn="1"/>
        </p:nvSpPr>
        <p:spPr>
          <a:xfrm>
            <a:off x="504826" y="1123946"/>
            <a:ext cx="7183961" cy="1027119"/>
          </a:xfrm>
          <a:prstGeom prst="rect">
            <a:avLst/>
          </a:prstGeom>
        </p:spPr>
        <p:txBody>
          <a:bodyPr vert="horz" wrap="square" lIns="0" tIns="45720" rIns="0" bIns="45720" rtlCol="0">
            <a:normAutofit lnSpcReduction="10000"/>
          </a:bodyPr>
          <a:lstStyle/>
          <a:p>
            <a:pPr marL="0" lvl="0" indent="0" algn="l" defTabSz="914400" rtl="0" eaLnBrk="1" latinLnBrk="0" hangingPunct="1">
              <a:lnSpc>
                <a:spcPct val="110000"/>
              </a:lnSpc>
              <a:spcBef>
                <a:spcPts val="300"/>
              </a:spcBef>
              <a:spcAft>
                <a:spcPts val="300"/>
              </a:spcAft>
              <a:buFont typeface="Arial" panose="020B0604020202020204" pitchFamily="34" charset="0"/>
              <a:buNone/>
            </a:pPr>
            <a:r>
              <a:rPr lang="en-US" sz="2000" kern="1200" dirty="0">
                <a:solidFill>
                  <a:schemeClr val="accent2"/>
                </a:solidFill>
                <a:latin typeface="+mj-lt"/>
                <a:ea typeface="+mn-ea"/>
                <a:cs typeface="+mn-cs"/>
              </a:rPr>
              <a:t>HFW’s market-leading global aerospace practice has been at the forefront of legal developments in the sector for decades.</a:t>
            </a:r>
            <a:endParaRPr lang="en-GB" sz="2000" kern="1200" dirty="0">
              <a:solidFill>
                <a:schemeClr val="accent2"/>
              </a:solidFill>
              <a:latin typeface="+mj-lt"/>
              <a:ea typeface="+mn-ea"/>
              <a:cs typeface="+mn-cs"/>
            </a:endParaRPr>
          </a:p>
        </p:txBody>
      </p:sp>
      <p:sp>
        <p:nvSpPr>
          <p:cNvPr id="26" name="TextBox 25">
            <a:extLst>
              <a:ext uri="{FF2B5EF4-FFF2-40B4-BE49-F238E27FC236}">
                <a16:creationId xmlns:a16="http://schemas.microsoft.com/office/drawing/2014/main" id="{FDFD0AFD-8043-093A-16C9-665D20AE7490}"/>
              </a:ext>
            </a:extLst>
          </p:cNvPr>
          <p:cNvSpPr txBox="1"/>
          <p:nvPr userDrawn="1"/>
        </p:nvSpPr>
        <p:spPr>
          <a:xfrm>
            <a:off x="504826" y="2195825"/>
            <a:ext cx="3403599" cy="4022429"/>
          </a:xfrm>
          <a:prstGeom prst="rect">
            <a:avLst/>
          </a:prstGeom>
        </p:spPr>
        <p:txBody>
          <a:bodyPr vert="horz" lIns="0" tIns="45720" rIns="0" bIns="45720" rtlCol="0">
            <a:normAutofit/>
          </a:bodyPr>
          <a:lstStyle>
            <a:lvl1pPr indent="0" defTabSz="914400">
              <a:lnSpc>
                <a:spcPct val="130000"/>
              </a:lnSpc>
              <a:spcBef>
                <a:spcPts val="300"/>
              </a:spcBef>
              <a:spcAft>
                <a:spcPts val="300"/>
              </a:spcAft>
              <a:buFont typeface="Arial" panose="020B0604020202020204" pitchFamily="34" charset="0"/>
              <a:buNone/>
              <a:defRPr sz="1400">
                <a:solidFill>
                  <a:schemeClr val="tx2"/>
                </a:solidFill>
                <a:latin typeface="+mj-lt"/>
              </a:defRPr>
            </a:lvl1pPr>
            <a:lvl2pPr marL="0" lvl="1" indent="0" defTabSz="914400">
              <a:lnSpc>
                <a:spcPct val="130000"/>
              </a:lnSpc>
              <a:spcBef>
                <a:spcPts val="300"/>
              </a:spcBef>
              <a:spcAft>
                <a:spcPts val="300"/>
              </a:spcAft>
              <a:buFont typeface="Arial" panose="020B0604020202020204" pitchFamily="34" charset="0"/>
              <a:buNone/>
              <a:defRPr sz="1100"/>
            </a:lvl2pPr>
            <a:lvl3pPr marL="180975" indent="-180975" defTabSz="914400">
              <a:lnSpc>
                <a:spcPct val="130000"/>
              </a:lnSpc>
              <a:spcBef>
                <a:spcPts val="300"/>
              </a:spcBef>
              <a:spcAft>
                <a:spcPts val="300"/>
              </a:spcAft>
              <a:buClr>
                <a:schemeClr val="tx2"/>
              </a:buClr>
              <a:buSzPct val="105000"/>
              <a:buFont typeface="Arial" panose="020B0604020202020204" pitchFamily="34" charset="0"/>
              <a:buChar char="•"/>
              <a:defRPr sz="1100"/>
            </a:lvl3pPr>
            <a:lvl4pPr marL="539750" indent="-180975" defTabSz="914400">
              <a:lnSpc>
                <a:spcPct val="130000"/>
              </a:lnSpc>
              <a:spcBef>
                <a:spcPts val="300"/>
              </a:spcBef>
              <a:spcAft>
                <a:spcPts val="300"/>
              </a:spcAft>
              <a:buClr>
                <a:schemeClr val="tx2"/>
              </a:buClr>
              <a:buSzPct val="105000"/>
              <a:buFont typeface="Arial" panose="020B0604020202020204" pitchFamily="34" charset="0"/>
              <a:buChar char="•"/>
              <a:defRPr sz="1050"/>
            </a:lvl4pPr>
            <a:lvl5pPr marL="898525" indent="-180975" defTabSz="914400">
              <a:lnSpc>
                <a:spcPct val="130000"/>
              </a:lnSpc>
              <a:spcBef>
                <a:spcPts val="300"/>
              </a:spcBef>
              <a:spcAft>
                <a:spcPts val="300"/>
              </a:spcAft>
              <a:buClr>
                <a:schemeClr val="tx2"/>
              </a:buClr>
              <a:buSzPct val="105000"/>
              <a:buFont typeface="Arial" panose="020B0604020202020204" pitchFamily="34" charset="0"/>
              <a:buChar char="•"/>
              <a:defRPr sz="105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1"/>
            <a:r>
              <a:rPr lang="en-US" dirty="0"/>
              <a:t>Our specialist lawyers have unrivalled experience of resolving the most complex claims and advising on aviation safety, economic regulation, finance and leasing, competition and antitrust. We help our clients negotiate documents which make sense operationally, </a:t>
            </a:r>
            <a:r>
              <a:rPr lang="en-US" dirty="0" err="1"/>
              <a:t>maximising</a:t>
            </a:r>
            <a:r>
              <a:rPr lang="en-US" dirty="0"/>
              <a:t> the revenue-generating potential of the asset, and also offer a bespoke aviation mediation service.</a:t>
            </a:r>
          </a:p>
          <a:p>
            <a:pPr lvl="1"/>
            <a:r>
              <a:rPr lang="en-US" dirty="0"/>
              <a:t>Our clients are drawn from all spheres of the aerospace industry, and our practice is one of the largest of any international law firm, with leading teams across Europe, the Middle East and Asia-Pacific. Our cooperation arrangement with Brazilian law firm CAL enables us to provide our clients with specialist local advice throughout Latin America.</a:t>
            </a:r>
            <a:endParaRPr lang="en-GB" dirty="0"/>
          </a:p>
        </p:txBody>
      </p:sp>
      <p:sp>
        <p:nvSpPr>
          <p:cNvPr id="27" name="TextBox 26">
            <a:extLst>
              <a:ext uri="{FF2B5EF4-FFF2-40B4-BE49-F238E27FC236}">
                <a16:creationId xmlns:a16="http://schemas.microsoft.com/office/drawing/2014/main" id="{530F07B0-065E-C879-CBA7-03096D29DFC1}"/>
              </a:ext>
            </a:extLst>
          </p:cNvPr>
          <p:cNvSpPr txBox="1"/>
          <p:nvPr userDrawn="1"/>
        </p:nvSpPr>
        <p:spPr>
          <a:xfrm>
            <a:off x="4233546" y="2195825"/>
            <a:ext cx="3403599" cy="4022429"/>
          </a:xfrm>
          <a:prstGeom prst="rect">
            <a:avLst/>
          </a:prstGeom>
        </p:spPr>
        <p:txBody>
          <a:bodyPr vert="horz" lIns="0" tIns="45720" rIns="0" bIns="45720" rtlCol="0">
            <a:normAutofit/>
          </a:bodyPr>
          <a:lstStyle>
            <a:lvl1pPr indent="0" defTabSz="914400">
              <a:lnSpc>
                <a:spcPct val="130000"/>
              </a:lnSpc>
              <a:spcBef>
                <a:spcPts val="300"/>
              </a:spcBef>
              <a:spcAft>
                <a:spcPts val="300"/>
              </a:spcAft>
              <a:buFont typeface="Arial" panose="020B0604020202020204" pitchFamily="34" charset="0"/>
              <a:buNone/>
              <a:defRPr sz="1400">
                <a:solidFill>
                  <a:schemeClr val="tx2"/>
                </a:solidFill>
                <a:latin typeface="+mj-lt"/>
              </a:defRPr>
            </a:lvl1pPr>
            <a:lvl2pPr marL="0" lvl="1" indent="0" defTabSz="914400">
              <a:lnSpc>
                <a:spcPct val="130000"/>
              </a:lnSpc>
              <a:spcBef>
                <a:spcPts val="300"/>
              </a:spcBef>
              <a:spcAft>
                <a:spcPts val="300"/>
              </a:spcAft>
              <a:buFont typeface="Arial" panose="020B0604020202020204" pitchFamily="34" charset="0"/>
              <a:buNone/>
              <a:defRPr sz="1100"/>
            </a:lvl2pPr>
            <a:lvl3pPr marL="180975" indent="-180975" defTabSz="914400">
              <a:lnSpc>
                <a:spcPct val="130000"/>
              </a:lnSpc>
              <a:spcBef>
                <a:spcPts val="300"/>
              </a:spcBef>
              <a:spcAft>
                <a:spcPts val="300"/>
              </a:spcAft>
              <a:buClr>
                <a:schemeClr val="tx2"/>
              </a:buClr>
              <a:buSzPct val="105000"/>
              <a:buFont typeface="Arial" panose="020B0604020202020204" pitchFamily="34" charset="0"/>
              <a:buChar char="•"/>
              <a:defRPr sz="1100"/>
            </a:lvl3pPr>
            <a:lvl4pPr marL="539750" indent="-180975" defTabSz="914400">
              <a:lnSpc>
                <a:spcPct val="130000"/>
              </a:lnSpc>
              <a:spcBef>
                <a:spcPts val="300"/>
              </a:spcBef>
              <a:spcAft>
                <a:spcPts val="300"/>
              </a:spcAft>
              <a:buClr>
                <a:schemeClr val="tx2"/>
              </a:buClr>
              <a:buSzPct val="105000"/>
              <a:buFont typeface="Arial" panose="020B0604020202020204" pitchFamily="34" charset="0"/>
              <a:buChar char="•"/>
              <a:defRPr sz="1050"/>
            </a:lvl4pPr>
            <a:lvl5pPr marL="898525" indent="-180975" defTabSz="914400">
              <a:lnSpc>
                <a:spcPct val="130000"/>
              </a:lnSpc>
              <a:spcBef>
                <a:spcPts val="300"/>
              </a:spcBef>
              <a:spcAft>
                <a:spcPts val="300"/>
              </a:spcAft>
              <a:buClr>
                <a:schemeClr val="tx2"/>
              </a:buClr>
              <a:buSzPct val="105000"/>
              <a:buFont typeface="Arial" panose="020B0604020202020204" pitchFamily="34" charset="0"/>
              <a:buChar char="•"/>
              <a:defRPr sz="105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1"/>
            <a:r>
              <a:rPr lang="en-US" dirty="0"/>
              <a:t>We act for more than 100 airlines around the world, and are ranked as a top-tier firm for aviation in Chambers and The Legal 500. Alongside our leading teams in Europe and the Middle East, we have the largest aviation team of any law firm in Asia Pacific, and have been named Aviation Law Firm of the Year by China Business Law Journal for the three years running.</a:t>
            </a:r>
            <a:endParaRPr lang="en-GB" dirty="0"/>
          </a:p>
        </p:txBody>
      </p:sp>
    </p:spTree>
    <p:extLst>
      <p:ext uri="{BB962C8B-B14F-4D97-AF65-F5344CB8AC3E}">
        <p14:creationId xmlns:p14="http://schemas.microsoft.com/office/powerpoint/2010/main" val="1666686544"/>
      </p:ext>
    </p:extLst>
  </p:cSld>
  <p:clrMapOvr>
    <a:masterClrMapping/>
  </p:clrMapOvr>
  <p:transition spd="med">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COMMODITIES Boilerplate">
    <p:spTree>
      <p:nvGrpSpPr>
        <p:cNvPr id="1" name=""/>
        <p:cNvGrpSpPr/>
        <p:nvPr/>
      </p:nvGrpSpPr>
      <p:grpSpPr>
        <a:xfrm>
          <a:off x="0" y="0"/>
          <a:ext cx="0" cy="0"/>
          <a:chOff x="0" y="0"/>
          <a:chExt cx="0" cy="0"/>
        </a:xfrm>
      </p:grpSpPr>
      <p:pic>
        <p:nvPicPr>
          <p:cNvPr id="24" name="Graphic 23">
            <a:extLst>
              <a:ext uri="{FF2B5EF4-FFF2-40B4-BE49-F238E27FC236}">
                <a16:creationId xmlns:a16="http://schemas.microsoft.com/office/drawing/2014/main" id="{9A74914B-31F2-D8AD-513A-CCD9B509B752}"/>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66653"/>
          <a:stretch/>
        </p:blipFill>
        <p:spPr>
          <a:xfrm>
            <a:off x="8126412" y="0"/>
            <a:ext cx="4065587" cy="6858000"/>
          </a:xfrm>
          <a:prstGeom prst="rect">
            <a:avLst/>
          </a:prstGeom>
        </p:spPr>
      </p:pic>
      <p:sp>
        <p:nvSpPr>
          <p:cNvPr id="7" name="TextBox 6">
            <a:extLst>
              <a:ext uri="{FF2B5EF4-FFF2-40B4-BE49-F238E27FC236}">
                <a16:creationId xmlns:a16="http://schemas.microsoft.com/office/drawing/2014/main" id="{73D10B0A-F22D-7272-14D2-169122397CB5}"/>
              </a:ext>
            </a:extLst>
          </p:cNvPr>
          <p:cNvSpPr txBox="1"/>
          <p:nvPr userDrawn="1"/>
        </p:nvSpPr>
        <p:spPr>
          <a:xfrm>
            <a:off x="8839200" y="1123947"/>
            <a:ext cx="2843213" cy="1447800"/>
          </a:xfrm>
          <a:prstGeom prst="rect">
            <a:avLst/>
          </a:prstGeom>
        </p:spPr>
        <p:txBody>
          <a:bodyPr vert="horz" wrap="square" lIns="0" tIns="45720" rIns="0" bIns="45720" rtlCol="0">
            <a:normAutofit/>
          </a:bodyPr>
          <a:lstStyle/>
          <a:p>
            <a:pPr algn="l">
              <a:lnSpc>
                <a:spcPct val="80000"/>
              </a:lnSpc>
            </a:pPr>
            <a:r>
              <a:rPr lang="en-GB" sz="7200" dirty="0">
                <a:solidFill>
                  <a:schemeClr val="bg1"/>
                </a:solidFill>
                <a:latin typeface="+mj-lt"/>
              </a:rPr>
              <a:t>35+</a:t>
            </a:r>
          </a:p>
          <a:p>
            <a:pPr algn="l">
              <a:lnSpc>
                <a:spcPct val="80000"/>
              </a:lnSpc>
            </a:pPr>
            <a:r>
              <a:rPr lang="en-GB" sz="3200" dirty="0">
                <a:solidFill>
                  <a:schemeClr val="accent2"/>
                </a:solidFill>
                <a:latin typeface="+mn-lt"/>
              </a:rPr>
              <a:t>partners</a:t>
            </a:r>
            <a:endParaRPr lang="en-GB" sz="8000" kern="1200" dirty="0">
              <a:solidFill>
                <a:schemeClr val="accent2"/>
              </a:solidFill>
              <a:latin typeface="+mj-lt"/>
              <a:ea typeface="+mn-ea"/>
              <a:cs typeface="+mn-cs"/>
            </a:endParaRPr>
          </a:p>
        </p:txBody>
      </p:sp>
      <p:sp>
        <p:nvSpPr>
          <p:cNvPr id="11" name="TextBox 10">
            <a:extLst>
              <a:ext uri="{FF2B5EF4-FFF2-40B4-BE49-F238E27FC236}">
                <a16:creationId xmlns:a16="http://schemas.microsoft.com/office/drawing/2014/main" id="{67C871FE-B1B0-A638-ADC0-218F5F432E20}"/>
              </a:ext>
            </a:extLst>
          </p:cNvPr>
          <p:cNvSpPr txBox="1"/>
          <p:nvPr userDrawn="1"/>
        </p:nvSpPr>
        <p:spPr>
          <a:xfrm>
            <a:off x="8839200" y="2819215"/>
            <a:ext cx="2843213" cy="1447800"/>
          </a:xfrm>
          <a:prstGeom prst="rect">
            <a:avLst/>
          </a:prstGeom>
        </p:spPr>
        <p:txBody>
          <a:bodyPr vert="horz" wrap="square" lIns="0" tIns="45720" rIns="0" bIns="45720" rtlCol="0">
            <a:normAutofit/>
          </a:bodyPr>
          <a:lstStyle/>
          <a:p>
            <a:pPr algn="l">
              <a:lnSpc>
                <a:spcPct val="80000"/>
              </a:lnSpc>
            </a:pPr>
            <a:r>
              <a:rPr lang="en-GB" sz="7200" dirty="0">
                <a:solidFill>
                  <a:schemeClr val="bg1"/>
                </a:solidFill>
                <a:latin typeface="+mj-lt"/>
              </a:rPr>
              <a:t>110+</a:t>
            </a:r>
          </a:p>
          <a:p>
            <a:pPr algn="l">
              <a:lnSpc>
                <a:spcPct val="80000"/>
              </a:lnSpc>
            </a:pPr>
            <a:r>
              <a:rPr lang="en-GB" sz="3200" dirty="0">
                <a:solidFill>
                  <a:schemeClr val="accent2"/>
                </a:solidFill>
                <a:latin typeface="+mn-lt"/>
              </a:rPr>
              <a:t>lawyers</a:t>
            </a:r>
            <a:endParaRPr lang="en-GB" sz="8000" kern="1200" dirty="0">
              <a:solidFill>
                <a:schemeClr val="accent2"/>
              </a:solidFill>
              <a:latin typeface="+mj-lt"/>
              <a:ea typeface="+mn-ea"/>
              <a:cs typeface="+mn-cs"/>
            </a:endParaRPr>
          </a:p>
        </p:txBody>
      </p:sp>
      <p:sp>
        <p:nvSpPr>
          <p:cNvPr id="12" name="TextBox 11">
            <a:extLst>
              <a:ext uri="{FF2B5EF4-FFF2-40B4-BE49-F238E27FC236}">
                <a16:creationId xmlns:a16="http://schemas.microsoft.com/office/drawing/2014/main" id="{F11CE0C1-0666-DC6D-F362-A93308F22743}"/>
              </a:ext>
            </a:extLst>
          </p:cNvPr>
          <p:cNvSpPr txBox="1"/>
          <p:nvPr userDrawn="1"/>
        </p:nvSpPr>
        <p:spPr>
          <a:xfrm>
            <a:off x="8778240" y="4546753"/>
            <a:ext cx="2843213" cy="1775416"/>
          </a:xfrm>
          <a:prstGeom prst="rect">
            <a:avLst/>
          </a:prstGeom>
        </p:spPr>
        <p:txBody>
          <a:bodyPr vert="horz" wrap="square" lIns="0" tIns="45720" rIns="0" bIns="45720" rtlCol="0">
            <a:normAutofit/>
          </a:bodyPr>
          <a:lstStyle/>
          <a:p>
            <a:pPr marL="92075" indent="-92075" algn="l">
              <a:lnSpc>
                <a:spcPct val="100000"/>
              </a:lnSpc>
              <a:spcBef>
                <a:spcPts val="200"/>
              </a:spcBef>
              <a:spcAft>
                <a:spcPts val="200"/>
              </a:spcAft>
            </a:pPr>
            <a:r>
              <a:rPr lang="en-US" sz="1600" dirty="0">
                <a:solidFill>
                  <a:schemeClr val="bg1"/>
                </a:solidFill>
                <a:latin typeface="+mj-lt"/>
              </a:rPr>
              <a:t>“A long tradition of first-class service in this sector with enormous experience and knowledge.”</a:t>
            </a:r>
          </a:p>
          <a:p>
            <a:pPr marL="92075" indent="0" algn="l">
              <a:lnSpc>
                <a:spcPct val="100000"/>
              </a:lnSpc>
              <a:spcBef>
                <a:spcPts val="200"/>
              </a:spcBef>
              <a:spcAft>
                <a:spcPts val="200"/>
              </a:spcAft>
            </a:pPr>
            <a:r>
              <a:rPr lang="en-US" sz="1200" dirty="0">
                <a:solidFill>
                  <a:schemeClr val="accent2"/>
                </a:solidFill>
                <a:latin typeface="+mj-lt"/>
              </a:rPr>
              <a:t>COMMODITIES CLIENT</a:t>
            </a:r>
            <a:endParaRPr lang="en-GB" sz="1400" kern="1200" dirty="0">
              <a:solidFill>
                <a:schemeClr val="accent2"/>
              </a:solidFill>
              <a:latin typeface="+mj-lt"/>
              <a:ea typeface="+mn-ea"/>
              <a:cs typeface="+mn-cs"/>
            </a:endParaRPr>
          </a:p>
        </p:txBody>
      </p:sp>
      <p:sp>
        <p:nvSpPr>
          <p:cNvPr id="5" name="Footer Placeholder 4"/>
          <p:cNvSpPr>
            <a:spLocks noGrp="1"/>
          </p:cNvSpPr>
          <p:nvPr>
            <p:ph type="ftr" sz="quarter" idx="11"/>
          </p:nvPr>
        </p:nvSpPr>
        <p:spPr/>
        <p:txBody>
          <a:bodyPr/>
          <a:lstStyle/>
          <a:p>
            <a:r>
              <a:rPr lang="en-GB"/>
              <a:t>INSERT FOOTER HER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8CFE0557-AA98-4E6C-B0C3-581794696B68}" type="slidenum">
              <a:rPr lang="en-GB" smtClean="0"/>
              <a:pPr/>
              <a:t>‹#›</a:t>
            </a:fld>
            <a:endParaRPr lang="en-GB" dirty="0"/>
          </a:p>
        </p:txBody>
      </p:sp>
      <p:sp>
        <p:nvSpPr>
          <p:cNvPr id="23" name="Title 3">
            <a:extLst>
              <a:ext uri="{FF2B5EF4-FFF2-40B4-BE49-F238E27FC236}">
                <a16:creationId xmlns:a16="http://schemas.microsoft.com/office/drawing/2014/main" id="{8AB09B44-EDBF-17A6-8435-B2F4F07AB3F6}"/>
              </a:ext>
            </a:extLst>
          </p:cNvPr>
          <p:cNvSpPr txBox="1">
            <a:spLocks/>
          </p:cNvSpPr>
          <p:nvPr userDrawn="1"/>
        </p:nvSpPr>
        <p:spPr>
          <a:xfrm>
            <a:off x="508000" y="454014"/>
            <a:ext cx="7134225" cy="669934"/>
          </a:xfrm>
          <a:prstGeom prst="rect">
            <a:avLst/>
          </a:prstGeom>
        </p:spPr>
        <p:txBody>
          <a:bodyPr vert="horz" lIns="0" tIns="0" rIns="0" bIns="72000" rtlCol="0" anchor="t" anchorCtr="0">
            <a:noAutofit/>
          </a:bodyPr>
          <a:lstStyle>
            <a:lvl1pPr algn="l" defTabSz="914400" rtl="0" eaLnBrk="1" latinLnBrk="0" hangingPunct="1">
              <a:lnSpc>
                <a:spcPct val="90000"/>
              </a:lnSpc>
              <a:spcBef>
                <a:spcPct val="0"/>
              </a:spcBef>
              <a:buNone/>
              <a:defRPr sz="3200" kern="1200" cap="all" baseline="0">
                <a:solidFill>
                  <a:schemeClr val="tx2"/>
                </a:solidFill>
                <a:latin typeface="+mn-lt"/>
                <a:ea typeface="+mj-ea"/>
                <a:cs typeface="+mj-cs"/>
              </a:defRPr>
            </a:lvl1pPr>
          </a:lstStyle>
          <a:p>
            <a:r>
              <a:rPr lang="en-US" dirty="0"/>
              <a:t>COMMODITIES</a:t>
            </a:r>
            <a:endParaRPr lang="en-GB" dirty="0"/>
          </a:p>
        </p:txBody>
      </p:sp>
      <p:sp>
        <p:nvSpPr>
          <p:cNvPr id="25" name="TextBox 24">
            <a:extLst>
              <a:ext uri="{FF2B5EF4-FFF2-40B4-BE49-F238E27FC236}">
                <a16:creationId xmlns:a16="http://schemas.microsoft.com/office/drawing/2014/main" id="{A5EA36E1-4129-FEF6-9C2F-9D7197C7629D}"/>
              </a:ext>
            </a:extLst>
          </p:cNvPr>
          <p:cNvSpPr txBox="1"/>
          <p:nvPr userDrawn="1"/>
        </p:nvSpPr>
        <p:spPr>
          <a:xfrm>
            <a:off x="504826" y="1123946"/>
            <a:ext cx="7183961" cy="1027119"/>
          </a:xfrm>
          <a:prstGeom prst="rect">
            <a:avLst/>
          </a:prstGeom>
        </p:spPr>
        <p:txBody>
          <a:bodyPr vert="horz" wrap="square" lIns="0" tIns="45720" rIns="0" bIns="45720" rtlCol="0">
            <a:noAutofit/>
          </a:bodyPr>
          <a:lstStyle/>
          <a:p>
            <a:pPr marL="0" lvl="0" indent="0" algn="l" defTabSz="914400" rtl="0" eaLnBrk="1" latinLnBrk="0" hangingPunct="1">
              <a:lnSpc>
                <a:spcPct val="110000"/>
              </a:lnSpc>
              <a:spcBef>
                <a:spcPts val="300"/>
              </a:spcBef>
              <a:spcAft>
                <a:spcPts val="300"/>
              </a:spcAft>
              <a:buFont typeface="Arial" panose="020B0604020202020204" pitchFamily="34" charset="0"/>
              <a:buNone/>
            </a:pPr>
            <a:r>
              <a:rPr lang="en-US" sz="2000" kern="1200" dirty="0">
                <a:solidFill>
                  <a:schemeClr val="accent2"/>
                </a:solidFill>
                <a:latin typeface="+mj-lt"/>
                <a:ea typeface="+mn-ea"/>
                <a:cs typeface="+mn-cs"/>
              </a:rPr>
              <a:t>We have a market-leading team of specialist commodities and dispute resolution lawyers across our global network, including the major hubs of London, Paris, Geneva, Brussels, Dubai, Singapore, Hong Kong, Houston and Sydney.</a:t>
            </a:r>
          </a:p>
        </p:txBody>
      </p:sp>
      <p:sp>
        <p:nvSpPr>
          <p:cNvPr id="26" name="TextBox 25">
            <a:extLst>
              <a:ext uri="{FF2B5EF4-FFF2-40B4-BE49-F238E27FC236}">
                <a16:creationId xmlns:a16="http://schemas.microsoft.com/office/drawing/2014/main" id="{FDFD0AFD-8043-093A-16C9-665D20AE7490}"/>
              </a:ext>
            </a:extLst>
          </p:cNvPr>
          <p:cNvSpPr txBox="1"/>
          <p:nvPr userDrawn="1"/>
        </p:nvSpPr>
        <p:spPr>
          <a:xfrm>
            <a:off x="504826" y="2195825"/>
            <a:ext cx="3403599" cy="4022429"/>
          </a:xfrm>
          <a:prstGeom prst="rect">
            <a:avLst/>
          </a:prstGeom>
        </p:spPr>
        <p:txBody>
          <a:bodyPr vert="horz" lIns="0" tIns="45720" rIns="0" bIns="45720" rtlCol="0">
            <a:normAutofit/>
          </a:bodyPr>
          <a:lstStyle>
            <a:lvl1pPr indent="0" defTabSz="914400">
              <a:lnSpc>
                <a:spcPct val="130000"/>
              </a:lnSpc>
              <a:spcBef>
                <a:spcPts val="300"/>
              </a:spcBef>
              <a:spcAft>
                <a:spcPts val="300"/>
              </a:spcAft>
              <a:buFont typeface="Arial" panose="020B0604020202020204" pitchFamily="34" charset="0"/>
              <a:buNone/>
              <a:defRPr sz="1400">
                <a:solidFill>
                  <a:schemeClr val="tx2"/>
                </a:solidFill>
                <a:latin typeface="+mj-lt"/>
              </a:defRPr>
            </a:lvl1pPr>
            <a:lvl2pPr marL="0" lvl="1" indent="0" defTabSz="914400">
              <a:lnSpc>
                <a:spcPct val="130000"/>
              </a:lnSpc>
              <a:spcBef>
                <a:spcPts val="300"/>
              </a:spcBef>
              <a:spcAft>
                <a:spcPts val="300"/>
              </a:spcAft>
              <a:buFont typeface="Arial" panose="020B0604020202020204" pitchFamily="34" charset="0"/>
              <a:buNone/>
              <a:defRPr sz="1100"/>
            </a:lvl2pPr>
            <a:lvl3pPr marL="180975" indent="-180975" defTabSz="914400">
              <a:lnSpc>
                <a:spcPct val="130000"/>
              </a:lnSpc>
              <a:spcBef>
                <a:spcPts val="300"/>
              </a:spcBef>
              <a:spcAft>
                <a:spcPts val="300"/>
              </a:spcAft>
              <a:buClr>
                <a:schemeClr val="tx2"/>
              </a:buClr>
              <a:buSzPct val="105000"/>
              <a:buFont typeface="Arial" panose="020B0604020202020204" pitchFamily="34" charset="0"/>
              <a:buChar char="•"/>
              <a:defRPr sz="1100"/>
            </a:lvl3pPr>
            <a:lvl4pPr marL="539750" indent="-180975" defTabSz="914400">
              <a:lnSpc>
                <a:spcPct val="130000"/>
              </a:lnSpc>
              <a:spcBef>
                <a:spcPts val="300"/>
              </a:spcBef>
              <a:spcAft>
                <a:spcPts val="300"/>
              </a:spcAft>
              <a:buClr>
                <a:schemeClr val="tx2"/>
              </a:buClr>
              <a:buSzPct val="105000"/>
              <a:buFont typeface="Arial" panose="020B0604020202020204" pitchFamily="34" charset="0"/>
              <a:buChar char="•"/>
              <a:defRPr sz="1050"/>
            </a:lvl4pPr>
            <a:lvl5pPr marL="898525" indent="-180975" defTabSz="914400">
              <a:lnSpc>
                <a:spcPct val="130000"/>
              </a:lnSpc>
              <a:spcBef>
                <a:spcPts val="300"/>
              </a:spcBef>
              <a:spcAft>
                <a:spcPts val="300"/>
              </a:spcAft>
              <a:buClr>
                <a:schemeClr val="tx2"/>
              </a:buClr>
              <a:buSzPct val="105000"/>
              <a:buFont typeface="Arial" panose="020B0604020202020204" pitchFamily="34" charset="0"/>
              <a:buChar char="•"/>
              <a:defRPr sz="105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1"/>
            <a:endParaRPr lang="en-US" dirty="0"/>
          </a:p>
          <a:p>
            <a:pPr lvl="1"/>
            <a:endParaRPr lang="en-US" dirty="0"/>
          </a:p>
          <a:p>
            <a:pPr lvl="1"/>
            <a:endParaRPr lang="en-US" dirty="0"/>
          </a:p>
          <a:p>
            <a:pPr lvl="1"/>
            <a:r>
              <a:rPr lang="en-US" dirty="0"/>
              <a:t>We act across the full spectrum of the international sale of goods, including soft commodities, oil and gas, coal and steel, and non-ferrous and precious metals, and we also advise and represent clients in their related </a:t>
            </a:r>
            <a:r>
              <a:rPr lang="en-GB" dirty="0"/>
              <a:t>freight business.</a:t>
            </a:r>
          </a:p>
          <a:p>
            <a:pPr lvl="1"/>
            <a:r>
              <a:rPr lang="en-US" dirty="0"/>
              <a:t>Our focus is on assisting our clients to finance, develop and grow their businesses; to guard against risks; to help them to seek access to </a:t>
            </a:r>
            <a:br>
              <a:rPr lang="en-US" dirty="0"/>
            </a:br>
            <a:r>
              <a:rPr lang="en-US" dirty="0"/>
              <a:t>new markets; to deal with fast changing international regulations; and to assist them to </a:t>
            </a:r>
            <a:r>
              <a:rPr lang="en-GB" dirty="0"/>
              <a:t>resolve disputes.</a:t>
            </a:r>
          </a:p>
        </p:txBody>
      </p:sp>
      <p:sp>
        <p:nvSpPr>
          <p:cNvPr id="27" name="TextBox 26">
            <a:extLst>
              <a:ext uri="{FF2B5EF4-FFF2-40B4-BE49-F238E27FC236}">
                <a16:creationId xmlns:a16="http://schemas.microsoft.com/office/drawing/2014/main" id="{530F07B0-065E-C879-CBA7-03096D29DFC1}"/>
              </a:ext>
            </a:extLst>
          </p:cNvPr>
          <p:cNvSpPr txBox="1"/>
          <p:nvPr userDrawn="1"/>
        </p:nvSpPr>
        <p:spPr>
          <a:xfrm>
            <a:off x="4233546" y="2195825"/>
            <a:ext cx="3403599" cy="4022429"/>
          </a:xfrm>
          <a:prstGeom prst="rect">
            <a:avLst/>
          </a:prstGeom>
        </p:spPr>
        <p:txBody>
          <a:bodyPr vert="horz" lIns="0" tIns="45720" rIns="0" bIns="45720" rtlCol="0">
            <a:normAutofit/>
          </a:bodyPr>
          <a:lstStyle>
            <a:lvl1pPr indent="0" defTabSz="914400">
              <a:lnSpc>
                <a:spcPct val="130000"/>
              </a:lnSpc>
              <a:spcBef>
                <a:spcPts val="300"/>
              </a:spcBef>
              <a:spcAft>
                <a:spcPts val="300"/>
              </a:spcAft>
              <a:buFont typeface="Arial" panose="020B0604020202020204" pitchFamily="34" charset="0"/>
              <a:buNone/>
              <a:defRPr sz="1400">
                <a:solidFill>
                  <a:schemeClr val="tx2"/>
                </a:solidFill>
                <a:latin typeface="+mj-lt"/>
              </a:defRPr>
            </a:lvl1pPr>
            <a:lvl2pPr marL="0" lvl="1" indent="0" defTabSz="914400">
              <a:lnSpc>
                <a:spcPct val="130000"/>
              </a:lnSpc>
              <a:spcBef>
                <a:spcPts val="300"/>
              </a:spcBef>
              <a:spcAft>
                <a:spcPts val="300"/>
              </a:spcAft>
              <a:buFont typeface="Arial" panose="020B0604020202020204" pitchFamily="34" charset="0"/>
              <a:buNone/>
              <a:defRPr sz="1100"/>
            </a:lvl2pPr>
            <a:lvl3pPr marL="180975" indent="-180975" defTabSz="914400">
              <a:lnSpc>
                <a:spcPct val="130000"/>
              </a:lnSpc>
              <a:spcBef>
                <a:spcPts val="300"/>
              </a:spcBef>
              <a:spcAft>
                <a:spcPts val="300"/>
              </a:spcAft>
              <a:buClr>
                <a:schemeClr val="tx2"/>
              </a:buClr>
              <a:buSzPct val="105000"/>
              <a:buFont typeface="Arial" panose="020B0604020202020204" pitchFamily="34" charset="0"/>
              <a:buChar char="•"/>
              <a:defRPr sz="1100"/>
            </a:lvl3pPr>
            <a:lvl4pPr marL="539750" indent="-180975" defTabSz="914400">
              <a:lnSpc>
                <a:spcPct val="130000"/>
              </a:lnSpc>
              <a:spcBef>
                <a:spcPts val="300"/>
              </a:spcBef>
              <a:spcAft>
                <a:spcPts val="300"/>
              </a:spcAft>
              <a:buClr>
                <a:schemeClr val="tx2"/>
              </a:buClr>
              <a:buSzPct val="105000"/>
              <a:buFont typeface="Arial" panose="020B0604020202020204" pitchFamily="34" charset="0"/>
              <a:buChar char="•"/>
              <a:defRPr sz="1050"/>
            </a:lvl4pPr>
            <a:lvl5pPr marL="898525" indent="-180975" defTabSz="914400">
              <a:lnSpc>
                <a:spcPct val="130000"/>
              </a:lnSpc>
              <a:spcBef>
                <a:spcPts val="300"/>
              </a:spcBef>
              <a:spcAft>
                <a:spcPts val="300"/>
              </a:spcAft>
              <a:buClr>
                <a:schemeClr val="tx2"/>
              </a:buClr>
              <a:buSzPct val="105000"/>
              <a:buFont typeface="Arial" panose="020B0604020202020204" pitchFamily="34" charset="0"/>
              <a:buChar char="•"/>
              <a:defRPr sz="105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1"/>
            <a:endParaRPr lang="en-US" dirty="0"/>
          </a:p>
          <a:p>
            <a:pPr lvl="1"/>
            <a:endParaRPr lang="en-US" dirty="0"/>
          </a:p>
          <a:p>
            <a:pPr lvl="1"/>
            <a:endParaRPr lang="en-US" dirty="0"/>
          </a:p>
          <a:p>
            <a:pPr lvl="1"/>
            <a:r>
              <a:rPr lang="en-US" dirty="0"/>
              <a:t>Many of our lawyers have worked in the industry, giving us unrivalled experience and expertise, including secondments to the legal departments of traders and banks who are </a:t>
            </a:r>
            <a:r>
              <a:rPr lang="en-GB" dirty="0"/>
              <a:t>active in commodities.</a:t>
            </a:r>
          </a:p>
        </p:txBody>
      </p:sp>
    </p:spTree>
    <p:extLst>
      <p:ext uri="{BB962C8B-B14F-4D97-AF65-F5344CB8AC3E}">
        <p14:creationId xmlns:p14="http://schemas.microsoft.com/office/powerpoint/2010/main" val="1962208335"/>
      </p:ext>
    </p:extLst>
  </p:cSld>
  <p:clrMapOvr>
    <a:masterClrMapping/>
  </p:clrMapOvr>
  <p:transition spd="med">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CONSTRUCTION Boilerplate">
    <p:spTree>
      <p:nvGrpSpPr>
        <p:cNvPr id="1" name=""/>
        <p:cNvGrpSpPr/>
        <p:nvPr/>
      </p:nvGrpSpPr>
      <p:grpSpPr>
        <a:xfrm>
          <a:off x="0" y="0"/>
          <a:ext cx="0" cy="0"/>
          <a:chOff x="0" y="0"/>
          <a:chExt cx="0" cy="0"/>
        </a:xfrm>
      </p:grpSpPr>
      <p:pic>
        <p:nvPicPr>
          <p:cNvPr id="45" name="Graphic 44">
            <a:extLst>
              <a:ext uri="{FF2B5EF4-FFF2-40B4-BE49-F238E27FC236}">
                <a16:creationId xmlns:a16="http://schemas.microsoft.com/office/drawing/2014/main" id="{C28DC792-CA01-3AC6-45B6-65A196373F07}"/>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66653"/>
          <a:stretch/>
        </p:blipFill>
        <p:spPr>
          <a:xfrm>
            <a:off x="8126412" y="0"/>
            <a:ext cx="4065587" cy="6858000"/>
          </a:xfrm>
          <a:prstGeom prst="rect">
            <a:avLst/>
          </a:prstGeom>
        </p:spPr>
      </p:pic>
      <p:sp>
        <p:nvSpPr>
          <p:cNvPr id="41" name="TextBox 40">
            <a:extLst>
              <a:ext uri="{FF2B5EF4-FFF2-40B4-BE49-F238E27FC236}">
                <a16:creationId xmlns:a16="http://schemas.microsoft.com/office/drawing/2014/main" id="{A9C91699-1593-B0C2-00DA-1351CC5229CB}"/>
              </a:ext>
            </a:extLst>
          </p:cNvPr>
          <p:cNvSpPr txBox="1"/>
          <p:nvPr userDrawn="1"/>
        </p:nvSpPr>
        <p:spPr>
          <a:xfrm>
            <a:off x="8839200" y="1123947"/>
            <a:ext cx="2843213" cy="1447800"/>
          </a:xfrm>
          <a:prstGeom prst="rect">
            <a:avLst/>
          </a:prstGeom>
        </p:spPr>
        <p:txBody>
          <a:bodyPr vert="horz" wrap="square" lIns="0" tIns="45720" rIns="0" bIns="45720" rtlCol="0">
            <a:normAutofit/>
          </a:bodyPr>
          <a:lstStyle/>
          <a:p>
            <a:pPr algn="l">
              <a:lnSpc>
                <a:spcPct val="80000"/>
              </a:lnSpc>
            </a:pPr>
            <a:r>
              <a:rPr lang="en-GB" sz="7200" dirty="0">
                <a:solidFill>
                  <a:schemeClr val="bg1"/>
                </a:solidFill>
                <a:latin typeface="+mj-lt"/>
              </a:rPr>
              <a:t>20</a:t>
            </a:r>
          </a:p>
          <a:p>
            <a:pPr algn="l">
              <a:lnSpc>
                <a:spcPct val="80000"/>
              </a:lnSpc>
            </a:pPr>
            <a:r>
              <a:rPr lang="en-GB" sz="3200" dirty="0">
                <a:solidFill>
                  <a:schemeClr val="accent2"/>
                </a:solidFill>
                <a:latin typeface="+mn-lt"/>
              </a:rPr>
              <a:t>partners</a:t>
            </a:r>
            <a:endParaRPr lang="en-GB" sz="8000" kern="1200" dirty="0">
              <a:solidFill>
                <a:schemeClr val="accent2"/>
              </a:solidFill>
              <a:latin typeface="+mj-lt"/>
              <a:ea typeface="+mn-ea"/>
              <a:cs typeface="+mn-cs"/>
            </a:endParaRPr>
          </a:p>
        </p:txBody>
      </p:sp>
      <p:sp>
        <p:nvSpPr>
          <p:cNvPr id="42" name="TextBox 41">
            <a:extLst>
              <a:ext uri="{FF2B5EF4-FFF2-40B4-BE49-F238E27FC236}">
                <a16:creationId xmlns:a16="http://schemas.microsoft.com/office/drawing/2014/main" id="{BD2A86C9-A52D-18F4-15DD-161A0EDB7D33}"/>
              </a:ext>
            </a:extLst>
          </p:cNvPr>
          <p:cNvSpPr txBox="1"/>
          <p:nvPr userDrawn="1"/>
        </p:nvSpPr>
        <p:spPr>
          <a:xfrm>
            <a:off x="8839200" y="2819215"/>
            <a:ext cx="2843213" cy="1447800"/>
          </a:xfrm>
          <a:prstGeom prst="rect">
            <a:avLst/>
          </a:prstGeom>
        </p:spPr>
        <p:txBody>
          <a:bodyPr vert="horz" wrap="square" lIns="0" tIns="45720" rIns="0" bIns="45720" rtlCol="0">
            <a:normAutofit/>
          </a:bodyPr>
          <a:lstStyle/>
          <a:p>
            <a:pPr algn="l">
              <a:lnSpc>
                <a:spcPct val="80000"/>
              </a:lnSpc>
            </a:pPr>
            <a:r>
              <a:rPr lang="en-GB" sz="7200" dirty="0">
                <a:solidFill>
                  <a:schemeClr val="bg1"/>
                </a:solidFill>
                <a:latin typeface="+mj-lt"/>
              </a:rPr>
              <a:t>85+</a:t>
            </a:r>
          </a:p>
          <a:p>
            <a:pPr algn="l">
              <a:lnSpc>
                <a:spcPct val="80000"/>
              </a:lnSpc>
            </a:pPr>
            <a:r>
              <a:rPr lang="en-GB" sz="3200" dirty="0">
                <a:solidFill>
                  <a:schemeClr val="accent2"/>
                </a:solidFill>
                <a:latin typeface="+mn-lt"/>
              </a:rPr>
              <a:t>lawyers</a:t>
            </a:r>
            <a:endParaRPr lang="en-GB" sz="8000" kern="1200" dirty="0">
              <a:solidFill>
                <a:schemeClr val="accent2"/>
              </a:solidFill>
              <a:latin typeface="+mj-lt"/>
              <a:ea typeface="+mn-ea"/>
              <a:cs typeface="+mn-cs"/>
            </a:endParaRPr>
          </a:p>
        </p:txBody>
      </p:sp>
      <p:sp>
        <p:nvSpPr>
          <p:cNvPr id="43" name="TextBox 42">
            <a:extLst>
              <a:ext uri="{FF2B5EF4-FFF2-40B4-BE49-F238E27FC236}">
                <a16:creationId xmlns:a16="http://schemas.microsoft.com/office/drawing/2014/main" id="{95102ACB-94B6-CC02-A71C-556A25A6112F}"/>
              </a:ext>
            </a:extLst>
          </p:cNvPr>
          <p:cNvSpPr txBox="1"/>
          <p:nvPr userDrawn="1"/>
        </p:nvSpPr>
        <p:spPr>
          <a:xfrm>
            <a:off x="8778240" y="4546753"/>
            <a:ext cx="2843213" cy="1775416"/>
          </a:xfrm>
          <a:prstGeom prst="rect">
            <a:avLst/>
          </a:prstGeom>
        </p:spPr>
        <p:txBody>
          <a:bodyPr vert="horz" wrap="square" lIns="0" tIns="45720" rIns="0" bIns="45720" rtlCol="0">
            <a:normAutofit/>
          </a:bodyPr>
          <a:lstStyle/>
          <a:p>
            <a:pPr marL="92075" indent="-92075" algn="l">
              <a:lnSpc>
                <a:spcPct val="100000"/>
              </a:lnSpc>
              <a:spcBef>
                <a:spcPts val="200"/>
              </a:spcBef>
              <a:spcAft>
                <a:spcPts val="200"/>
              </a:spcAft>
            </a:pPr>
            <a:r>
              <a:rPr lang="en-US" sz="1600" dirty="0">
                <a:solidFill>
                  <a:schemeClr val="bg1"/>
                </a:solidFill>
                <a:latin typeface="+mj-lt"/>
              </a:rPr>
              <a:t>“The HFW team are </a:t>
            </a:r>
            <a:br>
              <a:rPr lang="en-US" sz="1600" dirty="0">
                <a:solidFill>
                  <a:schemeClr val="bg1"/>
                </a:solidFill>
                <a:latin typeface="+mj-lt"/>
              </a:rPr>
            </a:br>
            <a:r>
              <a:rPr lang="en-US" sz="1600" dirty="0">
                <a:solidFill>
                  <a:schemeClr val="bg1"/>
                </a:solidFill>
                <a:latin typeface="+mj-lt"/>
              </a:rPr>
              <a:t>true experts in this </a:t>
            </a:r>
            <a:br>
              <a:rPr lang="en-US" sz="1600" dirty="0">
                <a:solidFill>
                  <a:schemeClr val="bg1"/>
                </a:solidFill>
                <a:latin typeface="+mj-lt"/>
              </a:rPr>
            </a:br>
            <a:r>
              <a:rPr lang="en-US" sz="1600" dirty="0">
                <a:solidFill>
                  <a:schemeClr val="bg1"/>
                </a:solidFill>
                <a:latin typeface="+mj-lt"/>
              </a:rPr>
              <a:t>area and their depth </a:t>
            </a:r>
            <a:br>
              <a:rPr lang="en-US" sz="1600" dirty="0">
                <a:solidFill>
                  <a:schemeClr val="bg1"/>
                </a:solidFill>
                <a:latin typeface="+mj-lt"/>
              </a:rPr>
            </a:br>
            <a:r>
              <a:rPr lang="en-US" sz="1600" dirty="0">
                <a:solidFill>
                  <a:schemeClr val="bg1"/>
                </a:solidFill>
                <a:latin typeface="+mj-lt"/>
              </a:rPr>
              <a:t>of knowledge is </a:t>
            </a:r>
            <a:br>
              <a:rPr lang="en-US" sz="1600" dirty="0">
                <a:solidFill>
                  <a:schemeClr val="bg1"/>
                </a:solidFill>
                <a:latin typeface="+mj-lt"/>
              </a:rPr>
            </a:br>
            <a:r>
              <a:rPr lang="en-US" sz="1600" dirty="0">
                <a:solidFill>
                  <a:schemeClr val="bg1"/>
                </a:solidFill>
                <a:latin typeface="+mj-lt"/>
              </a:rPr>
              <a:t>readily apparent.”</a:t>
            </a:r>
          </a:p>
          <a:p>
            <a:pPr marL="92075" indent="0" algn="l">
              <a:lnSpc>
                <a:spcPct val="100000"/>
              </a:lnSpc>
              <a:spcBef>
                <a:spcPts val="200"/>
              </a:spcBef>
              <a:spcAft>
                <a:spcPts val="200"/>
              </a:spcAft>
            </a:pPr>
            <a:r>
              <a:rPr lang="en-US" sz="1200" dirty="0">
                <a:solidFill>
                  <a:schemeClr val="accent2"/>
                </a:solidFill>
                <a:latin typeface="+mj-lt"/>
              </a:rPr>
              <a:t>CONSTRUCTION CLIENT</a:t>
            </a:r>
            <a:endParaRPr lang="en-GB" sz="1400" kern="1200" dirty="0">
              <a:solidFill>
                <a:schemeClr val="accent2"/>
              </a:solidFill>
              <a:latin typeface="+mj-lt"/>
              <a:ea typeface="+mn-ea"/>
              <a:cs typeface="+mn-cs"/>
            </a:endParaRPr>
          </a:p>
        </p:txBody>
      </p:sp>
      <p:sp>
        <p:nvSpPr>
          <p:cNvPr id="5" name="Footer Placeholder 4"/>
          <p:cNvSpPr>
            <a:spLocks noGrp="1"/>
          </p:cNvSpPr>
          <p:nvPr>
            <p:ph type="ftr" sz="quarter" idx="11"/>
          </p:nvPr>
        </p:nvSpPr>
        <p:spPr/>
        <p:txBody>
          <a:bodyPr/>
          <a:lstStyle/>
          <a:p>
            <a:r>
              <a:rPr lang="en-GB"/>
              <a:t>INSERT FOOTER HER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8CFE0557-AA98-4E6C-B0C3-581794696B68}" type="slidenum">
              <a:rPr lang="en-GB" smtClean="0"/>
              <a:pPr/>
              <a:t>‹#›</a:t>
            </a:fld>
            <a:endParaRPr lang="en-GB" dirty="0"/>
          </a:p>
        </p:txBody>
      </p:sp>
      <p:sp>
        <p:nvSpPr>
          <p:cNvPr id="23" name="Title 3">
            <a:extLst>
              <a:ext uri="{FF2B5EF4-FFF2-40B4-BE49-F238E27FC236}">
                <a16:creationId xmlns:a16="http://schemas.microsoft.com/office/drawing/2014/main" id="{8AB09B44-EDBF-17A6-8435-B2F4F07AB3F6}"/>
              </a:ext>
            </a:extLst>
          </p:cNvPr>
          <p:cNvSpPr txBox="1">
            <a:spLocks/>
          </p:cNvSpPr>
          <p:nvPr userDrawn="1"/>
        </p:nvSpPr>
        <p:spPr>
          <a:xfrm>
            <a:off x="508000" y="454014"/>
            <a:ext cx="7134225" cy="669934"/>
          </a:xfrm>
          <a:prstGeom prst="rect">
            <a:avLst/>
          </a:prstGeom>
        </p:spPr>
        <p:txBody>
          <a:bodyPr vert="horz" lIns="0" tIns="0" rIns="0" bIns="72000" rtlCol="0" anchor="t" anchorCtr="0">
            <a:noAutofit/>
          </a:bodyPr>
          <a:lstStyle>
            <a:lvl1pPr algn="l" defTabSz="914400" rtl="0" eaLnBrk="1" latinLnBrk="0" hangingPunct="1">
              <a:lnSpc>
                <a:spcPct val="90000"/>
              </a:lnSpc>
              <a:spcBef>
                <a:spcPct val="0"/>
              </a:spcBef>
              <a:buNone/>
              <a:defRPr sz="3200" kern="1200" cap="all" baseline="0">
                <a:solidFill>
                  <a:schemeClr val="tx2"/>
                </a:solidFill>
                <a:latin typeface="+mn-lt"/>
                <a:ea typeface="+mj-ea"/>
                <a:cs typeface="+mj-cs"/>
              </a:defRPr>
            </a:lvl1pPr>
          </a:lstStyle>
          <a:p>
            <a:r>
              <a:rPr lang="en-US" dirty="0"/>
              <a:t>CONSTRUCTION</a:t>
            </a:r>
            <a:endParaRPr lang="en-GB" dirty="0"/>
          </a:p>
        </p:txBody>
      </p:sp>
      <p:sp>
        <p:nvSpPr>
          <p:cNvPr id="25" name="TextBox 24">
            <a:extLst>
              <a:ext uri="{FF2B5EF4-FFF2-40B4-BE49-F238E27FC236}">
                <a16:creationId xmlns:a16="http://schemas.microsoft.com/office/drawing/2014/main" id="{A5EA36E1-4129-FEF6-9C2F-9D7197C7629D}"/>
              </a:ext>
            </a:extLst>
          </p:cNvPr>
          <p:cNvSpPr txBox="1"/>
          <p:nvPr userDrawn="1"/>
        </p:nvSpPr>
        <p:spPr>
          <a:xfrm>
            <a:off x="504826" y="1123946"/>
            <a:ext cx="7183961" cy="1027119"/>
          </a:xfrm>
          <a:prstGeom prst="rect">
            <a:avLst/>
          </a:prstGeom>
        </p:spPr>
        <p:txBody>
          <a:bodyPr vert="horz" wrap="square" lIns="0" tIns="45720" rIns="0" bIns="45720" rtlCol="0">
            <a:noAutofit/>
          </a:bodyPr>
          <a:lstStyle/>
          <a:p>
            <a:pPr marL="0" lvl="0" indent="0" algn="l" defTabSz="914400" rtl="0" eaLnBrk="1" latinLnBrk="0" hangingPunct="1">
              <a:lnSpc>
                <a:spcPct val="110000"/>
              </a:lnSpc>
              <a:spcBef>
                <a:spcPts val="300"/>
              </a:spcBef>
              <a:spcAft>
                <a:spcPts val="300"/>
              </a:spcAft>
              <a:buFont typeface="Arial" panose="020B0604020202020204" pitchFamily="34" charset="0"/>
              <a:buNone/>
            </a:pPr>
            <a:r>
              <a:rPr lang="en-US" sz="2000" kern="1200" dirty="0">
                <a:solidFill>
                  <a:schemeClr val="accent2"/>
                </a:solidFill>
                <a:latin typeface="+mj-lt"/>
                <a:ea typeface="+mn-ea"/>
                <a:cs typeface="+mn-cs"/>
              </a:rPr>
              <a:t>Our construction team advises on procurement, </a:t>
            </a:r>
            <a:br>
              <a:rPr lang="en-US" sz="2000" kern="1200" dirty="0">
                <a:solidFill>
                  <a:schemeClr val="accent2"/>
                </a:solidFill>
                <a:latin typeface="+mj-lt"/>
                <a:ea typeface="+mn-ea"/>
                <a:cs typeface="+mn-cs"/>
              </a:rPr>
            </a:br>
            <a:r>
              <a:rPr lang="en-US" sz="2000" kern="1200" dirty="0">
                <a:solidFill>
                  <a:schemeClr val="accent2"/>
                </a:solidFill>
                <a:latin typeface="+mj-lt"/>
                <a:ea typeface="+mn-ea"/>
                <a:cs typeface="+mn-cs"/>
              </a:rPr>
              <a:t>risk management and disputes for a wide range </a:t>
            </a:r>
            <a:br>
              <a:rPr lang="en-US" sz="2000" kern="1200" dirty="0">
                <a:solidFill>
                  <a:schemeClr val="accent2"/>
                </a:solidFill>
                <a:latin typeface="+mj-lt"/>
                <a:ea typeface="+mn-ea"/>
                <a:cs typeface="+mn-cs"/>
              </a:rPr>
            </a:br>
            <a:r>
              <a:rPr lang="en-US" sz="2000" kern="1200" dirty="0">
                <a:solidFill>
                  <a:schemeClr val="accent2"/>
                </a:solidFill>
                <a:latin typeface="+mj-lt"/>
                <a:ea typeface="+mn-ea"/>
                <a:cs typeface="+mn-cs"/>
              </a:rPr>
              <a:t>of clients, including contractors, owners, </a:t>
            </a:r>
            <a:br>
              <a:rPr lang="en-US" sz="2000" kern="1200" dirty="0">
                <a:solidFill>
                  <a:schemeClr val="accent2"/>
                </a:solidFill>
                <a:latin typeface="+mj-lt"/>
                <a:ea typeface="+mn-ea"/>
                <a:cs typeface="+mn-cs"/>
              </a:rPr>
            </a:br>
            <a:r>
              <a:rPr lang="en-US" sz="2000" kern="1200" dirty="0">
                <a:solidFill>
                  <a:schemeClr val="accent2"/>
                </a:solidFill>
                <a:latin typeface="+mj-lt"/>
                <a:ea typeface="+mn-ea"/>
                <a:cs typeface="+mn-cs"/>
              </a:rPr>
              <a:t>consultants and insurers.</a:t>
            </a:r>
          </a:p>
        </p:txBody>
      </p:sp>
      <p:sp>
        <p:nvSpPr>
          <p:cNvPr id="26" name="TextBox 25">
            <a:extLst>
              <a:ext uri="{FF2B5EF4-FFF2-40B4-BE49-F238E27FC236}">
                <a16:creationId xmlns:a16="http://schemas.microsoft.com/office/drawing/2014/main" id="{FDFD0AFD-8043-093A-16C9-665D20AE7490}"/>
              </a:ext>
            </a:extLst>
          </p:cNvPr>
          <p:cNvSpPr txBox="1"/>
          <p:nvPr userDrawn="1"/>
        </p:nvSpPr>
        <p:spPr>
          <a:xfrm>
            <a:off x="504826" y="2195825"/>
            <a:ext cx="3403599" cy="4022429"/>
          </a:xfrm>
          <a:prstGeom prst="rect">
            <a:avLst/>
          </a:prstGeom>
        </p:spPr>
        <p:txBody>
          <a:bodyPr vert="horz" lIns="0" tIns="45720" rIns="0" bIns="45720" rtlCol="0">
            <a:normAutofit/>
          </a:bodyPr>
          <a:lstStyle>
            <a:lvl1pPr indent="0" defTabSz="914400">
              <a:lnSpc>
                <a:spcPct val="130000"/>
              </a:lnSpc>
              <a:spcBef>
                <a:spcPts val="300"/>
              </a:spcBef>
              <a:spcAft>
                <a:spcPts val="300"/>
              </a:spcAft>
              <a:buFont typeface="Arial" panose="020B0604020202020204" pitchFamily="34" charset="0"/>
              <a:buNone/>
              <a:defRPr sz="1400">
                <a:solidFill>
                  <a:schemeClr val="tx2"/>
                </a:solidFill>
                <a:latin typeface="+mj-lt"/>
              </a:defRPr>
            </a:lvl1pPr>
            <a:lvl2pPr marL="0" lvl="1" indent="0" defTabSz="914400">
              <a:lnSpc>
                <a:spcPct val="130000"/>
              </a:lnSpc>
              <a:spcBef>
                <a:spcPts val="300"/>
              </a:spcBef>
              <a:spcAft>
                <a:spcPts val="300"/>
              </a:spcAft>
              <a:buFont typeface="Arial" panose="020B0604020202020204" pitchFamily="34" charset="0"/>
              <a:buNone/>
              <a:defRPr sz="1100"/>
            </a:lvl2pPr>
            <a:lvl3pPr marL="180975" indent="-180975" defTabSz="914400">
              <a:lnSpc>
                <a:spcPct val="130000"/>
              </a:lnSpc>
              <a:spcBef>
                <a:spcPts val="300"/>
              </a:spcBef>
              <a:spcAft>
                <a:spcPts val="300"/>
              </a:spcAft>
              <a:buClr>
                <a:schemeClr val="tx2"/>
              </a:buClr>
              <a:buSzPct val="105000"/>
              <a:buFont typeface="Arial" panose="020B0604020202020204" pitchFamily="34" charset="0"/>
              <a:buChar char="•"/>
              <a:defRPr sz="1100"/>
            </a:lvl3pPr>
            <a:lvl4pPr marL="539750" indent="-180975" defTabSz="914400">
              <a:lnSpc>
                <a:spcPct val="130000"/>
              </a:lnSpc>
              <a:spcBef>
                <a:spcPts val="300"/>
              </a:spcBef>
              <a:spcAft>
                <a:spcPts val="300"/>
              </a:spcAft>
              <a:buClr>
                <a:schemeClr val="tx2"/>
              </a:buClr>
              <a:buSzPct val="105000"/>
              <a:buFont typeface="Arial" panose="020B0604020202020204" pitchFamily="34" charset="0"/>
              <a:buChar char="•"/>
              <a:defRPr sz="1050"/>
            </a:lvl4pPr>
            <a:lvl5pPr marL="898525" indent="-180975" defTabSz="914400">
              <a:lnSpc>
                <a:spcPct val="130000"/>
              </a:lnSpc>
              <a:spcBef>
                <a:spcPts val="300"/>
              </a:spcBef>
              <a:spcAft>
                <a:spcPts val="300"/>
              </a:spcAft>
              <a:buClr>
                <a:schemeClr val="tx2"/>
              </a:buClr>
              <a:buSzPct val="105000"/>
              <a:buFont typeface="Arial" panose="020B0604020202020204" pitchFamily="34" charset="0"/>
              <a:buChar char="•"/>
              <a:defRPr sz="105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1"/>
            <a:endParaRPr lang="en-US" dirty="0"/>
          </a:p>
          <a:p>
            <a:pPr lvl="1"/>
            <a:endParaRPr lang="en-US" dirty="0"/>
          </a:p>
          <a:p>
            <a:pPr lvl="1"/>
            <a:r>
              <a:rPr lang="en-US" dirty="0"/>
              <a:t>We have worked on some of the largest and most technically complex projects across a wide range of international markets and industries, including the energy, infrastructure </a:t>
            </a:r>
            <a:r>
              <a:rPr lang="en-GB" dirty="0"/>
              <a:t>and property sectors.</a:t>
            </a:r>
          </a:p>
          <a:p>
            <a:pPr lvl="1"/>
            <a:r>
              <a:rPr lang="en-US" dirty="0"/>
              <a:t>We advise major EPC contractors, owners, </a:t>
            </a:r>
            <a:r>
              <a:rPr lang="en-GB" dirty="0"/>
              <a:t>global infrastructure consultants, insurers, </a:t>
            </a:r>
            <a:r>
              <a:rPr lang="en-US" dirty="0"/>
              <a:t>property developers, financiers and investors (both private and institutional) on every aspect of the construction process, from project establishment and procurement to claim resolution. We also offer a project monitoring service to support clients on legal and contractual issues – areas that we also help our clients by providing training to their people.</a:t>
            </a:r>
            <a:endParaRPr lang="en-GB" dirty="0"/>
          </a:p>
        </p:txBody>
      </p:sp>
      <p:sp>
        <p:nvSpPr>
          <p:cNvPr id="27" name="TextBox 26">
            <a:extLst>
              <a:ext uri="{FF2B5EF4-FFF2-40B4-BE49-F238E27FC236}">
                <a16:creationId xmlns:a16="http://schemas.microsoft.com/office/drawing/2014/main" id="{530F07B0-065E-C879-CBA7-03096D29DFC1}"/>
              </a:ext>
            </a:extLst>
          </p:cNvPr>
          <p:cNvSpPr txBox="1"/>
          <p:nvPr userDrawn="1"/>
        </p:nvSpPr>
        <p:spPr>
          <a:xfrm>
            <a:off x="4233546" y="2195825"/>
            <a:ext cx="3403599" cy="4022429"/>
          </a:xfrm>
          <a:prstGeom prst="rect">
            <a:avLst/>
          </a:prstGeom>
        </p:spPr>
        <p:txBody>
          <a:bodyPr vert="horz" lIns="0" tIns="45720" rIns="0" bIns="45720" rtlCol="0">
            <a:normAutofit/>
          </a:bodyPr>
          <a:lstStyle>
            <a:lvl1pPr indent="0" defTabSz="914400">
              <a:lnSpc>
                <a:spcPct val="130000"/>
              </a:lnSpc>
              <a:spcBef>
                <a:spcPts val="300"/>
              </a:spcBef>
              <a:spcAft>
                <a:spcPts val="300"/>
              </a:spcAft>
              <a:buFont typeface="Arial" panose="020B0604020202020204" pitchFamily="34" charset="0"/>
              <a:buNone/>
              <a:defRPr sz="1400">
                <a:solidFill>
                  <a:schemeClr val="tx2"/>
                </a:solidFill>
                <a:latin typeface="+mj-lt"/>
              </a:defRPr>
            </a:lvl1pPr>
            <a:lvl2pPr marL="0" lvl="1" indent="0" defTabSz="914400">
              <a:lnSpc>
                <a:spcPct val="130000"/>
              </a:lnSpc>
              <a:spcBef>
                <a:spcPts val="300"/>
              </a:spcBef>
              <a:spcAft>
                <a:spcPts val="300"/>
              </a:spcAft>
              <a:buFont typeface="Arial" panose="020B0604020202020204" pitchFamily="34" charset="0"/>
              <a:buNone/>
              <a:defRPr sz="1100"/>
            </a:lvl2pPr>
            <a:lvl3pPr marL="180975" indent="-180975" defTabSz="914400">
              <a:lnSpc>
                <a:spcPct val="130000"/>
              </a:lnSpc>
              <a:spcBef>
                <a:spcPts val="300"/>
              </a:spcBef>
              <a:spcAft>
                <a:spcPts val="300"/>
              </a:spcAft>
              <a:buClr>
                <a:schemeClr val="tx2"/>
              </a:buClr>
              <a:buSzPct val="105000"/>
              <a:buFont typeface="Arial" panose="020B0604020202020204" pitchFamily="34" charset="0"/>
              <a:buChar char="•"/>
              <a:defRPr sz="1100"/>
            </a:lvl3pPr>
            <a:lvl4pPr marL="539750" indent="-180975" defTabSz="914400">
              <a:lnSpc>
                <a:spcPct val="130000"/>
              </a:lnSpc>
              <a:spcBef>
                <a:spcPts val="300"/>
              </a:spcBef>
              <a:spcAft>
                <a:spcPts val="300"/>
              </a:spcAft>
              <a:buClr>
                <a:schemeClr val="tx2"/>
              </a:buClr>
              <a:buSzPct val="105000"/>
              <a:buFont typeface="Arial" panose="020B0604020202020204" pitchFamily="34" charset="0"/>
              <a:buChar char="•"/>
              <a:defRPr sz="1050"/>
            </a:lvl4pPr>
            <a:lvl5pPr marL="898525" indent="-180975" defTabSz="914400">
              <a:lnSpc>
                <a:spcPct val="130000"/>
              </a:lnSpc>
              <a:spcBef>
                <a:spcPts val="300"/>
              </a:spcBef>
              <a:spcAft>
                <a:spcPts val="300"/>
              </a:spcAft>
              <a:buClr>
                <a:schemeClr val="tx2"/>
              </a:buClr>
              <a:buSzPct val="105000"/>
              <a:buFont typeface="Arial" panose="020B0604020202020204" pitchFamily="34" charset="0"/>
              <a:buChar char="•"/>
              <a:defRPr sz="105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2"/>
            <a:endParaRPr lang="en-US" dirty="0"/>
          </a:p>
          <a:p>
            <a:pPr lvl="2"/>
            <a:endParaRPr lang="en-US" dirty="0"/>
          </a:p>
          <a:p>
            <a:pPr lvl="1"/>
            <a:r>
              <a:rPr lang="en-US" dirty="0"/>
              <a:t>Our team spans the globe, with particular </a:t>
            </a:r>
            <a:r>
              <a:rPr lang="en-GB" dirty="0"/>
              <a:t>hubs in London, Dubai, Kuwait, Hong Kong, </a:t>
            </a:r>
            <a:r>
              <a:rPr lang="en-US" dirty="0"/>
              <a:t>Sydney, Melbourne and Perth and we have advised on more than half of all offshore UK windfarm projects, including the world’s </a:t>
            </a:r>
            <a:r>
              <a:rPr lang="en-GB" dirty="0"/>
              <a:t>largest offshore wind project.</a:t>
            </a:r>
          </a:p>
        </p:txBody>
      </p:sp>
    </p:spTree>
    <p:extLst>
      <p:ext uri="{BB962C8B-B14F-4D97-AF65-F5344CB8AC3E}">
        <p14:creationId xmlns:p14="http://schemas.microsoft.com/office/powerpoint/2010/main" val="2279435868"/>
      </p:ext>
    </p:extLst>
  </p:cSld>
  <p:clrMapOvr>
    <a:masterClrMapping/>
  </p:clrMapOvr>
  <p:transition spd="med">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ENERGY Boilerplate">
    <p:spTree>
      <p:nvGrpSpPr>
        <p:cNvPr id="1" name=""/>
        <p:cNvGrpSpPr/>
        <p:nvPr/>
      </p:nvGrpSpPr>
      <p:grpSpPr>
        <a:xfrm>
          <a:off x="0" y="0"/>
          <a:ext cx="0" cy="0"/>
          <a:chOff x="0" y="0"/>
          <a:chExt cx="0" cy="0"/>
        </a:xfrm>
      </p:grpSpPr>
      <p:pic>
        <p:nvPicPr>
          <p:cNvPr id="45" name="Graphic 44">
            <a:extLst>
              <a:ext uri="{FF2B5EF4-FFF2-40B4-BE49-F238E27FC236}">
                <a16:creationId xmlns:a16="http://schemas.microsoft.com/office/drawing/2014/main" id="{1995BAC9-BFD5-0EF7-125E-6520F0E01F87}"/>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66653"/>
          <a:stretch/>
        </p:blipFill>
        <p:spPr>
          <a:xfrm>
            <a:off x="8126412" y="0"/>
            <a:ext cx="4065587" cy="6858000"/>
          </a:xfrm>
          <a:prstGeom prst="rect">
            <a:avLst/>
          </a:prstGeom>
        </p:spPr>
      </p:pic>
      <p:sp>
        <p:nvSpPr>
          <p:cNvPr id="19" name="TextBox 18">
            <a:extLst>
              <a:ext uri="{FF2B5EF4-FFF2-40B4-BE49-F238E27FC236}">
                <a16:creationId xmlns:a16="http://schemas.microsoft.com/office/drawing/2014/main" id="{321023D8-6962-F90B-9D73-DE4F18E738A7}"/>
              </a:ext>
            </a:extLst>
          </p:cNvPr>
          <p:cNvSpPr txBox="1"/>
          <p:nvPr userDrawn="1"/>
        </p:nvSpPr>
        <p:spPr>
          <a:xfrm>
            <a:off x="8839200" y="1123947"/>
            <a:ext cx="2843213" cy="1447800"/>
          </a:xfrm>
          <a:prstGeom prst="rect">
            <a:avLst/>
          </a:prstGeom>
        </p:spPr>
        <p:txBody>
          <a:bodyPr vert="horz" wrap="square" lIns="0" tIns="45720" rIns="0" bIns="45720" rtlCol="0">
            <a:normAutofit/>
          </a:bodyPr>
          <a:lstStyle/>
          <a:p>
            <a:pPr algn="l">
              <a:lnSpc>
                <a:spcPct val="80000"/>
              </a:lnSpc>
            </a:pPr>
            <a:r>
              <a:rPr lang="en-GB" sz="7200" dirty="0">
                <a:solidFill>
                  <a:schemeClr val="bg1"/>
                </a:solidFill>
                <a:latin typeface="+mj-lt"/>
              </a:rPr>
              <a:t>20</a:t>
            </a:r>
          </a:p>
          <a:p>
            <a:pPr algn="l">
              <a:lnSpc>
                <a:spcPct val="80000"/>
              </a:lnSpc>
            </a:pPr>
            <a:r>
              <a:rPr lang="en-GB" sz="3200" dirty="0">
                <a:solidFill>
                  <a:schemeClr val="accent2"/>
                </a:solidFill>
                <a:latin typeface="+mn-lt"/>
              </a:rPr>
              <a:t>partners</a:t>
            </a:r>
            <a:endParaRPr lang="en-GB" sz="8000" kern="1200" dirty="0">
              <a:solidFill>
                <a:schemeClr val="accent2"/>
              </a:solidFill>
              <a:latin typeface="+mj-lt"/>
              <a:ea typeface="+mn-ea"/>
              <a:cs typeface="+mn-cs"/>
            </a:endParaRPr>
          </a:p>
        </p:txBody>
      </p:sp>
      <p:sp>
        <p:nvSpPr>
          <p:cNvPr id="20" name="TextBox 19">
            <a:extLst>
              <a:ext uri="{FF2B5EF4-FFF2-40B4-BE49-F238E27FC236}">
                <a16:creationId xmlns:a16="http://schemas.microsoft.com/office/drawing/2014/main" id="{4D5F9C77-3B6E-59A9-FCB2-2DEE08536477}"/>
              </a:ext>
            </a:extLst>
          </p:cNvPr>
          <p:cNvSpPr txBox="1"/>
          <p:nvPr userDrawn="1"/>
        </p:nvSpPr>
        <p:spPr>
          <a:xfrm>
            <a:off x="8839200" y="2819215"/>
            <a:ext cx="2843213" cy="1447800"/>
          </a:xfrm>
          <a:prstGeom prst="rect">
            <a:avLst/>
          </a:prstGeom>
        </p:spPr>
        <p:txBody>
          <a:bodyPr vert="horz" wrap="square" lIns="0" tIns="45720" rIns="0" bIns="45720" rtlCol="0">
            <a:normAutofit/>
          </a:bodyPr>
          <a:lstStyle/>
          <a:p>
            <a:pPr algn="l">
              <a:lnSpc>
                <a:spcPct val="80000"/>
              </a:lnSpc>
            </a:pPr>
            <a:r>
              <a:rPr lang="en-GB" sz="7200" dirty="0">
                <a:solidFill>
                  <a:schemeClr val="bg1"/>
                </a:solidFill>
                <a:latin typeface="+mj-lt"/>
              </a:rPr>
              <a:t>50</a:t>
            </a:r>
          </a:p>
          <a:p>
            <a:pPr algn="l">
              <a:lnSpc>
                <a:spcPct val="80000"/>
              </a:lnSpc>
            </a:pPr>
            <a:r>
              <a:rPr lang="en-GB" sz="3200" dirty="0">
                <a:solidFill>
                  <a:schemeClr val="accent2"/>
                </a:solidFill>
                <a:latin typeface="+mn-lt"/>
              </a:rPr>
              <a:t>lawyers</a:t>
            </a:r>
            <a:endParaRPr lang="en-GB" sz="8000" kern="1200" dirty="0">
              <a:solidFill>
                <a:schemeClr val="accent2"/>
              </a:solidFill>
              <a:latin typeface="+mj-lt"/>
              <a:ea typeface="+mn-ea"/>
              <a:cs typeface="+mn-cs"/>
            </a:endParaRPr>
          </a:p>
        </p:txBody>
      </p:sp>
      <p:sp>
        <p:nvSpPr>
          <p:cNvPr id="21" name="TextBox 20">
            <a:extLst>
              <a:ext uri="{FF2B5EF4-FFF2-40B4-BE49-F238E27FC236}">
                <a16:creationId xmlns:a16="http://schemas.microsoft.com/office/drawing/2014/main" id="{355EA073-A097-D59F-20E3-E21134F1AD99}"/>
              </a:ext>
            </a:extLst>
          </p:cNvPr>
          <p:cNvSpPr txBox="1"/>
          <p:nvPr userDrawn="1"/>
        </p:nvSpPr>
        <p:spPr>
          <a:xfrm>
            <a:off x="8778240" y="4546753"/>
            <a:ext cx="2843213" cy="1775416"/>
          </a:xfrm>
          <a:prstGeom prst="rect">
            <a:avLst/>
          </a:prstGeom>
        </p:spPr>
        <p:txBody>
          <a:bodyPr vert="horz" wrap="square" lIns="0" tIns="45720" rIns="0" bIns="45720" rtlCol="0">
            <a:normAutofit/>
          </a:bodyPr>
          <a:lstStyle/>
          <a:p>
            <a:pPr marL="92075" indent="-92075" algn="l">
              <a:lnSpc>
                <a:spcPct val="100000"/>
              </a:lnSpc>
              <a:spcBef>
                <a:spcPts val="200"/>
              </a:spcBef>
              <a:spcAft>
                <a:spcPts val="200"/>
              </a:spcAft>
            </a:pPr>
            <a:r>
              <a:rPr lang="en-US" sz="1600" dirty="0">
                <a:solidFill>
                  <a:schemeClr val="bg1"/>
                </a:solidFill>
                <a:latin typeface="+mj-lt"/>
              </a:rPr>
              <a:t>“HFW’s attention to </a:t>
            </a:r>
            <a:br>
              <a:rPr lang="en-US" sz="1600" dirty="0">
                <a:solidFill>
                  <a:schemeClr val="bg1"/>
                </a:solidFill>
                <a:latin typeface="+mj-lt"/>
              </a:rPr>
            </a:br>
            <a:r>
              <a:rPr lang="en-US" sz="1600" dirty="0">
                <a:solidFill>
                  <a:schemeClr val="bg1"/>
                </a:solidFill>
                <a:latin typeface="+mj-lt"/>
              </a:rPr>
              <a:t>detail is second to none. A much more hands-on approach than </a:t>
            </a:r>
            <a:br>
              <a:rPr lang="en-US" sz="1600" dirty="0">
                <a:solidFill>
                  <a:schemeClr val="bg1"/>
                </a:solidFill>
                <a:latin typeface="+mj-lt"/>
              </a:rPr>
            </a:br>
            <a:r>
              <a:rPr lang="en-US" sz="1600" dirty="0">
                <a:solidFill>
                  <a:schemeClr val="bg1"/>
                </a:solidFill>
                <a:latin typeface="+mj-lt"/>
              </a:rPr>
              <a:t>their competitors.”</a:t>
            </a:r>
          </a:p>
          <a:p>
            <a:pPr marL="92075" indent="0" algn="l">
              <a:lnSpc>
                <a:spcPct val="100000"/>
              </a:lnSpc>
              <a:spcBef>
                <a:spcPts val="200"/>
              </a:spcBef>
              <a:spcAft>
                <a:spcPts val="200"/>
              </a:spcAft>
            </a:pPr>
            <a:r>
              <a:rPr lang="en-US" sz="1200" dirty="0">
                <a:solidFill>
                  <a:schemeClr val="accent2"/>
                </a:solidFill>
                <a:latin typeface="+mj-lt"/>
              </a:rPr>
              <a:t>ENERGY CLIENT</a:t>
            </a:r>
            <a:endParaRPr lang="en-GB" sz="1400" kern="1200" dirty="0">
              <a:solidFill>
                <a:schemeClr val="accent2"/>
              </a:solidFill>
              <a:latin typeface="+mj-lt"/>
              <a:ea typeface="+mn-ea"/>
              <a:cs typeface="+mn-cs"/>
            </a:endParaRPr>
          </a:p>
        </p:txBody>
      </p:sp>
      <p:sp>
        <p:nvSpPr>
          <p:cNvPr id="5" name="Footer Placeholder 4"/>
          <p:cNvSpPr>
            <a:spLocks noGrp="1"/>
          </p:cNvSpPr>
          <p:nvPr>
            <p:ph type="ftr" sz="quarter" idx="11"/>
          </p:nvPr>
        </p:nvSpPr>
        <p:spPr/>
        <p:txBody>
          <a:bodyPr/>
          <a:lstStyle/>
          <a:p>
            <a:r>
              <a:rPr lang="en-GB"/>
              <a:t>INSERT FOOTER HER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8CFE0557-AA98-4E6C-B0C3-581794696B68}" type="slidenum">
              <a:rPr lang="en-GB" smtClean="0"/>
              <a:pPr/>
              <a:t>‹#›</a:t>
            </a:fld>
            <a:endParaRPr lang="en-GB" dirty="0"/>
          </a:p>
        </p:txBody>
      </p:sp>
      <p:sp>
        <p:nvSpPr>
          <p:cNvPr id="23" name="Title 3">
            <a:extLst>
              <a:ext uri="{FF2B5EF4-FFF2-40B4-BE49-F238E27FC236}">
                <a16:creationId xmlns:a16="http://schemas.microsoft.com/office/drawing/2014/main" id="{8AB09B44-EDBF-17A6-8435-B2F4F07AB3F6}"/>
              </a:ext>
            </a:extLst>
          </p:cNvPr>
          <p:cNvSpPr txBox="1">
            <a:spLocks/>
          </p:cNvSpPr>
          <p:nvPr userDrawn="1"/>
        </p:nvSpPr>
        <p:spPr>
          <a:xfrm>
            <a:off x="508000" y="454014"/>
            <a:ext cx="7134225" cy="669934"/>
          </a:xfrm>
          <a:prstGeom prst="rect">
            <a:avLst/>
          </a:prstGeom>
        </p:spPr>
        <p:txBody>
          <a:bodyPr vert="horz" lIns="0" tIns="0" rIns="0" bIns="72000" rtlCol="0" anchor="t" anchorCtr="0">
            <a:noAutofit/>
          </a:bodyPr>
          <a:lstStyle>
            <a:lvl1pPr algn="l" defTabSz="914400" rtl="0" eaLnBrk="1" latinLnBrk="0" hangingPunct="1">
              <a:lnSpc>
                <a:spcPct val="90000"/>
              </a:lnSpc>
              <a:spcBef>
                <a:spcPct val="0"/>
              </a:spcBef>
              <a:buNone/>
              <a:defRPr sz="3200" kern="1200" cap="all" baseline="0">
                <a:solidFill>
                  <a:schemeClr val="tx2"/>
                </a:solidFill>
                <a:latin typeface="+mn-lt"/>
                <a:ea typeface="+mj-ea"/>
                <a:cs typeface="+mj-cs"/>
              </a:defRPr>
            </a:lvl1pPr>
          </a:lstStyle>
          <a:p>
            <a:r>
              <a:rPr lang="en-US" dirty="0"/>
              <a:t>ENERGY</a:t>
            </a:r>
            <a:endParaRPr lang="en-GB" dirty="0"/>
          </a:p>
        </p:txBody>
      </p:sp>
      <p:sp>
        <p:nvSpPr>
          <p:cNvPr id="25" name="TextBox 24">
            <a:extLst>
              <a:ext uri="{FF2B5EF4-FFF2-40B4-BE49-F238E27FC236}">
                <a16:creationId xmlns:a16="http://schemas.microsoft.com/office/drawing/2014/main" id="{A5EA36E1-4129-FEF6-9C2F-9D7197C7629D}"/>
              </a:ext>
            </a:extLst>
          </p:cNvPr>
          <p:cNvSpPr txBox="1"/>
          <p:nvPr userDrawn="1"/>
        </p:nvSpPr>
        <p:spPr>
          <a:xfrm>
            <a:off x="504826" y="1123946"/>
            <a:ext cx="7183961" cy="1027119"/>
          </a:xfrm>
          <a:prstGeom prst="rect">
            <a:avLst/>
          </a:prstGeom>
        </p:spPr>
        <p:txBody>
          <a:bodyPr vert="horz" wrap="square" lIns="0" tIns="45720" rIns="0" bIns="45720" rtlCol="0">
            <a:noAutofit/>
          </a:bodyPr>
          <a:lstStyle/>
          <a:p>
            <a:pPr marL="0" lvl="0" indent="0" algn="l" defTabSz="914400" rtl="0" eaLnBrk="1" latinLnBrk="0" hangingPunct="1">
              <a:lnSpc>
                <a:spcPct val="110000"/>
              </a:lnSpc>
              <a:spcBef>
                <a:spcPts val="300"/>
              </a:spcBef>
              <a:spcAft>
                <a:spcPts val="300"/>
              </a:spcAft>
              <a:buFont typeface="Arial" panose="020B0604020202020204" pitchFamily="34" charset="0"/>
              <a:buNone/>
            </a:pPr>
            <a:r>
              <a:rPr lang="en-US" sz="2000" kern="1200" dirty="0">
                <a:solidFill>
                  <a:schemeClr val="accent2"/>
                </a:solidFill>
                <a:latin typeface="+mj-lt"/>
                <a:ea typeface="+mn-ea"/>
                <a:cs typeface="+mn-cs"/>
              </a:rPr>
              <a:t>Our specialist team of transactional and dispute resolution lawyers advise clients at every stage of the energy chain, including exploration and production; storage and transportation; LNG; refining, trading and sale of oil and gas; electricity generation; and energy management.</a:t>
            </a:r>
          </a:p>
        </p:txBody>
      </p:sp>
      <p:sp>
        <p:nvSpPr>
          <p:cNvPr id="26" name="TextBox 25">
            <a:extLst>
              <a:ext uri="{FF2B5EF4-FFF2-40B4-BE49-F238E27FC236}">
                <a16:creationId xmlns:a16="http://schemas.microsoft.com/office/drawing/2014/main" id="{FDFD0AFD-8043-093A-16C9-665D20AE7490}"/>
              </a:ext>
            </a:extLst>
          </p:cNvPr>
          <p:cNvSpPr txBox="1"/>
          <p:nvPr userDrawn="1"/>
        </p:nvSpPr>
        <p:spPr>
          <a:xfrm>
            <a:off x="504826" y="2195825"/>
            <a:ext cx="3403599" cy="4022429"/>
          </a:xfrm>
          <a:prstGeom prst="rect">
            <a:avLst/>
          </a:prstGeom>
        </p:spPr>
        <p:txBody>
          <a:bodyPr vert="horz" lIns="0" tIns="45720" rIns="0" bIns="45720" rtlCol="0">
            <a:normAutofit/>
          </a:bodyPr>
          <a:lstStyle>
            <a:lvl1pPr indent="0" defTabSz="914400">
              <a:lnSpc>
                <a:spcPct val="130000"/>
              </a:lnSpc>
              <a:spcBef>
                <a:spcPts val="300"/>
              </a:spcBef>
              <a:spcAft>
                <a:spcPts val="300"/>
              </a:spcAft>
              <a:buFont typeface="Arial" panose="020B0604020202020204" pitchFamily="34" charset="0"/>
              <a:buNone/>
              <a:defRPr sz="1400">
                <a:solidFill>
                  <a:schemeClr val="tx2"/>
                </a:solidFill>
                <a:latin typeface="+mj-lt"/>
              </a:defRPr>
            </a:lvl1pPr>
            <a:lvl2pPr marL="0" lvl="1" indent="0" defTabSz="914400">
              <a:lnSpc>
                <a:spcPct val="130000"/>
              </a:lnSpc>
              <a:spcBef>
                <a:spcPts val="300"/>
              </a:spcBef>
              <a:spcAft>
                <a:spcPts val="300"/>
              </a:spcAft>
              <a:buFont typeface="Arial" panose="020B0604020202020204" pitchFamily="34" charset="0"/>
              <a:buNone/>
              <a:defRPr sz="1100"/>
            </a:lvl2pPr>
            <a:lvl3pPr marL="180975" indent="-180975" defTabSz="914400">
              <a:lnSpc>
                <a:spcPct val="130000"/>
              </a:lnSpc>
              <a:spcBef>
                <a:spcPts val="300"/>
              </a:spcBef>
              <a:spcAft>
                <a:spcPts val="300"/>
              </a:spcAft>
              <a:buClr>
                <a:schemeClr val="tx2"/>
              </a:buClr>
              <a:buSzPct val="105000"/>
              <a:buFont typeface="Arial" panose="020B0604020202020204" pitchFamily="34" charset="0"/>
              <a:buChar char="•"/>
              <a:defRPr sz="1100"/>
            </a:lvl3pPr>
            <a:lvl4pPr marL="539750" indent="-180975" defTabSz="914400">
              <a:lnSpc>
                <a:spcPct val="130000"/>
              </a:lnSpc>
              <a:spcBef>
                <a:spcPts val="300"/>
              </a:spcBef>
              <a:spcAft>
                <a:spcPts val="300"/>
              </a:spcAft>
              <a:buClr>
                <a:schemeClr val="tx2"/>
              </a:buClr>
              <a:buSzPct val="105000"/>
              <a:buFont typeface="Arial" panose="020B0604020202020204" pitchFamily="34" charset="0"/>
              <a:buChar char="•"/>
              <a:defRPr sz="1050"/>
            </a:lvl4pPr>
            <a:lvl5pPr marL="898525" indent="-180975" defTabSz="914400">
              <a:lnSpc>
                <a:spcPct val="130000"/>
              </a:lnSpc>
              <a:spcBef>
                <a:spcPts val="300"/>
              </a:spcBef>
              <a:spcAft>
                <a:spcPts val="300"/>
              </a:spcAft>
              <a:buClr>
                <a:schemeClr val="tx2"/>
              </a:buClr>
              <a:buSzPct val="105000"/>
              <a:buFont typeface="Arial" panose="020B0604020202020204" pitchFamily="34" charset="0"/>
              <a:buChar char="•"/>
              <a:defRPr sz="105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1"/>
            <a:endParaRPr lang="en-US" dirty="0"/>
          </a:p>
          <a:p>
            <a:pPr lvl="1"/>
            <a:endParaRPr lang="en-US" dirty="0"/>
          </a:p>
          <a:p>
            <a:pPr lvl="1"/>
            <a:endParaRPr lang="en-US" dirty="0"/>
          </a:p>
          <a:p>
            <a:pPr lvl="1"/>
            <a:endParaRPr lang="en-US" dirty="0"/>
          </a:p>
          <a:p>
            <a:pPr lvl="1"/>
            <a:r>
              <a:rPr lang="en-US" dirty="0"/>
              <a:t>We also have expertise in renewables, carbon trading and mining, and have an emergency response team who are experienced in advising on all aspects of offshore casualties and disasters.</a:t>
            </a:r>
          </a:p>
          <a:p>
            <a:pPr lvl="1"/>
            <a:r>
              <a:rPr lang="en-US" dirty="0"/>
              <a:t>As true sector specialists, many of whom having experience of working in industry, our team are able to provide clients with clear, practical and commercially focused advice.</a:t>
            </a:r>
            <a:endParaRPr lang="en-GB" dirty="0"/>
          </a:p>
        </p:txBody>
      </p:sp>
    </p:spTree>
    <p:extLst>
      <p:ext uri="{BB962C8B-B14F-4D97-AF65-F5344CB8AC3E}">
        <p14:creationId xmlns:p14="http://schemas.microsoft.com/office/powerpoint/2010/main" val="3103071505"/>
      </p:ext>
    </p:extLst>
  </p:cSld>
  <p:clrMapOvr>
    <a:masterClrMapping/>
  </p:clrMapOvr>
  <p:transition spd="med">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INSURNACE &amp; REINSURANCE Boilerplate">
    <p:spTree>
      <p:nvGrpSpPr>
        <p:cNvPr id="1" name=""/>
        <p:cNvGrpSpPr/>
        <p:nvPr/>
      </p:nvGrpSpPr>
      <p:grpSpPr>
        <a:xfrm>
          <a:off x="0" y="0"/>
          <a:ext cx="0" cy="0"/>
          <a:chOff x="0" y="0"/>
          <a:chExt cx="0" cy="0"/>
        </a:xfrm>
      </p:grpSpPr>
      <p:pic>
        <p:nvPicPr>
          <p:cNvPr id="45" name="Graphic 44">
            <a:extLst>
              <a:ext uri="{FF2B5EF4-FFF2-40B4-BE49-F238E27FC236}">
                <a16:creationId xmlns:a16="http://schemas.microsoft.com/office/drawing/2014/main" id="{972AD754-FA3A-37A1-87A2-0B5986BD1640}"/>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66653"/>
          <a:stretch/>
        </p:blipFill>
        <p:spPr>
          <a:xfrm>
            <a:off x="8126412" y="0"/>
            <a:ext cx="4065587" cy="6858000"/>
          </a:xfrm>
          <a:prstGeom prst="rect">
            <a:avLst/>
          </a:prstGeom>
        </p:spPr>
      </p:pic>
      <p:sp>
        <p:nvSpPr>
          <p:cNvPr id="40" name="TextBox 39">
            <a:extLst>
              <a:ext uri="{FF2B5EF4-FFF2-40B4-BE49-F238E27FC236}">
                <a16:creationId xmlns:a16="http://schemas.microsoft.com/office/drawing/2014/main" id="{9C2E4D7B-D18A-3926-DD5F-26CF1C1FFCF8}"/>
              </a:ext>
            </a:extLst>
          </p:cNvPr>
          <p:cNvSpPr txBox="1"/>
          <p:nvPr userDrawn="1"/>
        </p:nvSpPr>
        <p:spPr>
          <a:xfrm>
            <a:off x="8839200" y="1123947"/>
            <a:ext cx="2843213" cy="1447800"/>
          </a:xfrm>
          <a:prstGeom prst="rect">
            <a:avLst/>
          </a:prstGeom>
        </p:spPr>
        <p:txBody>
          <a:bodyPr vert="horz" wrap="square" lIns="0" tIns="45720" rIns="0" bIns="45720" rtlCol="0">
            <a:normAutofit/>
          </a:bodyPr>
          <a:lstStyle/>
          <a:p>
            <a:pPr algn="l">
              <a:lnSpc>
                <a:spcPct val="80000"/>
              </a:lnSpc>
            </a:pPr>
            <a:r>
              <a:rPr lang="en-GB" sz="7200" dirty="0">
                <a:solidFill>
                  <a:schemeClr val="bg1"/>
                </a:solidFill>
                <a:latin typeface="+mj-lt"/>
              </a:rPr>
              <a:t>19</a:t>
            </a:r>
          </a:p>
          <a:p>
            <a:pPr algn="l">
              <a:lnSpc>
                <a:spcPct val="80000"/>
              </a:lnSpc>
            </a:pPr>
            <a:r>
              <a:rPr lang="en-GB" sz="3200" dirty="0">
                <a:solidFill>
                  <a:schemeClr val="accent2"/>
                </a:solidFill>
                <a:latin typeface="+mn-lt"/>
              </a:rPr>
              <a:t>partners</a:t>
            </a:r>
            <a:endParaRPr lang="en-GB" sz="8000" kern="1200" dirty="0">
              <a:solidFill>
                <a:schemeClr val="accent2"/>
              </a:solidFill>
              <a:latin typeface="+mj-lt"/>
              <a:ea typeface="+mn-ea"/>
              <a:cs typeface="+mn-cs"/>
            </a:endParaRPr>
          </a:p>
        </p:txBody>
      </p:sp>
      <p:sp>
        <p:nvSpPr>
          <p:cNvPr id="41" name="TextBox 40">
            <a:extLst>
              <a:ext uri="{FF2B5EF4-FFF2-40B4-BE49-F238E27FC236}">
                <a16:creationId xmlns:a16="http://schemas.microsoft.com/office/drawing/2014/main" id="{1FEC0039-5137-C6DE-ACDE-221F9BAC0E21}"/>
              </a:ext>
            </a:extLst>
          </p:cNvPr>
          <p:cNvSpPr txBox="1"/>
          <p:nvPr userDrawn="1"/>
        </p:nvSpPr>
        <p:spPr>
          <a:xfrm>
            <a:off x="8839200" y="2819215"/>
            <a:ext cx="2843213" cy="1447800"/>
          </a:xfrm>
          <a:prstGeom prst="rect">
            <a:avLst/>
          </a:prstGeom>
        </p:spPr>
        <p:txBody>
          <a:bodyPr vert="horz" wrap="square" lIns="0" tIns="45720" rIns="0" bIns="45720" rtlCol="0">
            <a:normAutofit/>
          </a:bodyPr>
          <a:lstStyle/>
          <a:p>
            <a:pPr algn="l">
              <a:lnSpc>
                <a:spcPct val="80000"/>
              </a:lnSpc>
            </a:pPr>
            <a:r>
              <a:rPr lang="en-GB" sz="7200" dirty="0">
                <a:solidFill>
                  <a:schemeClr val="bg1"/>
                </a:solidFill>
                <a:latin typeface="+mj-lt"/>
              </a:rPr>
              <a:t>65</a:t>
            </a:r>
          </a:p>
          <a:p>
            <a:pPr algn="l">
              <a:lnSpc>
                <a:spcPct val="80000"/>
              </a:lnSpc>
            </a:pPr>
            <a:r>
              <a:rPr lang="en-GB" sz="3200" dirty="0">
                <a:solidFill>
                  <a:schemeClr val="accent2"/>
                </a:solidFill>
                <a:latin typeface="+mn-lt"/>
              </a:rPr>
              <a:t>lawyers</a:t>
            </a:r>
            <a:endParaRPr lang="en-GB" sz="8000" kern="1200" dirty="0">
              <a:solidFill>
                <a:schemeClr val="accent2"/>
              </a:solidFill>
              <a:latin typeface="+mj-lt"/>
              <a:ea typeface="+mn-ea"/>
              <a:cs typeface="+mn-cs"/>
            </a:endParaRPr>
          </a:p>
        </p:txBody>
      </p:sp>
      <p:sp>
        <p:nvSpPr>
          <p:cNvPr id="42" name="TextBox 41">
            <a:extLst>
              <a:ext uri="{FF2B5EF4-FFF2-40B4-BE49-F238E27FC236}">
                <a16:creationId xmlns:a16="http://schemas.microsoft.com/office/drawing/2014/main" id="{156FFABB-3EFA-35B5-BE5B-8B5F6BABBF5C}"/>
              </a:ext>
            </a:extLst>
          </p:cNvPr>
          <p:cNvSpPr txBox="1"/>
          <p:nvPr userDrawn="1"/>
        </p:nvSpPr>
        <p:spPr>
          <a:xfrm>
            <a:off x="8778240" y="4546753"/>
            <a:ext cx="2843213" cy="1775416"/>
          </a:xfrm>
          <a:prstGeom prst="rect">
            <a:avLst/>
          </a:prstGeom>
        </p:spPr>
        <p:txBody>
          <a:bodyPr vert="horz" wrap="square" lIns="0" tIns="45720" rIns="0" bIns="45720" rtlCol="0">
            <a:normAutofit/>
          </a:bodyPr>
          <a:lstStyle/>
          <a:p>
            <a:pPr marL="92075" indent="-92075" algn="l">
              <a:lnSpc>
                <a:spcPct val="100000"/>
              </a:lnSpc>
              <a:spcBef>
                <a:spcPts val="200"/>
              </a:spcBef>
              <a:spcAft>
                <a:spcPts val="200"/>
              </a:spcAft>
            </a:pPr>
            <a:r>
              <a:rPr lang="en-US" sz="1600" dirty="0">
                <a:solidFill>
                  <a:schemeClr val="bg1"/>
                </a:solidFill>
                <a:latin typeface="+mj-lt"/>
              </a:rPr>
              <a:t>“A renowned team.”</a:t>
            </a:r>
          </a:p>
          <a:p>
            <a:pPr marL="92075" indent="0" algn="l">
              <a:lnSpc>
                <a:spcPct val="100000"/>
              </a:lnSpc>
              <a:spcBef>
                <a:spcPts val="200"/>
              </a:spcBef>
              <a:spcAft>
                <a:spcPts val="200"/>
              </a:spcAft>
            </a:pPr>
            <a:r>
              <a:rPr lang="en-US" sz="1200" dirty="0">
                <a:solidFill>
                  <a:schemeClr val="accent2"/>
                </a:solidFill>
                <a:latin typeface="+mj-lt"/>
              </a:rPr>
              <a:t>CHAMBERS</a:t>
            </a:r>
            <a:endParaRPr lang="en-GB" sz="1400" kern="1200" dirty="0">
              <a:solidFill>
                <a:schemeClr val="accent2"/>
              </a:solidFill>
              <a:latin typeface="+mj-lt"/>
              <a:ea typeface="+mn-ea"/>
              <a:cs typeface="+mn-cs"/>
            </a:endParaRPr>
          </a:p>
        </p:txBody>
      </p:sp>
      <p:sp>
        <p:nvSpPr>
          <p:cNvPr id="5" name="Footer Placeholder 4"/>
          <p:cNvSpPr>
            <a:spLocks noGrp="1"/>
          </p:cNvSpPr>
          <p:nvPr>
            <p:ph type="ftr" sz="quarter" idx="11"/>
          </p:nvPr>
        </p:nvSpPr>
        <p:spPr/>
        <p:txBody>
          <a:bodyPr/>
          <a:lstStyle/>
          <a:p>
            <a:r>
              <a:rPr lang="en-GB"/>
              <a:t>INSERT FOOTER HER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8CFE0557-AA98-4E6C-B0C3-581794696B68}" type="slidenum">
              <a:rPr lang="en-GB" smtClean="0"/>
              <a:pPr/>
              <a:t>‹#›</a:t>
            </a:fld>
            <a:endParaRPr lang="en-GB" dirty="0"/>
          </a:p>
        </p:txBody>
      </p:sp>
      <p:sp>
        <p:nvSpPr>
          <p:cNvPr id="23" name="Title 3">
            <a:extLst>
              <a:ext uri="{FF2B5EF4-FFF2-40B4-BE49-F238E27FC236}">
                <a16:creationId xmlns:a16="http://schemas.microsoft.com/office/drawing/2014/main" id="{8AB09B44-EDBF-17A6-8435-B2F4F07AB3F6}"/>
              </a:ext>
            </a:extLst>
          </p:cNvPr>
          <p:cNvSpPr txBox="1">
            <a:spLocks/>
          </p:cNvSpPr>
          <p:nvPr userDrawn="1"/>
        </p:nvSpPr>
        <p:spPr>
          <a:xfrm>
            <a:off x="508000" y="454014"/>
            <a:ext cx="7134225" cy="669934"/>
          </a:xfrm>
          <a:prstGeom prst="rect">
            <a:avLst/>
          </a:prstGeom>
        </p:spPr>
        <p:txBody>
          <a:bodyPr vert="horz" lIns="0" tIns="0" rIns="0" bIns="72000" rtlCol="0" anchor="t" anchorCtr="0">
            <a:noAutofit/>
          </a:bodyPr>
          <a:lstStyle>
            <a:lvl1pPr algn="l" defTabSz="914400" rtl="0" eaLnBrk="1" latinLnBrk="0" hangingPunct="1">
              <a:lnSpc>
                <a:spcPct val="90000"/>
              </a:lnSpc>
              <a:spcBef>
                <a:spcPct val="0"/>
              </a:spcBef>
              <a:buNone/>
              <a:defRPr sz="3200" kern="1200" cap="all" baseline="0">
                <a:solidFill>
                  <a:schemeClr val="tx2"/>
                </a:solidFill>
                <a:latin typeface="+mn-lt"/>
                <a:ea typeface="+mj-ea"/>
                <a:cs typeface="+mj-cs"/>
              </a:defRPr>
            </a:lvl1pPr>
          </a:lstStyle>
          <a:p>
            <a:r>
              <a:rPr lang="en-US" dirty="0"/>
              <a:t>INSURNACE &amp; REINSURANCE</a:t>
            </a:r>
            <a:endParaRPr lang="en-GB" dirty="0"/>
          </a:p>
        </p:txBody>
      </p:sp>
      <p:sp>
        <p:nvSpPr>
          <p:cNvPr id="25" name="TextBox 24">
            <a:extLst>
              <a:ext uri="{FF2B5EF4-FFF2-40B4-BE49-F238E27FC236}">
                <a16:creationId xmlns:a16="http://schemas.microsoft.com/office/drawing/2014/main" id="{A5EA36E1-4129-FEF6-9C2F-9D7197C7629D}"/>
              </a:ext>
            </a:extLst>
          </p:cNvPr>
          <p:cNvSpPr txBox="1"/>
          <p:nvPr userDrawn="1"/>
        </p:nvSpPr>
        <p:spPr>
          <a:xfrm>
            <a:off x="504826" y="1123946"/>
            <a:ext cx="7183961" cy="1027119"/>
          </a:xfrm>
          <a:prstGeom prst="rect">
            <a:avLst/>
          </a:prstGeom>
        </p:spPr>
        <p:txBody>
          <a:bodyPr vert="horz" wrap="square" lIns="0" tIns="45720" rIns="0" bIns="45720" rtlCol="0">
            <a:noAutofit/>
          </a:bodyPr>
          <a:lstStyle/>
          <a:p>
            <a:pPr marL="0" lvl="0" indent="0" algn="l" defTabSz="914400" rtl="0" eaLnBrk="1" latinLnBrk="0" hangingPunct="1">
              <a:lnSpc>
                <a:spcPct val="110000"/>
              </a:lnSpc>
              <a:spcBef>
                <a:spcPts val="300"/>
              </a:spcBef>
              <a:spcAft>
                <a:spcPts val="300"/>
              </a:spcAft>
              <a:buFont typeface="Arial" panose="020B0604020202020204" pitchFamily="34" charset="0"/>
              <a:buNone/>
            </a:pPr>
            <a:r>
              <a:rPr lang="en-US" sz="2000" kern="1200" dirty="0">
                <a:solidFill>
                  <a:schemeClr val="accent2"/>
                </a:solidFill>
                <a:latin typeface="+mj-lt"/>
                <a:ea typeface="+mn-ea"/>
                <a:cs typeface="+mn-cs"/>
              </a:rPr>
              <a:t>HFW’s global insurance and reinsurance </a:t>
            </a:r>
            <a:br>
              <a:rPr lang="en-US" sz="2000" kern="1200" dirty="0">
                <a:solidFill>
                  <a:schemeClr val="accent2"/>
                </a:solidFill>
                <a:latin typeface="+mj-lt"/>
                <a:ea typeface="+mn-ea"/>
                <a:cs typeface="+mn-cs"/>
              </a:rPr>
            </a:br>
            <a:r>
              <a:rPr lang="en-US" sz="2000" kern="1200" dirty="0">
                <a:solidFill>
                  <a:schemeClr val="accent2"/>
                </a:solidFill>
                <a:latin typeface="+mj-lt"/>
                <a:ea typeface="+mn-ea"/>
                <a:cs typeface="+mn-cs"/>
              </a:rPr>
              <a:t>practice is </a:t>
            </a:r>
            <a:r>
              <a:rPr lang="en-US" sz="2000" kern="1200" dirty="0" err="1">
                <a:solidFill>
                  <a:schemeClr val="accent2"/>
                </a:solidFill>
                <a:latin typeface="+mj-lt"/>
                <a:ea typeface="+mn-ea"/>
                <a:cs typeface="+mn-cs"/>
              </a:rPr>
              <a:t>recognised</a:t>
            </a:r>
            <a:r>
              <a:rPr lang="en-US" sz="2000" kern="1200" dirty="0">
                <a:solidFill>
                  <a:schemeClr val="accent2"/>
                </a:solidFill>
                <a:latin typeface="+mj-lt"/>
                <a:ea typeface="+mn-ea"/>
                <a:cs typeface="+mn-cs"/>
              </a:rPr>
              <a:t> as an industry leader, </a:t>
            </a:r>
            <a:br>
              <a:rPr lang="en-US" sz="2000" kern="1200" dirty="0">
                <a:solidFill>
                  <a:schemeClr val="accent2"/>
                </a:solidFill>
                <a:latin typeface="+mj-lt"/>
                <a:ea typeface="+mn-ea"/>
                <a:cs typeface="+mn-cs"/>
              </a:rPr>
            </a:br>
            <a:r>
              <a:rPr lang="en-US" sz="2000" kern="1200" dirty="0">
                <a:solidFill>
                  <a:schemeClr val="accent2"/>
                </a:solidFill>
                <a:latin typeface="+mj-lt"/>
                <a:ea typeface="+mn-ea"/>
                <a:cs typeface="+mn-cs"/>
              </a:rPr>
              <a:t>offering a comprehensive range of advisory, </a:t>
            </a:r>
            <a:br>
              <a:rPr lang="en-US" sz="2000" kern="1200" dirty="0">
                <a:solidFill>
                  <a:schemeClr val="accent2"/>
                </a:solidFill>
                <a:latin typeface="+mj-lt"/>
                <a:ea typeface="+mn-ea"/>
                <a:cs typeface="+mn-cs"/>
              </a:rPr>
            </a:br>
            <a:r>
              <a:rPr lang="en-US" sz="2000" kern="1200" dirty="0">
                <a:solidFill>
                  <a:schemeClr val="accent2"/>
                </a:solidFill>
                <a:latin typeface="+mj-lt"/>
                <a:ea typeface="+mn-ea"/>
                <a:cs typeface="+mn-cs"/>
              </a:rPr>
              <a:t>dispute resolution, transactional and regulatory </a:t>
            </a:r>
            <a:br>
              <a:rPr lang="en-US" sz="2000" kern="1200" dirty="0">
                <a:solidFill>
                  <a:schemeClr val="accent2"/>
                </a:solidFill>
                <a:latin typeface="+mj-lt"/>
                <a:ea typeface="+mn-ea"/>
                <a:cs typeface="+mn-cs"/>
              </a:rPr>
            </a:br>
            <a:r>
              <a:rPr lang="en-US" sz="2000" kern="1200" dirty="0">
                <a:solidFill>
                  <a:schemeClr val="accent2"/>
                </a:solidFill>
                <a:latin typeface="+mj-lt"/>
                <a:ea typeface="+mn-ea"/>
                <a:cs typeface="+mn-cs"/>
              </a:rPr>
              <a:t>legal services to clients across the sector.</a:t>
            </a:r>
          </a:p>
        </p:txBody>
      </p:sp>
      <p:sp>
        <p:nvSpPr>
          <p:cNvPr id="26" name="TextBox 25">
            <a:extLst>
              <a:ext uri="{FF2B5EF4-FFF2-40B4-BE49-F238E27FC236}">
                <a16:creationId xmlns:a16="http://schemas.microsoft.com/office/drawing/2014/main" id="{FDFD0AFD-8043-093A-16C9-665D20AE7490}"/>
              </a:ext>
            </a:extLst>
          </p:cNvPr>
          <p:cNvSpPr txBox="1"/>
          <p:nvPr userDrawn="1"/>
        </p:nvSpPr>
        <p:spPr>
          <a:xfrm>
            <a:off x="504826" y="2195825"/>
            <a:ext cx="3403599" cy="4022429"/>
          </a:xfrm>
          <a:prstGeom prst="rect">
            <a:avLst/>
          </a:prstGeom>
        </p:spPr>
        <p:txBody>
          <a:bodyPr vert="horz" lIns="0" tIns="45720" rIns="0" bIns="45720" rtlCol="0">
            <a:normAutofit/>
          </a:bodyPr>
          <a:lstStyle>
            <a:lvl1pPr indent="0" defTabSz="914400">
              <a:lnSpc>
                <a:spcPct val="130000"/>
              </a:lnSpc>
              <a:spcBef>
                <a:spcPts val="300"/>
              </a:spcBef>
              <a:spcAft>
                <a:spcPts val="300"/>
              </a:spcAft>
              <a:buFont typeface="Arial" panose="020B0604020202020204" pitchFamily="34" charset="0"/>
              <a:buNone/>
              <a:defRPr sz="1400">
                <a:solidFill>
                  <a:schemeClr val="tx2"/>
                </a:solidFill>
                <a:latin typeface="+mj-lt"/>
              </a:defRPr>
            </a:lvl1pPr>
            <a:lvl2pPr marL="0" lvl="1" indent="0" defTabSz="914400">
              <a:lnSpc>
                <a:spcPct val="130000"/>
              </a:lnSpc>
              <a:spcBef>
                <a:spcPts val="300"/>
              </a:spcBef>
              <a:spcAft>
                <a:spcPts val="300"/>
              </a:spcAft>
              <a:buFont typeface="Arial" panose="020B0604020202020204" pitchFamily="34" charset="0"/>
              <a:buNone/>
              <a:defRPr sz="1100"/>
            </a:lvl2pPr>
            <a:lvl3pPr marL="180975" indent="-180975" defTabSz="914400">
              <a:lnSpc>
                <a:spcPct val="130000"/>
              </a:lnSpc>
              <a:spcBef>
                <a:spcPts val="300"/>
              </a:spcBef>
              <a:spcAft>
                <a:spcPts val="300"/>
              </a:spcAft>
              <a:buClr>
                <a:schemeClr val="tx2"/>
              </a:buClr>
              <a:buSzPct val="105000"/>
              <a:buFont typeface="Arial" panose="020B0604020202020204" pitchFamily="34" charset="0"/>
              <a:buChar char="•"/>
              <a:defRPr sz="1100"/>
            </a:lvl3pPr>
            <a:lvl4pPr marL="539750" indent="-180975" defTabSz="914400">
              <a:lnSpc>
                <a:spcPct val="130000"/>
              </a:lnSpc>
              <a:spcBef>
                <a:spcPts val="300"/>
              </a:spcBef>
              <a:spcAft>
                <a:spcPts val="300"/>
              </a:spcAft>
              <a:buClr>
                <a:schemeClr val="tx2"/>
              </a:buClr>
              <a:buSzPct val="105000"/>
              <a:buFont typeface="Arial" panose="020B0604020202020204" pitchFamily="34" charset="0"/>
              <a:buChar char="•"/>
              <a:defRPr sz="1050"/>
            </a:lvl4pPr>
            <a:lvl5pPr marL="898525" indent="-180975" defTabSz="914400">
              <a:lnSpc>
                <a:spcPct val="130000"/>
              </a:lnSpc>
              <a:spcBef>
                <a:spcPts val="300"/>
              </a:spcBef>
              <a:spcAft>
                <a:spcPts val="300"/>
              </a:spcAft>
              <a:buClr>
                <a:schemeClr val="tx2"/>
              </a:buClr>
              <a:buSzPct val="105000"/>
              <a:buFont typeface="Arial" panose="020B0604020202020204" pitchFamily="34" charset="0"/>
              <a:buChar char="•"/>
              <a:defRPr sz="105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1"/>
            <a:endParaRPr lang="en-US" dirty="0"/>
          </a:p>
          <a:p>
            <a:pPr lvl="1"/>
            <a:endParaRPr lang="en-US" dirty="0"/>
          </a:p>
          <a:p>
            <a:pPr lvl="1"/>
            <a:endParaRPr lang="en-US" dirty="0"/>
          </a:p>
          <a:p>
            <a:pPr lvl="1"/>
            <a:r>
              <a:rPr lang="en-US" dirty="0"/>
              <a:t>We have a specialist team of 65 lawyers across our network of international offices, and several of our partners have worked directly in the insurance industry.</a:t>
            </a:r>
          </a:p>
          <a:p>
            <a:pPr lvl="1"/>
            <a:r>
              <a:rPr lang="en-US" dirty="0"/>
              <a:t>Our insurance and reinsurance work is generally high value, complex and multiparty, and international in nature. And as a non-aligned practice, we act for both the market and policyholders.</a:t>
            </a:r>
          </a:p>
          <a:p>
            <a:pPr lvl="1"/>
            <a:r>
              <a:rPr lang="en-US" dirty="0"/>
              <a:t>We strengthened our US insurance offering with the hire of disputes expert Amanda </a:t>
            </a:r>
            <a:r>
              <a:rPr lang="en-US" dirty="0" err="1"/>
              <a:t>Kujda</a:t>
            </a:r>
            <a:r>
              <a:rPr lang="en-US" dirty="0"/>
              <a:t> in Houston, while William </a:t>
            </a:r>
            <a:r>
              <a:rPr lang="en-US" dirty="0" err="1"/>
              <a:t>Reddie</a:t>
            </a:r>
            <a:r>
              <a:rPr lang="en-US" dirty="0"/>
              <a:t>,</a:t>
            </a:r>
            <a:endParaRPr lang="en-GB" dirty="0"/>
          </a:p>
        </p:txBody>
      </p:sp>
      <p:sp>
        <p:nvSpPr>
          <p:cNvPr id="43" name="TextBox 42">
            <a:extLst>
              <a:ext uri="{FF2B5EF4-FFF2-40B4-BE49-F238E27FC236}">
                <a16:creationId xmlns:a16="http://schemas.microsoft.com/office/drawing/2014/main" id="{3D8EE971-80E6-E69B-3D58-09C4EDC6DB89}"/>
              </a:ext>
            </a:extLst>
          </p:cNvPr>
          <p:cNvSpPr txBox="1"/>
          <p:nvPr userDrawn="1"/>
        </p:nvSpPr>
        <p:spPr>
          <a:xfrm>
            <a:off x="4233546" y="2195825"/>
            <a:ext cx="3403599" cy="4022429"/>
          </a:xfrm>
          <a:prstGeom prst="rect">
            <a:avLst/>
          </a:prstGeom>
        </p:spPr>
        <p:txBody>
          <a:bodyPr vert="horz" lIns="0" tIns="45720" rIns="0" bIns="45720" rtlCol="0">
            <a:normAutofit/>
          </a:bodyPr>
          <a:lstStyle>
            <a:lvl1pPr indent="0" defTabSz="914400">
              <a:lnSpc>
                <a:spcPct val="130000"/>
              </a:lnSpc>
              <a:spcBef>
                <a:spcPts val="300"/>
              </a:spcBef>
              <a:spcAft>
                <a:spcPts val="300"/>
              </a:spcAft>
              <a:buFont typeface="Arial" panose="020B0604020202020204" pitchFamily="34" charset="0"/>
              <a:buNone/>
              <a:defRPr sz="1400">
                <a:solidFill>
                  <a:schemeClr val="tx2"/>
                </a:solidFill>
                <a:latin typeface="+mj-lt"/>
              </a:defRPr>
            </a:lvl1pPr>
            <a:lvl2pPr marL="0" lvl="1" indent="0" defTabSz="914400">
              <a:lnSpc>
                <a:spcPct val="130000"/>
              </a:lnSpc>
              <a:spcBef>
                <a:spcPts val="300"/>
              </a:spcBef>
              <a:spcAft>
                <a:spcPts val="300"/>
              </a:spcAft>
              <a:buFont typeface="Arial" panose="020B0604020202020204" pitchFamily="34" charset="0"/>
              <a:buNone/>
              <a:defRPr sz="1100"/>
            </a:lvl2pPr>
            <a:lvl3pPr marL="180975" indent="-180975" defTabSz="914400">
              <a:lnSpc>
                <a:spcPct val="130000"/>
              </a:lnSpc>
              <a:spcBef>
                <a:spcPts val="300"/>
              </a:spcBef>
              <a:spcAft>
                <a:spcPts val="300"/>
              </a:spcAft>
              <a:buClr>
                <a:schemeClr val="tx2"/>
              </a:buClr>
              <a:buSzPct val="105000"/>
              <a:buFont typeface="Arial" panose="020B0604020202020204" pitchFamily="34" charset="0"/>
              <a:buChar char="•"/>
              <a:defRPr sz="1100"/>
            </a:lvl3pPr>
            <a:lvl4pPr marL="539750" indent="-180975" defTabSz="914400">
              <a:lnSpc>
                <a:spcPct val="130000"/>
              </a:lnSpc>
              <a:spcBef>
                <a:spcPts val="300"/>
              </a:spcBef>
              <a:spcAft>
                <a:spcPts val="300"/>
              </a:spcAft>
              <a:buClr>
                <a:schemeClr val="tx2"/>
              </a:buClr>
              <a:buSzPct val="105000"/>
              <a:buFont typeface="Arial" panose="020B0604020202020204" pitchFamily="34" charset="0"/>
              <a:buChar char="•"/>
              <a:defRPr sz="1050"/>
            </a:lvl4pPr>
            <a:lvl5pPr marL="898525" indent="-180975" defTabSz="914400">
              <a:lnSpc>
                <a:spcPct val="130000"/>
              </a:lnSpc>
              <a:spcBef>
                <a:spcPts val="300"/>
              </a:spcBef>
              <a:spcAft>
                <a:spcPts val="300"/>
              </a:spcAft>
              <a:buClr>
                <a:schemeClr val="tx2"/>
              </a:buClr>
              <a:buSzPct val="105000"/>
              <a:buFont typeface="Arial" panose="020B0604020202020204" pitchFamily="34" charset="0"/>
              <a:buChar char="•"/>
              <a:defRPr sz="105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1"/>
            <a:endParaRPr lang="en-US" dirty="0"/>
          </a:p>
          <a:p>
            <a:pPr lvl="1"/>
            <a:endParaRPr lang="en-US" dirty="0"/>
          </a:p>
          <a:p>
            <a:pPr lvl="1"/>
            <a:endParaRPr lang="en-US" dirty="0"/>
          </a:p>
          <a:p>
            <a:pPr lvl="1"/>
            <a:r>
              <a:rPr lang="en-US" dirty="0"/>
              <a:t>who </a:t>
            </a:r>
            <a:r>
              <a:rPr lang="en-US" dirty="0" err="1"/>
              <a:t>specialises</a:t>
            </a:r>
            <a:r>
              <a:rPr lang="en-US" dirty="0"/>
              <a:t> in corporate and regulatory insurance, was promoted to partner in our </a:t>
            </a:r>
            <a:r>
              <a:rPr lang="en-GB" dirty="0"/>
              <a:t>London office.</a:t>
            </a:r>
          </a:p>
          <a:p>
            <a:pPr lvl="1"/>
            <a:r>
              <a:rPr lang="en-US" dirty="0"/>
              <a:t>HFW is one of only two law firms ranked by Chambers for contentious claims, non-contentious </a:t>
            </a:r>
            <a:r>
              <a:rPr lang="en-GB" dirty="0"/>
              <a:t>insurance and policyholder </a:t>
            </a:r>
            <a:br>
              <a:rPr lang="en-GB" dirty="0"/>
            </a:br>
            <a:r>
              <a:rPr lang="en-GB" dirty="0"/>
              <a:t>work in London.</a:t>
            </a:r>
          </a:p>
        </p:txBody>
      </p:sp>
    </p:spTree>
    <p:extLst>
      <p:ext uri="{BB962C8B-B14F-4D97-AF65-F5344CB8AC3E}">
        <p14:creationId xmlns:p14="http://schemas.microsoft.com/office/powerpoint/2010/main" val="73050723"/>
      </p:ext>
    </p:extLst>
  </p:cSld>
  <p:clrMapOvr>
    <a:masterClrMapping/>
  </p:clrMapOvr>
  <p:transition spd="med">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About u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261A4C7-E98D-3660-5C37-C13B3A230A80}"/>
              </a:ext>
            </a:extLst>
          </p:cNvPr>
          <p:cNvSpPr/>
          <p:nvPr userDrawn="1"/>
        </p:nvSpPr>
        <p:spPr>
          <a:xfrm>
            <a:off x="8126413" y="0"/>
            <a:ext cx="4065587"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Footer Placeholder 4"/>
          <p:cNvSpPr>
            <a:spLocks noGrp="1"/>
          </p:cNvSpPr>
          <p:nvPr>
            <p:ph type="ftr" sz="quarter" idx="11"/>
          </p:nvPr>
        </p:nvSpPr>
        <p:spPr/>
        <p:txBody>
          <a:bodyPr/>
          <a:lstStyle/>
          <a:p>
            <a:r>
              <a:rPr lang="en-GB"/>
              <a:t>INSERT FOOTER HERE</a:t>
            </a:r>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8CFE0557-AA98-4E6C-B0C3-581794696B68}" type="slidenum">
              <a:rPr lang="en-GB" smtClean="0"/>
              <a:pPr/>
              <a:t>‹#›</a:t>
            </a:fld>
            <a:endParaRPr lang="en-GB" dirty="0"/>
          </a:p>
        </p:txBody>
      </p:sp>
      <p:sp>
        <p:nvSpPr>
          <p:cNvPr id="3" name="TextBox 4">
            <a:extLst>
              <a:ext uri="{FF2B5EF4-FFF2-40B4-BE49-F238E27FC236}">
                <a16:creationId xmlns:a16="http://schemas.microsoft.com/office/drawing/2014/main" id="{059D8B5A-9275-E70C-ABEF-408099EE7215}"/>
              </a:ext>
            </a:extLst>
          </p:cNvPr>
          <p:cNvSpPr txBox="1"/>
          <p:nvPr userDrawn="1"/>
        </p:nvSpPr>
        <p:spPr>
          <a:xfrm>
            <a:off x="12346713" y="109538"/>
            <a:ext cx="1934437" cy="31700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INSERTING IMAGES:</a:t>
            </a:r>
          </a:p>
          <a:p>
            <a:pPr marL="179388" indent="-179388">
              <a:spcBef>
                <a:spcPts val="200"/>
              </a:spcBef>
              <a:spcAft>
                <a:spcPts val="200"/>
              </a:spcAft>
              <a:buFont typeface="+mj-lt"/>
              <a:buAutoNum type="arabicPeriod"/>
            </a:pPr>
            <a:r>
              <a:rPr lang="en-US" sz="900" dirty="0">
                <a:solidFill>
                  <a:schemeClr val="tx1"/>
                </a:solidFill>
                <a:latin typeface="+mn-lt"/>
              </a:rPr>
              <a:t>Simply click the image placeholder and select your image.</a:t>
            </a:r>
          </a:p>
          <a:p>
            <a:pPr marL="179388" indent="-179388">
              <a:spcBef>
                <a:spcPts val="200"/>
              </a:spcBef>
              <a:spcAft>
                <a:spcPts val="200"/>
              </a:spcAft>
              <a:buFont typeface="+mj-lt"/>
              <a:buAutoNum type="arabicPeriod"/>
            </a:pPr>
            <a:r>
              <a:rPr lang="en-US" sz="900" dirty="0">
                <a:solidFill>
                  <a:schemeClr val="tx1"/>
                </a:solidFill>
                <a:latin typeface="+mn-lt"/>
              </a:rPr>
              <a:t>Once your image is inserted into the shape it may be distorted. (Stretched or Squashed)</a:t>
            </a:r>
          </a:p>
          <a:p>
            <a:pPr marL="179388" indent="-179388">
              <a:spcBef>
                <a:spcPts val="200"/>
              </a:spcBef>
              <a:spcAft>
                <a:spcPts val="200"/>
              </a:spcAft>
              <a:buFont typeface="+mj-lt"/>
              <a:buAutoNum type="arabicPeriod"/>
            </a:pPr>
            <a:endParaRPr lang="en-US" sz="900" dirty="0">
              <a:solidFill>
                <a:schemeClr val="tx1"/>
              </a:solidFill>
              <a:latin typeface="+mn-lt"/>
            </a:endParaRPr>
          </a:p>
          <a:p>
            <a:pPr>
              <a:spcBef>
                <a:spcPts val="200"/>
              </a:spcBef>
              <a:spcAft>
                <a:spcPts val="200"/>
              </a:spcAft>
            </a:pPr>
            <a:r>
              <a:rPr lang="en-US" sz="900" b="1" dirty="0">
                <a:solidFill>
                  <a:schemeClr val="tx1"/>
                </a:solidFill>
                <a:latin typeface="+mn-lt"/>
              </a:rPr>
              <a:t>To fix this:</a:t>
            </a:r>
          </a:p>
          <a:p>
            <a:pPr marL="179388" indent="-179388">
              <a:spcBef>
                <a:spcPts val="200"/>
              </a:spcBef>
              <a:spcAft>
                <a:spcPts val="200"/>
              </a:spcAft>
              <a:buFont typeface="+mj-lt"/>
              <a:buAutoNum type="arabicPeriod"/>
            </a:pPr>
            <a:r>
              <a:rPr lang="en-US" sz="900" dirty="0">
                <a:solidFill>
                  <a:schemeClr val="tx1"/>
                </a:solidFill>
                <a:latin typeface="+mn-lt"/>
              </a:rPr>
              <a:t>Click on the image and from the top menu under </a:t>
            </a:r>
            <a:r>
              <a:rPr lang="en-US" sz="900" b="1" dirty="0">
                <a:solidFill>
                  <a:schemeClr val="tx1"/>
                </a:solidFill>
                <a:latin typeface="+mn-lt"/>
              </a:rPr>
              <a:t>PICTURE FORMAT </a:t>
            </a:r>
            <a:r>
              <a:rPr lang="en-US" sz="900" dirty="0">
                <a:solidFill>
                  <a:schemeClr val="tx1"/>
                </a:solidFill>
                <a:latin typeface="+mn-lt"/>
              </a:rPr>
              <a:t>select the </a:t>
            </a:r>
            <a:r>
              <a:rPr lang="en-US" sz="900" b="1" dirty="0">
                <a:solidFill>
                  <a:schemeClr val="tx1"/>
                </a:solidFill>
                <a:latin typeface="+mn-lt"/>
              </a:rPr>
              <a:t>CROP</a:t>
            </a:r>
            <a:r>
              <a:rPr lang="en-US" sz="900" dirty="0">
                <a:solidFill>
                  <a:schemeClr val="tx1"/>
                </a:solidFill>
                <a:latin typeface="+mn-lt"/>
              </a:rPr>
              <a:t> on the right and from the drop down menu select </a:t>
            </a:r>
            <a:r>
              <a:rPr lang="en-US" sz="900" b="1" kern="1200" dirty="0">
                <a:solidFill>
                  <a:schemeClr val="tx1"/>
                </a:solidFill>
                <a:latin typeface="+mn-lt"/>
                <a:ea typeface="+mn-ea"/>
                <a:cs typeface="+mn-cs"/>
              </a:rPr>
              <a:t>FILL</a:t>
            </a:r>
          </a:p>
          <a:p>
            <a:pPr marL="179388" indent="-179388">
              <a:spcBef>
                <a:spcPts val="200"/>
              </a:spcBef>
              <a:spcAft>
                <a:spcPts val="200"/>
              </a:spcAft>
              <a:buFont typeface="+mj-lt"/>
              <a:buAutoNum type="arabicPeriod"/>
            </a:pPr>
            <a:r>
              <a:rPr lang="en-US" sz="900" b="0" kern="1200" dirty="0">
                <a:solidFill>
                  <a:schemeClr val="tx1"/>
                </a:solidFill>
                <a:latin typeface="+mn-lt"/>
                <a:ea typeface="+mn-ea"/>
                <a:cs typeface="+mn-cs"/>
              </a:rPr>
              <a:t>From here you can move the image within the shape for best visual appearance</a:t>
            </a:r>
          </a:p>
        </p:txBody>
      </p:sp>
      <p:sp>
        <p:nvSpPr>
          <p:cNvPr id="2" name="Picture Placeholder 10">
            <a:extLst>
              <a:ext uri="{FF2B5EF4-FFF2-40B4-BE49-F238E27FC236}">
                <a16:creationId xmlns:a16="http://schemas.microsoft.com/office/drawing/2014/main" id="{B9AAF41E-3A8B-EA04-CCD3-A70F3B5518DD}"/>
              </a:ext>
            </a:extLst>
          </p:cNvPr>
          <p:cNvSpPr>
            <a:spLocks noGrp="1"/>
          </p:cNvSpPr>
          <p:nvPr>
            <p:ph type="pic" sz="quarter" idx="13" hasCustomPrompt="1"/>
          </p:nvPr>
        </p:nvSpPr>
        <p:spPr>
          <a:xfrm>
            <a:off x="6096000" y="0"/>
            <a:ext cx="2030413" cy="6857999"/>
          </a:xfrm>
          <a:solidFill>
            <a:schemeClr val="tx1"/>
          </a:solidFill>
        </p:spPr>
        <p:txBody>
          <a:bodyPr vert="vert270" lIns="0" tIns="45720" rIns="0" bIns="45720" rtlCol="0" anchor="ctr">
            <a:noAutofit/>
          </a:bodyPr>
          <a:lstStyle>
            <a:lvl1pPr algn="ctr">
              <a:defRPr lang="en-GB" sz="2800" b="0" dirty="0">
                <a:solidFill>
                  <a:schemeClr val="bg1"/>
                </a:solidFill>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US" dirty="0"/>
              <a:t>ADD RELATED IMAGE </a:t>
            </a:r>
          </a:p>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US" dirty="0"/>
              <a:t>FROM HFW IMAGE LIBRARY</a:t>
            </a:r>
          </a:p>
        </p:txBody>
      </p:sp>
      <p:sp>
        <p:nvSpPr>
          <p:cNvPr id="4" name="Title 3">
            <a:extLst>
              <a:ext uri="{FF2B5EF4-FFF2-40B4-BE49-F238E27FC236}">
                <a16:creationId xmlns:a16="http://schemas.microsoft.com/office/drawing/2014/main" id="{DDA8AFF9-7F92-D375-BA4C-74B0EB0D2EEF}"/>
              </a:ext>
            </a:extLst>
          </p:cNvPr>
          <p:cNvSpPr>
            <a:spLocks noGrp="1"/>
          </p:cNvSpPr>
          <p:nvPr>
            <p:ph type="title"/>
          </p:nvPr>
        </p:nvSpPr>
        <p:spPr>
          <a:xfrm>
            <a:off x="508000" y="454013"/>
            <a:ext cx="5266267" cy="1039999"/>
          </a:xfrm>
        </p:spPr>
        <p:txBody>
          <a:bodyPr/>
          <a:lstStyle/>
          <a:p>
            <a:r>
              <a:rPr lang="en-US" dirty="0"/>
              <a:t>Click to edit Master title style</a:t>
            </a:r>
            <a:endParaRPr lang="en-GB" dirty="0"/>
          </a:p>
        </p:txBody>
      </p:sp>
    </p:spTree>
    <p:extLst>
      <p:ext uri="{BB962C8B-B14F-4D97-AF65-F5344CB8AC3E}">
        <p14:creationId xmlns:p14="http://schemas.microsoft.com/office/powerpoint/2010/main" val="4093443170"/>
      </p:ext>
    </p:extLst>
  </p:cSld>
  <p:clrMapOvr>
    <a:masterClrMapping/>
  </p:clrMapOvr>
  <p:transition spd="med">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HIPPING Boilerplate">
    <p:spTree>
      <p:nvGrpSpPr>
        <p:cNvPr id="1" name=""/>
        <p:cNvGrpSpPr/>
        <p:nvPr/>
      </p:nvGrpSpPr>
      <p:grpSpPr>
        <a:xfrm>
          <a:off x="0" y="0"/>
          <a:ext cx="0" cy="0"/>
          <a:chOff x="0" y="0"/>
          <a:chExt cx="0" cy="0"/>
        </a:xfrm>
      </p:grpSpPr>
      <p:pic>
        <p:nvPicPr>
          <p:cNvPr id="45" name="Graphic 44">
            <a:extLst>
              <a:ext uri="{FF2B5EF4-FFF2-40B4-BE49-F238E27FC236}">
                <a16:creationId xmlns:a16="http://schemas.microsoft.com/office/drawing/2014/main" id="{7C4F3DDB-5FEC-175E-F5D5-45A41EE3F37B}"/>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66653"/>
          <a:stretch/>
        </p:blipFill>
        <p:spPr>
          <a:xfrm>
            <a:off x="8126412" y="0"/>
            <a:ext cx="4065587" cy="6858000"/>
          </a:xfrm>
          <a:prstGeom prst="rect">
            <a:avLst/>
          </a:prstGeom>
        </p:spPr>
      </p:pic>
      <p:sp>
        <p:nvSpPr>
          <p:cNvPr id="19" name="TextBox 18">
            <a:extLst>
              <a:ext uri="{FF2B5EF4-FFF2-40B4-BE49-F238E27FC236}">
                <a16:creationId xmlns:a16="http://schemas.microsoft.com/office/drawing/2014/main" id="{9A3147A1-8B85-C541-5789-A15D5D5E2A94}"/>
              </a:ext>
            </a:extLst>
          </p:cNvPr>
          <p:cNvSpPr txBox="1"/>
          <p:nvPr userDrawn="1"/>
        </p:nvSpPr>
        <p:spPr>
          <a:xfrm>
            <a:off x="8839200" y="1123947"/>
            <a:ext cx="2843213" cy="1447800"/>
          </a:xfrm>
          <a:prstGeom prst="rect">
            <a:avLst/>
          </a:prstGeom>
        </p:spPr>
        <p:txBody>
          <a:bodyPr vert="horz" wrap="square" lIns="0" tIns="45720" rIns="0" bIns="45720" rtlCol="0">
            <a:normAutofit/>
          </a:bodyPr>
          <a:lstStyle/>
          <a:p>
            <a:pPr algn="l">
              <a:lnSpc>
                <a:spcPct val="80000"/>
              </a:lnSpc>
            </a:pPr>
            <a:r>
              <a:rPr lang="en-GB" sz="7200" dirty="0">
                <a:solidFill>
                  <a:schemeClr val="bg1"/>
                </a:solidFill>
                <a:latin typeface="+mj-lt"/>
              </a:rPr>
              <a:t>55+</a:t>
            </a:r>
          </a:p>
          <a:p>
            <a:pPr algn="l">
              <a:lnSpc>
                <a:spcPct val="80000"/>
              </a:lnSpc>
            </a:pPr>
            <a:r>
              <a:rPr lang="en-GB" sz="3200" dirty="0">
                <a:solidFill>
                  <a:schemeClr val="accent2"/>
                </a:solidFill>
                <a:latin typeface="+mn-lt"/>
              </a:rPr>
              <a:t>partners</a:t>
            </a:r>
            <a:endParaRPr lang="en-GB" sz="8000" kern="1200" dirty="0">
              <a:solidFill>
                <a:schemeClr val="accent2"/>
              </a:solidFill>
              <a:latin typeface="+mj-lt"/>
              <a:ea typeface="+mn-ea"/>
              <a:cs typeface="+mn-cs"/>
            </a:endParaRPr>
          </a:p>
        </p:txBody>
      </p:sp>
      <p:sp>
        <p:nvSpPr>
          <p:cNvPr id="20" name="TextBox 19">
            <a:extLst>
              <a:ext uri="{FF2B5EF4-FFF2-40B4-BE49-F238E27FC236}">
                <a16:creationId xmlns:a16="http://schemas.microsoft.com/office/drawing/2014/main" id="{3019B024-ECC0-8CAB-885B-BD03E95309EB}"/>
              </a:ext>
            </a:extLst>
          </p:cNvPr>
          <p:cNvSpPr txBox="1"/>
          <p:nvPr userDrawn="1"/>
        </p:nvSpPr>
        <p:spPr>
          <a:xfrm>
            <a:off x="8839200" y="2819215"/>
            <a:ext cx="2843213" cy="1447800"/>
          </a:xfrm>
          <a:prstGeom prst="rect">
            <a:avLst/>
          </a:prstGeom>
        </p:spPr>
        <p:txBody>
          <a:bodyPr vert="horz" wrap="square" lIns="0" tIns="45720" rIns="0" bIns="45720" rtlCol="0">
            <a:normAutofit/>
          </a:bodyPr>
          <a:lstStyle/>
          <a:p>
            <a:pPr algn="l">
              <a:lnSpc>
                <a:spcPct val="80000"/>
              </a:lnSpc>
            </a:pPr>
            <a:r>
              <a:rPr lang="en-GB" sz="7200" dirty="0">
                <a:solidFill>
                  <a:schemeClr val="bg1"/>
                </a:solidFill>
                <a:latin typeface="+mj-lt"/>
              </a:rPr>
              <a:t>200+</a:t>
            </a:r>
          </a:p>
          <a:p>
            <a:pPr algn="l">
              <a:lnSpc>
                <a:spcPct val="80000"/>
              </a:lnSpc>
            </a:pPr>
            <a:r>
              <a:rPr lang="en-GB" sz="3200" dirty="0">
                <a:solidFill>
                  <a:schemeClr val="accent2"/>
                </a:solidFill>
                <a:latin typeface="+mn-lt"/>
              </a:rPr>
              <a:t>lawyers</a:t>
            </a:r>
            <a:endParaRPr lang="en-GB" sz="8000" kern="1200" dirty="0">
              <a:solidFill>
                <a:schemeClr val="accent2"/>
              </a:solidFill>
              <a:latin typeface="+mj-lt"/>
              <a:ea typeface="+mn-ea"/>
              <a:cs typeface="+mn-cs"/>
            </a:endParaRPr>
          </a:p>
        </p:txBody>
      </p:sp>
      <p:sp>
        <p:nvSpPr>
          <p:cNvPr id="21" name="TextBox 20">
            <a:extLst>
              <a:ext uri="{FF2B5EF4-FFF2-40B4-BE49-F238E27FC236}">
                <a16:creationId xmlns:a16="http://schemas.microsoft.com/office/drawing/2014/main" id="{E0F6897E-82C4-7490-4C43-CA91A1D33D28}"/>
              </a:ext>
            </a:extLst>
          </p:cNvPr>
          <p:cNvSpPr txBox="1"/>
          <p:nvPr userDrawn="1"/>
        </p:nvSpPr>
        <p:spPr>
          <a:xfrm>
            <a:off x="8778240" y="4546753"/>
            <a:ext cx="2843213" cy="1775416"/>
          </a:xfrm>
          <a:prstGeom prst="rect">
            <a:avLst/>
          </a:prstGeom>
        </p:spPr>
        <p:txBody>
          <a:bodyPr vert="horz" wrap="square" lIns="0" tIns="45720" rIns="0" bIns="45720" rtlCol="0">
            <a:normAutofit/>
          </a:bodyPr>
          <a:lstStyle/>
          <a:p>
            <a:pPr marL="92075" indent="-92075" algn="l">
              <a:lnSpc>
                <a:spcPct val="100000"/>
              </a:lnSpc>
              <a:spcBef>
                <a:spcPts val="200"/>
              </a:spcBef>
              <a:spcAft>
                <a:spcPts val="200"/>
              </a:spcAft>
            </a:pPr>
            <a:r>
              <a:rPr lang="en-US" sz="1600" dirty="0">
                <a:solidFill>
                  <a:schemeClr val="bg1"/>
                </a:solidFill>
                <a:latin typeface="+mj-lt"/>
              </a:rPr>
              <a:t>“The world’s leading shipping law firm.”</a:t>
            </a:r>
          </a:p>
          <a:p>
            <a:pPr marL="92075" indent="0" algn="l">
              <a:lnSpc>
                <a:spcPct val="100000"/>
              </a:lnSpc>
              <a:spcBef>
                <a:spcPts val="200"/>
              </a:spcBef>
              <a:spcAft>
                <a:spcPts val="200"/>
              </a:spcAft>
            </a:pPr>
            <a:r>
              <a:rPr lang="en-US" sz="1200" dirty="0">
                <a:solidFill>
                  <a:schemeClr val="accent2"/>
                </a:solidFill>
                <a:latin typeface="+mj-lt"/>
              </a:rPr>
              <a:t>THE TIMES</a:t>
            </a:r>
            <a:endParaRPr lang="en-GB" sz="1400" kern="1200" dirty="0">
              <a:solidFill>
                <a:schemeClr val="accent2"/>
              </a:solidFill>
              <a:latin typeface="+mj-lt"/>
              <a:ea typeface="+mn-ea"/>
              <a:cs typeface="+mn-cs"/>
            </a:endParaRPr>
          </a:p>
        </p:txBody>
      </p:sp>
      <p:sp>
        <p:nvSpPr>
          <p:cNvPr id="5" name="Footer Placeholder 4"/>
          <p:cNvSpPr>
            <a:spLocks noGrp="1"/>
          </p:cNvSpPr>
          <p:nvPr>
            <p:ph type="ftr" sz="quarter" idx="11"/>
          </p:nvPr>
        </p:nvSpPr>
        <p:spPr/>
        <p:txBody>
          <a:bodyPr/>
          <a:lstStyle/>
          <a:p>
            <a:r>
              <a:rPr lang="en-GB"/>
              <a:t>INSERT FOOTER HER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8CFE0557-AA98-4E6C-B0C3-581794696B68}" type="slidenum">
              <a:rPr lang="en-GB" smtClean="0"/>
              <a:pPr/>
              <a:t>‹#›</a:t>
            </a:fld>
            <a:endParaRPr lang="en-GB" dirty="0"/>
          </a:p>
        </p:txBody>
      </p:sp>
      <p:sp>
        <p:nvSpPr>
          <p:cNvPr id="23" name="Title 3">
            <a:extLst>
              <a:ext uri="{FF2B5EF4-FFF2-40B4-BE49-F238E27FC236}">
                <a16:creationId xmlns:a16="http://schemas.microsoft.com/office/drawing/2014/main" id="{8AB09B44-EDBF-17A6-8435-B2F4F07AB3F6}"/>
              </a:ext>
            </a:extLst>
          </p:cNvPr>
          <p:cNvSpPr txBox="1">
            <a:spLocks/>
          </p:cNvSpPr>
          <p:nvPr userDrawn="1"/>
        </p:nvSpPr>
        <p:spPr>
          <a:xfrm>
            <a:off x="508000" y="454014"/>
            <a:ext cx="7134225" cy="669934"/>
          </a:xfrm>
          <a:prstGeom prst="rect">
            <a:avLst/>
          </a:prstGeom>
        </p:spPr>
        <p:txBody>
          <a:bodyPr vert="horz" lIns="0" tIns="0" rIns="0" bIns="72000" rtlCol="0" anchor="t" anchorCtr="0">
            <a:noAutofit/>
          </a:bodyPr>
          <a:lstStyle>
            <a:lvl1pPr algn="l" defTabSz="914400" rtl="0" eaLnBrk="1" latinLnBrk="0" hangingPunct="1">
              <a:lnSpc>
                <a:spcPct val="90000"/>
              </a:lnSpc>
              <a:spcBef>
                <a:spcPct val="0"/>
              </a:spcBef>
              <a:buNone/>
              <a:defRPr sz="3200" kern="1200" cap="all" baseline="0">
                <a:solidFill>
                  <a:schemeClr val="tx2"/>
                </a:solidFill>
                <a:latin typeface="+mn-lt"/>
                <a:ea typeface="+mj-ea"/>
                <a:cs typeface="+mj-cs"/>
              </a:defRPr>
            </a:lvl1pPr>
          </a:lstStyle>
          <a:p>
            <a:r>
              <a:rPr lang="en-US" dirty="0"/>
              <a:t>SHIPPING</a:t>
            </a:r>
            <a:endParaRPr lang="en-GB" dirty="0"/>
          </a:p>
        </p:txBody>
      </p:sp>
      <p:sp>
        <p:nvSpPr>
          <p:cNvPr id="25" name="TextBox 24">
            <a:extLst>
              <a:ext uri="{FF2B5EF4-FFF2-40B4-BE49-F238E27FC236}">
                <a16:creationId xmlns:a16="http://schemas.microsoft.com/office/drawing/2014/main" id="{A5EA36E1-4129-FEF6-9C2F-9D7197C7629D}"/>
              </a:ext>
            </a:extLst>
          </p:cNvPr>
          <p:cNvSpPr txBox="1"/>
          <p:nvPr userDrawn="1"/>
        </p:nvSpPr>
        <p:spPr>
          <a:xfrm>
            <a:off x="504826" y="1123946"/>
            <a:ext cx="7183961" cy="1027119"/>
          </a:xfrm>
          <a:prstGeom prst="rect">
            <a:avLst/>
          </a:prstGeom>
        </p:spPr>
        <p:txBody>
          <a:bodyPr vert="horz" wrap="square" lIns="0" tIns="45720" rIns="0" bIns="45720" rtlCol="0">
            <a:noAutofit/>
          </a:bodyPr>
          <a:lstStyle/>
          <a:p>
            <a:pPr marL="0" lvl="0" indent="0" algn="l" defTabSz="914400" rtl="0" eaLnBrk="1" latinLnBrk="0" hangingPunct="1">
              <a:lnSpc>
                <a:spcPct val="110000"/>
              </a:lnSpc>
              <a:spcBef>
                <a:spcPts val="300"/>
              </a:spcBef>
              <a:spcAft>
                <a:spcPts val="300"/>
              </a:spcAft>
              <a:buFont typeface="Arial" panose="020B0604020202020204" pitchFamily="34" charset="0"/>
              <a:buNone/>
            </a:pPr>
            <a:r>
              <a:rPr lang="en-US" sz="2000" kern="1200" dirty="0">
                <a:solidFill>
                  <a:schemeClr val="accent2"/>
                </a:solidFill>
                <a:latin typeface="+mj-lt"/>
                <a:ea typeface="+mn-ea"/>
                <a:cs typeface="+mn-cs"/>
              </a:rPr>
              <a:t>HFW is widely </a:t>
            </a:r>
            <a:r>
              <a:rPr lang="en-US" sz="2000" kern="1200" dirty="0" err="1">
                <a:solidFill>
                  <a:schemeClr val="accent2"/>
                </a:solidFill>
                <a:latin typeface="+mj-lt"/>
                <a:ea typeface="+mn-ea"/>
                <a:cs typeface="+mn-cs"/>
              </a:rPr>
              <a:t>recognised</a:t>
            </a:r>
            <a:r>
              <a:rPr lang="en-US" sz="2000" kern="1200" dirty="0">
                <a:solidFill>
                  <a:schemeClr val="accent2"/>
                </a:solidFill>
                <a:latin typeface="+mj-lt"/>
                <a:ea typeface="+mn-ea"/>
                <a:cs typeface="+mn-cs"/>
              </a:rPr>
              <a:t> as the world’s leading shipping and maritime law firm, and has been serving clients in the industry for almost 140 years.</a:t>
            </a:r>
          </a:p>
        </p:txBody>
      </p:sp>
      <p:sp>
        <p:nvSpPr>
          <p:cNvPr id="26" name="TextBox 25">
            <a:extLst>
              <a:ext uri="{FF2B5EF4-FFF2-40B4-BE49-F238E27FC236}">
                <a16:creationId xmlns:a16="http://schemas.microsoft.com/office/drawing/2014/main" id="{FDFD0AFD-8043-093A-16C9-665D20AE7490}"/>
              </a:ext>
            </a:extLst>
          </p:cNvPr>
          <p:cNvSpPr txBox="1"/>
          <p:nvPr userDrawn="1"/>
        </p:nvSpPr>
        <p:spPr>
          <a:xfrm>
            <a:off x="504826" y="2195825"/>
            <a:ext cx="3403599" cy="4022429"/>
          </a:xfrm>
          <a:prstGeom prst="rect">
            <a:avLst/>
          </a:prstGeom>
        </p:spPr>
        <p:txBody>
          <a:bodyPr vert="horz" lIns="0" tIns="45720" rIns="0" bIns="45720" rtlCol="0">
            <a:normAutofit/>
          </a:bodyPr>
          <a:lstStyle>
            <a:lvl1pPr indent="0" defTabSz="914400">
              <a:lnSpc>
                <a:spcPct val="130000"/>
              </a:lnSpc>
              <a:spcBef>
                <a:spcPts val="300"/>
              </a:spcBef>
              <a:spcAft>
                <a:spcPts val="300"/>
              </a:spcAft>
              <a:buFont typeface="Arial" panose="020B0604020202020204" pitchFamily="34" charset="0"/>
              <a:buNone/>
              <a:defRPr sz="1400">
                <a:solidFill>
                  <a:schemeClr val="tx2"/>
                </a:solidFill>
                <a:latin typeface="+mj-lt"/>
              </a:defRPr>
            </a:lvl1pPr>
            <a:lvl2pPr marL="0" lvl="1" indent="0" defTabSz="914400">
              <a:lnSpc>
                <a:spcPct val="130000"/>
              </a:lnSpc>
              <a:spcBef>
                <a:spcPts val="300"/>
              </a:spcBef>
              <a:spcAft>
                <a:spcPts val="300"/>
              </a:spcAft>
              <a:buFont typeface="Arial" panose="020B0604020202020204" pitchFamily="34" charset="0"/>
              <a:buNone/>
              <a:defRPr sz="1100"/>
            </a:lvl2pPr>
            <a:lvl3pPr marL="180975" indent="-180975" defTabSz="914400">
              <a:lnSpc>
                <a:spcPct val="130000"/>
              </a:lnSpc>
              <a:spcBef>
                <a:spcPts val="300"/>
              </a:spcBef>
              <a:spcAft>
                <a:spcPts val="300"/>
              </a:spcAft>
              <a:buClr>
                <a:schemeClr val="tx2"/>
              </a:buClr>
              <a:buSzPct val="105000"/>
              <a:buFont typeface="Arial" panose="020B0604020202020204" pitchFamily="34" charset="0"/>
              <a:buChar char="•"/>
              <a:defRPr sz="1100"/>
            </a:lvl3pPr>
            <a:lvl4pPr marL="539750" indent="-180975" defTabSz="914400">
              <a:lnSpc>
                <a:spcPct val="130000"/>
              </a:lnSpc>
              <a:spcBef>
                <a:spcPts val="300"/>
              </a:spcBef>
              <a:spcAft>
                <a:spcPts val="300"/>
              </a:spcAft>
              <a:buClr>
                <a:schemeClr val="tx2"/>
              </a:buClr>
              <a:buSzPct val="105000"/>
              <a:buFont typeface="Arial" panose="020B0604020202020204" pitchFamily="34" charset="0"/>
              <a:buChar char="•"/>
              <a:defRPr sz="1050"/>
            </a:lvl4pPr>
            <a:lvl5pPr marL="898525" indent="-180975" defTabSz="914400">
              <a:lnSpc>
                <a:spcPct val="130000"/>
              </a:lnSpc>
              <a:spcBef>
                <a:spcPts val="300"/>
              </a:spcBef>
              <a:spcAft>
                <a:spcPts val="300"/>
              </a:spcAft>
              <a:buClr>
                <a:schemeClr val="tx2"/>
              </a:buClr>
              <a:buSzPct val="105000"/>
              <a:buFont typeface="Arial" panose="020B0604020202020204" pitchFamily="34" charset="0"/>
              <a:buChar char="•"/>
              <a:defRPr sz="105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1"/>
            <a:r>
              <a:rPr lang="en-US" dirty="0"/>
              <a:t>We have more than 200 shipping lawyers and nine Master Mariners across our global network, </a:t>
            </a:r>
            <a:r>
              <a:rPr lang="en-US" dirty="0" err="1"/>
              <a:t>specialising</a:t>
            </a:r>
            <a:r>
              <a:rPr lang="en-US" dirty="0"/>
              <a:t> in dry shipping, admiralty and crisis management, and transactional work for clients across the industry. </a:t>
            </a:r>
          </a:p>
          <a:p>
            <a:pPr lvl="1"/>
            <a:r>
              <a:rPr lang="en-US" dirty="0"/>
              <a:t>We have more top-tier rankings for shipping in Chambers and The Legal 500 than any other law firm, and our lawyers have featured in Lloyd’s List’s ranking of the 100 most influential people in the shipping industry for four consecutive years. The Lawyer’s Litigation Tracker shows that we have handled over 60% more shipping litigation cases in the English Courts since 2015 than our nearest rival.</a:t>
            </a:r>
            <a:endParaRPr lang="en-GB" dirty="0"/>
          </a:p>
        </p:txBody>
      </p:sp>
      <p:sp>
        <p:nvSpPr>
          <p:cNvPr id="43" name="TextBox 42">
            <a:extLst>
              <a:ext uri="{FF2B5EF4-FFF2-40B4-BE49-F238E27FC236}">
                <a16:creationId xmlns:a16="http://schemas.microsoft.com/office/drawing/2014/main" id="{3D8EE971-80E6-E69B-3D58-09C4EDC6DB89}"/>
              </a:ext>
            </a:extLst>
          </p:cNvPr>
          <p:cNvSpPr txBox="1"/>
          <p:nvPr userDrawn="1"/>
        </p:nvSpPr>
        <p:spPr>
          <a:xfrm>
            <a:off x="4233546" y="2195825"/>
            <a:ext cx="3403599" cy="4022429"/>
          </a:xfrm>
          <a:prstGeom prst="rect">
            <a:avLst/>
          </a:prstGeom>
        </p:spPr>
        <p:txBody>
          <a:bodyPr vert="horz" lIns="0" tIns="45720" rIns="0" bIns="45720" rtlCol="0">
            <a:normAutofit/>
          </a:bodyPr>
          <a:lstStyle>
            <a:lvl1pPr indent="0" defTabSz="914400">
              <a:lnSpc>
                <a:spcPct val="130000"/>
              </a:lnSpc>
              <a:spcBef>
                <a:spcPts val="300"/>
              </a:spcBef>
              <a:spcAft>
                <a:spcPts val="300"/>
              </a:spcAft>
              <a:buFont typeface="Arial" panose="020B0604020202020204" pitchFamily="34" charset="0"/>
              <a:buNone/>
              <a:defRPr sz="1400">
                <a:solidFill>
                  <a:schemeClr val="tx2"/>
                </a:solidFill>
                <a:latin typeface="+mj-lt"/>
              </a:defRPr>
            </a:lvl1pPr>
            <a:lvl2pPr marL="0" lvl="1" indent="0" defTabSz="914400">
              <a:lnSpc>
                <a:spcPct val="130000"/>
              </a:lnSpc>
              <a:spcBef>
                <a:spcPts val="300"/>
              </a:spcBef>
              <a:spcAft>
                <a:spcPts val="300"/>
              </a:spcAft>
              <a:buFont typeface="Arial" panose="020B0604020202020204" pitchFamily="34" charset="0"/>
              <a:buNone/>
              <a:defRPr sz="1100"/>
            </a:lvl2pPr>
            <a:lvl3pPr marL="180975" indent="-180975" defTabSz="914400">
              <a:lnSpc>
                <a:spcPct val="130000"/>
              </a:lnSpc>
              <a:spcBef>
                <a:spcPts val="300"/>
              </a:spcBef>
              <a:spcAft>
                <a:spcPts val="300"/>
              </a:spcAft>
              <a:buClr>
                <a:schemeClr val="tx2"/>
              </a:buClr>
              <a:buSzPct val="105000"/>
              <a:buFont typeface="Arial" panose="020B0604020202020204" pitchFamily="34" charset="0"/>
              <a:buChar char="•"/>
              <a:defRPr sz="1100"/>
            </a:lvl3pPr>
            <a:lvl4pPr marL="539750" indent="-180975" defTabSz="914400">
              <a:lnSpc>
                <a:spcPct val="130000"/>
              </a:lnSpc>
              <a:spcBef>
                <a:spcPts val="300"/>
              </a:spcBef>
              <a:spcAft>
                <a:spcPts val="300"/>
              </a:spcAft>
              <a:buClr>
                <a:schemeClr val="tx2"/>
              </a:buClr>
              <a:buSzPct val="105000"/>
              <a:buFont typeface="Arial" panose="020B0604020202020204" pitchFamily="34" charset="0"/>
              <a:buChar char="•"/>
              <a:defRPr sz="1050"/>
            </a:lvl4pPr>
            <a:lvl5pPr marL="898525" indent="-180975" defTabSz="914400">
              <a:lnSpc>
                <a:spcPct val="130000"/>
              </a:lnSpc>
              <a:spcBef>
                <a:spcPts val="300"/>
              </a:spcBef>
              <a:spcAft>
                <a:spcPts val="300"/>
              </a:spcAft>
              <a:buClr>
                <a:schemeClr val="tx2"/>
              </a:buClr>
              <a:buSzPct val="105000"/>
              <a:buFont typeface="Arial" panose="020B0604020202020204" pitchFamily="34" charset="0"/>
              <a:buChar char="•"/>
              <a:defRPr sz="105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1"/>
            <a:r>
              <a:rPr lang="en-US" dirty="0"/>
              <a:t>Our position as the market leader was reflected by our instruction to advise the owners and P&amp;I insurers on the high-profile grounding of the MV Ever Given in the Suez Canal – one of the most significant marine casualties for decades.</a:t>
            </a:r>
            <a:endParaRPr lang="en-GB" dirty="0"/>
          </a:p>
        </p:txBody>
      </p:sp>
    </p:spTree>
    <p:extLst>
      <p:ext uri="{BB962C8B-B14F-4D97-AF65-F5344CB8AC3E}">
        <p14:creationId xmlns:p14="http://schemas.microsoft.com/office/powerpoint/2010/main" val="1230101228"/>
      </p:ext>
    </p:extLst>
  </p:cSld>
  <p:clrMapOvr>
    <a:masterClrMapping/>
  </p:clrMapOvr>
  <p:transition spd="med">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oilerplat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261A4C7-E98D-3660-5C37-C13B3A230A80}"/>
              </a:ext>
            </a:extLst>
          </p:cNvPr>
          <p:cNvSpPr/>
          <p:nvPr userDrawn="1"/>
        </p:nvSpPr>
        <p:spPr>
          <a:xfrm>
            <a:off x="8126413" y="0"/>
            <a:ext cx="4065587"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Footer Placeholder 4"/>
          <p:cNvSpPr>
            <a:spLocks noGrp="1"/>
          </p:cNvSpPr>
          <p:nvPr userDrawn="1">
            <p:ph type="ftr" sz="quarter" idx="11"/>
          </p:nvPr>
        </p:nvSpPr>
        <p:spPr/>
        <p:txBody>
          <a:bodyPr/>
          <a:lstStyle/>
          <a:p>
            <a:r>
              <a:rPr lang="en-GB"/>
              <a:t>INSERT FOOTER HERE</a:t>
            </a:r>
          </a:p>
        </p:txBody>
      </p:sp>
      <p:sp>
        <p:nvSpPr>
          <p:cNvPr id="6" name="Slide Number Placeholder 5"/>
          <p:cNvSpPr>
            <a:spLocks noGrp="1"/>
          </p:cNvSpPr>
          <p:nvPr userDrawn="1">
            <p:ph type="sldNum" sz="quarter" idx="12"/>
          </p:nvPr>
        </p:nvSpPr>
        <p:spPr/>
        <p:txBody>
          <a:bodyPr/>
          <a:lstStyle>
            <a:lvl1pPr>
              <a:defRPr>
                <a:solidFill>
                  <a:schemeClr val="tx1"/>
                </a:solidFill>
              </a:defRPr>
            </a:lvl1pPr>
          </a:lstStyle>
          <a:p>
            <a:fld id="{8CFE0557-AA98-4E6C-B0C3-581794696B68}" type="slidenum">
              <a:rPr lang="en-GB" smtClean="0"/>
              <a:pPr/>
              <a:t>‹#›</a:t>
            </a:fld>
            <a:endParaRPr lang="en-GB" dirty="0"/>
          </a:p>
        </p:txBody>
      </p:sp>
      <p:sp>
        <p:nvSpPr>
          <p:cNvPr id="14" name="Content Placeholder 2">
            <a:extLst>
              <a:ext uri="{FF2B5EF4-FFF2-40B4-BE49-F238E27FC236}">
                <a16:creationId xmlns:a16="http://schemas.microsoft.com/office/drawing/2014/main" id="{E72CD05C-B4F0-E849-8BE5-946F20E9023A}"/>
              </a:ext>
            </a:extLst>
          </p:cNvPr>
          <p:cNvSpPr>
            <a:spLocks noGrp="1"/>
          </p:cNvSpPr>
          <p:nvPr>
            <p:ph idx="19" hasCustomPrompt="1"/>
          </p:nvPr>
        </p:nvSpPr>
        <p:spPr>
          <a:xfrm>
            <a:off x="508001" y="1123947"/>
            <a:ext cx="7134224" cy="626992"/>
          </a:xfrm>
        </p:spPr>
        <p:txBody>
          <a:bodyPr vert="horz" lIns="0" tIns="0" rIns="0" bIns="0" numCol="1" spcCol="216000" rtlCol="0">
            <a:noAutofit/>
          </a:bodyPr>
          <a:lstStyle>
            <a:lvl1pPr>
              <a:lnSpc>
                <a:spcPct val="110000"/>
              </a:lnSpc>
              <a:defRPr lang="en-US" sz="2000" dirty="0">
                <a:solidFill>
                  <a:schemeClr val="accent2"/>
                </a:solidFill>
              </a:defRPr>
            </a:lvl1pPr>
            <a:lvl2pPr>
              <a:defRPr lang="en-US" sz="900" dirty="0">
                <a:solidFill>
                  <a:schemeClr val="tx1"/>
                </a:solidFill>
              </a:defRPr>
            </a:lvl2pPr>
            <a:lvl3pPr>
              <a:defRPr lang="en-US" sz="800" dirty="0">
                <a:solidFill>
                  <a:schemeClr val="tx1"/>
                </a:solidFill>
              </a:defRPr>
            </a:lvl3pPr>
            <a:lvl4pPr>
              <a:defRPr lang="en-US" sz="700" dirty="0">
                <a:solidFill>
                  <a:schemeClr val="tx1"/>
                </a:solidFill>
              </a:defRPr>
            </a:lvl4pPr>
            <a:lvl5pPr>
              <a:defRPr lang="en-US" sz="700" dirty="0">
                <a:solidFill>
                  <a:schemeClr val="tx1"/>
                </a:solidFill>
              </a:defRPr>
            </a:lvl5pPr>
          </a:lstStyle>
          <a:p>
            <a:pPr lvl="0"/>
            <a:r>
              <a:rPr lang="en-US" dirty="0"/>
              <a:t>Intro paragraph text goes here, spans the columns. </a:t>
            </a:r>
            <a:r>
              <a:rPr lang="en-US" dirty="0" err="1"/>
              <a:t>sintum</a:t>
            </a:r>
            <a:r>
              <a:rPr lang="en-US" dirty="0"/>
              <a:t> </a:t>
            </a:r>
            <a:r>
              <a:rPr lang="en-US" dirty="0" err="1"/>
              <a:t>fuga</a:t>
            </a:r>
            <a:r>
              <a:rPr lang="en-US" dirty="0"/>
              <a:t>. Nam </a:t>
            </a:r>
            <a:r>
              <a:rPr lang="en-US" dirty="0" err="1"/>
              <a:t>reperis</a:t>
            </a:r>
            <a:r>
              <a:rPr lang="en-US" dirty="0"/>
              <a:t> et </a:t>
            </a:r>
            <a:r>
              <a:rPr lang="en-US" dirty="0" err="1"/>
              <a:t>offici</a:t>
            </a:r>
            <a:r>
              <a:rPr lang="en-US" dirty="0"/>
              <a:t> rat.</a:t>
            </a:r>
          </a:p>
        </p:txBody>
      </p:sp>
      <p:sp>
        <p:nvSpPr>
          <p:cNvPr id="19" name="Content Placeholder 2">
            <a:extLst>
              <a:ext uri="{FF2B5EF4-FFF2-40B4-BE49-F238E27FC236}">
                <a16:creationId xmlns:a16="http://schemas.microsoft.com/office/drawing/2014/main" id="{C0E0C3DE-23B8-688A-FFA9-104670A26887}"/>
              </a:ext>
            </a:extLst>
          </p:cNvPr>
          <p:cNvSpPr>
            <a:spLocks noGrp="1"/>
          </p:cNvSpPr>
          <p:nvPr>
            <p:ph idx="21" hasCustomPrompt="1"/>
          </p:nvPr>
        </p:nvSpPr>
        <p:spPr>
          <a:xfrm>
            <a:off x="504826" y="2197395"/>
            <a:ext cx="3403599" cy="3060405"/>
          </a:xfrm>
        </p:spPr>
        <p:txBody>
          <a:bodyPr vert="horz" lIns="0" tIns="45720" rIns="0" bIns="4572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4" name="Content Placeholder 2">
            <a:extLst>
              <a:ext uri="{FF2B5EF4-FFF2-40B4-BE49-F238E27FC236}">
                <a16:creationId xmlns:a16="http://schemas.microsoft.com/office/drawing/2014/main" id="{7C3FFC52-0891-597B-A8F4-D532FCBA08B1}"/>
              </a:ext>
            </a:extLst>
          </p:cNvPr>
          <p:cNvSpPr>
            <a:spLocks noGrp="1"/>
          </p:cNvSpPr>
          <p:nvPr>
            <p:ph idx="22" hasCustomPrompt="1"/>
          </p:nvPr>
        </p:nvSpPr>
        <p:spPr>
          <a:xfrm>
            <a:off x="4238626" y="2197395"/>
            <a:ext cx="3403599" cy="3060405"/>
          </a:xfrm>
        </p:spPr>
        <p:txBody>
          <a:bodyPr vert="horz" lIns="0" tIns="45720" rIns="0" bIns="4572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2" name="Title 1">
            <a:extLst>
              <a:ext uri="{FF2B5EF4-FFF2-40B4-BE49-F238E27FC236}">
                <a16:creationId xmlns:a16="http://schemas.microsoft.com/office/drawing/2014/main" id="{EE98A0E2-B34B-F6E3-95F2-52A2CE8F6393}"/>
              </a:ext>
            </a:extLst>
          </p:cNvPr>
          <p:cNvSpPr>
            <a:spLocks noGrp="1"/>
          </p:cNvSpPr>
          <p:nvPr>
            <p:ph type="title" hasCustomPrompt="1"/>
          </p:nvPr>
        </p:nvSpPr>
        <p:spPr>
          <a:xfrm>
            <a:off x="508000" y="454014"/>
            <a:ext cx="7134225" cy="669934"/>
          </a:xfrm>
        </p:spPr>
        <p:txBody>
          <a:bodyPr/>
          <a:lstStyle>
            <a:lvl1pPr>
              <a:defRPr/>
            </a:lvl1pPr>
          </a:lstStyle>
          <a:p>
            <a:r>
              <a:rPr lang="en-US" dirty="0"/>
              <a:t>BOILERPLATE PAGE</a:t>
            </a:r>
            <a:endParaRPr lang="en-GB" dirty="0"/>
          </a:p>
        </p:txBody>
      </p:sp>
      <p:sp>
        <p:nvSpPr>
          <p:cNvPr id="9" name="Content Placeholder 2">
            <a:extLst>
              <a:ext uri="{FF2B5EF4-FFF2-40B4-BE49-F238E27FC236}">
                <a16:creationId xmlns:a16="http://schemas.microsoft.com/office/drawing/2014/main" id="{133AE144-DD08-72A6-72C9-D21FB35AF968}"/>
              </a:ext>
            </a:extLst>
          </p:cNvPr>
          <p:cNvSpPr>
            <a:spLocks noGrp="1"/>
          </p:cNvSpPr>
          <p:nvPr>
            <p:ph idx="23" hasCustomPrompt="1"/>
          </p:nvPr>
        </p:nvSpPr>
        <p:spPr>
          <a:xfrm>
            <a:off x="8737600" y="1464308"/>
            <a:ext cx="2963863" cy="4755516"/>
          </a:xfrm>
        </p:spPr>
        <p:txBody>
          <a:bodyPr vert="horz" lIns="0" tIns="45720" rIns="0" bIns="45720" rtlCol="0">
            <a:normAutofit/>
          </a:bodyPr>
          <a:lstStyle>
            <a:lvl1pPr algn="l" defTabSz="914400" rtl="0" eaLnBrk="1" latinLnBrk="0" hangingPunct="1">
              <a:lnSpc>
                <a:spcPct val="130000"/>
              </a:lnSpc>
              <a:spcBef>
                <a:spcPts val="300"/>
              </a:spcBef>
              <a:spcAft>
                <a:spcPts val="300"/>
              </a:spcAft>
              <a:buFont typeface="Arial" panose="020B0604020202020204" pitchFamily="34" charset="0"/>
              <a:defRPr lang="en-US" sz="1100" kern="1200" dirty="0">
                <a:solidFill>
                  <a:schemeClr val="tx1"/>
                </a:solidFill>
                <a:latin typeface="+mn-lt"/>
                <a:ea typeface="+mn-ea"/>
                <a:cs typeface="+mn-cs"/>
              </a:defRPr>
            </a:lvl1pPr>
            <a:lvl2pPr>
              <a:buClr>
                <a:schemeClr val="tx1"/>
              </a:buClr>
              <a:defRPr lang="en-US" dirty="0"/>
            </a:lvl2pPr>
            <a:lvl3pPr>
              <a:buClr>
                <a:schemeClr val="tx1"/>
              </a:buClr>
              <a:defRPr lang="en-US" dirty="0"/>
            </a:lvl3pPr>
            <a:lvl4pPr>
              <a:buClr>
                <a:schemeClr val="tx1"/>
              </a:buClr>
              <a:defRPr lang="en-US" dirty="0"/>
            </a:lvl4pPr>
            <a:lvl5pPr>
              <a:buClr>
                <a:schemeClr val="tx1"/>
              </a:buClr>
              <a:defRPr lang="en-US" dirty="0"/>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12" name="Text Placeholder 12">
            <a:extLst>
              <a:ext uri="{FF2B5EF4-FFF2-40B4-BE49-F238E27FC236}">
                <a16:creationId xmlns:a16="http://schemas.microsoft.com/office/drawing/2014/main" id="{274A3A9B-6199-8864-E2E6-D1BE82F7D34C}"/>
              </a:ext>
            </a:extLst>
          </p:cNvPr>
          <p:cNvSpPr>
            <a:spLocks noGrp="1"/>
          </p:cNvSpPr>
          <p:nvPr>
            <p:ph type="body" sz="quarter" idx="18" hasCustomPrompt="1"/>
          </p:nvPr>
        </p:nvSpPr>
        <p:spPr>
          <a:xfrm>
            <a:off x="508000" y="5334846"/>
            <a:ext cx="7127876" cy="681779"/>
          </a:xfrm>
        </p:spPr>
        <p:txBody>
          <a:bodyPr vert="horz" lIns="0" tIns="45720" rIns="0" bIns="0" rtlCol="0" anchor="b" anchorCtr="0">
            <a:noAutofit/>
          </a:bodyPr>
          <a:lstStyle>
            <a:lvl1pPr marL="108000" indent="-108000">
              <a:lnSpc>
                <a:spcPct val="110000"/>
              </a:lnSpc>
              <a:spcBef>
                <a:spcPts val="0"/>
              </a:spcBef>
              <a:spcAft>
                <a:spcPts val="0"/>
              </a:spcAft>
              <a:defRPr lang="en-US" sz="2000" dirty="0">
                <a:solidFill>
                  <a:schemeClr val="accent2"/>
                </a:solidFill>
              </a:defRPr>
            </a:lvl1pPr>
            <a:lvl2pPr>
              <a:defRPr lang="en-US" sz="1400" dirty="0">
                <a:solidFill>
                  <a:schemeClr val="tx2"/>
                </a:solidFill>
                <a:latin typeface="+mj-lt"/>
              </a:defRPr>
            </a:lvl2pPr>
          </a:lstStyle>
          <a:p>
            <a:pPr marL="108000" lvl="0" indent="-108000">
              <a:lnSpc>
                <a:spcPct val="100000"/>
              </a:lnSpc>
              <a:spcBef>
                <a:spcPts val="200"/>
              </a:spcBef>
              <a:spcAft>
                <a:spcPts val="200"/>
              </a:spcAft>
            </a:pPr>
            <a:r>
              <a:rPr lang="en-US" dirty="0"/>
              <a:t>“Quote goes here.”</a:t>
            </a:r>
          </a:p>
        </p:txBody>
      </p:sp>
      <p:sp>
        <p:nvSpPr>
          <p:cNvPr id="15" name="Text Placeholder 7">
            <a:extLst>
              <a:ext uri="{FF2B5EF4-FFF2-40B4-BE49-F238E27FC236}">
                <a16:creationId xmlns:a16="http://schemas.microsoft.com/office/drawing/2014/main" id="{BB086A23-57E1-2853-3EAF-9D5F97EADD20}"/>
              </a:ext>
            </a:extLst>
          </p:cNvPr>
          <p:cNvSpPr>
            <a:spLocks noGrp="1"/>
          </p:cNvSpPr>
          <p:nvPr>
            <p:ph type="body" sz="quarter" idx="24" hasCustomPrompt="1"/>
          </p:nvPr>
        </p:nvSpPr>
        <p:spPr>
          <a:xfrm>
            <a:off x="508000" y="6047121"/>
            <a:ext cx="7127876" cy="215444"/>
          </a:xfrm>
        </p:spPr>
        <p:txBody>
          <a:bodyPr wrap="square" tIns="0" bIns="0" anchor="b" anchorCtr="0">
            <a:spAutoFit/>
          </a:bodyPr>
          <a:lstStyle>
            <a:lvl1pPr marL="108000">
              <a:lnSpc>
                <a:spcPct val="100000"/>
              </a:lnSpc>
              <a:defRPr sz="1400" cap="all" baseline="0">
                <a:solidFill>
                  <a:schemeClr val="tx2"/>
                </a:solidFill>
                <a:latin typeface="+mj-lt"/>
              </a:defRPr>
            </a:lvl1pPr>
            <a:lvl2pPr marL="108000">
              <a:lnSpc>
                <a:spcPct val="100000"/>
              </a:lnSpc>
              <a:defRPr sz="1400" cap="all" baseline="0">
                <a:solidFill>
                  <a:schemeClr val="tx2"/>
                </a:solidFill>
                <a:latin typeface="+mj-lt"/>
              </a:defRPr>
            </a:lvl2pPr>
            <a:lvl3pPr marL="108000">
              <a:lnSpc>
                <a:spcPct val="100000"/>
              </a:lnSpc>
              <a:defRPr sz="1400" cap="all" baseline="0">
                <a:solidFill>
                  <a:schemeClr val="tx2"/>
                </a:solidFill>
                <a:latin typeface="+mj-lt"/>
              </a:defRPr>
            </a:lvl3pPr>
            <a:lvl4pPr marL="108000">
              <a:lnSpc>
                <a:spcPct val="100000"/>
              </a:lnSpc>
              <a:defRPr sz="1400" cap="all" baseline="0">
                <a:solidFill>
                  <a:schemeClr val="tx2"/>
                </a:solidFill>
                <a:latin typeface="+mj-lt"/>
              </a:defRPr>
            </a:lvl4pPr>
            <a:lvl5pPr marL="108000">
              <a:lnSpc>
                <a:spcPct val="100000"/>
              </a:lnSpc>
              <a:defRPr sz="1400" cap="all" baseline="0">
                <a:solidFill>
                  <a:schemeClr val="tx2"/>
                </a:solidFill>
                <a:latin typeface="+mj-lt"/>
              </a:defRPr>
            </a:lvl5pPr>
          </a:lstStyle>
          <a:p>
            <a:pPr lvl="0"/>
            <a:r>
              <a:rPr lang="en-US" dirty="0"/>
              <a:t>quote author</a:t>
            </a:r>
            <a:endParaRPr lang="en-GB" dirty="0"/>
          </a:p>
        </p:txBody>
      </p:sp>
      <p:sp>
        <p:nvSpPr>
          <p:cNvPr id="16" name="Content Placeholder 2">
            <a:extLst>
              <a:ext uri="{FF2B5EF4-FFF2-40B4-BE49-F238E27FC236}">
                <a16:creationId xmlns:a16="http://schemas.microsoft.com/office/drawing/2014/main" id="{7F778683-5AD4-1900-5690-65E041D7BD95}"/>
              </a:ext>
            </a:extLst>
          </p:cNvPr>
          <p:cNvSpPr>
            <a:spLocks noGrp="1"/>
          </p:cNvSpPr>
          <p:nvPr>
            <p:ph idx="1" hasCustomPrompt="1"/>
          </p:nvPr>
        </p:nvSpPr>
        <p:spPr>
          <a:xfrm>
            <a:off x="8737600" y="1098547"/>
            <a:ext cx="2946399" cy="365761"/>
          </a:xfrm>
        </p:spPr>
        <p:txBody>
          <a:bodyPr/>
          <a:lstStyle>
            <a:lvl1pPr>
              <a:defRPr cap="all" baseline="0"/>
            </a:lvl1pPr>
          </a:lstStyle>
          <a:p>
            <a:pPr lvl="0"/>
            <a:r>
              <a:rPr lang="en-US" dirty="0"/>
              <a:t>subhead</a:t>
            </a:r>
          </a:p>
        </p:txBody>
      </p:sp>
    </p:spTree>
    <p:extLst>
      <p:ext uri="{BB962C8B-B14F-4D97-AF65-F5344CB8AC3E}">
        <p14:creationId xmlns:p14="http://schemas.microsoft.com/office/powerpoint/2010/main" val="4100741230"/>
      </p:ext>
    </p:extLst>
  </p:cSld>
  <p:clrMapOvr>
    <a:masterClrMapping/>
  </p:clrMapOvr>
  <p:transition spd="med">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CORPORATE - Boilerplat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261A4C7-E98D-3660-5C37-C13B3A230A80}"/>
              </a:ext>
            </a:extLst>
          </p:cNvPr>
          <p:cNvSpPr/>
          <p:nvPr userDrawn="1"/>
        </p:nvSpPr>
        <p:spPr>
          <a:xfrm>
            <a:off x="8126413" y="0"/>
            <a:ext cx="4065587"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Footer Placeholder 4"/>
          <p:cNvSpPr>
            <a:spLocks noGrp="1"/>
          </p:cNvSpPr>
          <p:nvPr userDrawn="1">
            <p:ph type="ftr" sz="quarter" idx="11"/>
          </p:nvPr>
        </p:nvSpPr>
        <p:spPr/>
        <p:txBody>
          <a:bodyPr/>
          <a:lstStyle/>
          <a:p>
            <a:r>
              <a:rPr lang="en-GB"/>
              <a:t>INSERT FOOTER HERE</a:t>
            </a:r>
          </a:p>
        </p:txBody>
      </p:sp>
      <p:sp>
        <p:nvSpPr>
          <p:cNvPr id="6" name="Slide Number Placeholder 5"/>
          <p:cNvSpPr>
            <a:spLocks noGrp="1"/>
          </p:cNvSpPr>
          <p:nvPr userDrawn="1">
            <p:ph type="sldNum" sz="quarter" idx="12"/>
          </p:nvPr>
        </p:nvSpPr>
        <p:spPr/>
        <p:txBody>
          <a:bodyPr/>
          <a:lstStyle>
            <a:lvl1pPr>
              <a:defRPr>
                <a:solidFill>
                  <a:schemeClr val="tx1"/>
                </a:solidFill>
              </a:defRPr>
            </a:lvl1pPr>
          </a:lstStyle>
          <a:p>
            <a:fld id="{8CFE0557-AA98-4E6C-B0C3-581794696B68}" type="slidenum">
              <a:rPr lang="en-GB" smtClean="0"/>
              <a:pPr/>
              <a:t>‹#›</a:t>
            </a:fld>
            <a:endParaRPr lang="en-GB" dirty="0"/>
          </a:p>
        </p:txBody>
      </p:sp>
      <p:sp>
        <p:nvSpPr>
          <p:cNvPr id="3" name="Title 3">
            <a:extLst>
              <a:ext uri="{FF2B5EF4-FFF2-40B4-BE49-F238E27FC236}">
                <a16:creationId xmlns:a16="http://schemas.microsoft.com/office/drawing/2014/main" id="{C3707BBE-F8C2-9986-1A8F-9666AD5EC096}"/>
              </a:ext>
            </a:extLst>
          </p:cNvPr>
          <p:cNvSpPr txBox="1">
            <a:spLocks/>
          </p:cNvSpPr>
          <p:nvPr userDrawn="1"/>
        </p:nvSpPr>
        <p:spPr>
          <a:xfrm>
            <a:off x="508000" y="454014"/>
            <a:ext cx="7134225" cy="669934"/>
          </a:xfrm>
          <a:prstGeom prst="rect">
            <a:avLst/>
          </a:prstGeom>
        </p:spPr>
        <p:txBody>
          <a:bodyPr vert="horz" lIns="0" tIns="0" rIns="0" bIns="72000" rtlCol="0" anchor="t" anchorCtr="0">
            <a:noAutofit/>
          </a:bodyPr>
          <a:lstStyle>
            <a:lvl1pPr algn="l" defTabSz="914400" rtl="0" eaLnBrk="1" latinLnBrk="0" hangingPunct="1">
              <a:lnSpc>
                <a:spcPct val="90000"/>
              </a:lnSpc>
              <a:spcBef>
                <a:spcPct val="0"/>
              </a:spcBef>
              <a:buNone/>
              <a:defRPr sz="3200" kern="1200" cap="all" baseline="0">
                <a:solidFill>
                  <a:schemeClr val="tx2"/>
                </a:solidFill>
                <a:latin typeface="+mn-lt"/>
                <a:ea typeface="+mj-ea"/>
                <a:cs typeface="+mj-cs"/>
              </a:defRPr>
            </a:lvl1pPr>
          </a:lstStyle>
          <a:p>
            <a:r>
              <a:rPr lang="en-US" dirty="0"/>
              <a:t>CORPORATE</a:t>
            </a:r>
            <a:endParaRPr lang="en-GB" dirty="0"/>
          </a:p>
        </p:txBody>
      </p:sp>
      <p:sp>
        <p:nvSpPr>
          <p:cNvPr id="7" name="TextBox 6">
            <a:extLst>
              <a:ext uri="{FF2B5EF4-FFF2-40B4-BE49-F238E27FC236}">
                <a16:creationId xmlns:a16="http://schemas.microsoft.com/office/drawing/2014/main" id="{BD678108-0AEA-3AE9-BD3D-097F233A58C0}"/>
              </a:ext>
            </a:extLst>
          </p:cNvPr>
          <p:cNvSpPr txBox="1"/>
          <p:nvPr userDrawn="1"/>
        </p:nvSpPr>
        <p:spPr>
          <a:xfrm>
            <a:off x="504826" y="1123946"/>
            <a:ext cx="7183961" cy="1027119"/>
          </a:xfrm>
          <a:prstGeom prst="rect">
            <a:avLst/>
          </a:prstGeom>
        </p:spPr>
        <p:txBody>
          <a:bodyPr vert="horz" wrap="square" lIns="0" tIns="45720" rIns="0" bIns="45720" rtlCol="0">
            <a:noAutofit/>
          </a:bodyPr>
          <a:lstStyle/>
          <a:p>
            <a:pPr marL="0" lvl="0" indent="0" algn="l" defTabSz="914400" rtl="0" eaLnBrk="1" latinLnBrk="0" hangingPunct="1">
              <a:lnSpc>
                <a:spcPct val="110000"/>
              </a:lnSpc>
              <a:spcBef>
                <a:spcPts val="300"/>
              </a:spcBef>
              <a:spcAft>
                <a:spcPts val="300"/>
              </a:spcAft>
              <a:buFont typeface="Arial" panose="020B0604020202020204" pitchFamily="34" charset="0"/>
              <a:buNone/>
            </a:pPr>
            <a:r>
              <a:rPr lang="en-US" sz="2000" kern="1200" dirty="0">
                <a:solidFill>
                  <a:schemeClr val="accent2"/>
                </a:solidFill>
                <a:latin typeface="+mj-lt"/>
                <a:ea typeface="+mn-ea"/>
                <a:cs typeface="+mn-cs"/>
              </a:rPr>
              <a:t>Our international corporate team has extensive experience acting on complex and high-value domestic and cross-border transactions.</a:t>
            </a:r>
          </a:p>
        </p:txBody>
      </p:sp>
      <p:sp>
        <p:nvSpPr>
          <p:cNvPr id="10" name="TextBox 9">
            <a:extLst>
              <a:ext uri="{FF2B5EF4-FFF2-40B4-BE49-F238E27FC236}">
                <a16:creationId xmlns:a16="http://schemas.microsoft.com/office/drawing/2014/main" id="{12754B59-8BC6-79B9-F2AC-33CA58AACA6B}"/>
              </a:ext>
            </a:extLst>
          </p:cNvPr>
          <p:cNvSpPr txBox="1"/>
          <p:nvPr userDrawn="1"/>
        </p:nvSpPr>
        <p:spPr>
          <a:xfrm>
            <a:off x="504826" y="2195825"/>
            <a:ext cx="3403599" cy="4022429"/>
          </a:xfrm>
          <a:prstGeom prst="rect">
            <a:avLst/>
          </a:prstGeom>
        </p:spPr>
        <p:txBody>
          <a:bodyPr vert="horz" lIns="0" tIns="45720" rIns="0" bIns="45720" rtlCol="0">
            <a:normAutofit/>
          </a:bodyPr>
          <a:lstStyle>
            <a:lvl1pPr indent="0" defTabSz="914400">
              <a:lnSpc>
                <a:spcPct val="130000"/>
              </a:lnSpc>
              <a:spcBef>
                <a:spcPts val="300"/>
              </a:spcBef>
              <a:spcAft>
                <a:spcPts val="300"/>
              </a:spcAft>
              <a:buFont typeface="Arial" panose="020B0604020202020204" pitchFamily="34" charset="0"/>
              <a:buNone/>
              <a:defRPr sz="1400">
                <a:solidFill>
                  <a:schemeClr val="tx2"/>
                </a:solidFill>
                <a:latin typeface="+mj-lt"/>
              </a:defRPr>
            </a:lvl1pPr>
            <a:lvl2pPr marL="0" lvl="1" indent="0" defTabSz="914400">
              <a:lnSpc>
                <a:spcPct val="130000"/>
              </a:lnSpc>
              <a:spcBef>
                <a:spcPts val="300"/>
              </a:spcBef>
              <a:spcAft>
                <a:spcPts val="300"/>
              </a:spcAft>
              <a:buFont typeface="Arial" panose="020B0604020202020204" pitchFamily="34" charset="0"/>
              <a:buNone/>
              <a:defRPr sz="1100"/>
            </a:lvl2pPr>
            <a:lvl3pPr marL="180975" indent="-180975" defTabSz="914400">
              <a:lnSpc>
                <a:spcPct val="130000"/>
              </a:lnSpc>
              <a:spcBef>
                <a:spcPts val="300"/>
              </a:spcBef>
              <a:spcAft>
                <a:spcPts val="300"/>
              </a:spcAft>
              <a:buClr>
                <a:schemeClr val="tx2"/>
              </a:buClr>
              <a:buSzPct val="105000"/>
              <a:buFont typeface="Arial" panose="020B0604020202020204" pitchFamily="34" charset="0"/>
              <a:buChar char="•"/>
              <a:defRPr sz="1100"/>
            </a:lvl3pPr>
            <a:lvl4pPr marL="539750" indent="-180975" defTabSz="914400">
              <a:lnSpc>
                <a:spcPct val="130000"/>
              </a:lnSpc>
              <a:spcBef>
                <a:spcPts val="300"/>
              </a:spcBef>
              <a:spcAft>
                <a:spcPts val="300"/>
              </a:spcAft>
              <a:buClr>
                <a:schemeClr val="tx2"/>
              </a:buClr>
              <a:buSzPct val="105000"/>
              <a:buFont typeface="Arial" panose="020B0604020202020204" pitchFamily="34" charset="0"/>
              <a:buChar char="•"/>
              <a:defRPr sz="1050"/>
            </a:lvl4pPr>
            <a:lvl5pPr marL="898525" indent="-180975" defTabSz="914400">
              <a:lnSpc>
                <a:spcPct val="130000"/>
              </a:lnSpc>
              <a:spcBef>
                <a:spcPts val="300"/>
              </a:spcBef>
              <a:spcAft>
                <a:spcPts val="300"/>
              </a:spcAft>
              <a:buClr>
                <a:schemeClr val="tx2"/>
              </a:buClr>
              <a:buSzPct val="105000"/>
              <a:buFont typeface="Arial" panose="020B0604020202020204" pitchFamily="34" charset="0"/>
              <a:buChar char="•"/>
              <a:defRPr sz="105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1"/>
            <a:r>
              <a:rPr lang="en-US" dirty="0"/>
              <a:t>We advise many of the world’s largest companies, private and institutional investors, insurers, governments, private equity funds and investment banks across the full spectrum of corporate transactions, as well as corporate governance and day-to-day issues relating to regulatory, stock market and company law compliance.</a:t>
            </a:r>
          </a:p>
          <a:p>
            <a:pPr lvl="1"/>
            <a:r>
              <a:rPr lang="en-US" dirty="0"/>
              <a:t>Our team combines in-depth sector expertise with experience across all corporate disciplines to deliver pragmatic and commercially valuable advice.</a:t>
            </a:r>
          </a:p>
        </p:txBody>
      </p:sp>
      <p:sp>
        <p:nvSpPr>
          <p:cNvPr id="11" name="TextBox 10">
            <a:extLst>
              <a:ext uri="{FF2B5EF4-FFF2-40B4-BE49-F238E27FC236}">
                <a16:creationId xmlns:a16="http://schemas.microsoft.com/office/drawing/2014/main" id="{894F8806-1066-CED5-541E-B865188B52BB}"/>
              </a:ext>
            </a:extLst>
          </p:cNvPr>
          <p:cNvSpPr txBox="1"/>
          <p:nvPr userDrawn="1"/>
        </p:nvSpPr>
        <p:spPr>
          <a:xfrm>
            <a:off x="4233546" y="2195825"/>
            <a:ext cx="3403599" cy="4022429"/>
          </a:xfrm>
          <a:prstGeom prst="rect">
            <a:avLst/>
          </a:prstGeom>
        </p:spPr>
        <p:txBody>
          <a:bodyPr vert="horz" lIns="0" tIns="45720" rIns="0" bIns="45720" rtlCol="0">
            <a:normAutofit/>
          </a:bodyPr>
          <a:lstStyle>
            <a:lvl1pPr indent="0" defTabSz="914400">
              <a:lnSpc>
                <a:spcPct val="130000"/>
              </a:lnSpc>
              <a:spcBef>
                <a:spcPts val="300"/>
              </a:spcBef>
              <a:spcAft>
                <a:spcPts val="300"/>
              </a:spcAft>
              <a:buFont typeface="Arial" panose="020B0604020202020204" pitchFamily="34" charset="0"/>
              <a:buNone/>
              <a:defRPr sz="1400">
                <a:solidFill>
                  <a:schemeClr val="tx2"/>
                </a:solidFill>
                <a:latin typeface="+mj-lt"/>
              </a:defRPr>
            </a:lvl1pPr>
            <a:lvl2pPr marL="0" lvl="1" indent="0" defTabSz="914400">
              <a:lnSpc>
                <a:spcPct val="130000"/>
              </a:lnSpc>
              <a:spcBef>
                <a:spcPts val="300"/>
              </a:spcBef>
              <a:spcAft>
                <a:spcPts val="300"/>
              </a:spcAft>
              <a:buFont typeface="Arial" panose="020B0604020202020204" pitchFamily="34" charset="0"/>
              <a:buNone/>
              <a:defRPr sz="1100"/>
            </a:lvl2pPr>
            <a:lvl3pPr marL="180975" indent="-180975" defTabSz="914400">
              <a:lnSpc>
                <a:spcPct val="130000"/>
              </a:lnSpc>
              <a:spcBef>
                <a:spcPts val="300"/>
              </a:spcBef>
              <a:spcAft>
                <a:spcPts val="300"/>
              </a:spcAft>
              <a:buClr>
                <a:schemeClr val="tx2"/>
              </a:buClr>
              <a:buSzPct val="105000"/>
              <a:buFont typeface="Arial" panose="020B0604020202020204" pitchFamily="34" charset="0"/>
              <a:buChar char="•"/>
              <a:defRPr sz="1100"/>
            </a:lvl3pPr>
            <a:lvl4pPr marL="539750" indent="-180975" defTabSz="914400">
              <a:lnSpc>
                <a:spcPct val="130000"/>
              </a:lnSpc>
              <a:spcBef>
                <a:spcPts val="300"/>
              </a:spcBef>
              <a:spcAft>
                <a:spcPts val="300"/>
              </a:spcAft>
              <a:buClr>
                <a:schemeClr val="tx2"/>
              </a:buClr>
              <a:buSzPct val="105000"/>
              <a:buFont typeface="Arial" panose="020B0604020202020204" pitchFamily="34" charset="0"/>
              <a:buChar char="•"/>
              <a:defRPr sz="1050"/>
            </a:lvl4pPr>
            <a:lvl5pPr marL="898525" indent="-180975" defTabSz="914400">
              <a:lnSpc>
                <a:spcPct val="130000"/>
              </a:lnSpc>
              <a:spcBef>
                <a:spcPts val="300"/>
              </a:spcBef>
              <a:spcAft>
                <a:spcPts val="300"/>
              </a:spcAft>
              <a:buClr>
                <a:schemeClr val="tx2"/>
              </a:buClr>
              <a:buSzPct val="105000"/>
              <a:buFont typeface="Arial" panose="020B0604020202020204" pitchFamily="34" charset="0"/>
              <a:buChar char="•"/>
              <a:defRPr sz="105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1"/>
            <a:r>
              <a:rPr lang="en-US" dirty="0"/>
              <a:t>We have worked on corporate transactions in markets around the world, including the UK, continental Europe, Russia, Africa, the Middle East, India, Malaysia, China, Hong Kong, Singapore, Indonesia, Australia and South America.</a:t>
            </a:r>
            <a:endParaRPr lang="en-GB" dirty="0"/>
          </a:p>
        </p:txBody>
      </p:sp>
      <p:sp>
        <p:nvSpPr>
          <p:cNvPr id="18" name="Content Placeholder 6">
            <a:extLst>
              <a:ext uri="{FF2B5EF4-FFF2-40B4-BE49-F238E27FC236}">
                <a16:creationId xmlns:a16="http://schemas.microsoft.com/office/drawing/2014/main" id="{52475DE9-CB19-61DB-1E0C-FA7A0CCA4259}"/>
              </a:ext>
            </a:extLst>
          </p:cNvPr>
          <p:cNvSpPr txBox="1">
            <a:spLocks/>
          </p:cNvSpPr>
          <p:nvPr userDrawn="1"/>
        </p:nvSpPr>
        <p:spPr>
          <a:xfrm>
            <a:off x="8755064" y="1464308"/>
            <a:ext cx="2963863" cy="4755516"/>
          </a:xfrm>
          <a:prstGeom prst="rect">
            <a:avLst/>
          </a:prstGeom>
        </p:spPr>
        <p:txBody>
          <a:bodyPr vert="horz" lIns="0" tIns="45720" rIns="0" bIns="45720" rtlCol="0">
            <a:normAutofit/>
          </a:bodyPr>
          <a:lstStyle>
            <a:lvl1pPr marL="0" indent="0" algn="l" defTabSz="914400" rtl="0" eaLnBrk="1" latinLnBrk="0" hangingPunct="1">
              <a:lnSpc>
                <a:spcPct val="130000"/>
              </a:lnSpc>
              <a:spcBef>
                <a:spcPts val="300"/>
              </a:spcBef>
              <a:spcAft>
                <a:spcPts val="300"/>
              </a:spcAft>
              <a:buFont typeface="Arial" panose="020B0604020202020204" pitchFamily="34" charset="0"/>
              <a:buNone/>
              <a:defRPr lang="en-US" sz="1100" kern="1200" dirty="0">
                <a:solidFill>
                  <a:schemeClr val="tx1"/>
                </a:solidFill>
                <a:latin typeface="+mn-lt"/>
                <a:ea typeface="+mn-ea"/>
                <a:cs typeface="+mn-cs"/>
              </a:defRPr>
            </a:lvl1pPr>
            <a:lvl2pPr marL="0" indent="0" algn="l" defTabSz="914400" rtl="0" eaLnBrk="1" latinLnBrk="0" hangingPunct="1">
              <a:lnSpc>
                <a:spcPct val="130000"/>
              </a:lnSpc>
              <a:spcBef>
                <a:spcPts val="300"/>
              </a:spcBef>
              <a:spcAft>
                <a:spcPts val="300"/>
              </a:spcAft>
              <a:buFont typeface="Arial" panose="020B0604020202020204" pitchFamily="34" charset="0"/>
              <a:buNone/>
              <a:defRPr lang="en-US" sz="1100" kern="1200" dirty="0">
                <a:solidFill>
                  <a:schemeClr val="tx1"/>
                </a:solidFill>
                <a:latin typeface="+mn-lt"/>
                <a:ea typeface="+mn-ea"/>
                <a:cs typeface="+mn-cs"/>
              </a:defRPr>
            </a:lvl2pPr>
            <a:lvl3pPr marL="180975" indent="-180975" algn="l" defTabSz="914400" rtl="0" eaLnBrk="1" latinLnBrk="0" hangingPunct="1">
              <a:lnSpc>
                <a:spcPct val="130000"/>
              </a:lnSpc>
              <a:spcBef>
                <a:spcPts val="300"/>
              </a:spcBef>
              <a:spcAft>
                <a:spcPts val="300"/>
              </a:spcAft>
              <a:buClr>
                <a:schemeClr val="tx2"/>
              </a:buClr>
              <a:buSzPct val="105000"/>
              <a:buFont typeface="Arial" panose="020B0604020202020204" pitchFamily="34" charset="0"/>
              <a:buChar char="•"/>
              <a:defRPr lang="en-US" sz="1100" kern="1200" dirty="0">
                <a:solidFill>
                  <a:schemeClr val="tx1"/>
                </a:solidFill>
                <a:latin typeface="+mn-lt"/>
                <a:ea typeface="+mn-ea"/>
                <a:cs typeface="+mn-cs"/>
              </a:defRPr>
            </a:lvl3pPr>
            <a:lvl4pPr marL="539750" indent="-180975" algn="l" defTabSz="914400" rtl="0" eaLnBrk="1" latinLnBrk="0" hangingPunct="1">
              <a:lnSpc>
                <a:spcPct val="130000"/>
              </a:lnSpc>
              <a:spcBef>
                <a:spcPts val="300"/>
              </a:spcBef>
              <a:spcAft>
                <a:spcPts val="300"/>
              </a:spcAft>
              <a:buClr>
                <a:schemeClr val="tx2"/>
              </a:buClr>
              <a:buSzPct val="105000"/>
              <a:buFont typeface="Arial" panose="020B0604020202020204" pitchFamily="34" charset="0"/>
              <a:buChar char="•"/>
              <a:defRPr lang="en-US" sz="1050" kern="1200" dirty="0">
                <a:solidFill>
                  <a:schemeClr val="tx1"/>
                </a:solidFill>
                <a:latin typeface="+mn-lt"/>
                <a:ea typeface="+mn-ea"/>
                <a:cs typeface="+mn-cs"/>
              </a:defRPr>
            </a:lvl4pPr>
            <a:lvl5pPr marL="898525" indent="-180975" algn="l" defTabSz="914400" rtl="0" eaLnBrk="1" latinLnBrk="0" hangingPunct="1">
              <a:lnSpc>
                <a:spcPct val="130000"/>
              </a:lnSpc>
              <a:spcBef>
                <a:spcPts val="300"/>
              </a:spcBef>
              <a:spcAft>
                <a:spcPts val="300"/>
              </a:spcAft>
              <a:buClr>
                <a:schemeClr val="tx2"/>
              </a:buClr>
              <a:buSzPct val="105000"/>
              <a:buFont typeface="Arial" panose="020B0604020202020204" pitchFamily="34" charset="0"/>
              <a:buChar char="•"/>
              <a:defRPr lang="en-US" sz="105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2">
              <a:buClr>
                <a:schemeClr val="tx1"/>
              </a:buClr>
            </a:pPr>
            <a:r>
              <a:rPr lang="en-US" dirty="0"/>
              <a:t>Capital markets (equity and debt, including IPOs and secondary fundraisings)</a:t>
            </a:r>
          </a:p>
          <a:p>
            <a:pPr lvl="2">
              <a:buClr>
                <a:schemeClr val="tx1"/>
              </a:buClr>
            </a:pPr>
            <a:r>
              <a:rPr lang="en-US" dirty="0"/>
              <a:t>Corporate governance and </a:t>
            </a:r>
            <a:br>
              <a:rPr lang="en-US" dirty="0"/>
            </a:br>
            <a:r>
              <a:rPr lang="en-US" dirty="0"/>
              <a:t>compliance</a:t>
            </a:r>
          </a:p>
          <a:p>
            <a:pPr lvl="2">
              <a:buClr>
                <a:schemeClr val="tx1"/>
              </a:buClr>
            </a:pPr>
            <a:r>
              <a:rPr lang="en-US" dirty="0"/>
              <a:t>Corporate insurance transactions</a:t>
            </a:r>
          </a:p>
          <a:p>
            <a:pPr lvl="2">
              <a:buClr>
                <a:schemeClr val="tx1"/>
              </a:buClr>
            </a:pPr>
            <a:r>
              <a:rPr lang="en-US" dirty="0"/>
              <a:t>Corporate simplification and restructuring</a:t>
            </a:r>
          </a:p>
          <a:p>
            <a:pPr lvl="2">
              <a:buClr>
                <a:schemeClr val="tx1"/>
              </a:buClr>
            </a:pPr>
            <a:r>
              <a:rPr lang="en-US" dirty="0"/>
              <a:t>Disposals</a:t>
            </a:r>
          </a:p>
          <a:p>
            <a:pPr lvl="2">
              <a:buClr>
                <a:schemeClr val="tx1"/>
              </a:buClr>
            </a:pPr>
            <a:r>
              <a:rPr lang="en-US" dirty="0"/>
              <a:t>JVs</a:t>
            </a:r>
          </a:p>
          <a:p>
            <a:pPr lvl="2">
              <a:buClr>
                <a:schemeClr val="tx1"/>
              </a:buClr>
            </a:pPr>
            <a:r>
              <a:rPr lang="en-US" dirty="0"/>
              <a:t>Public/private M&amp;A</a:t>
            </a:r>
          </a:p>
        </p:txBody>
      </p:sp>
      <p:sp>
        <p:nvSpPr>
          <p:cNvPr id="20" name="Content Placeholder 78">
            <a:extLst>
              <a:ext uri="{FF2B5EF4-FFF2-40B4-BE49-F238E27FC236}">
                <a16:creationId xmlns:a16="http://schemas.microsoft.com/office/drawing/2014/main" id="{EC447A09-E145-F1DE-19CE-0D6E32F9FA96}"/>
              </a:ext>
            </a:extLst>
          </p:cNvPr>
          <p:cNvSpPr txBox="1">
            <a:spLocks/>
          </p:cNvSpPr>
          <p:nvPr userDrawn="1"/>
        </p:nvSpPr>
        <p:spPr>
          <a:xfrm>
            <a:off x="8755064" y="1098547"/>
            <a:ext cx="2946399" cy="365761"/>
          </a:xfrm>
          <a:prstGeom prst="rect">
            <a:avLst/>
          </a:prstGeom>
        </p:spPr>
        <p:txBody>
          <a:bodyPr vert="horz" lIns="0" tIns="45720" rIns="0" bIns="45720" rtlCol="0">
            <a:normAutofit/>
          </a:bodyPr>
          <a:lstStyle>
            <a:lvl1pPr marL="0" indent="0" algn="l" defTabSz="914400" rtl="0" eaLnBrk="1" latinLnBrk="0" hangingPunct="1">
              <a:lnSpc>
                <a:spcPct val="130000"/>
              </a:lnSpc>
              <a:spcBef>
                <a:spcPts val="300"/>
              </a:spcBef>
              <a:spcAft>
                <a:spcPts val="300"/>
              </a:spcAft>
              <a:buFont typeface="Arial" panose="020B0604020202020204" pitchFamily="34" charset="0"/>
              <a:buNone/>
              <a:defRPr sz="1400" kern="1200" cap="all" baseline="0">
                <a:solidFill>
                  <a:schemeClr val="tx2"/>
                </a:solidFill>
                <a:latin typeface="+mj-lt"/>
                <a:ea typeface="+mn-ea"/>
                <a:cs typeface="+mn-cs"/>
              </a:defRPr>
            </a:lvl1pPr>
            <a:lvl2pPr marL="0" indent="0" algn="l" defTabSz="914400" rtl="0" eaLnBrk="1" latinLnBrk="0" hangingPunct="1">
              <a:lnSpc>
                <a:spcPct val="130000"/>
              </a:lnSpc>
              <a:spcBef>
                <a:spcPts val="300"/>
              </a:spcBef>
              <a:spcAft>
                <a:spcPts val="300"/>
              </a:spcAft>
              <a:buFont typeface="Arial" panose="020B0604020202020204" pitchFamily="34" charset="0"/>
              <a:buNone/>
              <a:defRPr sz="1100" kern="1200">
                <a:solidFill>
                  <a:schemeClr val="tx1"/>
                </a:solidFill>
                <a:latin typeface="+mn-lt"/>
                <a:ea typeface="+mn-ea"/>
                <a:cs typeface="+mn-cs"/>
              </a:defRPr>
            </a:lvl2pPr>
            <a:lvl3pPr marL="180975" indent="-180975" algn="l" defTabSz="914400" rtl="0" eaLnBrk="1" latinLnBrk="0" hangingPunct="1">
              <a:lnSpc>
                <a:spcPct val="130000"/>
              </a:lnSpc>
              <a:spcBef>
                <a:spcPts val="300"/>
              </a:spcBef>
              <a:spcAft>
                <a:spcPts val="300"/>
              </a:spcAft>
              <a:buClr>
                <a:schemeClr val="tx2"/>
              </a:buClr>
              <a:buSzPct val="105000"/>
              <a:buFont typeface="Arial" panose="020B0604020202020204" pitchFamily="34" charset="0"/>
              <a:buChar char="•"/>
              <a:defRPr sz="1100" kern="1200">
                <a:solidFill>
                  <a:schemeClr val="tx1"/>
                </a:solidFill>
                <a:latin typeface="+mn-lt"/>
                <a:ea typeface="+mn-ea"/>
                <a:cs typeface="+mn-cs"/>
              </a:defRPr>
            </a:lvl3pPr>
            <a:lvl4pPr marL="539750" indent="-180975" algn="l" defTabSz="914400" rtl="0" eaLnBrk="1" latinLnBrk="0" hangingPunct="1">
              <a:lnSpc>
                <a:spcPct val="130000"/>
              </a:lnSpc>
              <a:spcBef>
                <a:spcPts val="300"/>
              </a:spcBef>
              <a:spcAft>
                <a:spcPts val="300"/>
              </a:spcAft>
              <a:buClr>
                <a:schemeClr val="tx2"/>
              </a:buClr>
              <a:buSzPct val="105000"/>
              <a:buFont typeface="Arial" panose="020B0604020202020204" pitchFamily="34" charset="0"/>
              <a:buChar char="•"/>
              <a:defRPr sz="1050" kern="1200">
                <a:solidFill>
                  <a:schemeClr val="tx1"/>
                </a:solidFill>
                <a:latin typeface="+mn-lt"/>
                <a:ea typeface="+mn-ea"/>
                <a:cs typeface="+mn-cs"/>
              </a:defRPr>
            </a:lvl4pPr>
            <a:lvl5pPr marL="898525" indent="-180975" algn="l" defTabSz="914400" rtl="0" eaLnBrk="1" latinLnBrk="0" hangingPunct="1">
              <a:lnSpc>
                <a:spcPct val="130000"/>
              </a:lnSpc>
              <a:spcBef>
                <a:spcPts val="300"/>
              </a:spcBef>
              <a:spcAft>
                <a:spcPts val="300"/>
              </a:spcAft>
              <a:buClr>
                <a:schemeClr val="tx2"/>
              </a:buClr>
              <a:buSzPct val="105000"/>
              <a:buFont typeface="Arial" panose="020B0604020202020204" pitchFamily="34" charset="0"/>
              <a:buChar char="•"/>
              <a:defRPr sz="105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OUR PRACTICE</a:t>
            </a:r>
            <a:endParaRPr lang="en-GB" dirty="0"/>
          </a:p>
        </p:txBody>
      </p:sp>
      <p:sp>
        <p:nvSpPr>
          <p:cNvPr id="24" name="Text Placeholder 18">
            <a:extLst>
              <a:ext uri="{FF2B5EF4-FFF2-40B4-BE49-F238E27FC236}">
                <a16:creationId xmlns:a16="http://schemas.microsoft.com/office/drawing/2014/main" id="{343D304B-5755-33C8-57B8-EB513241D2B2}"/>
              </a:ext>
            </a:extLst>
          </p:cNvPr>
          <p:cNvSpPr txBox="1">
            <a:spLocks/>
          </p:cNvSpPr>
          <p:nvPr userDrawn="1"/>
        </p:nvSpPr>
        <p:spPr>
          <a:xfrm>
            <a:off x="508000" y="5334846"/>
            <a:ext cx="7127876" cy="681779"/>
          </a:xfrm>
          <a:prstGeom prst="rect">
            <a:avLst/>
          </a:prstGeom>
        </p:spPr>
        <p:txBody>
          <a:bodyPr vert="horz" lIns="0" tIns="45720" rIns="0" bIns="0" rtlCol="0" anchor="b" anchorCtr="0">
            <a:noAutofit/>
          </a:bodyPr>
          <a:lstStyle>
            <a:lvl1pPr marL="108000" indent="-108000" algn="l" defTabSz="914400" rtl="0" eaLnBrk="1" latinLnBrk="0" hangingPunct="1">
              <a:lnSpc>
                <a:spcPct val="110000"/>
              </a:lnSpc>
              <a:spcBef>
                <a:spcPts val="0"/>
              </a:spcBef>
              <a:spcAft>
                <a:spcPts val="0"/>
              </a:spcAft>
              <a:buFont typeface="Arial" panose="020B0604020202020204" pitchFamily="34" charset="0"/>
              <a:buNone/>
              <a:defRPr lang="en-US" sz="2000" kern="1200" dirty="0">
                <a:solidFill>
                  <a:schemeClr val="accent3"/>
                </a:solidFill>
                <a:latin typeface="+mj-lt"/>
                <a:ea typeface="+mn-ea"/>
                <a:cs typeface="+mn-cs"/>
              </a:defRPr>
            </a:lvl1pPr>
            <a:lvl2pPr marL="0" indent="0" algn="l" defTabSz="914400" rtl="0" eaLnBrk="1" latinLnBrk="0" hangingPunct="1">
              <a:lnSpc>
                <a:spcPct val="130000"/>
              </a:lnSpc>
              <a:spcBef>
                <a:spcPts val="300"/>
              </a:spcBef>
              <a:spcAft>
                <a:spcPts val="300"/>
              </a:spcAft>
              <a:buFont typeface="Arial" panose="020B0604020202020204" pitchFamily="34" charset="0"/>
              <a:buNone/>
              <a:defRPr lang="en-US" sz="1400" kern="1200" dirty="0">
                <a:solidFill>
                  <a:schemeClr val="tx2"/>
                </a:solidFill>
                <a:latin typeface="+mj-lt"/>
                <a:ea typeface="+mn-ea"/>
                <a:cs typeface="+mn-cs"/>
              </a:defRPr>
            </a:lvl2pPr>
            <a:lvl3pPr marL="180975" indent="-180975" algn="l" defTabSz="914400" rtl="0" eaLnBrk="1" latinLnBrk="0" hangingPunct="1">
              <a:lnSpc>
                <a:spcPct val="130000"/>
              </a:lnSpc>
              <a:spcBef>
                <a:spcPts val="300"/>
              </a:spcBef>
              <a:spcAft>
                <a:spcPts val="300"/>
              </a:spcAft>
              <a:buClr>
                <a:schemeClr val="tx2"/>
              </a:buClr>
              <a:buSzPct val="105000"/>
              <a:buFont typeface="Arial" panose="020B0604020202020204" pitchFamily="34" charset="0"/>
              <a:buChar char="•"/>
              <a:defRPr sz="1100" kern="1200">
                <a:solidFill>
                  <a:schemeClr val="tx1"/>
                </a:solidFill>
                <a:latin typeface="+mn-lt"/>
                <a:ea typeface="+mn-ea"/>
                <a:cs typeface="+mn-cs"/>
              </a:defRPr>
            </a:lvl3pPr>
            <a:lvl4pPr marL="539750" indent="-180975" algn="l" defTabSz="914400" rtl="0" eaLnBrk="1" latinLnBrk="0" hangingPunct="1">
              <a:lnSpc>
                <a:spcPct val="130000"/>
              </a:lnSpc>
              <a:spcBef>
                <a:spcPts val="300"/>
              </a:spcBef>
              <a:spcAft>
                <a:spcPts val="300"/>
              </a:spcAft>
              <a:buClr>
                <a:schemeClr val="tx2"/>
              </a:buClr>
              <a:buSzPct val="105000"/>
              <a:buFont typeface="Arial" panose="020B0604020202020204" pitchFamily="34" charset="0"/>
              <a:buChar char="•"/>
              <a:defRPr sz="1050" kern="1200">
                <a:solidFill>
                  <a:schemeClr val="tx1"/>
                </a:solidFill>
                <a:latin typeface="+mn-lt"/>
                <a:ea typeface="+mn-ea"/>
                <a:cs typeface="+mn-cs"/>
              </a:defRPr>
            </a:lvl4pPr>
            <a:lvl5pPr marL="898525" indent="-180975" algn="l" defTabSz="914400" rtl="0" eaLnBrk="1" latinLnBrk="0" hangingPunct="1">
              <a:lnSpc>
                <a:spcPct val="130000"/>
              </a:lnSpc>
              <a:spcBef>
                <a:spcPts val="300"/>
              </a:spcBef>
              <a:spcAft>
                <a:spcPts val="300"/>
              </a:spcAft>
              <a:buClr>
                <a:schemeClr val="tx2"/>
              </a:buClr>
              <a:buSzPct val="105000"/>
              <a:buFont typeface="Arial" panose="020B0604020202020204" pitchFamily="34" charset="0"/>
              <a:buChar char="•"/>
              <a:defRPr sz="105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accent2"/>
                </a:solidFill>
              </a:rPr>
              <a:t>“Very market oriented – </a:t>
            </a:r>
            <a:br>
              <a:rPr lang="en-GB" dirty="0">
                <a:solidFill>
                  <a:schemeClr val="accent2"/>
                </a:solidFill>
              </a:rPr>
            </a:br>
            <a:r>
              <a:rPr lang="en-GB" dirty="0">
                <a:solidFill>
                  <a:schemeClr val="accent2"/>
                </a:solidFill>
              </a:rPr>
              <a:t>they are outstanding.”</a:t>
            </a:r>
          </a:p>
        </p:txBody>
      </p:sp>
      <p:sp>
        <p:nvSpPr>
          <p:cNvPr id="25" name="Text Placeholder 19">
            <a:extLst>
              <a:ext uri="{FF2B5EF4-FFF2-40B4-BE49-F238E27FC236}">
                <a16:creationId xmlns:a16="http://schemas.microsoft.com/office/drawing/2014/main" id="{81B002E7-4B60-BB45-BF28-565D1FE11C77}"/>
              </a:ext>
            </a:extLst>
          </p:cNvPr>
          <p:cNvSpPr txBox="1">
            <a:spLocks/>
          </p:cNvSpPr>
          <p:nvPr userDrawn="1"/>
        </p:nvSpPr>
        <p:spPr>
          <a:xfrm>
            <a:off x="508000" y="6047121"/>
            <a:ext cx="7127876" cy="215444"/>
          </a:xfrm>
          <a:prstGeom prst="rect">
            <a:avLst/>
          </a:prstGeom>
        </p:spPr>
        <p:txBody>
          <a:bodyPr vert="horz" wrap="square" lIns="0" tIns="0" rIns="0" bIns="0" rtlCol="0" anchor="b" anchorCtr="0">
            <a:spAutoFit/>
          </a:bodyPr>
          <a:lstStyle>
            <a:lvl1pPr marL="108000" indent="0" algn="l" defTabSz="914400" rtl="0" eaLnBrk="1" latinLnBrk="0" hangingPunct="1">
              <a:lnSpc>
                <a:spcPct val="100000"/>
              </a:lnSpc>
              <a:spcBef>
                <a:spcPts val="300"/>
              </a:spcBef>
              <a:spcAft>
                <a:spcPts val="300"/>
              </a:spcAft>
              <a:buFont typeface="Arial" panose="020B0604020202020204" pitchFamily="34" charset="0"/>
              <a:buNone/>
              <a:defRPr sz="1400" kern="1200" cap="all" baseline="0">
                <a:solidFill>
                  <a:schemeClr val="tx2"/>
                </a:solidFill>
                <a:latin typeface="+mj-lt"/>
                <a:ea typeface="+mn-ea"/>
                <a:cs typeface="+mn-cs"/>
              </a:defRPr>
            </a:lvl1pPr>
            <a:lvl2pPr marL="108000" indent="0" algn="l" defTabSz="914400" rtl="0" eaLnBrk="1" latinLnBrk="0" hangingPunct="1">
              <a:lnSpc>
                <a:spcPct val="100000"/>
              </a:lnSpc>
              <a:spcBef>
                <a:spcPts val="300"/>
              </a:spcBef>
              <a:spcAft>
                <a:spcPts val="300"/>
              </a:spcAft>
              <a:buFont typeface="Arial" panose="020B0604020202020204" pitchFamily="34" charset="0"/>
              <a:buNone/>
              <a:defRPr sz="1400" kern="1200" cap="all" baseline="0">
                <a:solidFill>
                  <a:schemeClr val="tx2"/>
                </a:solidFill>
                <a:latin typeface="+mj-lt"/>
                <a:ea typeface="+mn-ea"/>
                <a:cs typeface="+mn-cs"/>
              </a:defRPr>
            </a:lvl2pPr>
            <a:lvl3pPr marL="108000" indent="-180975" algn="l" defTabSz="914400" rtl="0" eaLnBrk="1" latinLnBrk="0" hangingPunct="1">
              <a:lnSpc>
                <a:spcPct val="100000"/>
              </a:lnSpc>
              <a:spcBef>
                <a:spcPts val="300"/>
              </a:spcBef>
              <a:spcAft>
                <a:spcPts val="300"/>
              </a:spcAft>
              <a:buClr>
                <a:schemeClr val="tx2"/>
              </a:buClr>
              <a:buSzPct val="105000"/>
              <a:buFont typeface="Arial" panose="020B0604020202020204" pitchFamily="34" charset="0"/>
              <a:buChar char="•"/>
              <a:defRPr sz="1400" kern="1200" cap="all" baseline="0">
                <a:solidFill>
                  <a:schemeClr val="tx2"/>
                </a:solidFill>
                <a:latin typeface="+mj-lt"/>
                <a:ea typeface="+mn-ea"/>
                <a:cs typeface="+mn-cs"/>
              </a:defRPr>
            </a:lvl3pPr>
            <a:lvl4pPr marL="108000" indent="-180975" algn="l" defTabSz="914400" rtl="0" eaLnBrk="1" latinLnBrk="0" hangingPunct="1">
              <a:lnSpc>
                <a:spcPct val="100000"/>
              </a:lnSpc>
              <a:spcBef>
                <a:spcPts val="300"/>
              </a:spcBef>
              <a:spcAft>
                <a:spcPts val="300"/>
              </a:spcAft>
              <a:buClr>
                <a:schemeClr val="tx2"/>
              </a:buClr>
              <a:buSzPct val="105000"/>
              <a:buFont typeface="Arial" panose="020B0604020202020204" pitchFamily="34" charset="0"/>
              <a:buChar char="•"/>
              <a:defRPr sz="1400" kern="1200" cap="all" baseline="0">
                <a:solidFill>
                  <a:schemeClr val="tx2"/>
                </a:solidFill>
                <a:latin typeface="+mj-lt"/>
                <a:ea typeface="+mn-ea"/>
                <a:cs typeface="+mn-cs"/>
              </a:defRPr>
            </a:lvl4pPr>
            <a:lvl5pPr marL="108000" indent="-180975" algn="l" defTabSz="914400" rtl="0" eaLnBrk="1" latinLnBrk="0" hangingPunct="1">
              <a:lnSpc>
                <a:spcPct val="100000"/>
              </a:lnSpc>
              <a:spcBef>
                <a:spcPts val="300"/>
              </a:spcBef>
              <a:spcAft>
                <a:spcPts val="300"/>
              </a:spcAft>
              <a:buClr>
                <a:schemeClr val="tx2"/>
              </a:buClr>
              <a:buSzPct val="105000"/>
              <a:buFont typeface="Arial" panose="020B0604020202020204" pitchFamily="34" charset="0"/>
              <a:buChar char="•"/>
              <a:defRPr sz="1400" kern="1200" cap="all" baseline="0">
                <a:solidFill>
                  <a:schemeClr val="tx2"/>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a:t>FINANCE CLIENT TESTIMONIAL – CHAMBERS</a:t>
            </a:r>
            <a:endParaRPr lang="en-GB" dirty="0"/>
          </a:p>
        </p:txBody>
      </p:sp>
    </p:spTree>
    <p:extLst>
      <p:ext uri="{BB962C8B-B14F-4D97-AF65-F5344CB8AC3E}">
        <p14:creationId xmlns:p14="http://schemas.microsoft.com/office/powerpoint/2010/main" val="1330119935"/>
      </p:ext>
    </p:extLst>
  </p:cSld>
  <p:clrMapOvr>
    <a:masterClrMapping/>
  </p:clrMapOvr>
  <p:transition spd="med">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DISPUTE RESOLUTION - Boilerplat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261A4C7-E98D-3660-5C37-C13B3A230A80}"/>
              </a:ext>
            </a:extLst>
          </p:cNvPr>
          <p:cNvSpPr/>
          <p:nvPr userDrawn="1"/>
        </p:nvSpPr>
        <p:spPr>
          <a:xfrm>
            <a:off x="8126413" y="0"/>
            <a:ext cx="4065587"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Footer Placeholder 4"/>
          <p:cNvSpPr>
            <a:spLocks noGrp="1"/>
          </p:cNvSpPr>
          <p:nvPr userDrawn="1">
            <p:ph type="ftr" sz="quarter" idx="11"/>
          </p:nvPr>
        </p:nvSpPr>
        <p:spPr/>
        <p:txBody>
          <a:bodyPr/>
          <a:lstStyle/>
          <a:p>
            <a:r>
              <a:rPr lang="en-GB"/>
              <a:t>INSERT FOOTER HERE</a:t>
            </a:r>
          </a:p>
        </p:txBody>
      </p:sp>
      <p:sp>
        <p:nvSpPr>
          <p:cNvPr id="6" name="Slide Number Placeholder 5"/>
          <p:cNvSpPr>
            <a:spLocks noGrp="1"/>
          </p:cNvSpPr>
          <p:nvPr userDrawn="1">
            <p:ph type="sldNum" sz="quarter" idx="12"/>
          </p:nvPr>
        </p:nvSpPr>
        <p:spPr/>
        <p:txBody>
          <a:bodyPr/>
          <a:lstStyle>
            <a:lvl1pPr>
              <a:defRPr>
                <a:solidFill>
                  <a:schemeClr val="tx1"/>
                </a:solidFill>
              </a:defRPr>
            </a:lvl1pPr>
          </a:lstStyle>
          <a:p>
            <a:fld id="{8CFE0557-AA98-4E6C-B0C3-581794696B68}" type="slidenum">
              <a:rPr lang="en-GB" smtClean="0"/>
              <a:pPr/>
              <a:t>‹#›</a:t>
            </a:fld>
            <a:endParaRPr lang="en-GB" dirty="0"/>
          </a:p>
        </p:txBody>
      </p:sp>
      <p:sp>
        <p:nvSpPr>
          <p:cNvPr id="3" name="Title 3">
            <a:extLst>
              <a:ext uri="{FF2B5EF4-FFF2-40B4-BE49-F238E27FC236}">
                <a16:creationId xmlns:a16="http://schemas.microsoft.com/office/drawing/2014/main" id="{C3707BBE-F8C2-9986-1A8F-9666AD5EC096}"/>
              </a:ext>
            </a:extLst>
          </p:cNvPr>
          <p:cNvSpPr txBox="1">
            <a:spLocks/>
          </p:cNvSpPr>
          <p:nvPr userDrawn="1"/>
        </p:nvSpPr>
        <p:spPr>
          <a:xfrm>
            <a:off x="508000" y="454014"/>
            <a:ext cx="7134225" cy="669934"/>
          </a:xfrm>
          <a:prstGeom prst="rect">
            <a:avLst/>
          </a:prstGeom>
        </p:spPr>
        <p:txBody>
          <a:bodyPr vert="horz" lIns="0" tIns="0" rIns="0" bIns="72000" rtlCol="0" anchor="t" anchorCtr="0">
            <a:noAutofit/>
          </a:bodyPr>
          <a:lstStyle>
            <a:lvl1pPr algn="l" defTabSz="914400" rtl="0" eaLnBrk="1" latinLnBrk="0" hangingPunct="1">
              <a:lnSpc>
                <a:spcPct val="90000"/>
              </a:lnSpc>
              <a:spcBef>
                <a:spcPct val="0"/>
              </a:spcBef>
              <a:buNone/>
              <a:defRPr sz="3200" kern="1200" cap="all" baseline="0">
                <a:solidFill>
                  <a:schemeClr val="tx2"/>
                </a:solidFill>
                <a:latin typeface="+mn-lt"/>
                <a:ea typeface="+mj-ea"/>
                <a:cs typeface="+mj-cs"/>
              </a:defRPr>
            </a:lvl1pPr>
          </a:lstStyle>
          <a:p>
            <a:r>
              <a:rPr lang="en-US" dirty="0"/>
              <a:t>DISPUTE RESOLUTION</a:t>
            </a:r>
            <a:endParaRPr lang="en-GB" dirty="0"/>
          </a:p>
        </p:txBody>
      </p:sp>
      <p:sp>
        <p:nvSpPr>
          <p:cNvPr id="7" name="TextBox 6">
            <a:extLst>
              <a:ext uri="{FF2B5EF4-FFF2-40B4-BE49-F238E27FC236}">
                <a16:creationId xmlns:a16="http://schemas.microsoft.com/office/drawing/2014/main" id="{BD678108-0AEA-3AE9-BD3D-097F233A58C0}"/>
              </a:ext>
            </a:extLst>
          </p:cNvPr>
          <p:cNvSpPr txBox="1"/>
          <p:nvPr userDrawn="1"/>
        </p:nvSpPr>
        <p:spPr>
          <a:xfrm>
            <a:off x="504826" y="1123946"/>
            <a:ext cx="7183961" cy="1027119"/>
          </a:xfrm>
          <a:prstGeom prst="rect">
            <a:avLst/>
          </a:prstGeom>
        </p:spPr>
        <p:txBody>
          <a:bodyPr vert="horz" wrap="square" lIns="0" tIns="45720" rIns="0" bIns="45720" rtlCol="0">
            <a:noAutofit/>
          </a:bodyPr>
          <a:lstStyle/>
          <a:p>
            <a:pPr marL="0" lvl="0" indent="0" algn="l" defTabSz="914400" rtl="0" eaLnBrk="1" latinLnBrk="0" hangingPunct="1">
              <a:lnSpc>
                <a:spcPct val="110000"/>
              </a:lnSpc>
              <a:spcBef>
                <a:spcPts val="300"/>
              </a:spcBef>
              <a:spcAft>
                <a:spcPts val="300"/>
              </a:spcAft>
              <a:buFont typeface="Arial" panose="020B0604020202020204" pitchFamily="34" charset="0"/>
              <a:buNone/>
            </a:pPr>
            <a:r>
              <a:rPr lang="en-US" sz="2000" kern="1200" dirty="0">
                <a:solidFill>
                  <a:schemeClr val="accent2"/>
                </a:solidFill>
                <a:latin typeface="+mj-lt"/>
                <a:ea typeface="+mn-ea"/>
                <a:cs typeface="+mn-cs"/>
              </a:rPr>
              <a:t>As a leading global disputes firm, around two-thirds of our business is contentious matters, including litigation, international arbitration, mediation and alternative forms of dispute resolution.</a:t>
            </a:r>
          </a:p>
        </p:txBody>
      </p:sp>
      <p:sp>
        <p:nvSpPr>
          <p:cNvPr id="10" name="TextBox 9">
            <a:extLst>
              <a:ext uri="{FF2B5EF4-FFF2-40B4-BE49-F238E27FC236}">
                <a16:creationId xmlns:a16="http://schemas.microsoft.com/office/drawing/2014/main" id="{12754B59-8BC6-79B9-F2AC-33CA58AACA6B}"/>
              </a:ext>
            </a:extLst>
          </p:cNvPr>
          <p:cNvSpPr txBox="1"/>
          <p:nvPr userDrawn="1"/>
        </p:nvSpPr>
        <p:spPr>
          <a:xfrm>
            <a:off x="504826" y="2195825"/>
            <a:ext cx="3403599" cy="4022429"/>
          </a:xfrm>
          <a:prstGeom prst="rect">
            <a:avLst/>
          </a:prstGeom>
        </p:spPr>
        <p:txBody>
          <a:bodyPr vert="horz" lIns="0" tIns="45720" rIns="0" bIns="45720" rtlCol="0">
            <a:normAutofit/>
          </a:bodyPr>
          <a:lstStyle>
            <a:lvl1pPr indent="0" defTabSz="914400">
              <a:lnSpc>
                <a:spcPct val="130000"/>
              </a:lnSpc>
              <a:spcBef>
                <a:spcPts val="300"/>
              </a:spcBef>
              <a:spcAft>
                <a:spcPts val="300"/>
              </a:spcAft>
              <a:buFont typeface="Arial" panose="020B0604020202020204" pitchFamily="34" charset="0"/>
              <a:buNone/>
              <a:defRPr sz="1400">
                <a:solidFill>
                  <a:schemeClr val="tx2"/>
                </a:solidFill>
                <a:latin typeface="+mj-lt"/>
              </a:defRPr>
            </a:lvl1pPr>
            <a:lvl2pPr marL="0" lvl="1" indent="0" defTabSz="914400">
              <a:lnSpc>
                <a:spcPct val="130000"/>
              </a:lnSpc>
              <a:spcBef>
                <a:spcPts val="300"/>
              </a:spcBef>
              <a:spcAft>
                <a:spcPts val="300"/>
              </a:spcAft>
              <a:buFont typeface="Arial" panose="020B0604020202020204" pitchFamily="34" charset="0"/>
              <a:buNone/>
              <a:defRPr sz="1100"/>
            </a:lvl2pPr>
            <a:lvl3pPr marL="180975" indent="-180975" defTabSz="914400">
              <a:lnSpc>
                <a:spcPct val="130000"/>
              </a:lnSpc>
              <a:spcBef>
                <a:spcPts val="300"/>
              </a:spcBef>
              <a:spcAft>
                <a:spcPts val="300"/>
              </a:spcAft>
              <a:buClr>
                <a:schemeClr val="tx2"/>
              </a:buClr>
              <a:buSzPct val="105000"/>
              <a:buFont typeface="Arial" panose="020B0604020202020204" pitchFamily="34" charset="0"/>
              <a:buChar char="•"/>
              <a:defRPr sz="1100"/>
            </a:lvl3pPr>
            <a:lvl4pPr marL="539750" indent="-180975" defTabSz="914400">
              <a:lnSpc>
                <a:spcPct val="130000"/>
              </a:lnSpc>
              <a:spcBef>
                <a:spcPts val="300"/>
              </a:spcBef>
              <a:spcAft>
                <a:spcPts val="300"/>
              </a:spcAft>
              <a:buClr>
                <a:schemeClr val="tx2"/>
              </a:buClr>
              <a:buSzPct val="105000"/>
              <a:buFont typeface="Arial" panose="020B0604020202020204" pitchFamily="34" charset="0"/>
              <a:buChar char="•"/>
              <a:defRPr sz="1050"/>
            </a:lvl4pPr>
            <a:lvl5pPr marL="898525" indent="-180975" defTabSz="914400">
              <a:lnSpc>
                <a:spcPct val="130000"/>
              </a:lnSpc>
              <a:spcBef>
                <a:spcPts val="300"/>
              </a:spcBef>
              <a:spcAft>
                <a:spcPts val="300"/>
              </a:spcAft>
              <a:buClr>
                <a:schemeClr val="tx2"/>
              </a:buClr>
              <a:buSzPct val="105000"/>
              <a:buFont typeface="Arial" panose="020B0604020202020204" pitchFamily="34" charset="0"/>
              <a:buChar char="•"/>
              <a:defRPr sz="105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1"/>
            <a:endParaRPr lang="en-US" dirty="0"/>
          </a:p>
          <a:p>
            <a:pPr lvl="1"/>
            <a:endParaRPr lang="en-US" dirty="0"/>
          </a:p>
          <a:p>
            <a:pPr lvl="1"/>
            <a:r>
              <a:rPr lang="en-US" dirty="0"/>
              <a:t>We have more than 350 disputes lawyers across the Americas, Europe the Middle East and Asia Pacific, </a:t>
            </a:r>
            <a:r>
              <a:rPr lang="en-US" dirty="0" err="1"/>
              <a:t>specialising</a:t>
            </a:r>
            <a:r>
              <a:rPr lang="en-US" dirty="0"/>
              <a:t> in high-value, complex, multi-party and multi-jurisdictional disputes, with a particular focus on commercial litigation, fraud and asset recovery, insolvency, investigations, and enforcement actions.</a:t>
            </a:r>
          </a:p>
        </p:txBody>
      </p:sp>
      <p:sp>
        <p:nvSpPr>
          <p:cNvPr id="11" name="TextBox 10">
            <a:extLst>
              <a:ext uri="{FF2B5EF4-FFF2-40B4-BE49-F238E27FC236}">
                <a16:creationId xmlns:a16="http://schemas.microsoft.com/office/drawing/2014/main" id="{894F8806-1066-CED5-541E-B865188B52BB}"/>
              </a:ext>
            </a:extLst>
          </p:cNvPr>
          <p:cNvSpPr txBox="1"/>
          <p:nvPr userDrawn="1"/>
        </p:nvSpPr>
        <p:spPr>
          <a:xfrm>
            <a:off x="4233546" y="2195825"/>
            <a:ext cx="3403599" cy="4022429"/>
          </a:xfrm>
          <a:prstGeom prst="rect">
            <a:avLst/>
          </a:prstGeom>
        </p:spPr>
        <p:txBody>
          <a:bodyPr vert="horz" lIns="0" tIns="45720" rIns="0" bIns="45720" rtlCol="0">
            <a:normAutofit/>
          </a:bodyPr>
          <a:lstStyle>
            <a:lvl1pPr indent="0" defTabSz="914400">
              <a:lnSpc>
                <a:spcPct val="130000"/>
              </a:lnSpc>
              <a:spcBef>
                <a:spcPts val="300"/>
              </a:spcBef>
              <a:spcAft>
                <a:spcPts val="300"/>
              </a:spcAft>
              <a:buFont typeface="Arial" panose="020B0604020202020204" pitchFamily="34" charset="0"/>
              <a:buNone/>
              <a:defRPr sz="1400">
                <a:solidFill>
                  <a:schemeClr val="tx2"/>
                </a:solidFill>
                <a:latin typeface="+mj-lt"/>
              </a:defRPr>
            </a:lvl1pPr>
            <a:lvl2pPr marL="0" lvl="1" indent="0" defTabSz="914400">
              <a:lnSpc>
                <a:spcPct val="130000"/>
              </a:lnSpc>
              <a:spcBef>
                <a:spcPts val="300"/>
              </a:spcBef>
              <a:spcAft>
                <a:spcPts val="300"/>
              </a:spcAft>
              <a:buFont typeface="Arial" panose="020B0604020202020204" pitchFamily="34" charset="0"/>
              <a:buNone/>
              <a:defRPr sz="1100"/>
            </a:lvl2pPr>
            <a:lvl3pPr marL="180975" indent="-180975" defTabSz="914400">
              <a:lnSpc>
                <a:spcPct val="130000"/>
              </a:lnSpc>
              <a:spcBef>
                <a:spcPts val="300"/>
              </a:spcBef>
              <a:spcAft>
                <a:spcPts val="300"/>
              </a:spcAft>
              <a:buClr>
                <a:schemeClr val="tx2"/>
              </a:buClr>
              <a:buSzPct val="105000"/>
              <a:buFont typeface="Arial" panose="020B0604020202020204" pitchFamily="34" charset="0"/>
              <a:buChar char="•"/>
              <a:defRPr sz="1100"/>
            </a:lvl3pPr>
            <a:lvl4pPr marL="539750" indent="-180975" defTabSz="914400">
              <a:lnSpc>
                <a:spcPct val="130000"/>
              </a:lnSpc>
              <a:spcBef>
                <a:spcPts val="300"/>
              </a:spcBef>
              <a:spcAft>
                <a:spcPts val="300"/>
              </a:spcAft>
              <a:buClr>
                <a:schemeClr val="tx2"/>
              </a:buClr>
              <a:buSzPct val="105000"/>
              <a:buFont typeface="Arial" panose="020B0604020202020204" pitchFamily="34" charset="0"/>
              <a:buChar char="•"/>
              <a:defRPr sz="1050"/>
            </a:lvl4pPr>
            <a:lvl5pPr marL="898525" indent="-180975" defTabSz="914400">
              <a:lnSpc>
                <a:spcPct val="130000"/>
              </a:lnSpc>
              <a:spcBef>
                <a:spcPts val="300"/>
              </a:spcBef>
              <a:spcAft>
                <a:spcPts val="300"/>
              </a:spcAft>
              <a:buClr>
                <a:schemeClr val="tx2"/>
              </a:buClr>
              <a:buSzPct val="105000"/>
              <a:buFont typeface="Arial" panose="020B0604020202020204" pitchFamily="34" charset="0"/>
              <a:buChar char="•"/>
              <a:defRPr sz="105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1"/>
            <a:endParaRPr lang="en-US" dirty="0"/>
          </a:p>
          <a:p>
            <a:pPr lvl="1"/>
            <a:endParaRPr lang="en-US" dirty="0"/>
          </a:p>
          <a:p>
            <a:pPr lvl="1"/>
            <a:r>
              <a:rPr lang="en-US" dirty="0"/>
              <a:t>Our expertise spans a wide range of sectors and industries, including aviation, commodities, construction, energy, insurance and shipping.</a:t>
            </a:r>
          </a:p>
          <a:p>
            <a:pPr lvl="1"/>
            <a:r>
              <a:rPr lang="en-US" dirty="0"/>
              <a:t>We have a specialist funding committee that advises clients and our lawyers on the best approach to financing litigation and arbitration. Our strong relationships with brokers and funders means we can provide a seamless and efficient service. </a:t>
            </a:r>
            <a:endParaRPr lang="en-GB" dirty="0"/>
          </a:p>
        </p:txBody>
      </p:sp>
      <p:sp>
        <p:nvSpPr>
          <p:cNvPr id="18" name="Content Placeholder 6">
            <a:extLst>
              <a:ext uri="{FF2B5EF4-FFF2-40B4-BE49-F238E27FC236}">
                <a16:creationId xmlns:a16="http://schemas.microsoft.com/office/drawing/2014/main" id="{52475DE9-CB19-61DB-1E0C-FA7A0CCA4259}"/>
              </a:ext>
            </a:extLst>
          </p:cNvPr>
          <p:cNvSpPr txBox="1">
            <a:spLocks/>
          </p:cNvSpPr>
          <p:nvPr userDrawn="1"/>
        </p:nvSpPr>
        <p:spPr>
          <a:xfrm>
            <a:off x="8755064" y="1464308"/>
            <a:ext cx="2963863" cy="4755516"/>
          </a:xfrm>
          <a:prstGeom prst="rect">
            <a:avLst/>
          </a:prstGeom>
        </p:spPr>
        <p:txBody>
          <a:bodyPr vert="horz" lIns="0" tIns="45720" rIns="0" bIns="45720" rtlCol="0">
            <a:normAutofit/>
          </a:bodyPr>
          <a:lstStyle>
            <a:lvl1pPr marL="0" indent="0" algn="l" defTabSz="914400" rtl="0" eaLnBrk="1" latinLnBrk="0" hangingPunct="1">
              <a:lnSpc>
                <a:spcPct val="130000"/>
              </a:lnSpc>
              <a:spcBef>
                <a:spcPts val="300"/>
              </a:spcBef>
              <a:spcAft>
                <a:spcPts val="300"/>
              </a:spcAft>
              <a:buFont typeface="Arial" panose="020B0604020202020204" pitchFamily="34" charset="0"/>
              <a:buNone/>
              <a:defRPr lang="en-US" sz="1100" kern="1200" dirty="0">
                <a:solidFill>
                  <a:schemeClr val="tx1"/>
                </a:solidFill>
                <a:latin typeface="+mn-lt"/>
                <a:ea typeface="+mn-ea"/>
                <a:cs typeface="+mn-cs"/>
              </a:defRPr>
            </a:lvl1pPr>
            <a:lvl2pPr marL="0" indent="0" algn="l" defTabSz="914400" rtl="0" eaLnBrk="1" latinLnBrk="0" hangingPunct="1">
              <a:lnSpc>
                <a:spcPct val="130000"/>
              </a:lnSpc>
              <a:spcBef>
                <a:spcPts val="300"/>
              </a:spcBef>
              <a:spcAft>
                <a:spcPts val="300"/>
              </a:spcAft>
              <a:buFont typeface="Arial" panose="020B0604020202020204" pitchFamily="34" charset="0"/>
              <a:buNone/>
              <a:defRPr lang="en-US" sz="1100" kern="1200" dirty="0">
                <a:solidFill>
                  <a:schemeClr val="tx1"/>
                </a:solidFill>
                <a:latin typeface="+mn-lt"/>
                <a:ea typeface="+mn-ea"/>
                <a:cs typeface="+mn-cs"/>
              </a:defRPr>
            </a:lvl2pPr>
            <a:lvl3pPr marL="180975" indent="-180975" algn="l" defTabSz="914400" rtl="0" eaLnBrk="1" latinLnBrk="0" hangingPunct="1">
              <a:lnSpc>
                <a:spcPct val="130000"/>
              </a:lnSpc>
              <a:spcBef>
                <a:spcPts val="300"/>
              </a:spcBef>
              <a:spcAft>
                <a:spcPts val="300"/>
              </a:spcAft>
              <a:buClr>
                <a:schemeClr val="tx2"/>
              </a:buClr>
              <a:buSzPct val="105000"/>
              <a:buFont typeface="Arial" panose="020B0604020202020204" pitchFamily="34" charset="0"/>
              <a:buChar char="•"/>
              <a:defRPr lang="en-US" sz="1100" kern="1200" dirty="0">
                <a:solidFill>
                  <a:schemeClr val="tx1"/>
                </a:solidFill>
                <a:latin typeface="+mn-lt"/>
                <a:ea typeface="+mn-ea"/>
                <a:cs typeface="+mn-cs"/>
              </a:defRPr>
            </a:lvl3pPr>
            <a:lvl4pPr marL="539750" indent="-180975" algn="l" defTabSz="914400" rtl="0" eaLnBrk="1" latinLnBrk="0" hangingPunct="1">
              <a:lnSpc>
                <a:spcPct val="130000"/>
              </a:lnSpc>
              <a:spcBef>
                <a:spcPts val="300"/>
              </a:spcBef>
              <a:spcAft>
                <a:spcPts val="300"/>
              </a:spcAft>
              <a:buClr>
                <a:schemeClr val="tx2"/>
              </a:buClr>
              <a:buSzPct val="105000"/>
              <a:buFont typeface="Arial" panose="020B0604020202020204" pitchFamily="34" charset="0"/>
              <a:buChar char="•"/>
              <a:defRPr lang="en-US" sz="1050" kern="1200" dirty="0">
                <a:solidFill>
                  <a:schemeClr val="tx1"/>
                </a:solidFill>
                <a:latin typeface="+mn-lt"/>
                <a:ea typeface="+mn-ea"/>
                <a:cs typeface="+mn-cs"/>
              </a:defRPr>
            </a:lvl4pPr>
            <a:lvl5pPr marL="898525" indent="-180975" algn="l" defTabSz="914400" rtl="0" eaLnBrk="1" latinLnBrk="0" hangingPunct="1">
              <a:lnSpc>
                <a:spcPct val="130000"/>
              </a:lnSpc>
              <a:spcBef>
                <a:spcPts val="300"/>
              </a:spcBef>
              <a:spcAft>
                <a:spcPts val="300"/>
              </a:spcAft>
              <a:buClr>
                <a:schemeClr val="tx2"/>
              </a:buClr>
              <a:buSzPct val="105000"/>
              <a:buFont typeface="Arial" panose="020B0604020202020204" pitchFamily="34" charset="0"/>
              <a:buChar char="•"/>
              <a:defRPr lang="en-US" sz="105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2">
              <a:buClr>
                <a:schemeClr val="tx1"/>
              </a:buClr>
            </a:pPr>
            <a:r>
              <a:rPr lang="en-US" dirty="0"/>
              <a:t>Alternative dispute resolution</a:t>
            </a:r>
          </a:p>
          <a:p>
            <a:pPr lvl="2">
              <a:buClr>
                <a:schemeClr val="tx1"/>
              </a:buClr>
            </a:pPr>
            <a:r>
              <a:rPr lang="en-US" dirty="0"/>
              <a:t>Commercial litigation</a:t>
            </a:r>
          </a:p>
          <a:p>
            <a:pPr lvl="2">
              <a:buClr>
                <a:schemeClr val="tx1"/>
              </a:buClr>
            </a:pPr>
            <a:r>
              <a:rPr lang="en-US" dirty="0"/>
              <a:t>Corporate litigation</a:t>
            </a:r>
          </a:p>
          <a:p>
            <a:pPr lvl="2">
              <a:buClr>
                <a:schemeClr val="tx1"/>
              </a:buClr>
            </a:pPr>
            <a:r>
              <a:rPr lang="en-US" dirty="0"/>
              <a:t>Dispute funding</a:t>
            </a:r>
          </a:p>
          <a:p>
            <a:pPr lvl="2">
              <a:buClr>
                <a:schemeClr val="tx1"/>
              </a:buClr>
            </a:pPr>
            <a:r>
              <a:rPr lang="en-US" dirty="0"/>
              <a:t>Fraud and asset recovery</a:t>
            </a:r>
          </a:p>
          <a:p>
            <a:pPr lvl="2">
              <a:buClr>
                <a:schemeClr val="tx1"/>
              </a:buClr>
            </a:pPr>
            <a:r>
              <a:rPr lang="en-US" dirty="0"/>
              <a:t>Insolvency litigation</a:t>
            </a:r>
          </a:p>
          <a:p>
            <a:pPr lvl="2">
              <a:buClr>
                <a:schemeClr val="tx1"/>
              </a:buClr>
            </a:pPr>
            <a:r>
              <a:rPr lang="en-US" dirty="0"/>
              <a:t>International arbitration</a:t>
            </a:r>
          </a:p>
          <a:p>
            <a:pPr lvl="2">
              <a:buClr>
                <a:schemeClr val="tx1"/>
              </a:buClr>
            </a:pPr>
            <a:r>
              <a:rPr lang="en-US" dirty="0"/>
              <a:t>Regulated markets</a:t>
            </a:r>
          </a:p>
        </p:txBody>
      </p:sp>
      <p:sp>
        <p:nvSpPr>
          <p:cNvPr id="20" name="Content Placeholder 78">
            <a:extLst>
              <a:ext uri="{FF2B5EF4-FFF2-40B4-BE49-F238E27FC236}">
                <a16:creationId xmlns:a16="http://schemas.microsoft.com/office/drawing/2014/main" id="{EC447A09-E145-F1DE-19CE-0D6E32F9FA96}"/>
              </a:ext>
            </a:extLst>
          </p:cNvPr>
          <p:cNvSpPr txBox="1">
            <a:spLocks/>
          </p:cNvSpPr>
          <p:nvPr userDrawn="1"/>
        </p:nvSpPr>
        <p:spPr>
          <a:xfrm>
            <a:off x="8755064" y="1098547"/>
            <a:ext cx="2946399" cy="365761"/>
          </a:xfrm>
          <a:prstGeom prst="rect">
            <a:avLst/>
          </a:prstGeom>
        </p:spPr>
        <p:txBody>
          <a:bodyPr vert="horz" lIns="0" tIns="45720" rIns="0" bIns="45720" rtlCol="0">
            <a:normAutofit/>
          </a:bodyPr>
          <a:lstStyle>
            <a:lvl1pPr marL="0" indent="0" algn="l" defTabSz="914400" rtl="0" eaLnBrk="1" latinLnBrk="0" hangingPunct="1">
              <a:lnSpc>
                <a:spcPct val="130000"/>
              </a:lnSpc>
              <a:spcBef>
                <a:spcPts val="300"/>
              </a:spcBef>
              <a:spcAft>
                <a:spcPts val="300"/>
              </a:spcAft>
              <a:buFont typeface="Arial" panose="020B0604020202020204" pitchFamily="34" charset="0"/>
              <a:buNone/>
              <a:defRPr sz="1400" kern="1200" cap="all" baseline="0">
                <a:solidFill>
                  <a:schemeClr val="tx2"/>
                </a:solidFill>
                <a:latin typeface="+mj-lt"/>
                <a:ea typeface="+mn-ea"/>
                <a:cs typeface="+mn-cs"/>
              </a:defRPr>
            </a:lvl1pPr>
            <a:lvl2pPr marL="0" indent="0" algn="l" defTabSz="914400" rtl="0" eaLnBrk="1" latinLnBrk="0" hangingPunct="1">
              <a:lnSpc>
                <a:spcPct val="130000"/>
              </a:lnSpc>
              <a:spcBef>
                <a:spcPts val="300"/>
              </a:spcBef>
              <a:spcAft>
                <a:spcPts val="300"/>
              </a:spcAft>
              <a:buFont typeface="Arial" panose="020B0604020202020204" pitchFamily="34" charset="0"/>
              <a:buNone/>
              <a:defRPr sz="1100" kern="1200">
                <a:solidFill>
                  <a:schemeClr val="tx1"/>
                </a:solidFill>
                <a:latin typeface="+mn-lt"/>
                <a:ea typeface="+mn-ea"/>
                <a:cs typeface="+mn-cs"/>
              </a:defRPr>
            </a:lvl2pPr>
            <a:lvl3pPr marL="180975" indent="-180975" algn="l" defTabSz="914400" rtl="0" eaLnBrk="1" latinLnBrk="0" hangingPunct="1">
              <a:lnSpc>
                <a:spcPct val="130000"/>
              </a:lnSpc>
              <a:spcBef>
                <a:spcPts val="300"/>
              </a:spcBef>
              <a:spcAft>
                <a:spcPts val="300"/>
              </a:spcAft>
              <a:buClr>
                <a:schemeClr val="tx2"/>
              </a:buClr>
              <a:buSzPct val="105000"/>
              <a:buFont typeface="Arial" panose="020B0604020202020204" pitchFamily="34" charset="0"/>
              <a:buChar char="•"/>
              <a:defRPr sz="1100" kern="1200">
                <a:solidFill>
                  <a:schemeClr val="tx1"/>
                </a:solidFill>
                <a:latin typeface="+mn-lt"/>
                <a:ea typeface="+mn-ea"/>
                <a:cs typeface="+mn-cs"/>
              </a:defRPr>
            </a:lvl3pPr>
            <a:lvl4pPr marL="539750" indent="-180975" algn="l" defTabSz="914400" rtl="0" eaLnBrk="1" latinLnBrk="0" hangingPunct="1">
              <a:lnSpc>
                <a:spcPct val="130000"/>
              </a:lnSpc>
              <a:spcBef>
                <a:spcPts val="300"/>
              </a:spcBef>
              <a:spcAft>
                <a:spcPts val="300"/>
              </a:spcAft>
              <a:buClr>
                <a:schemeClr val="tx2"/>
              </a:buClr>
              <a:buSzPct val="105000"/>
              <a:buFont typeface="Arial" panose="020B0604020202020204" pitchFamily="34" charset="0"/>
              <a:buChar char="•"/>
              <a:defRPr sz="1050" kern="1200">
                <a:solidFill>
                  <a:schemeClr val="tx1"/>
                </a:solidFill>
                <a:latin typeface="+mn-lt"/>
                <a:ea typeface="+mn-ea"/>
                <a:cs typeface="+mn-cs"/>
              </a:defRPr>
            </a:lvl4pPr>
            <a:lvl5pPr marL="898525" indent="-180975" algn="l" defTabSz="914400" rtl="0" eaLnBrk="1" latinLnBrk="0" hangingPunct="1">
              <a:lnSpc>
                <a:spcPct val="130000"/>
              </a:lnSpc>
              <a:spcBef>
                <a:spcPts val="300"/>
              </a:spcBef>
              <a:spcAft>
                <a:spcPts val="300"/>
              </a:spcAft>
              <a:buClr>
                <a:schemeClr val="tx2"/>
              </a:buClr>
              <a:buSzPct val="105000"/>
              <a:buFont typeface="Arial" panose="020B0604020202020204" pitchFamily="34" charset="0"/>
              <a:buChar char="•"/>
              <a:defRPr sz="105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OUR PRACTICE</a:t>
            </a:r>
            <a:endParaRPr lang="en-GB" dirty="0"/>
          </a:p>
        </p:txBody>
      </p:sp>
      <p:sp>
        <p:nvSpPr>
          <p:cNvPr id="24" name="Text Placeholder 18">
            <a:extLst>
              <a:ext uri="{FF2B5EF4-FFF2-40B4-BE49-F238E27FC236}">
                <a16:creationId xmlns:a16="http://schemas.microsoft.com/office/drawing/2014/main" id="{343D304B-5755-33C8-57B8-EB513241D2B2}"/>
              </a:ext>
            </a:extLst>
          </p:cNvPr>
          <p:cNvSpPr txBox="1">
            <a:spLocks/>
          </p:cNvSpPr>
          <p:nvPr userDrawn="1"/>
        </p:nvSpPr>
        <p:spPr>
          <a:xfrm>
            <a:off x="508000" y="5334846"/>
            <a:ext cx="7127876" cy="681779"/>
          </a:xfrm>
          <a:prstGeom prst="rect">
            <a:avLst/>
          </a:prstGeom>
        </p:spPr>
        <p:txBody>
          <a:bodyPr vert="horz" lIns="0" tIns="45720" rIns="0" bIns="0" rtlCol="0" anchor="b" anchorCtr="0">
            <a:noAutofit/>
          </a:bodyPr>
          <a:lstStyle>
            <a:lvl1pPr marL="108000" indent="-108000" algn="l" defTabSz="914400" rtl="0" eaLnBrk="1" latinLnBrk="0" hangingPunct="1">
              <a:lnSpc>
                <a:spcPct val="110000"/>
              </a:lnSpc>
              <a:spcBef>
                <a:spcPts val="0"/>
              </a:spcBef>
              <a:spcAft>
                <a:spcPts val="0"/>
              </a:spcAft>
              <a:buFont typeface="Arial" panose="020B0604020202020204" pitchFamily="34" charset="0"/>
              <a:buNone/>
              <a:defRPr lang="en-US" sz="2000" kern="1200" dirty="0">
                <a:solidFill>
                  <a:schemeClr val="accent3"/>
                </a:solidFill>
                <a:latin typeface="+mj-lt"/>
                <a:ea typeface="+mn-ea"/>
                <a:cs typeface="+mn-cs"/>
              </a:defRPr>
            </a:lvl1pPr>
            <a:lvl2pPr marL="0" indent="0" algn="l" defTabSz="914400" rtl="0" eaLnBrk="1" latinLnBrk="0" hangingPunct="1">
              <a:lnSpc>
                <a:spcPct val="130000"/>
              </a:lnSpc>
              <a:spcBef>
                <a:spcPts val="300"/>
              </a:spcBef>
              <a:spcAft>
                <a:spcPts val="300"/>
              </a:spcAft>
              <a:buFont typeface="Arial" panose="020B0604020202020204" pitchFamily="34" charset="0"/>
              <a:buNone/>
              <a:defRPr lang="en-US" sz="1400" kern="1200" dirty="0">
                <a:solidFill>
                  <a:schemeClr val="tx2"/>
                </a:solidFill>
                <a:latin typeface="+mj-lt"/>
                <a:ea typeface="+mn-ea"/>
                <a:cs typeface="+mn-cs"/>
              </a:defRPr>
            </a:lvl2pPr>
            <a:lvl3pPr marL="180975" indent="-180975" algn="l" defTabSz="914400" rtl="0" eaLnBrk="1" latinLnBrk="0" hangingPunct="1">
              <a:lnSpc>
                <a:spcPct val="130000"/>
              </a:lnSpc>
              <a:spcBef>
                <a:spcPts val="300"/>
              </a:spcBef>
              <a:spcAft>
                <a:spcPts val="300"/>
              </a:spcAft>
              <a:buClr>
                <a:schemeClr val="tx2"/>
              </a:buClr>
              <a:buSzPct val="105000"/>
              <a:buFont typeface="Arial" panose="020B0604020202020204" pitchFamily="34" charset="0"/>
              <a:buChar char="•"/>
              <a:defRPr sz="1100" kern="1200">
                <a:solidFill>
                  <a:schemeClr val="tx1"/>
                </a:solidFill>
                <a:latin typeface="+mn-lt"/>
                <a:ea typeface="+mn-ea"/>
                <a:cs typeface="+mn-cs"/>
              </a:defRPr>
            </a:lvl3pPr>
            <a:lvl4pPr marL="539750" indent="-180975" algn="l" defTabSz="914400" rtl="0" eaLnBrk="1" latinLnBrk="0" hangingPunct="1">
              <a:lnSpc>
                <a:spcPct val="130000"/>
              </a:lnSpc>
              <a:spcBef>
                <a:spcPts val="300"/>
              </a:spcBef>
              <a:spcAft>
                <a:spcPts val="300"/>
              </a:spcAft>
              <a:buClr>
                <a:schemeClr val="tx2"/>
              </a:buClr>
              <a:buSzPct val="105000"/>
              <a:buFont typeface="Arial" panose="020B0604020202020204" pitchFamily="34" charset="0"/>
              <a:buChar char="•"/>
              <a:defRPr sz="1050" kern="1200">
                <a:solidFill>
                  <a:schemeClr val="tx1"/>
                </a:solidFill>
                <a:latin typeface="+mn-lt"/>
                <a:ea typeface="+mn-ea"/>
                <a:cs typeface="+mn-cs"/>
              </a:defRPr>
            </a:lvl4pPr>
            <a:lvl5pPr marL="898525" indent="-180975" algn="l" defTabSz="914400" rtl="0" eaLnBrk="1" latinLnBrk="0" hangingPunct="1">
              <a:lnSpc>
                <a:spcPct val="130000"/>
              </a:lnSpc>
              <a:spcBef>
                <a:spcPts val="300"/>
              </a:spcBef>
              <a:spcAft>
                <a:spcPts val="300"/>
              </a:spcAft>
              <a:buClr>
                <a:schemeClr val="tx2"/>
              </a:buClr>
              <a:buSzPct val="105000"/>
              <a:buFont typeface="Arial" panose="020B0604020202020204" pitchFamily="34" charset="0"/>
              <a:buChar char="•"/>
              <a:defRPr sz="105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accent2"/>
                </a:solidFill>
              </a:rPr>
              <a:t>“Very market oriented – </a:t>
            </a:r>
            <a:br>
              <a:rPr lang="en-GB" dirty="0">
                <a:solidFill>
                  <a:schemeClr val="accent2"/>
                </a:solidFill>
              </a:rPr>
            </a:br>
            <a:r>
              <a:rPr lang="en-GB" dirty="0">
                <a:solidFill>
                  <a:schemeClr val="accent2"/>
                </a:solidFill>
              </a:rPr>
              <a:t>they are outstanding.”</a:t>
            </a:r>
          </a:p>
        </p:txBody>
      </p:sp>
      <p:sp>
        <p:nvSpPr>
          <p:cNvPr id="25" name="Text Placeholder 19">
            <a:extLst>
              <a:ext uri="{FF2B5EF4-FFF2-40B4-BE49-F238E27FC236}">
                <a16:creationId xmlns:a16="http://schemas.microsoft.com/office/drawing/2014/main" id="{81B002E7-4B60-BB45-BF28-565D1FE11C77}"/>
              </a:ext>
            </a:extLst>
          </p:cNvPr>
          <p:cNvSpPr txBox="1">
            <a:spLocks/>
          </p:cNvSpPr>
          <p:nvPr userDrawn="1"/>
        </p:nvSpPr>
        <p:spPr>
          <a:xfrm>
            <a:off x="508000" y="6047121"/>
            <a:ext cx="7127876" cy="215444"/>
          </a:xfrm>
          <a:prstGeom prst="rect">
            <a:avLst/>
          </a:prstGeom>
        </p:spPr>
        <p:txBody>
          <a:bodyPr vert="horz" wrap="square" lIns="0" tIns="0" rIns="0" bIns="0" rtlCol="0" anchor="b" anchorCtr="0">
            <a:spAutoFit/>
          </a:bodyPr>
          <a:lstStyle>
            <a:lvl1pPr marL="108000" indent="0" algn="l" defTabSz="914400" rtl="0" eaLnBrk="1" latinLnBrk="0" hangingPunct="1">
              <a:lnSpc>
                <a:spcPct val="100000"/>
              </a:lnSpc>
              <a:spcBef>
                <a:spcPts val="300"/>
              </a:spcBef>
              <a:spcAft>
                <a:spcPts val="300"/>
              </a:spcAft>
              <a:buFont typeface="Arial" panose="020B0604020202020204" pitchFamily="34" charset="0"/>
              <a:buNone/>
              <a:defRPr sz="1400" kern="1200" cap="all" baseline="0">
                <a:solidFill>
                  <a:schemeClr val="tx2"/>
                </a:solidFill>
                <a:latin typeface="+mj-lt"/>
                <a:ea typeface="+mn-ea"/>
                <a:cs typeface="+mn-cs"/>
              </a:defRPr>
            </a:lvl1pPr>
            <a:lvl2pPr marL="108000" indent="0" algn="l" defTabSz="914400" rtl="0" eaLnBrk="1" latinLnBrk="0" hangingPunct="1">
              <a:lnSpc>
                <a:spcPct val="100000"/>
              </a:lnSpc>
              <a:spcBef>
                <a:spcPts val="300"/>
              </a:spcBef>
              <a:spcAft>
                <a:spcPts val="300"/>
              </a:spcAft>
              <a:buFont typeface="Arial" panose="020B0604020202020204" pitchFamily="34" charset="0"/>
              <a:buNone/>
              <a:defRPr sz="1400" kern="1200" cap="all" baseline="0">
                <a:solidFill>
                  <a:schemeClr val="tx2"/>
                </a:solidFill>
                <a:latin typeface="+mj-lt"/>
                <a:ea typeface="+mn-ea"/>
                <a:cs typeface="+mn-cs"/>
              </a:defRPr>
            </a:lvl2pPr>
            <a:lvl3pPr marL="108000" indent="-180975" algn="l" defTabSz="914400" rtl="0" eaLnBrk="1" latinLnBrk="0" hangingPunct="1">
              <a:lnSpc>
                <a:spcPct val="100000"/>
              </a:lnSpc>
              <a:spcBef>
                <a:spcPts val="300"/>
              </a:spcBef>
              <a:spcAft>
                <a:spcPts val="300"/>
              </a:spcAft>
              <a:buClr>
                <a:schemeClr val="tx2"/>
              </a:buClr>
              <a:buSzPct val="105000"/>
              <a:buFont typeface="Arial" panose="020B0604020202020204" pitchFamily="34" charset="0"/>
              <a:buChar char="•"/>
              <a:defRPr sz="1400" kern="1200" cap="all" baseline="0">
                <a:solidFill>
                  <a:schemeClr val="tx2"/>
                </a:solidFill>
                <a:latin typeface="+mj-lt"/>
                <a:ea typeface="+mn-ea"/>
                <a:cs typeface="+mn-cs"/>
              </a:defRPr>
            </a:lvl3pPr>
            <a:lvl4pPr marL="108000" indent="-180975" algn="l" defTabSz="914400" rtl="0" eaLnBrk="1" latinLnBrk="0" hangingPunct="1">
              <a:lnSpc>
                <a:spcPct val="100000"/>
              </a:lnSpc>
              <a:spcBef>
                <a:spcPts val="300"/>
              </a:spcBef>
              <a:spcAft>
                <a:spcPts val="300"/>
              </a:spcAft>
              <a:buClr>
                <a:schemeClr val="tx2"/>
              </a:buClr>
              <a:buSzPct val="105000"/>
              <a:buFont typeface="Arial" panose="020B0604020202020204" pitchFamily="34" charset="0"/>
              <a:buChar char="•"/>
              <a:defRPr sz="1400" kern="1200" cap="all" baseline="0">
                <a:solidFill>
                  <a:schemeClr val="tx2"/>
                </a:solidFill>
                <a:latin typeface="+mj-lt"/>
                <a:ea typeface="+mn-ea"/>
                <a:cs typeface="+mn-cs"/>
              </a:defRPr>
            </a:lvl4pPr>
            <a:lvl5pPr marL="108000" indent="-180975" algn="l" defTabSz="914400" rtl="0" eaLnBrk="1" latinLnBrk="0" hangingPunct="1">
              <a:lnSpc>
                <a:spcPct val="100000"/>
              </a:lnSpc>
              <a:spcBef>
                <a:spcPts val="300"/>
              </a:spcBef>
              <a:spcAft>
                <a:spcPts val="300"/>
              </a:spcAft>
              <a:buClr>
                <a:schemeClr val="tx2"/>
              </a:buClr>
              <a:buSzPct val="105000"/>
              <a:buFont typeface="Arial" panose="020B0604020202020204" pitchFamily="34" charset="0"/>
              <a:buChar char="•"/>
              <a:defRPr sz="1400" kern="1200" cap="all" baseline="0">
                <a:solidFill>
                  <a:schemeClr val="tx2"/>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FINANCE CLIENT TESTIMONIAL – CHAMBERS</a:t>
            </a:r>
          </a:p>
        </p:txBody>
      </p:sp>
    </p:spTree>
    <p:extLst>
      <p:ext uri="{BB962C8B-B14F-4D97-AF65-F5344CB8AC3E}">
        <p14:creationId xmlns:p14="http://schemas.microsoft.com/office/powerpoint/2010/main" val="3888264799"/>
      </p:ext>
    </p:extLst>
  </p:cSld>
  <p:clrMapOvr>
    <a:masterClrMapping/>
  </p:clrMapOvr>
  <p:transition spd="med">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FINANCE - Boilerplat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261A4C7-E98D-3660-5C37-C13B3A230A80}"/>
              </a:ext>
            </a:extLst>
          </p:cNvPr>
          <p:cNvSpPr/>
          <p:nvPr userDrawn="1"/>
        </p:nvSpPr>
        <p:spPr>
          <a:xfrm>
            <a:off x="8126413" y="0"/>
            <a:ext cx="4065587"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Footer Placeholder 4"/>
          <p:cNvSpPr>
            <a:spLocks noGrp="1"/>
          </p:cNvSpPr>
          <p:nvPr userDrawn="1">
            <p:ph type="ftr" sz="quarter" idx="11"/>
          </p:nvPr>
        </p:nvSpPr>
        <p:spPr/>
        <p:txBody>
          <a:bodyPr/>
          <a:lstStyle/>
          <a:p>
            <a:r>
              <a:rPr lang="en-GB"/>
              <a:t>INSERT FOOTER HERE</a:t>
            </a:r>
          </a:p>
        </p:txBody>
      </p:sp>
      <p:sp>
        <p:nvSpPr>
          <p:cNvPr id="6" name="Slide Number Placeholder 5"/>
          <p:cNvSpPr>
            <a:spLocks noGrp="1"/>
          </p:cNvSpPr>
          <p:nvPr userDrawn="1">
            <p:ph type="sldNum" sz="quarter" idx="12"/>
          </p:nvPr>
        </p:nvSpPr>
        <p:spPr/>
        <p:txBody>
          <a:bodyPr/>
          <a:lstStyle>
            <a:lvl1pPr>
              <a:defRPr>
                <a:solidFill>
                  <a:schemeClr val="tx1"/>
                </a:solidFill>
              </a:defRPr>
            </a:lvl1pPr>
          </a:lstStyle>
          <a:p>
            <a:fld id="{8CFE0557-AA98-4E6C-B0C3-581794696B68}" type="slidenum">
              <a:rPr lang="en-GB" smtClean="0"/>
              <a:pPr/>
              <a:t>‹#›</a:t>
            </a:fld>
            <a:endParaRPr lang="en-GB" dirty="0"/>
          </a:p>
        </p:txBody>
      </p:sp>
      <p:sp>
        <p:nvSpPr>
          <p:cNvPr id="3" name="Title 3">
            <a:extLst>
              <a:ext uri="{FF2B5EF4-FFF2-40B4-BE49-F238E27FC236}">
                <a16:creationId xmlns:a16="http://schemas.microsoft.com/office/drawing/2014/main" id="{C3707BBE-F8C2-9986-1A8F-9666AD5EC096}"/>
              </a:ext>
            </a:extLst>
          </p:cNvPr>
          <p:cNvSpPr txBox="1">
            <a:spLocks/>
          </p:cNvSpPr>
          <p:nvPr userDrawn="1"/>
        </p:nvSpPr>
        <p:spPr>
          <a:xfrm>
            <a:off x="508000" y="454014"/>
            <a:ext cx="7134225" cy="669934"/>
          </a:xfrm>
          <a:prstGeom prst="rect">
            <a:avLst/>
          </a:prstGeom>
        </p:spPr>
        <p:txBody>
          <a:bodyPr vert="horz" lIns="0" tIns="0" rIns="0" bIns="72000" rtlCol="0" anchor="t" anchorCtr="0">
            <a:noAutofit/>
          </a:bodyPr>
          <a:lstStyle>
            <a:lvl1pPr algn="l" defTabSz="914400" rtl="0" eaLnBrk="1" latinLnBrk="0" hangingPunct="1">
              <a:lnSpc>
                <a:spcPct val="90000"/>
              </a:lnSpc>
              <a:spcBef>
                <a:spcPct val="0"/>
              </a:spcBef>
              <a:buNone/>
              <a:defRPr sz="3200" kern="1200" cap="all" baseline="0">
                <a:solidFill>
                  <a:schemeClr val="tx2"/>
                </a:solidFill>
                <a:latin typeface="+mn-lt"/>
                <a:ea typeface="+mj-ea"/>
                <a:cs typeface="+mj-cs"/>
              </a:defRPr>
            </a:lvl1pPr>
          </a:lstStyle>
          <a:p>
            <a:r>
              <a:rPr lang="en-US" dirty="0"/>
              <a:t>FINANCE</a:t>
            </a:r>
            <a:endParaRPr lang="en-GB" dirty="0"/>
          </a:p>
        </p:txBody>
      </p:sp>
      <p:sp>
        <p:nvSpPr>
          <p:cNvPr id="7" name="TextBox 6">
            <a:extLst>
              <a:ext uri="{FF2B5EF4-FFF2-40B4-BE49-F238E27FC236}">
                <a16:creationId xmlns:a16="http://schemas.microsoft.com/office/drawing/2014/main" id="{BD678108-0AEA-3AE9-BD3D-097F233A58C0}"/>
              </a:ext>
            </a:extLst>
          </p:cNvPr>
          <p:cNvSpPr txBox="1"/>
          <p:nvPr userDrawn="1"/>
        </p:nvSpPr>
        <p:spPr>
          <a:xfrm>
            <a:off x="504826" y="1123946"/>
            <a:ext cx="7183961" cy="1027119"/>
          </a:xfrm>
          <a:prstGeom prst="rect">
            <a:avLst/>
          </a:prstGeom>
        </p:spPr>
        <p:txBody>
          <a:bodyPr vert="horz" wrap="square" lIns="0" tIns="45720" rIns="0" bIns="45720" rtlCol="0">
            <a:noAutofit/>
          </a:bodyPr>
          <a:lstStyle/>
          <a:p>
            <a:pPr marL="0" lvl="0" indent="0" algn="l" defTabSz="914400" rtl="0" eaLnBrk="1" latinLnBrk="0" hangingPunct="1">
              <a:lnSpc>
                <a:spcPct val="110000"/>
              </a:lnSpc>
              <a:spcBef>
                <a:spcPts val="300"/>
              </a:spcBef>
              <a:spcAft>
                <a:spcPts val="300"/>
              </a:spcAft>
              <a:buFont typeface="Arial" panose="020B0604020202020204" pitchFamily="34" charset="0"/>
              <a:buNone/>
            </a:pPr>
            <a:r>
              <a:rPr lang="en-US" sz="2000" kern="1200" dirty="0">
                <a:solidFill>
                  <a:schemeClr val="accent2"/>
                </a:solidFill>
                <a:latin typeface="+mj-lt"/>
                <a:ea typeface="+mn-ea"/>
                <a:cs typeface="+mn-cs"/>
              </a:rPr>
              <a:t>Our specialist finance team advise on transactions across a wide range of sectors, jurisdictions and markets, including trade and asset finance, project and infrastructure finance, Islamic finance, and financial services regulation.</a:t>
            </a:r>
          </a:p>
        </p:txBody>
      </p:sp>
      <p:sp>
        <p:nvSpPr>
          <p:cNvPr id="10" name="TextBox 9">
            <a:extLst>
              <a:ext uri="{FF2B5EF4-FFF2-40B4-BE49-F238E27FC236}">
                <a16:creationId xmlns:a16="http://schemas.microsoft.com/office/drawing/2014/main" id="{12754B59-8BC6-79B9-F2AC-33CA58AACA6B}"/>
              </a:ext>
            </a:extLst>
          </p:cNvPr>
          <p:cNvSpPr txBox="1"/>
          <p:nvPr userDrawn="1"/>
        </p:nvSpPr>
        <p:spPr>
          <a:xfrm>
            <a:off x="504826" y="2195825"/>
            <a:ext cx="3403599" cy="4022429"/>
          </a:xfrm>
          <a:prstGeom prst="rect">
            <a:avLst/>
          </a:prstGeom>
        </p:spPr>
        <p:txBody>
          <a:bodyPr vert="horz" lIns="0" tIns="45720" rIns="0" bIns="45720" rtlCol="0">
            <a:normAutofit/>
          </a:bodyPr>
          <a:lstStyle>
            <a:lvl1pPr indent="0" defTabSz="914400">
              <a:lnSpc>
                <a:spcPct val="130000"/>
              </a:lnSpc>
              <a:spcBef>
                <a:spcPts val="300"/>
              </a:spcBef>
              <a:spcAft>
                <a:spcPts val="300"/>
              </a:spcAft>
              <a:buFont typeface="Arial" panose="020B0604020202020204" pitchFamily="34" charset="0"/>
              <a:buNone/>
              <a:defRPr sz="1400">
                <a:solidFill>
                  <a:schemeClr val="tx2"/>
                </a:solidFill>
                <a:latin typeface="+mj-lt"/>
              </a:defRPr>
            </a:lvl1pPr>
            <a:lvl2pPr marL="0" lvl="1" indent="0" defTabSz="914400">
              <a:lnSpc>
                <a:spcPct val="130000"/>
              </a:lnSpc>
              <a:spcBef>
                <a:spcPts val="300"/>
              </a:spcBef>
              <a:spcAft>
                <a:spcPts val="300"/>
              </a:spcAft>
              <a:buFont typeface="Arial" panose="020B0604020202020204" pitchFamily="34" charset="0"/>
              <a:buNone/>
              <a:defRPr sz="1100"/>
            </a:lvl2pPr>
            <a:lvl3pPr marL="180975" indent="-180975" defTabSz="914400">
              <a:lnSpc>
                <a:spcPct val="130000"/>
              </a:lnSpc>
              <a:spcBef>
                <a:spcPts val="300"/>
              </a:spcBef>
              <a:spcAft>
                <a:spcPts val="300"/>
              </a:spcAft>
              <a:buClr>
                <a:schemeClr val="tx2"/>
              </a:buClr>
              <a:buSzPct val="105000"/>
              <a:buFont typeface="Arial" panose="020B0604020202020204" pitchFamily="34" charset="0"/>
              <a:buChar char="•"/>
              <a:defRPr sz="1100"/>
            </a:lvl3pPr>
            <a:lvl4pPr marL="539750" indent="-180975" defTabSz="914400">
              <a:lnSpc>
                <a:spcPct val="130000"/>
              </a:lnSpc>
              <a:spcBef>
                <a:spcPts val="300"/>
              </a:spcBef>
              <a:spcAft>
                <a:spcPts val="300"/>
              </a:spcAft>
              <a:buClr>
                <a:schemeClr val="tx2"/>
              </a:buClr>
              <a:buSzPct val="105000"/>
              <a:buFont typeface="Arial" panose="020B0604020202020204" pitchFamily="34" charset="0"/>
              <a:buChar char="•"/>
              <a:defRPr sz="1050"/>
            </a:lvl4pPr>
            <a:lvl5pPr marL="898525" indent="-180975" defTabSz="914400">
              <a:lnSpc>
                <a:spcPct val="130000"/>
              </a:lnSpc>
              <a:spcBef>
                <a:spcPts val="300"/>
              </a:spcBef>
              <a:spcAft>
                <a:spcPts val="300"/>
              </a:spcAft>
              <a:buClr>
                <a:schemeClr val="tx2"/>
              </a:buClr>
              <a:buSzPct val="105000"/>
              <a:buFont typeface="Arial" panose="020B0604020202020204" pitchFamily="34" charset="0"/>
              <a:buChar char="•"/>
              <a:defRPr sz="105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1"/>
            <a:endParaRPr lang="en-US" dirty="0"/>
          </a:p>
          <a:p>
            <a:pPr lvl="1"/>
            <a:endParaRPr lang="en-US" dirty="0"/>
          </a:p>
          <a:p>
            <a:pPr lvl="1"/>
            <a:endParaRPr lang="en-US" dirty="0"/>
          </a:p>
          <a:p>
            <a:pPr lvl="1"/>
            <a:r>
              <a:rPr lang="en-US" dirty="0"/>
              <a:t>We are well known for our work in the shipping, offshore, yacht and corporate jet sectors, and frequently handle assets relating to the transportation industry.</a:t>
            </a:r>
          </a:p>
        </p:txBody>
      </p:sp>
      <p:sp>
        <p:nvSpPr>
          <p:cNvPr id="18" name="Content Placeholder 6">
            <a:extLst>
              <a:ext uri="{FF2B5EF4-FFF2-40B4-BE49-F238E27FC236}">
                <a16:creationId xmlns:a16="http://schemas.microsoft.com/office/drawing/2014/main" id="{52475DE9-CB19-61DB-1E0C-FA7A0CCA4259}"/>
              </a:ext>
            </a:extLst>
          </p:cNvPr>
          <p:cNvSpPr txBox="1">
            <a:spLocks/>
          </p:cNvSpPr>
          <p:nvPr userDrawn="1"/>
        </p:nvSpPr>
        <p:spPr>
          <a:xfrm>
            <a:off x="8755064" y="1464308"/>
            <a:ext cx="2963863" cy="4755516"/>
          </a:xfrm>
          <a:prstGeom prst="rect">
            <a:avLst/>
          </a:prstGeom>
        </p:spPr>
        <p:txBody>
          <a:bodyPr vert="horz" lIns="0" tIns="45720" rIns="0" bIns="45720" rtlCol="0">
            <a:normAutofit lnSpcReduction="10000"/>
          </a:bodyPr>
          <a:lstStyle>
            <a:lvl1pPr marL="0" indent="0" algn="l" defTabSz="914400" rtl="0" eaLnBrk="1" latinLnBrk="0" hangingPunct="1">
              <a:lnSpc>
                <a:spcPct val="130000"/>
              </a:lnSpc>
              <a:spcBef>
                <a:spcPts val="300"/>
              </a:spcBef>
              <a:spcAft>
                <a:spcPts val="300"/>
              </a:spcAft>
              <a:buFont typeface="Arial" panose="020B0604020202020204" pitchFamily="34" charset="0"/>
              <a:buNone/>
              <a:defRPr lang="en-US" sz="1100" kern="1200" dirty="0">
                <a:solidFill>
                  <a:schemeClr val="tx1"/>
                </a:solidFill>
                <a:latin typeface="+mn-lt"/>
                <a:ea typeface="+mn-ea"/>
                <a:cs typeface="+mn-cs"/>
              </a:defRPr>
            </a:lvl1pPr>
            <a:lvl2pPr marL="0" indent="0" algn="l" defTabSz="914400" rtl="0" eaLnBrk="1" latinLnBrk="0" hangingPunct="1">
              <a:lnSpc>
                <a:spcPct val="130000"/>
              </a:lnSpc>
              <a:spcBef>
                <a:spcPts val="300"/>
              </a:spcBef>
              <a:spcAft>
                <a:spcPts val="300"/>
              </a:spcAft>
              <a:buFont typeface="Arial" panose="020B0604020202020204" pitchFamily="34" charset="0"/>
              <a:buNone/>
              <a:defRPr lang="en-US" sz="1100" kern="1200" dirty="0">
                <a:solidFill>
                  <a:schemeClr val="tx1"/>
                </a:solidFill>
                <a:latin typeface="+mn-lt"/>
                <a:ea typeface="+mn-ea"/>
                <a:cs typeface="+mn-cs"/>
              </a:defRPr>
            </a:lvl2pPr>
            <a:lvl3pPr marL="180975" indent="-180975" algn="l" defTabSz="914400" rtl="0" eaLnBrk="1" latinLnBrk="0" hangingPunct="1">
              <a:lnSpc>
                <a:spcPct val="130000"/>
              </a:lnSpc>
              <a:spcBef>
                <a:spcPts val="300"/>
              </a:spcBef>
              <a:spcAft>
                <a:spcPts val="300"/>
              </a:spcAft>
              <a:buClr>
                <a:schemeClr val="tx2"/>
              </a:buClr>
              <a:buSzPct val="105000"/>
              <a:buFont typeface="Arial" panose="020B0604020202020204" pitchFamily="34" charset="0"/>
              <a:buChar char="•"/>
              <a:defRPr lang="en-US" sz="1100" kern="1200" dirty="0">
                <a:solidFill>
                  <a:schemeClr val="tx1"/>
                </a:solidFill>
                <a:latin typeface="+mn-lt"/>
                <a:ea typeface="+mn-ea"/>
                <a:cs typeface="+mn-cs"/>
              </a:defRPr>
            </a:lvl3pPr>
            <a:lvl4pPr marL="539750" indent="-180975" algn="l" defTabSz="914400" rtl="0" eaLnBrk="1" latinLnBrk="0" hangingPunct="1">
              <a:lnSpc>
                <a:spcPct val="130000"/>
              </a:lnSpc>
              <a:spcBef>
                <a:spcPts val="300"/>
              </a:spcBef>
              <a:spcAft>
                <a:spcPts val="300"/>
              </a:spcAft>
              <a:buClr>
                <a:schemeClr val="tx2"/>
              </a:buClr>
              <a:buSzPct val="105000"/>
              <a:buFont typeface="Arial" panose="020B0604020202020204" pitchFamily="34" charset="0"/>
              <a:buChar char="•"/>
              <a:defRPr lang="en-US" sz="1050" kern="1200" dirty="0">
                <a:solidFill>
                  <a:schemeClr val="tx1"/>
                </a:solidFill>
                <a:latin typeface="+mn-lt"/>
                <a:ea typeface="+mn-ea"/>
                <a:cs typeface="+mn-cs"/>
              </a:defRPr>
            </a:lvl4pPr>
            <a:lvl5pPr marL="898525" indent="-180975" algn="l" defTabSz="914400" rtl="0" eaLnBrk="1" latinLnBrk="0" hangingPunct="1">
              <a:lnSpc>
                <a:spcPct val="130000"/>
              </a:lnSpc>
              <a:spcBef>
                <a:spcPts val="300"/>
              </a:spcBef>
              <a:spcAft>
                <a:spcPts val="300"/>
              </a:spcAft>
              <a:buClr>
                <a:schemeClr val="tx2"/>
              </a:buClr>
              <a:buSzPct val="105000"/>
              <a:buFont typeface="Arial" panose="020B0604020202020204" pitchFamily="34" charset="0"/>
              <a:buChar char="•"/>
              <a:defRPr lang="en-US" sz="105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2">
              <a:buClr>
                <a:schemeClr val="tx1"/>
              </a:buClr>
            </a:pPr>
            <a:r>
              <a:rPr lang="en-US" dirty="0"/>
              <a:t>Asset finance (including ship, aviation and offshore)</a:t>
            </a:r>
          </a:p>
          <a:p>
            <a:pPr lvl="2">
              <a:buClr>
                <a:schemeClr val="tx1"/>
              </a:buClr>
            </a:pPr>
            <a:r>
              <a:rPr lang="en-US" dirty="0"/>
              <a:t>Finance leases</a:t>
            </a:r>
          </a:p>
          <a:p>
            <a:pPr lvl="2">
              <a:buClr>
                <a:schemeClr val="tx1"/>
              </a:buClr>
            </a:pPr>
            <a:r>
              <a:rPr lang="en-US" dirty="0"/>
              <a:t>Structured trade &amp;commodity finance</a:t>
            </a:r>
          </a:p>
          <a:p>
            <a:pPr lvl="2">
              <a:buClr>
                <a:schemeClr val="tx1"/>
              </a:buClr>
            </a:pPr>
            <a:r>
              <a:rPr lang="en-US" dirty="0"/>
              <a:t>Islamic finance</a:t>
            </a:r>
          </a:p>
          <a:p>
            <a:pPr lvl="2">
              <a:buClr>
                <a:schemeClr val="tx1"/>
              </a:buClr>
            </a:pPr>
            <a:r>
              <a:rPr lang="en-US" dirty="0"/>
              <a:t>Climate finance</a:t>
            </a:r>
          </a:p>
          <a:p>
            <a:pPr lvl="2">
              <a:buClr>
                <a:schemeClr val="tx1"/>
              </a:buClr>
            </a:pPr>
            <a:r>
              <a:rPr lang="en-US" dirty="0"/>
              <a:t>Blockchain and DLT</a:t>
            </a:r>
          </a:p>
          <a:p>
            <a:pPr lvl="2">
              <a:buClr>
                <a:schemeClr val="tx1"/>
              </a:buClr>
            </a:pPr>
            <a:r>
              <a:rPr lang="en-US" dirty="0"/>
              <a:t>Leveraged buyouts &amp;acquisition finance</a:t>
            </a:r>
          </a:p>
          <a:p>
            <a:pPr lvl="2">
              <a:buClr>
                <a:schemeClr val="tx1"/>
              </a:buClr>
            </a:pPr>
            <a:r>
              <a:rPr lang="en-US" dirty="0"/>
              <a:t>Project/infrastructure finance</a:t>
            </a:r>
          </a:p>
          <a:p>
            <a:pPr lvl="2">
              <a:buClr>
                <a:schemeClr val="tx1"/>
              </a:buClr>
            </a:pPr>
            <a:r>
              <a:rPr lang="en-US" dirty="0"/>
              <a:t>Corporate finance</a:t>
            </a:r>
          </a:p>
          <a:p>
            <a:pPr lvl="2">
              <a:buClr>
                <a:schemeClr val="tx1"/>
              </a:buClr>
            </a:pPr>
            <a:r>
              <a:rPr lang="en-US" dirty="0"/>
              <a:t>Real estate finance</a:t>
            </a:r>
          </a:p>
          <a:p>
            <a:pPr lvl="2">
              <a:buClr>
                <a:schemeClr val="tx1"/>
              </a:buClr>
            </a:pPr>
            <a:r>
              <a:rPr lang="en-US" dirty="0"/>
              <a:t>Debt security issuances</a:t>
            </a:r>
          </a:p>
          <a:p>
            <a:pPr lvl="2">
              <a:buClr>
                <a:schemeClr val="tx1"/>
              </a:buClr>
            </a:pPr>
            <a:r>
              <a:rPr lang="en-US" dirty="0"/>
              <a:t>Derivatives &amp; structured transactions</a:t>
            </a:r>
          </a:p>
          <a:p>
            <a:pPr lvl="2">
              <a:buClr>
                <a:schemeClr val="tx1"/>
              </a:buClr>
            </a:pPr>
            <a:r>
              <a:rPr lang="en-US" dirty="0"/>
              <a:t>Commodity &amp; financial market regulation</a:t>
            </a:r>
          </a:p>
          <a:p>
            <a:pPr lvl="2">
              <a:buClr>
                <a:schemeClr val="tx1"/>
              </a:buClr>
            </a:pPr>
            <a:r>
              <a:rPr lang="en-US" dirty="0"/>
              <a:t>Financial security &amp; sanctions</a:t>
            </a:r>
          </a:p>
        </p:txBody>
      </p:sp>
      <p:sp>
        <p:nvSpPr>
          <p:cNvPr id="20" name="Content Placeholder 78">
            <a:extLst>
              <a:ext uri="{FF2B5EF4-FFF2-40B4-BE49-F238E27FC236}">
                <a16:creationId xmlns:a16="http://schemas.microsoft.com/office/drawing/2014/main" id="{EC447A09-E145-F1DE-19CE-0D6E32F9FA96}"/>
              </a:ext>
            </a:extLst>
          </p:cNvPr>
          <p:cNvSpPr txBox="1">
            <a:spLocks/>
          </p:cNvSpPr>
          <p:nvPr userDrawn="1"/>
        </p:nvSpPr>
        <p:spPr>
          <a:xfrm>
            <a:off x="8755064" y="1098547"/>
            <a:ext cx="2946399" cy="365761"/>
          </a:xfrm>
          <a:prstGeom prst="rect">
            <a:avLst/>
          </a:prstGeom>
        </p:spPr>
        <p:txBody>
          <a:bodyPr vert="horz" lIns="0" tIns="45720" rIns="0" bIns="45720" rtlCol="0">
            <a:normAutofit/>
          </a:bodyPr>
          <a:lstStyle>
            <a:lvl1pPr marL="0" indent="0" algn="l" defTabSz="914400" rtl="0" eaLnBrk="1" latinLnBrk="0" hangingPunct="1">
              <a:lnSpc>
                <a:spcPct val="130000"/>
              </a:lnSpc>
              <a:spcBef>
                <a:spcPts val="300"/>
              </a:spcBef>
              <a:spcAft>
                <a:spcPts val="300"/>
              </a:spcAft>
              <a:buFont typeface="Arial" panose="020B0604020202020204" pitchFamily="34" charset="0"/>
              <a:buNone/>
              <a:defRPr sz="1400" kern="1200" cap="all" baseline="0">
                <a:solidFill>
                  <a:schemeClr val="tx2"/>
                </a:solidFill>
                <a:latin typeface="+mj-lt"/>
                <a:ea typeface="+mn-ea"/>
                <a:cs typeface="+mn-cs"/>
              </a:defRPr>
            </a:lvl1pPr>
            <a:lvl2pPr marL="0" indent="0" algn="l" defTabSz="914400" rtl="0" eaLnBrk="1" latinLnBrk="0" hangingPunct="1">
              <a:lnSpc>
                <a:spcPct val="130000"/>
              </a:lnSpc>
              <a:spcBef>
                <a:spcPts val="300"/>
              </a:spcBef>
              <a:spcAft>
                <a:spcPts val="300"/>
              </a:spcAft>
              <a:buFont typeface="Arial" panose="020B0604020202020204" pitchFamily="34" charset="0"/>
              <a:buNone/>
              <a:defRPr sz="1100" kern="1200">
                <a:solidFill>
                  <a:schemeClr val="tx1"/>
                </a:solidFill>
                <a:latin typeface="+mn-lt"/>
                <a:ea typeface="+mn-ea"/>
                <a:cs typeface="+mn-cs"/>
              </a:defRPr>
            </a:lvl2pPr>
            <a:lvl3pPr marL="180975" indent="-180975" algn="l" defTabSz="914400" rtl="0" eaLnBrk="1" latinLnBrk="0" hangingPunct="1">
              <a:lnSpc>
                <a:spcPct val="130000"/>
              </a:lnSpc>
              <a:spcBef>
                <a:spcPts val="300"/>
              </a:spcBef>
              <a:spcAft>
                <a:spcPts val="300"/>
              </a:spcAft>
              <a:buClr>
                <a:schemeClr val="tx2"/>
              </a:buClr>
              <a:buSzPct val="105000"/>
              <a:buFont typeface="Arial" panose="020B0604020202020204" pitchFamily="34" charset="0"/>
              <a:buChar char="•"/>
              <a:defRPr sz="1100" kern="1200">
                <a:solidFill>
                  <a:schemeClr val="tx1"/>
                </a:solidFill>
                <a:latin typeface="+mn-lt"/>
                <a:ea typeface="+mn-ea"/>
                <a:cs typeface="+mn-cs"/>
              </a:defRPr>
            </a:lvl3pPr>
            <a:lvl4pPr marL="539750" indent="-180975" algn="l" defTabSz="914400" rtl="0" eaLnBrk="1" latinLnBrk="0" hangingPunct="1">
              <a:lnSpc>
                <a:spcPct val="130000"/>
              </a:lnSpc>
              <a:spcBef>
                <a:spcPts val="300"/>
              </a:spcBef>
              <a:spcAft>
                <a:spcPts val="300"/>
              </a:spcAft>
              <a:buClr>
                <a:schemeClr val="tx2"/>
              </a:buClr>
              <a:buSzPct val="105000"/>
              <a:buFont typeface="Arial" panose="020B0604020202020204" pitchFamily="34" charset="0"/>
              <a:buChar char="•"/>
              <a:defRPr sz="1050" kern="1200">
                <a:solidFill>
                  <a:schemeClr val="tx1"/>
                </a:solidFill>
                <a:latin typeface="+mn-lt"/>
                <a:ea typeface="+mn-ea"/>
                <a:cs typeface="+mn-cs"/>
              </a:defRPr>
            </a:lvl4pPr>
            <a:lvl5pPr marL="898525" indent="-180975" algn="l" defTabSz="914400" rtl="0" eaLnBrk="1" latinLnBrk="0" hangingPunct="1">
              <a:lnSpc>
                <a:spcPct val="130000"/>
              </a:lnSpc>
              <a:spcBef>
                <a:spcPts val="300"/>
              </a:spcBef>
              <a:spcAft>
                <a:spcPts val="300"/>
              </a:spcAft>
              <a:buClr>
                <a:schemeClr val="tx2"/>
              </a:buClr>
              <a:buSzPct val="105000"/>
              <a:buFont typeface="Arial" panose="020B0604020202020204" pitchFamily="34" charset="0"/>
              <a:buChar char="•"/>
              <a:defRPr sz="105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OUR PRACTICE</a:t>
            </a:r>
            <a:endParaRPr lang="en-GB" dirty="0"/>
          </a:p>
        </p:txBody>
      </p:sp>
      <p:sp>
        <p:nvSpPr>
          <p:cNvPr id="24" name="Text Placeholder 18">
            <a:extLst>
              <a:ext uri="{FF2B5EF4-FFF2-40B4-BE49-F238E27FC236}">
                <a16:creationId xmlns:a16="http://schemas.microsoft.com/office/drawing/2014/main" id="{343D304B-5755-33C8-57B8-EB513241D2B2}"/>
              </a:ext>
            </a:extLst>
          </p:cNvPr>
          <p:cNvSpPr txBox="1">
            <a:spLocks/>
          </p:cNvSpPr>
          <p:nvPr userDrawn="1"/>
        </p:nvSpPr>
        <p:spPr>
          <a:xfrm>
            <a:off x="508000" y="5334846"/>
            <a:ext cx="7127876" cy="681779"/>
          </a:xfrm>
          <a:prstGeom prst="rect">
            <a:avLst/>
          </a:prstGeom>
        </p:spPr>
        <p:txBody>
          <a:bodyPr vert="horz" lIns="0" tIns="45720" rIns="0" bIns="0" rtlCol="0" anchor="b" anchorCtr="0">
            <a:noAutofit/>
          </a:bodyPr>
          <a:lstStyle>
            <a:lvl1pPr marL="108000" indent="-108000" algn="l" defTabSz="914400" rtl="0" eaLnBrk="1" latinLnBrk="0" hangingPunct="1">
              <a:lnSpc>
                <a:spcPct val="110000"/>
              </a:lnSpc>
              <a:spcBef>
                <a:spcPts val="0"/>
              </a:spcBef>
              <a:spcAft>
                <a:spcPts val="0"/>
              </a:spcAft>
              <a:buFont typeface="Arial" panose="020B0604020202020204" pitchFamily="34" charset="0"/>
              <a:buNone/>
              <a:defRPr lang="en-US" sz="2000" kern="1200" dirty="0">
                <a:solidFill>
                  <a:schemeClr val="accent3"/>
                </a:solidFill>
                <a:latin typeface="+mj-lt"/>
                <a:ea typeface="+mn-ea"/>
                <a:cs typeface="+mn-cs"/>
              </a:defRPr>
            </a:lvl1pPr>
            <a:lvl2pPr marL="0" indent="0" algn="l" defTabSz="914400" rtl="0" eaLnBrk="1" latinLnBrk="0" hangingPunct="1">
              <a:lnSpc>
                <a:spcPct val="130000"/>
              </a:lnSpc>
              <a:spcBef>
                <a:spcPts val="300"/>
              </a:spcBef>
              <a:spcAft>
                <a:spcPts val="300"/>
              </a:spcAft>
              <a:buFont typeface="Arial" panose="020B0604020202020204" pitchFamily="34" charset="0"/>
              <a:buNone/>
              <a:defRPr lang="en-US" sz="1400" kern="1200" dirty="0">
                <a:solidFill>
                  <a:schemeClr val="tx2"/>
                </a:solidFill>
                <a:latin typeface="+mj-lt"/>
                <a:ea typeface="+mn-ea"/>
                <a:cs typeface="+mn-cs"/>
              </a:defRPr>
            </a:lvl2pPr>
            <a:lvl3pPr marL="180975" indent="-180975" algn="l" defTabSz="914400" rtl="0" eaLnBrk="1" latinLnBrk="0" hangingPunct="1">
              <a:lnSpc>
                <a:spcPct val="130000"/>
              </a:lnSpc>
              <a:spcBef>
                <a:spcPts val="300"/>
              </a:spcBef>
              <a:spcAft>
                <a:spcPts val="300"/>
              </a:spcAft>
              <a:buClr>
                <a:schemeClr val="tx2"/>
              </a:buClr>
              <a:buSzPct val="105000"/>
              <a:buFont typeface="Arial" panose="020B0604020202020204" pitchFamily="34" charset="0"/>
              <a:buChar char="•"/>
              <a:defRPr sz="1100" kern="1200">
                <a:solidFill>
                  <a:schemeClr val="tx1"/>
                </a:solidFill>
                <a:latin typeface="+mn-lt"/>
                <a:ea typeface="+mn-ea"/>
                <a:cs typeface="+mn-cs"/>
              </a:defRPr>
            </a:lvl3pPr>
            <a:lvl4pPr marL="539750" indent="-180975" algn="l" defTabSz="914400" rtl="0" eaLnBrk="1" latinLnBrk="0" hangingPunct="1">
              <a:lnSpc>
                <a:spcPct val="130000"/>
              </a:lnSpc>
              <a:spcBef>
                <a:spcPts val="300"/>
              </a:spcBef>
              <a:spcAft>
                <a:spcPts val="300"/>
              </a:spcAft>
              <a:buClr>
                <a:schemeClr val="tx2"/>
              </a:buClr>
              <a:buSzPct val="105000"/>
              <a:buFont typeface="Arial" panose="020B0604020202020204" pitchFamily="34" charset="0"/>
              <a:buChar char="•"/>
              <a:defRPr sz="1050" kern="1200">
                <a:solidFill>
                  <a:schemeClr val="tx1"/>
                </a:solidFill>
                <a:latin typeface="+mn-lt"/>
                <a:ea typeface="+mn-ea"/>
                <a:cs typeface="+mn-cs"/>
              </a:defRPr>
            </a:lvl4pPr>
            <a:lvl5pPr marL="898525" indent="-180975" algn="l" defTabSz="914400" rtl="0" eaLnBrk="1" latinLnBrk="0" hangingPunct="1">
              <a:lnSpc>
                <a:spcPct val="130000"/>
              </a:lnSpc>
              <a:spcBef>
                <a:spcPts val="300"/>
              </a:spcBef>
              <a:spcAft>
                <a:spcPts val="300"/>
              </a:spcAft>
              <a:buClr>
                <a:schemeClr val="tx2"/>
              </a:buClr>
              <a:buSzPct val="105000"/>
              <a:buFont typeface="Arial" panose="020B0604020202020204" pitchFamily="34" charset="0"/>
              <a:buChar char="•"/>
              <a:defRPr sz="105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accent2"/>
                </a:solidFill>
              </a:rPr>
              <a:t>“A big name in corporate </a:t>
            </a:r>
            <a:br>
              <a:rPr lang="en-GB" dirty="0">
                <a:solidFill>
                  <a:schemeClr val="accent2"/>
                </a:solidFill>
              </a:rPr>
            </a:br>
            <a:r>
              <a:rPr lang="en-GB" dirty="0">
                <a:solidFill>
                  <a:schemeClr val="accent2"/>
                </a:solidFill>
              </a:rPr>
              <a:t>crime litigation.”</a:t>
            </a:r>
          </a:p>
        </p:txBody>
      </p:sp>
      <p:sp>
        <p:nvSpPr>
          <p:cNvPr id="25" name="Text Placeholder 19">
            <a:extLst>
              <a:ext uri="{FF2B5EF4-FFF2-40B4-BE49-F238E27FC236}">
                <a16:creationId xmlns:a16="http://schemas.microsoft.com/office/drawing/2014/main" id="{81B002E7-4B60-BB45-BF28-565D1FE11C77}"/>
              </a:ext>
            </a:extLst>
          </p:cNvPr>
          <p:cNvSpPr txBox="1">
            <a:spLocks/>
          </p:cNvSpPr>
          <p:nvPr userDrawn="1"/>
        </p:nvSpPr>
        <p:spPr>
          <a:xfrm>
            <a:off x="508000" y="6047121"/>
            <a:ext cx="7127876" cy="215444"/>
          </a:xfrm>
          <a:prstGeom prst="rect">
            <a:avLst/>
          </a:prstGeom>
        </p:spPr>
        <p:txBody>
          <a:bodyPr vert="horz" wrap="square" lIns="0" tIns="0" rIns="0" bIns="0" rtlCol="0" anchor="b" anchorCtr="0">
            <a:spAutoFit/>
          </a:bodyPr>
          <a:lstStyle>
            <a:lvl1pPr marL="108000" indent="0" algn="l" defTabSz="914400" rtl="0" eaLnBrk="1" latinLnBrk="0" hangingPunct="1">
              <a:lnSpc>
                <a:spcPct val="100000"/>
              </a:lnSpc>
              <a:spcBef>
                <a:spcPts val="300"/>
              </a:spcBef>
              <a:spcAft>
                <a:spcPts val="300"/>
              </a:spcAft>
              <a:buFont typeface="Arial" panose="020B0604020202020204" pitchFamily="34" charset="0"/>
              <a:buNone/>
              <a:defRPr sz="1400" kern="1200" cap="all" baseline="0">
                <a:solidFill>
                  <a:schemeClr val="tx2"/>
                </a:solidFill>
                <a:latin typeface="+mj-lt"/>
                <a:ea typeface="+mn-ea"/>
                <a:cs typeface="+mn-cs"/>
              </a:defRPr>
            </a:lvl1pPr>
            <a:lvl2pPr marL="108000" indent="0" algn="l" defTabSz="914400" rtl="0" eaLnBrk="1" latinLnBrk="0" hangingPunct="1">
              <a:lnSpc>
                <a:spcPct val="100000"/>
              </a:lnSpc>
              <a:spcBef>
                <a:spcPts val="300"/>
              </a:spcBef>
              <a:spcAft>
                <a:spcPts val="300"/>
              </a:spcAft>
              <a:buFont typeface="Arial" panose="020B0604020202020204" pitchFamily="34" charset="0"/>
              <a:buNone/>
              <a:defRPr sz="1400" kern="1200" cap="all" baseline="0">
                <a:solidFill>
                  <a:schemeClr val="tx2"/>
                </a:solidFill>
                <a:latin typeface="+mj-lt"/>
                <a:ea typeface="+mn-ea"/>
                <a:cs typeface="+mn-cs"/>
              </a:defRPr>
            </a:lvl2pPr>
            <a:lvl3pPr marL="108000" indent="-180975" algn="l" defTabSz="914400" rtl="0" eaLnBrk="1" latinLnBrk="0" hangingPunct="1">
              <a:lnSpc>
                <a:spcPct val="100000"/>
              </a:lnSpc>
              <a:spcBef>
                <a:spcPts val="300"/>
              </a:spcBef>
              <a:spcAft>
                <a:spcPts val="300"/>
              </a:spcAft>
              <a:buClr>
                <a:schemeClr val="tx2"/>
              </a:buClr>
              <a:buSzPct val="105000"/>
              <a:buFont typeface="Arial" panose="020B0604020202020204" pitchFamily="34" charset="0"/>
              <a:buChar char="•"/>
              <a:defRPr sz="1400" kern="1200" cap="all" baseline="0">
                <a:solidFill>
                  <a:schemeClr val="tx2"/>
                </a:solidFill>
                <a:latin typeface="+mj-lt"/>
                <a:ea typeface="+mn-ea"/>
                <a:cs typeface="+mn-cs"/>
              </a:defRPr>
            </a:lvl3pPr>
            <a:lvl4pPr marL="108000" indent="-180975" algn="l" defTabSz="914400" rtl="0" eaLnBrk="1" latinLnBrk="0" hangingPunct="1">
              <a:lnSpc>
                <a:spcPct val="100000"/>
              </a:lnSpc>
              <a:spcBef>
                <a:spcPts val="300"/>
              </a:spcBef>
              <a:spcAft>
                <a:spcPts val="300"/>
              </a:spcAft>
              <a:buClr>
                <a:schemeClr val="tx2"/>
              </a:buClr>
              <a:buSzPct val="105000"/>
              <a:buFont typeface="Arial" panose="020B0604020202020204" pitchFamily="34" charset="0"/>
              <a:buChar char="•"/>
              <a:defRPr sz="1400" kern="1200" cap="all" baseline="0">
                <a:solidFill>
                  <a:schemeClr val="tx2"/>
                </a:solidFill>
                <a:latin typeface="+mj-lt"/>
                <a:ea typeface="+mn-ea"/>
                <a:cs typeface="+mn-cs"/>
              </a:defRPr>
            </a:lvl4pPr>
            <a:lvl5pPr marL="108000" indent="-180975" algn="l" defTabSz="914400" rtl="0" eaLnBrk="1" latinLnBrk="0" hangingPunct="1">
              <a:lnSpc>
                <a:spcPct val="100000"/>
              </a:lnSpc>
              <a:spcBef>
                <a:spcPts val="300"/>
              </a:spcBef>
              <a:spcAft>
                <a:spcPts val="300"/>
              </a:spcAft>
              <a:buClr>
                <a:schemeClr val="tx2"/>
              </a:buClr>
              <a:buSzPct val="105000"/>
              <a:buFont typeface="Arial" panose="020B0604020202020204" pitchFamily="34" charset="0"/>
              <a:buChar char="•"/>
              <a:defRPr sz="1400" kern="1200" cap="all" baseline="0">
                <a:solidFill>
                  <a:schemeClr val="tx2"/>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REGULATORY INVESTIGATIONS CLIENT TESTIMONIAL – THE LEGAL 500</a:t>
            </a:r>
            <a:endParaRPr lang="en-GB" dirty="0"/>
          </a:p>
        </p:txBody>
      </p:sp>
    </p:spTree>
    <p:extLst>
      <p:ext uri="{BB962C8B-B14F-4D97-AF65-F5344CB8AC3E}">
        <p14:creationId xmlns:p14="http://schemas.microsoft.com/office/powerpoint/2010/main" val="3351580732"/>
      </p:ext>
    </p:extLst>
  </p:cSld>
  <p:clrMapOvr>
    <a:masterClrMapping/>
  </p:clrMapOvr>
  <p:transition spd="med">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REGULATORY - Boilerplat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261A4C7-E98D-3660-5C37-C13B3A230A80}"/>
              </a:ext>
            </a:extLst>
          </p:cNvPr>
          <p:cNvSpPr/>
          <p:nvPr userDrawn="1"/>
        </p:nvSpPr>
        <p:spPr>
          <a:xfrm>
            <a:off x="8126413" y="0"/>
            <a:ext cx="4065587"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Footer Placeholder 4"/>
          <p:cNvSpPr>
            <a:spLocks noGrp="1"/>
          </p:cNvSpPr>
          <p:nvPr userDrawn="1">
            <p:ph type="ftr" sz="quarter" idx="11"/>
          </p:nvPr>
        </p:nvSpPr>
        <p:spPr/>
        <p:txBody>
          <a:bodyPr/>
          <a:lstStyle/>
          <a:p>
            <a:r>
              <a:rPr lang="en-GB"/>
              <a:t>INSERT FOOTER HERE</a:t>
            </a:r>
          </a:p>
        </p:txBody>
      </p:sp>
      <p:sp>
        <p:nvSpPr>
          <p:cNvPr id="6" name="Slide Number Placeholder 5"/>
          <p:cNvSpPr>
            <a:spLocks noGrp="1"/>
          </p:cNvSpPr>
          <p:nvPr userDrawn="1">
            <p:ph type="sldNum" sz="quarter" idx="12"/>
          </p:nvPr>
        </p:nvSpPr>
        <p:spPr/>
        <p:txBody>
          <a:bodyPr/>
          <a:lstStyle>
            <a:lvl1pPr>
              <a:defRPr>
                <a:solidFill>
                  <a:schemeClr val="tx1"/>
                </a:solidFill>
              </a:defRPr>
            </a:lvl1pPr>
          </a:lstStyle>
          <a:p>
            <a:fld id="{8CFE0557-AA98-4E6C-B0C3-581794696B68}" type="slidenum">
              <a:rPr lang="en-GB" smtClean="0"/>
              <a:pPr/>
              <a:t>‹#›</a:t>
            </a:fld>
            <a:endParaRPr lang="en-GB" dirty="0"/>
          </a:p>
        </p:txBody>
      </p:sp>
      <p:sp>
        <p:nvSpPr>
          <p:cNvPr id="3" name="Title 3">
            <a:extLst>
              <a:ext uri="{FF2B5EF4-FFF2-40B4-BE49-F238E27FC236}">
                <a16:creationId xmlns:a16="http://schemas.microsoft.com/office/drawing/2014/main" id="{C3707BBE-F8C2-9986-1A8F-9666AD5EC096}"/>
              </a:ext>
            </a:extLst>
          </p:cNvPr>
          <p:cNvSpPr txBox="1">
            <a:spLocks/>
          </p:cNvSpPr>
          <p:nvPr userDrawn="1"/>
        </p:nvSpPr>
        <p:spPr>
          <a:xfrm>
            <a:off x="508000" y="454014"/>
            <a:ext cx="7134225" cy="669934"/>
          </a:xfrm>
          <a:prstGeom prst="rect">
            <a:avLst/>
          </a:prstGeom>
        </p:spPr>
        <p:txBody>
          <a:bodyPr vert="horz" lIns="0" tIns="0" rIns="0" bIns="72000" rtlCol="0" anchor="t" anchorCtr="0">
            <a:noAutofit/>
          </a:bodyPr>
          <a:lstStyle>
            <a:lvl1pPr algn="l" defTabSz="914400" rtl="0" eaLnBrk="1" latinLnBrk="0" hangingPunct="1">
              <a:lnSpc>
                <a:spcPct val="90000"/>
              </a:lnSpc>
              <a:spcBef>
                <a:spcPct val="0"/>
              </a:spcBef>
              <a:buNone/>
              <a:defRPr sz="3200" kern="1200" cap="all" baseline="0">
                <a:solidFill>
                  <a:schemeClr val="tx2"/>
                </a:solidFill>
                <a:latin typeface="+mn-lt"/>
                <a:ea typeface="+mj-ea"/>
                <a:cs typeface="+mj-cs"/>
              </a:defRPr>
            </a:lvl1pPr>
          </a:lstStyle>
          <a:p>
            <a:r>
              <a:rPr lang="en-US" dirty="0"/>
              <a:t>REGULATORY</a:t>
            </a:r>
            <a:endParaRPr lang="en-GB" dirty="0"/>
          </a:p>
        </p:txBody>
      </p:sp>
      <p:sp>
        <p:nvSpPr>
          <p:cNvPr id="7" name="TextBox 6">
            <a:extLst>
              <a:ext uri="{FF2B5EF4-FFF2-40B4-BE49-F238E27FC236}">
                <a16:creationId xmlns:a16="http://schemas.microsoft.com/office/drawing/2014/main" id="{BD678108-0AEA-3AE9-BD3D-097F233A58C0}"/>
              </a:ext>
            </a:extLst>
          </p:cNvPr>
          <p:cNvSpPr txBox="1"/>
          <p:nvPr userDrawn="1"/>
        </p:nvSpPr>
        <p:spPr>
          <a:xfrm>
            <a:off x="504826" y="1123946"/>
            <a:ext cx="7183961" cy="1027119"/>
          </a:xfrm>
          <a:prstGeom prst="rect">
            <a:avLst/>
          </a:prstGeom>
        </p:spPr>
        <p:txBody>
          <a:bodyPr vert="horz" wrap="square" lIns="0" tIns="45720" rIns="0" bIns="45720" rtlCol="0">
            <a:noAutofit/>
          </a:bodyPr>
          <a:lstStyle/>
          <a:p>
            <a:pPr marL="0" lvl="0" indent="0" algn="l" defTabSz="914400" rtl="0" eaLnBrk="1" latinLnBrk="0" hangingPunct="1">
              <a:lnSpc>
                <a:spcPct val="110000"/>
              </a:lnSpc>
              <a:spcBef>
                <a:spcPts val="300"/>
              </a:spcBef>
              <a:spcAft>
                <a:spcPts val="300"/>
              </a:spcAft>
              <a:buFont typeface="Arial" panose="020B0604020202020204" pitchFamily="34" charset="0"/>
              <a:buNone/>
            </a:pPr>
            <a:r>
              <a:rPr lang="en-US" sz="2000" kern="1200" dirty="0">
                <a:solidFill>
                  <a:schemeClr val="accent2"/>
                </a:solidFill>
                <a:latin typeface="+mj-lt"/>
                <a:ea typeface="+mn-ea"/>
                <a:cs typeface="+mn-cs"/>
              </a:rPr>
              <a:t>Our specialist team advise our clients’ key decision-makers on a wide range of regulatory issues including corporate governance, environmental regulation, commodity derivatives and sanctions.</a:t>
            </a:r>
          </a:p>
        </p:txBody>
      </p:sp>
      <p:sp>
        <p:nvSpPr>
          <p:cNvPr id="10" name="TextBox 9">
            <a:extLst>
              <a:ext uri="{FF2B5EF4-FFF2-40B4-BE49-F238E27FC236}">
                <a16:creationId xmlns:a16="http://schemas.microsoft.com/office/drawing/2014/main" id="{12754B59-8BC6-79B9-F2AC-33CA58AACA6B}"/>
              </a:ext>
            </a:extLst>
          </p:cNvPr>
          <p:cNvSpPr txBox="1"/>
          <p:nvPr userDrawn="1"/>
        </p:nvSpPr>
        <p:spPr>
          <a:xfrm>
            <a:off x="504826" y="2195825"/>
            <a:ext cx="3403599" cy="4022429"/>
          </a:xfrm>
          <a:prstGeom prst="rect">
            <a:avLst/>
          </a:prstGeom>
        </p:spPr>
        <p:txBody>
          <a:bodyPr vert="horz" lIns="0" tIns="45720" rIns="0" bIns="45720" rtlCol="0">
            <a:normAutofit/>
          </a:bodyPr>
          <a:lstStyle>
            <a:lvl1pPr indent="0" defTabSz="914400">
              <a:lnSpc>
                <a:spcPct val="130000"/>
              </a:lnSpc>
              <a:spcBef>
                <a:spcPts val="300"/>
              </a:spcBef>
              <a:spcAft>
                <a:spcPts val="300"/>
              </a:spcAft>
              <a:buFont typeface="Arial" panose="020B0604020202020204" pitchFamily="34" charset="0"/>
              <a:buNone/>
              <a:defRPr sz="1400">
                <a:solidFill>
                  <a:schemeClr val="tx2"/>
                </a:solidFill>
                <a:latin typeface="+mj-lt"/>
              </a:defRPr>
            </a:lvl1pPr>
            <a:lvl2pPr marL="0" lvl="1" indent="0" defTabSz="914400">
              <a:lnSpc>
                <a:spcPct val="130000"/>
              </a:lnSpc>
              <a:spcBef>
                <a:spcPts val="300"/>
              </a:spcBef>
              <a:spcAft>
                <a:spcPts val="300"/>
              </a:spcAft>
              <a:buFont typeface="Arial" panose="020B0604020202020204" pitchFamily="34" charset="0"/>
              <a:buNone/>
              <a:defRPr sz="1100"/>
            </a:lvl2pPr>
            <a:lvl3pPr marL="180975" indent="-180975" defTabSz="914400">
              <a:lnSpc>
                <a:spcPct val="130000"/>
              </a:lnSpc>
              <a:spcBef>
                <a:spcPts val="300"/>
              </a:spcBef>
              <a:spcAft>
                <a:spcPts val="300"/>
              </a:spcAft>
              <a:buClr>
                <a:schemeClr val="tx2"/>
              </a:buClr>
              <a:buSzPct val="105000"/>
              <a:buFont typeface="Arial" panose="020B0604020202020204" pitchFamily="34" charset="0"/>
              <a:buChar char="•"/>
              <a:defRPr sz="1100"/>
            </a:lvl3pPr>
            <a:lvl4pPr marL="539750" indent="-180975" defTabSz="914400">
              <a:lnSpc>
                <a:spcPct val="130000"/>
              </a:lnSpc>
              <a:spcBef>
                <a:spcPts val="300"/>
              </a:spcBef>
              <a:spcAft>
                <a:spcPts val="300"/>
              </a:spcAft>
              <a:buClr>
                <a:schemeClr val="tx2"/>
              </a:buClr>
              <a:buSzPct val="105000"/>
              <a:buFont typeface="Arial" panose="020B0604020202020204" pitchFamily="34" charset="0"/>
              <a:buChar char="•"/>
              <a:defRPr sz="1050"/>
            </a:lvl4pPr>
            <a:lvl5pPr marL="898525" indent="-180975" defTabSz="914400">
              <a:lnSpc>
                <a:spcPct val="130000"/>
              </a:lnSpc>
              <a:spcBef>
                <a:spcPts val="300"/>
              </a:spcBef>
              <a:spcAft>
                <a:spcPts val="300"/>
              </a:spcAft>
              <a:buClr>
                <a:schemeClr val="tx2"/>
              </a:buClr>
              <a:buSzPct val="105000"/>
              <a:buFont typeface="Arial" panose="020B0604020202020204" pitchFamily="34" charset="0"/>
              <a:buChar char="•"/>
              <a:defRPr sz="105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1"/>
            <a:endParaRPr lang="en-US" dirty="0"/>
          </a:p>
          <a:p>
            <a:pPr lvl="1"/>
            <a:endParaRPr lang="en-US" dirty="0"/>
          </a:p>
          <a:p>
            <a:pPr lvl="1"/>
            <a:r>
              <a:rPr lang="en-US" dirty="0"/>
              <a:t>We also help clients manage the risk associated with investigations and enforcement actions around the world, advising corporations and individuals on all aspects of business crime and misconduct, including bribery, corruption, fraud, money laundering, market abuse and compliance.</a:t>
            </a:r>
          </a:p>
        </p:txBody>
      </p:sp>
      <p:sp>
        <p:nvSpPr>
          <p:cNvPr id="18" name="Content Placeholder 6">
            <a:extLst>
              <a:ext uri="{FF2B5EF4-FFF2-40B4-BE49-F238E27FC236}">
                <a16:creationId xmlns:a16="http://schemas.microsoft.com/office/drawing/2014/main" id="{52475DE9-CB19-61DB-1E0C-FA7A0CCA4259}"/>
              </a:ext>
            </a:extLst>
          </p:cNvPr>
          <p:cNvSpPr txBox="1">
            <a:spLocks/>
          </p:cNvSpPr>
          <p:nvPr userDrawn="1"/>
        </p:nvSpPr>
        <p:spPr>
          <a:xfrm>
            <a:off x="8755064" y="1464308"/>
            <a:ext cx="2963863" cy="4755516"/>
          </a:xfrm>
          <a:prstGeom prst="rect">
            <a:avLst/>
          </a:prstGeom>
        </p:spPr>
        <p:txBody>
          <a:bodyPr vert="horz" lIns="0" tIns="45720" rIns="0" bIns="45720" rtlCol="0">
            <a:normAutofit/>
          </a:bodyPr>
          <a:lstStyle>
            <a:lvl1pPr marL="0" indent="0" algn="l" defTabSz="914400" rtl="0" eaLnBrk="1" latinLnBrk="0" hangingPunct="1">
              <a:lnSpc>
                <a:spcPct val="130000"/>
              </a:lnSpc>
              <a:spcBef>
                <a:spcPts val="300"/>
              </a:spcBef>
              <a:spcAft>
                <a:spcPts val="300"/>
              </a:spcAft>
              <a:buFont typeface="Arial" panose="020B0604020202020204" pitchFamily="34" charset="0"/>
              <a:buNone/>
              <a:defRPr lang="en-US" sz="1100" kern="1200" dirty="0">
                <a:solidFill>
                  <a:schemeClr val="tx1"/>
                </a:solidFill>
                <a:latin typeface="+mn-lt"/>
                <a:ea typeface="+mn-ea"/>
                <a:cs typeface="+mn-cs"/>
              </a:defRPr>
            </a:lvl1pPr>
            <a:lvl2pPr marL="0" indent="0" algn="l" defTabSz="914400" rtl="0" eaLnBrk="1" latinLnBrk="0" hangingPunct="1">
              <a:lnSpc>
                <a:spcPct val="130000"/>
              </a:lnSpc>
              <a:spcBef>
                <a:spcPts val="300"/>
              </a:spcBef>
              <a:spcAft>
                <a:spcPts val="300"/>
              </a:spcAft>
              <a:buFont typeface="Arial" panose="020B0604020202020204" pitchFamily="34" charset="0"/>
              <a:buNone/>
              <a:defRPr lang="en-US" sz="1100" kern="1200" dirty="0">
                <a:solidFill>
                  <a:schemeClr val="tx1"/>
                </a:solidFill>
                <a:latin typeface="+mn-lt"/>
                <a:ea typeface="+mn-ea"/>
                <a:cs typeface="+mn-cs"/>
              </a:defRPr>
            </a:lvl2pPr>
            <a:lvl3pPr marL="180975" indent="-180975" algn="l" defTabSz="914400" rtl="0" eaLnBrk="1" latinLnBrk="0" hangingPunct="1">
              <a:lnSpc>
                <a:spcPct val="130000"/>
              </a:lnSpc>
              <a:spcBef>
                <a:spcPts val="300"/>
              </a:spcBef>
              <a:spcAft>
                <a:spcPts val="300"/>
              </a:spcAft>
              <a:buClr>
                <a:schemeClr val="tx2"/>
              </a:buClr>
              <a:buSzPct val="105000"/>
              <a:buFont typeface="Arial" panose="020B0604020202020204" pitchFamily="34" charset="0"/>
              <a:buChar char="•"/>
              <a:defRPr lang="en-US" sz="1100" kern="1200" dirty="0">
                <a:solidFill>
                  <a:schemeClr val="tx1"/>
                </a:solidFill>
                <a:latin typeface="+mn-lt"/>
                <a:ea typeface="+mn-ea"/>
                <a:cs typeface="+mn-cs"/>
              </a:defRPr>
            </a:lvl3pPr>
            <a:lvl4pPr marL="539750" indent="-180975" algn="l" defTabSz="914400" rtl="0" eaLnBrk="1" latinLnBrk="0" hangingPunct="1">
              <a:lnSpc>
                <a:spcPct val="130000"/>
              </a:lnSpc>
              <a:spcBef>
                <a:spcPts val="300"/>
              </a:spcBef>
              <a:spcAft>
                <a:spcPts val="300"/>
              </a:spcAft>
              <a:buClr>
                <a:schemeClr val="tx2"/>
              </a:buClr>
              <a:buSzPct val="105000"/>
              <a:buFont typeface="Arial" panose="020B0604020202020204" pitchFamily="34" charset="0"/>
              <a:buChar char="•"/>
              <a:defRPr lang="en-US" sz="1050" kern="1200" dirty="0">
                <a:solidFill>
                  <a:schemeClr val="tx1"/>
                </a:solidFill>
                <a:latin typeface="+mn-lt"/>
                <a:ea typeface="+mn-ea"/>
                <a:cs typeface="+mn-cs"/>
              </a:defRPr>
            </a:lvl4pPr>
            <a:lvl5pPr marL="898525" indent="-180975" algn="l" defTabSz="914400" rtl="0" eaLnBrk="1" latinLnBrk="0" hangingPunct="1">
              <a:lnSpc>
                <a:spcPct val="130000"/>
              </a:lnSpc>
              <a:spcBef>
                <a:spcPts val="300"/>
              </a:spcBef>
              <a:spcAft>
                <a:spcPts val="300"/>
              </a:spcAft>
              <a:buClr>
                <a:schemeClr val="tx2"/>
              </a:buClr>
              <a:buSzPct val="105000"/>
              <a:buFont typeface="Arial" panose="020B0604020202020204" pitchFamily="34" charset="0"/>
              <a:buChar char="•"/>
              <a:defRPr lang="en-US" sz="105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2">
              <a:buClr>
                <a:schemeClr val="tx1"/>
              </a:buClr>
            </a:pPr>
            <a:r>
              <a:rPr lang="en-US" dirty="0"/>
              <a:t>Anti-bribery and anti-corruption</a:t>
            </a:r>
          </a:p>
          <a:p>
            <a:pPr lvl="2">
              <a:buClr>
                <a:schemeClr val="tx1"/>
              </a:buClr>
            </a:pPr>
            <a:r>
              <a:rPr lang="en-US" dirty="0"/>
              <a:t>Anti-money laundering</a:t>
            </a:r>
          </a:p>
          <a:p>
            <a:pPr lvl="2">
              <a:buClr>
                <a:schemeClr val="tx1"/>
              </a:buClr>
            </a:pPr>
            <a:r>
              <a:rPr lang="en-US" dirty="0"/>
              <a:t>Aviation regulation</a:t>
            </a:r>
          </a:p>
          <a:p>
            <a:pPr lvl="2">
              <a:buClr>
                <a:schemeClr val="tx1"/>
              </a:buClr>
            </a:pPr>
            <a:r>
              <a:rPr lang="en-US" dirty="0"/>
              <a:t>Capital markets regulation</a:t>
            </a:r>
          </a:p>
          <a:p>
            <a:pPr lvl="2">
              <a:buClr>
                <a:schemeClr val="tx1"/>
              </a:buClr>
            </a:pPr>
            <a:r>
              <a:rPr lang="en-US" dirty="0"/>
              <a:t>Commodity derivatives regulation</a:t>
            </a:r>
          </a:p>
          <a:p>
            <a:pPr lvl="2">
              <a:buClr>
                <a:schemeClr val="tx1"/>
              </a:buClr>
            </a:pPr>
            <a:r>
              <a:rPr lang="en-US" dirty="0"/>
              <a:t>Commodity and product regulation</a:t>
            </a:r>
          </a:p>
          <a:p>
            <a:pPr lvl="2">
              <a:buClr>
                <a:schemeClr val="tx1"/>
              </a:buClr>
            </a:pPr>
            <a:r>
              <a:rPr lang="en-US" dirty="0"/>
              <a:t>Competition law</a:t>
            </a:r>
          </a:p>
          <a:p>
            <a:pPr lvl="2">
              <a:buClr>
                <a:schemeClr val="tx1"/>
              </a:buClr>
            </a:pPr>
            <a:r>
              <a:rPr lang="en-US" dirty="0"/>
              <a:t>Corporate governance</a:t>
            </a:r>
          </a:p>
          <a:p>
            <a:pPr lvl="2">
              <a:buClr>
                <a:schemeClr val="tx1"/>
              </a:buClr>
            </a:pPr>
            <a:r>
              <a:rPr lang="en-US" dirty="0"/>
              <a:t>Customs</a:t>
            </a:r>
          </a:p>
          <a:p>
            <a:pPr lvl="2">
              <a:buClr>
                <a:schemeClr val="tx1"/>
              </a:buClr>
            </a:pPr>
            <a:r>
              <a:rPr lang="en-US" dirty="0"/>
              <a:t>Data protection and privacy</a:t>
            </a:r>
          </a:p>
          <a:p>
            <a:pPr lvl="2">
              <a:buClr>
                <a:schemeClr val="tx1"/>
              </a:buClr>
            </a:pPr>
            <a:r>
              <a:rPr lang="en-US" dirty="0"/>
              <a:t>Environment regulation</a:t>
            </a:r>
          </a:p>
          <a:p>
            <a:pPr lvl="2">
              <a:buClr>
                <a:schemeClr val="tx1"/>
              </a:buClr>
            </a:pPr>
            <a:r>
              <a:rPr lang="en-US" dirty="0"/>
              <a:t>Insurance regulation</a:t>
            </a:r>
          </a:p>
          <a:p>
            <a:pPr lvl="2">
              <a:buClr>
                <a:schemeClr val="tx1"/>
              </a:buClr>
            </a:pPr>
            <a:r>
              <a:rPr lang="en-US" dirty="0"/>
              <a:t>Maritime regulation</a:t>
            </a:r>
          </a:p>
          <a:p>
            <a:pPr lvl="2">
              <a:buClr>
                <a:schemeClr val="tx1"/>
              </a:buClr>
            </a:pPr>
            <a:r>
              <a:rPr lang="en-US" dirty="0"/>
              <a:t>Procurement</a:t>
            </a:r>
          </a:p>
          <a:p>
            <a:pPr lvl="2">
              <a:buClr>
                <a:schemeClr val="tx1"/>
              </a:buClr>
            </a:pPr>
            <a:r>
              <a:rPr lang="en-US" dirty="0"/>
              <a:t>Sanctions and export controls</a:t>
            </a:r>
          </a:p>
        </p:txBody>
      </p:sp>
      <p:sp>
        <p:nvSpPr>
          <p:cNvPr id="20" name="Content Placeholder 78">
            <a:extLst>
              <a:ext uri="{FF2B5EF4-FFF2-40B4-BE49-F238E27FC236}">
                <a16:creationId xmlns:a16="http://schemas.microsoft.com/office/drawing/2014/main" id="{EC447A09-E145-F1DE-19CE-0D6E32F9FA96}"/>
              </a:ext>
            </a:extLst>
          </p:cNvPr>
          <p:cNvSpPr txBox="1">
            <a:spLocks/>
          </p:cNvSpPr>
          <p:nvPr userDrawn="1"/>
        </p:nvSpPr>
        <p:spPr>
          <a:xfrm>
            <a:off x="8755064" y="1098547"/>
            <a:ext cx="2946399" cy="365761"/>
          </a:xfrm>
          <a:prstGeom prst="rect">
            <a:avLst/>
          </a:prstGeom>
        </p:spPr>
        <p:txBody>
          <a:bodyPr vert="horz" lIns="0" tIns="45720" rIns="0" bIns="45720" rtlCol="0">
            <a:normAutofit/>
          </a:bodyPr>
          <a:lstStyle>
            <a:lvl1pPr marL="0" indent="0" algn="l" defTabSz="914400" rtl="0" eaLnBrk="1" latinLnBrk="0" hangingPunct="1">
              <a:lnSpc>
                <a:spcPct val="130000"/>
              </a:lnSpc>
              <a:spcBef>
                <a:spcPts val="300"/>
              </a:spcBef>
              <a:spcAft>
                <a:spcPts val="300"/>
              </a:spcAft>
              <a:buFont typeface="Arial" panose="020B0604020202020204" pitchFamily="34" charset="0"/>
              <a:buNone/>
              <a:defRPr sz="1400" kern="1200" cap="all" baseline="0">
                <a:solidFill>
                  <a:schemeClr val="tx2"/>
                </a:solidFill>
                <a:latin typeface="+mj-lt"/>
                <a:ea typeface="+mn-ea"/>
                <a:cs typeface="+mn-cs"/>
              </a:defRPr>
            </a:lvl1pPr>
            <a:lvl2pPr marL="0" indent="0" algn="l" defTabSz="914400" rtl="0" eaLnBrk="1" latinLnBrk="0" hangingPunct="1">
              <a:lnSpc>
                <a:spcPct val="130000"/>
              </a:lnSpc>
              <a:spcBef>
                <a:spcPts val="300"/>
              </a:spcBef>
              <a:spcAft>
                <a:spcPts val="300"/>
              </a:spcAft>
              <a:buFont typeface="Arial" panose="020B0604020202020204" pitchFamily="34" charset="0"/>
              <a:buNone/>
              <a:defRPr sz="1100" kern="1200">
                <a:solidFill>
                  <a:schemeClr val="tx1"/>
                </a:solidFill>
                <a:latin typeface="+mn-lt"/>
                <a:ea typeface="+mn-ea"/>
                <a:cs typeface="+mn-cs"/>
              </a:defRPr>
            </a:lvl2pPr>
            <a:lvl3pPr marL="180975" indent="-180975" algn="l" defTabSz="914400" rtl="0" eaLnBrk="1" latinLnBrk="0" hangingPunct="1">
              <a:lnSpc>
                <a:spcPct val="130000"/>
              </a:lnSpc>
              <a:spcBef>
                <a:spcPts val="300"/>
              </a:spcBef>
              <a:spcAft>
                <a:spcPts val="300"/>
              </a:spcAft>
              <a:buClr>
                <a:schemeClr val="tx2"/>
              </a:buClr>
              <a:buSzPct val="105000"/>
              <a:buFont typeface="Arial" panose="020B0604020202020204" pitchFamily="34" charset="0"/>
              <a:buChar char="•"/>
              <a:defRPr sz="1100" kern="1200">
                <a:solidFill>
                  <a:schemeClr val="tx1"/>
                </a:solidFill>
                <a:latin typeface="+mn-lt"/>
                <a:ea typeface="+mn-ea"/>
                <a:cs typeface="+mn-cs"/>
              </a:defRPr>
            </a:lvl3pPr>
            <a:lvl4pPr marL="539750" indent="-180975" algn="l" defTabSz="914400" rtl="0" eaLnBrk="1" latinLnBrk="0" hangingPunct="1">
              <a:lnSpc>
                <a:spcPct val="130000"/>
              </a:lnSpc>
              <a:spcBef>
                <a:spcPts val="300"/>
              </a:spcBef>
              <a:spcAft>
                <a:spcPts val="300"/>
              </a:spcAft>
              <a:buClr>
                <a:schemeClr val="tx2"/>
              </a:buClr>
              <a:buSzPct val="105000"/>
              <a:buFont typeface="Arial" panose="020B0604020202020204" pitchFamily="34" charset="0"/>
              <a:buChar char="•"/>
              <a:defRPr sz="1050" kern="1200">
                <a:solidFill>
                  <a:schemeClr val="tx1"/>
                </a:solidFill>
                <a:latin typeface="+mn-lt"/>
                <a:ea typeface="+mn-ea"/>
                <a:cs typeface="+mn-cs"/>
              </a:defRPr>
            </a:lvl4pPr>
            <a:lvl5pPr marL="898525" indent="-180975" algn="l" defTabSz="914400" rtl="0" eaLnBrk="1" latinLnBrk="0" hangingPunct="1">
              <a:lnSpc>
                <a:spcPct val="130000"/>
              </a:lnSpc>
              <a:spcBef>
                <a:spcPts val="300"/>
              </a:spcBef>
              <a:spcAft>
                <a:spcPts val="300"/>
              </a:spcAft>
              <a:buClr>
                <a:schemeClr val="tx2"/>
              </a:buClr>
              <a:buSzPct val="105000"/>
              <a:buFont typeface="Arial" panose="020B0604020202020204" pitchFamily="34" charset="0"/>
              <a:buChar char="•"/>
              <a:defRPr sz="105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OUR PRACTICE</a:t>
            </a:r>
            <a:endParaRPr lang="en-GB" dirty="0"/>
          </a:p>
        </p:txBody>
      </p:sp>
      <p:sp>
        <p:nvSpPr>
          <p:cNvPr id="24" name="Text Placeholder 18">
            <a:extLst>
              <a:ext uri="{FF2B5EF4-FFF2-40B4-BE49-F238E27FC236}">
                <a16:creationId xmlns:a16="http://schemas.microsoft.com/office/drawing/2014/main" id="{343D304B-5755-33C8-57B8-EB513241D2B2}"/>
              </a:ext>
            </a:extLst>
          </p:cNvPr>
          <p:cNvSpPr txBox="1">
            <a:spLocks/>
          </p:cNvSpPr>
          <p:nvPr userDrawn="1"/>
        </p:nvSpPr>
        <p:spPr>
          <a:xfrm>
            <a:off x="508000" y="5334846"/>
            <a:ext cx="7127876" cy="681779"/>
          </a:xfrm>
          <a:prstGeom prst="rect">
            <a:avLst/>
          </a:prstGeom>
        </p:spPr>
        <p:txBody>
          <a:bodyPr vert="horz" lIns="0" tIns="45720" rIns="0" bIns="0" rtlCol="0" anchor="b" anchorCtr="0">
            <a:noAutofit/>
          </a:bodyPr>
          <a:lstStyle>
            <a:lvl1pPr marL="108000" indent="-108000" algn="l" defTabSz="914400" rtl="0" eaLnBrk="1" latinLnBrk="0" hangingPunct="1">
              <a:lnSpc>
                <a:spcPct val="110000"/>
              </a:lnSpc>
              <a:spcBef>
                <a:spcPts val="0"/>
              </a:spcBef>
              <a:spcAft>
                <a:spcPts val="0"/>
              </a:spcAft>
              <a:buFont typeface="Arial" panose="020B0604020202020204" pitchFamily="34" charset="0"/>
              <a:buNone/>
              <a:defRPr lang="en-US" sz="2000" kern="1200" dirty="0">
                <a:solidFill>
                  <a:schemeClr val="accent3"/>
                </a:solidFill>
                <a:latin typeface="+mj-lt"/>
                <a:ea typeface="+mn-ea"/>
                <a:cs typeface="+mn-cs"/>
              </a:defRPr>
            </a:lvl1pPr>
            <a:lvl2pPr marL="0" indent="0" algn="l" defTabSz="914400" rtl="0" eaLnBrk="1" latinLnBrk="0" hangingPunct="1">
              <a:lnSpc>
                <a:spcPct val="130000"/>
              </a:lnSpc>
              <a:spcBef>
                <a:spcPts val="300"/>
              </a:spcBef>
              <a:spcAft>
                <a:spcPts val="300"/>
              </a:spcAft>
              <a:buFont typeface="Arial" panose="020B0604020202020204" pitchFamily="34" charset="0"/>
              <a:buNone/>
              <a:defRPr lang="en-US" sz="1400" kern="1200" dirty="0">
                <a:solidFill>
                  <a:schemeClr val="tx2"/>
                </a:solidFill>
                <a:latin typeface="+mj-lt"/>
                <a:ea typeface="+mn-ea"/>
                <a:cs typeface="+mn-cs"/>
              </a:defRPr>
            </a:lvl2pPr>
            <a:lvl3pPr marL="180975" indent="-180975" algn="l" defTabSz="914400" rtl="0" eaLnBrk="1" latinLnBrk="0" hangingPunct="1">
              <a:lnSpc>
                <a:spcPct val="130000"/>
              </a:lnSpc>
              <a:spcBef>
                <a:spcPts val="300"/>
              </a:spcBef>
              <a:spcAft>
                <a:spcPts val="300"/>
              </a:spcAft>
              <a:buClr>
                <a:schemeClr val="tx2"/>
              </a:buClr>
              <a:buSzPct val="105000"/>
              <a:buFont typeface="Arial" panose="020B0604020202020204" pitchFamily="34" charset="0"/>
              <a:buChar char="•"/>
              <a:defRPr sz="1100" kern="1200">
                <a:solidFill>
                  <a:schemeClr val="tx1"/>
                </a:solidFill>
                <a:latin typeface="+mn-lt"/>
                <a:ea typeface="+mn-ea"/>
                <a:cs typeface="+mn-cs"/>
              </a:defRPr>
            </a:lvl3pPr>
            <a:lvl4pPr marL="539750" indent="-180975" algn="l" defTabSz="914400" rtl="0" eaLnBrk="1" latinLnBrk="0" hangingPunct="1">
              <a:lnSpc>
                <a:spcPct val="130000"/>
              </a:lnSpc>
              <a:spcBef>
                <a:spcPts val="300"/>
              </a:spcBef>
              <a:spcAft>
                <a:spcPts val="300"/>
              </a:spcAft>
              <a:buClr>
                <a:schemeClr val="tx2"/>
              </a:buClr>
              <a:buSzPct val="105000"/>
              <a:buFont typeface="Arial" panose="020B0604020202020204" pitchFamily="34" charset="0"/>
              <a:buChar char="•"/>
              <a:defRPr sz="1050" kern="1200">
                <a:solidFill>
                  <a:schemeClr val="tx1"/>
                </a:solidFill>
                <a:latin typeface="+mn-lt"/>
                <a:ea typeface="+mn-ea"/>
                <a:cs typeface="+mn-cs"/>
              </a:defRPr>
            </a:lvl4pPr>
            <a:lvl5pPr marL="898525" indent="-180975" algn="l" defTabSz="914400" rtl="0" eaLnBrk="1" latinLnBrk="0" hangingPunct="1">
              <a:lnSpc>
                <a:spcPct val="130000"/>
              </a:lnSpc>
              <a:spcBef>
                <a:spcPts val="300"/>
              </a:spcBef>
              <a:spcAft>
                <a:spcPts val="300"/>
              </a:spcAft>
              <a:buClr>
                <a:schemeClr val="tx2"/>
              </a:buClr>
              <a:buSzPct val="105000"/>
              <a:buFont typeface="Arial" panose="020B0604020202020204" pitchFamily="34" charset="0"/>
              <a:buChar char="•"/>
              <a:defRPr sz="105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accent2"/>
                </a:solidFill>
              </a:rPr>
              <a:t>“Epitomizes the concept</a:t>
            </a:r>
            <a:br>
              <a:rPr lang="en-GB" dirty="0">
                <a:solidFill>
                  <a:schemeClr val="accent2"/>
                </a:solidFill>
              </a:rPr>
            </a:br>
            <a:r>
              <a:rPr lang="en-GB" dirty="0">
                <a:solidFill>
                  <a:schemeClr val="accent2"/>
                </a:solidFill>
              </a:rPr>
              <a:t>of a trusted adviser.”</a:t>
            </a:r>
          </a:p>
        </p:txBody>
      </p:sp>
      <p:sp>
        <p:nvSpPr>
          <p:cNvPr id="25" name="Text Placeholder 19">
            <a:extLst>
              <a:ext uri="{FF2B5EF4-FFF2-40B4-BE49-F238E27FC236}">
                <a16:creationId xmlns:a16="http://schemas.microsoft.com/office/drawing/2014/main" id="{81B002E7-4B60-BB45-BF28-565D1FE11C77}"/>
              </a:ext>
            </a:extLst>
          </p:cNvPr>
          <p:cNvSpPr txBox="1">
            <a:spLocks/>
          </p:cNvSpPr>
          <p:nvPr userDrawn="1"/>
        </p:nvSpPr>
        <p:spPr>
          <a:xfrm>
            <a:off x="508000" y="6047121"/>
            <a:ext cx="7127876" cy="215444"/>
          </a:xfrm>
          <a:prstGeom prst="rect">
            <a:avLst/>
          </a:prstGeom>
        </p:spPr>
        <p:txBody>
          <a:bodyPr vert="horz" wrap="square" lIns="0" tIns="0" rIns="0" bIns="0" rtlCol="0" anchor="b" anchorCtr="0">
            <a:spAutoFit/>
          </a:bodyPr>
          <a:lstStyle>
            <a:lvl1pPr marL="108000" indent="0" algn="l" defTabSz="914400" rtl="0" eaLnBrk="1" latinLnBrk="0" hangingPunct="1">
              <a:lnSpc>
                <a:spcPct val="100000"/>
              </a:lnSpc>
              <a:spcBef>
                <a:spcPts val="300"/>
              </a:spcBef>
              <a:spcAft>
                <a:spcPts val="300"/>
              </a:spcAft>
              <a:buFont typeface="Arial" panose="020B0604020202020204" pitchFamily="34" charset="0"/>
              <a:buNone/>
              <a:defRPr sz="1400" kern="1200" cap="all" baseline="0">
                <a:solidFill>
                  <a:schemeClr val="tx2"/>
                </a:solidFill>
                <a:latin typeface="+mj-lt"/>
                <a:ea typeface="+mn-ea"/>
                <a:cs typeface="+mn-cs"/>
              </a:defRPr>
            </a:lvl1pPr>
            <a:lvl2pPr marL="108000" indent="0" algn="l" defTabSz="914400" rtl="0" eaLnBrk="1" latinLnBrk="0" hangingPunct="1">
              <a:lnSpc>
                <a:spcPct val="100000"/>
              </a:lnSpc>
              <a:spcBef>
                <a:spcPts val="300"/>
              </a:spcBef>
              <a:spcAft>
                <a:spcPts val="300"/>
              </a:spcAft>
              <a:buFont typeface="Arial" panose="020B0604020202020204" pitchFamily="34" charset="0"/>
              <a:buNone/>
              <a:defRPr sz="1400" kern="1200" cap="all" baseline="0">
                <a:solidFill>
                  <a:schemeClr val="tx2"/>
                </a:solidFill>
                <a:latin typeface="+mj-lt"/>
                <a:ea typeface="+mn-ea"/>
                <a:cs typeface="+mn-cs"/>
              </a:defRPr>
            </a:lvl2pPr>
            <a:lvl3pPr marL="108000" indent="-180975" algn="l" defTabSz="914400" rtl="0" eaLnBrk="1" latinLnBrk="0" hangingPunct="1">
              <a:lnSpc>
                <a:spcPct val="100000"/>
              </a:lnSpc>
              <a:spcBef>
                <a:spcPts val="300"/>
              </a:spcBef>
              <a:spcAft>
                <a:spcPts val="300"/>
              </a:spcAft>
              <a:buClr>
                <a:schemeClr val="tx2"/>
              </a:buClr>
              <a:buSzPct val="105000"/>
              <a:buFont typeface="Arial" panose="020B0604020202020204" pitchFamily="34" charset="0"/>
              <a:buChar char="•"/>
              <a:defRPr sz="1400" kern="1200" cap="all" baseline="0">
                <a:solidFill>
                  <a:schemeClr val="tx2"/>
                </a:solidFill>
                <a:latin typeface="+mj-lt"/>
                <a:ea typeface="+mn-ea"/>
                <a:cs typeface="+mn-cs"/>
              </a:defRPr>
            </a:lvl3pPr>
            <a:lvl4pPr marL="108000" indent="-180975" algn="l" defTabSz="914400" rtl="0" eaLnBrk="1" latinLnBrk="0" hangingPunct="1">
              <a:lnSpc>
                <a:spcPct val="100000"/>
              </a:lnSpc>
              <a:spcBef>
                <a:spcPts val="300"/>
              </a:spcBef>
              <a:spcAft>
                <a:spcPts val="300"/>
              </a:spcAft>
              <a:buClr>
                <a:schemeClr val="tx2"/>
              </a:buClr>
              <a:buSzPct val="105000"/>
              <a:buFont typeface="Arial" panose="020B0604020202020204" pitchFamily="34" charset="0"/>
              <a:buChar char="•"/>
              <a:defRPr sz="1400" kern="1200" cap="all" baseline="0">
                <a:solidFill>
                  <a:schemeClr val="tx2"/>
                </a:solidFill>
                <a:latin typeface="+mj-lt"/>
                <a:ea typeface="+mn-ea"/>
                <a:cs typeface="+mn-cs"/>
              </a:defRPr>
            </a:lvl4pPr>
            <a:lvl5pPr marL="108000" indent="-180975" algn="l" defTabSz="914400" rtl="0" eaLnBrk="1" latinLnBrk="0" hangingPunct="1">
              <a:lnSpc>
                <a:spcPct val="100000"/>
              </a:lnSpc>
              <a:spcBef>
                <a:spcPts val="300"/>
              </a:spcBef>
              <a:spcAft>
                <a:spcPts val="300"/>
              </a:spcAft>
              <a:buClr>
                <a:schemeClr val="tx2"/>
              </a:buClr>
              <a:buSzPct val="105000"/>
              <a:buFont typeface="Arial" panose="020B0604020202020204" pitchFamily="34" charset="0"/>
              <a:buChar char="•"/>
              <a:defRPr sz="1400" kern="1200" cap="all" baseline="0">
                <a:solidFill>
                  <a:schemeClr val="tx2"/>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CORPORATE CLIENT TESTIMONIAL – THE LEGAL 500</a:t>
            </a:r>
            <a:endParaRPr lang="en-GB" dirty="0"/>
          </a:p>
        </p:txBody>
      </p:sp>
      <p:sp>
        <p:nvSpPr>
          <p:cNvPr id="2" name="TextBox 1">
            <a:extLst>
              <a:ext uri="{FF2B5EF4-FFF2-40B4-BE49-F238E27FC236}">
                <a16:creationId xmlns:a16="http://schemas.microsoft.com/office/drawing/2014/main" id="{472A89BE-9DC9-B082-6926-086F257AAD32}"/>
              </a:ext>
            </a:extLst>
          </p:cNvPr>
          <p:cNvSpPr txBox="1"/>
          <p:nvPr userDrawn="1"/>
        </p:nvSpPr>
        <p:spPr>
          <a:xfrm>
            <a:off x="4233546" y="2195825"/>
            <a:ext cx="3403599" cy="4022429"/>
          </a:xfrm>
          <a:prstGeom prst="rect">
            <a:avLst/>
          </a:prstGeom>
        </p:spPr>
        <p:txBody>
          <a:bodyPr vert="horz" lIns="0" tIns="45720" rIns="0" bIns="45720" rtlCol="0">
            <a:normAutofit/>
          </a:bodyPr>
          <a:lstStyle>
            <a:lvl1pPr indent="0" defTabSz="914400">
              <a:lnSpc>
                <a:spcPct val="130000"/>
              </a:lnSpc>
              <a:spcBef>
                <a:spcPts val="300"/>
              </a:spcBef>
              <a:spcAft>
                <a:spcPts val="300"/>
              </a:spcAft>
              <a:buFont typeface="Arial" panose="020B0604020202020204" pitchFamily="34" charset="0"/>
              <a:buNone/>
              <a:defRPr sz="1400">
                <a:solidFill>
                  <a:schemeClr val="tx2"/>
                </a:solidFill>
                <a:latin typeface="+mj-lt"/>
              </a:defRPr>
            </a:lvl1pPr>
            <a:lvl2pPr marL="0" lvl="1" indent="0" defTabSz="914400">
              <a:lnSpc>
                <a:spcPct val="130000"/>
              </a:lnSpc>
              <a:spcBef>
                <a:spcPts val="300"/>
              </a:spcBef>
              <a:spcAft>
                <a:spcPts val="300"/>
              </a:spcAft>
              <a:buFont typeface="Arial" panose="020B0604020202020204" pitchFamily="34" charset="0"/>
              <a:buNone/>
              <a:defRPr sz="1100"/>
            </a:lvl2pPr>
            <a:lvl3pPr marL="180975" indent="-180975" defTabSz="914400">
              <a:lnSpc>
                <a:spcPct val="130000"/>
              </a:lnSpc>
              <a:spcBef>
                <a:spcPts val="300"/>
              </a:spcBef>
              <a:spcAft>
                <a:spcPts val="300"/>
              </a:spcAft>
              <a:buClr>
                <a:schemeClr val="tx2"/>
              </a:buClr>
              <a:buSzPct val="105000"/>
              <a:buFont typeface="Arial" panose="020B0604020202020204" pitchFamily="34" charset="0"/>
              <a:buChar char="•"/>
              <a:defRPr sz="1100"/>
            </a:lvl3pPr>
            <a:lvl4pPr marL="539750" indent="-180975" defTabSz="914400">
              <a:lnSpc>
                <a:spcPct val="130000"/>
              </a:lnSpc>
              <a:spcBef>
                <a:spcPts val="300"/>
              </a:spcBef>
              <a:spcAft>
                <a:spcPts val="300"/>
              </a:spcAft>
              <a:buClr>
                <a:schemeClr val="tx2"/>
              </a:buClr>
              <a:buSzPct val="105000"/>
              <a:buFont typeface="Arial" panose="020B0604020202020204" pitchFamily="34" charset="0"/>
              <a:buChar char="•"/>
              <a:defRPr sz="1050"/>
            </a:lvl4pPr>
            <a:lvl5pPr marL="898525" indent="-180975" defTabSz="914400">
              <a:lnSpc>
                <a:spcPct val="130000"/>
              </a:lnSpc>
              <a:spcBef>
                <a:spcPts val="300"/>
              </a:spcBef>
              <a:spcAft>
                <a:spcPts val="300"/>
              </a:spcAft>
              <a:buClr>
                <a:schemeClr val="tx2"/>
              </a:buClr>
              <a:buSzPct val="105000"/>
              <a:buFont typeface="Arial" panose="020B0604020202020204" pitchFamily="34" charset="0"/>
              <a:buChar char="•"/>
              <a:defRPr sz="105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1"/>
            <a:endParaRPr lang="en-US" dirty="0"/>
          </a:p>
          <a:p>
            <a:pPr lvl="1"/>
            <a:endParaRPr lang="en-US" dirty="0"/>
          </a:p>
          <a:p>
            <a:pPr lvl="1"/>
            <a:r>
              <a:rPr lang="en-US" dirty="0"/>
              <a:t>We have excellent contacts within the key authorities and regulators, and understand the pressures our clients face in dealing with regulatory issues and their need for prompt, decisive and commercially focused advice.</a:t>
            </a:r>
            <a:endParaRPr lang="en-GB" dirty="0"/>
          </a:p>
        </p:txBody>
      </p:sp>
    </p:spTree>
    <p:extLst>
      <p:ext uri="{BB962C8B-B14F-4D97-AF65-F5344CB8AC3E}">
        <p14:creationId xmlns:p14="http://schemas.microsoft.com/office/powerpoint/2010/main" val="4000919556"/>
      </p:ext>
    </p:extLst>
  </p:cSld>
  <p:clrMapOvr>
    <a:masterClrMapping/>
  </p:clrMapOvr>
  <p:transition spd="med">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Locations Office 1">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261A4C7-E98D-3660-5C37-C13B3A230A80}"/>
              </a:ext>
            </a:extLst>
          </p:cNvPr>
          <p:cNvSpPr/>
          <p:nvPr userDrawn="1"/>
        </p:nvSpPr>
        <p:spPr>
          <a:xfrm>
            <a:off x="8126413" y="0"/>
            <a:ext cx="4065587"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Slide Number Placeholder 5"/>
          <p:cNvSpPr>
            <a:spLocks noGrp="1"/>
          </p:cNvSpPr>
          <p:nvPr userDrawn="1">
            <p:ph type="sldNum" sz="quarter" idx="12"/>
          </p:nvPr>
        </p:nvSpPr>
        <p:spPr/>
        <p:txBody>
          <a:bodyPr/>
          <a:lstStyle>
            <a:lvl1pPr>
              <a:defRPr>
                <a:solidFill>
                  <a:schemeClr val="tx1"/>
                </a:solidFill>
              </a:defRPr>
            </a:lvl1pPr>
          </a:lstStyle>
          <a:p>
            <a:fld id="{8CFE0557-AA98-4E6C-B0C3-581794696B68}" type="slidenum">
              <a:rPr lang="en-GB" smtClean="0"/>
              <a:pPr/>
              <a:t>‹#›</a:t>
            </a:fld>
            <a:endParaRPr lang="en-GB" dirty="0"/>
          </a:p>
        </p:txBody>
      </p:sp>
      <p:sp>
        <p:nvSpPr>
          <p:cNvPr id="7" name="Picture Placeholder 10">
            <a:extLst>
              <a:ext uri="{FF2B5EF4-FFF2-40B4-BE49-F238E27FC236}">
                <a16:creationId xmlns:a16="http://schemas.microsoft.com/office/drawing/2014/main" id="{1CA5F42F-AC29-F4B3-E667-86842A258FF7}"/>
              </a:ext>
            </a:extLst>
          </p:cNvPr>
          <p:cNvSpPr>
            <a:spLocks noGrp="1"/>
          </p:cNvSpPr>
          <p:nvPr>
            <p:ph type="pic" sz="quarter" idx="13" hasCustomPrompt="1"/>
          </p:nvPr>
        </p:nvSpPr>
        <p:spPr>
          <a:xfrm>
            <a:off x="1588" y="0"/>
            <a:ext cx="8124825" cy="6858000"/>
          </a:xfrm>
          <a:solidFill>
            <a:schemeClr val="tx1"/>
          </a:solidFill>
        </p:spPr>
        <p:txBody>
          <a:bodyPr vert="horz" lIns="0" tIns="45720" rIns="0" bIns="45720" rtlCol="0" anchor="ctr">
            <a:normAutofit/>
          </a:bodyPr>
          <a:lstStyle>
            <a:lvl1pPr algn="ctr">
              <a:defRPr lang="en-GB" sz="2800" b="0" dirty="0">
                <a:solidFill>
                  <a:schemeClr val="bg1"/>
                </a:solidFill>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US" dirty="0"/>
              <a:t>ADD RELATED </a:t>
            </a:r>
            <a:br>
              <a:rPr lang="en-US" dirty="0"/>
            </a:br>
            <a:r>
              <a:rPr lang="en-US" dirty="0"/>
              <a:t>IMAGE </a:t>
            </a:r>
            <a:br>
              <a:rPr lang="en-US" dirty="0"/>
            </a:br>
            <a:r>
              <a:rPr lang="en-US" dirty="0"/>
              <a:t>FROM HFW </a:t>
            </a:r>
            <a:br>
              <a:rPr lang="en-US" dirty="0"/>
            </a:br>
            <a:r>
              <a:rPr lang="en-US" dirty="0"/>
              <a:t>IMAGE LIBRARY</a:t>
            </a:r>
          </a:p>
        </p:txBody>
      </p:sp>
      <p:sp>
        <p:nvSpPr>
          <p:cNvPr id="10" name="Title 9">
            <a:extLst>
              <a:ext uri="{FF2B5EF4-FFF2-40B4-BE49-F238E27FC236}">
                <a16:creationId xmlns:a16="http://schemas.microsoft.com/office/drawing/2014/main" id="{5975EB63-D3CB-A327-18D7-98A05AB4A901}"/>
              </a:ext>
            </a:extLst>
          </p:cNvPr>
          <p:cNvSpPr>
            <a:spLocks noGrp="1"/>
          </p:cNvSpPr>
          <p:nvPr>
            <p:ph type="title" hasCustomPrompt="1"/>
          </p:nvPr>
        </p:nvSpPr>
        <p:spPr>
          <a:xfrm>
            <a:off x="8737600" y="454013"/>
            <a:ext cx="2944813" cy="554847"/>
          </a:xfrm>
        </p:spPr>
        <p:txBody>
          <a:bodyPr/>
          <a:lstStyle>
            <a:lvl1pPr>
              <a:defRPr/>
            </a:lvl1pPr>
          </a:lstStyle>
          <a:p>
            <a:r>
              <a:rPr lang="en-US" dirty="0"/>
              <a:t>OUR OFFICE</a:t>
            </a:r>
            <a:endParaRPr lang="en-GB" dirty="0"/>
          </a:p>
        </p:txBody>
      </p:sp>
      <p:sp>
        <p:nvSpPr>
          <p:cNvPr id="2" name="Text Placeholder 16">
            <a:extLst>
              <a:ext uri="{FF2B5EF4-FFF2-40B4-BE49-F238E27FC236}">
                <a16:creationId xmlns:a16="http://schemas.microsoft.com/office/drawing/2014/main" id="{267E9625-56D3-3AAE-AD0E-21B2BBC82CB1}"/>
              </a:ext>
            </a:extLst>
          </p:cNvPr>
          <p:cNvSpPr>
            <a:spLocks noGrp="1"/>
          </p:cNvSpPr>
          <p:nvPr>
            <p:ph type="body" sz="quarter" idx="23" hasCustomPrompt="1"/>
          </p:nvPr>
        </p:nvSpPr>
        <p:spPr>
          <a:xfrm>
            <a:off x="8739981" y="1226030"/>
            <a:ext cx="2815432" cy="541810"/>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0"/>
              </a:spcBef>
              <a:spcAft>
                <a:spcPts val="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1"/>
            <a:r>
              <a:rPr lang="en-US" dirty="0"/>
              <a:t>Address line </a:t>
            </a:r>
          </a:p>
        </p:txBody>
      </p:sp>
      <p:sp>
        <p:nvSpPr>
          <p:cNvPr id="4" name="Text Placeholder 16">
            <a:extLst>
              <a:ext uri="{FF2B5EF4-FFF2-40B4-BE49-F238E27FC236}">
                <a16:creationId xmlns:a16="http://schemas.microsoft.com/office/drawing/2014/main" id="{590198E8-BEAD-EF6C-BF6D-74FC1DA287CF}"/>
              </a:ext>
            </a:extLst>
          </p:cNvPr>
          <p:cNvSpPr>
            <a:spLocks noGrp="1"/>
          </p:cNvSpPr>
          <p:nvPr>
            <p:ph type="body" sz="quarter" idx="24" hasCustomPrompt="1"/>
          </p:nvPr>
        </p:nvSpPr>
        <p:spPr>
          <a:xfrm>
            <a:off x="8739981" y="1008860"/>
            <a:ext cx="2815432" cy="169277"/>
          </a:xfrm>
        </p:spPr>
        <p:txBody>
          <a:bodyPr tIns="0" bIns="0">
            <a:noAutofit/>
          </a:bodyPr>
          <a:lstStyle>
            <a:lvl1pPr algn="l">
              <a:lnSpc>
                <a:spcPct val="100000"/>
              </a:lnSpc>
              <a:spcBef>
                <a:spcPts val="0"/>
              </a:spcBef>
              <a:spcAft>
                <a:spcPts val="0"/>
              </a:spcAft>
              <a:defRPr sz="1100" cap="all" baseline="0">
                <a:solidFill>
                  <a:schemeClr val="tx2"/>
                </a:solidFill>
                <a:latin typeface="+mj-lt"/>
              </a:defRPr>
            </a:lvl1pPr>
            <a:lvl2pPr algn="l">
              <a:lnSpc>
                <a:spcPct val="100000"/>
              </a:lnSpc>
              <a:spcBef>
                <a:spcPts val="200"/>
              </a:spcBef>
              <a:spcAft>
                <a:spcPts val="200"/>
              </a:spcAft>
              <a:defRPr sz="1100">
                <a:solidFill>
                  <a:schemeClr val="tx1"/>
                </a:solidFill>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0"/>
            <a:r>
              <a:rPr lang="en-US" dirty="0"/>
              <a:t>Office name</a:t>
            </a:r>
          </a:p>
        </p:txBody>
      </p:sp>
      <p:sp>
        <p:nvSpPr>
          <p:cNvPr id="5" name="Text Placeholder 16">
            <a:extLst>
              <a:ext uri="{FF2B5EF4-FFF2-40B4-BE49-F238E27FC236}">
                <a16:creationId xmlns:a16="http://schemas.microsoft.com/office/drawing/2014/main" id="{25352EE2-38EF-F54E-0889-9C8B7E6FCE6A}"/>
              </a:ext>
            </a:extLst>
          </p:cNvPr>
          <p:cNvSpPr>
            <a:spLocks noGrp="1"/>
          </p:cNvSpPr>
          <p:nvPr>
            <p:ph type="body" sz="quarter" idx="27" hasCustomPrompt="1"/>
          </p:nvPr>
        </p:nvSpPr>
        <p:spPr>
          <a:xfrm>
            <a:off x="8915664" y="1794629"/>
            <a:ext cx="263974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12" name="TextBox 11">
            <a:extLst>
              <a:ext uri="{FF2B5EF4-FFF2-40B4-BE49-F238E27FC236}">
                <a16:creationId xmlns:a16="http://schemas.microsoft.com/office/drawing/2014/main" id="{6EA77D4F-73ED-32F0-12DF-15DA94615C28}"/>
              </a:ext>
            </a:extLst>
          </p:cNvPr>
          <p:cNvSpPr txBox="1"/>
          <p:nvPr userDrawn="1"/>
        </p:nvSpPr>
        <p:spPr>
          <a:xfrm flipH="1">
            <a:off x="8741500" y="1794629"/>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9" name="TextBox 4">
            <a:extLst>
              <a:ext uri="{FF2B5EF4-FFF2-40B4-BE49-F238E27FC236}">
                <a16:creationId xmlns:a16="http://schemas.microsoft.com/office/drawing/2014/main" id="{F83510EE-658F-A7C4-4812-24CDBA6217D5}"/>
              </a:ext>
            </a:extLst>
          </p:cNvPr>
          <p:cNvSpPr txBox="1"/>
          <p:nvPr userDrawn="1"/>
        </p:nvSpPr>
        <p:spPr>
          <a:xfrm>
            <a:off x="12346713" y="109538"/>
            <a:ext cx="2253207" cy="316496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INSERTING IMAGES:</a:t>
            </a:r>
          </a:p>
          <a:p>
            <a:pPr marL="179388" indent="-179388">
              <a:spcBef>
                <a:spcPts val="200"/>
              </a:spcBef>
              <a:spcAft>
                <a:spcPts val="200"/>
              </a:spcAft>
              <a:buFont typeface="+mj-lt"/>
              <a:buAutoNum type="arabicPeriod"/>
            </a:pPr>
            <a:r>
              <a:rPr lang="en-US" sz="900" dirty="0">
                <a:solidFill>
                  <a:schemeClr val="tx1"/>
                </a:solidFill>
                <a:latin typeface="+mn-lt"/>
              </a:rPr>
              <a:t>Simply click the image placeholder and select your image.</a:t>
            </a:r>
          </a:p>
          <a:p>
            <a:pPr marL="179388" indent="-179388">
              <a:spcBef>
                <a:spcPts val="200"/>
              </a:spcBef>
              <a:spcAft>
                <a:spcPts val="200"/>
              </a:spcAft>
              <a:buFont typeface="+mj-lt"/>
              <a:buAutoNum type="arabicPeriod"/>
            </a:pPr>
            <a:r>
              <a:rPr lang="en-US" sz="900" dirty="0">
                <a:solidFill>
                  <a:schemeClr val="tx1"/>
                </a:solidFill>
                <a:latin typeface="+mn-lt"/>
              </a:rPr>
              <a:t>Once your image is inserted into the shape it may be distorted. (Stretched or Squashed)</a:t>
            </a:r>
          </a:p>
          <a:p>
            <a:pPr marL="179388" indent="-179388">
              <a:spcBef>
                <a:spcPts val="200"/>
              </a:spcBef>
              <a:spcAft>
                <a:spcPts val="200"/>
              </a:spcAft>
              <a:buFont typeface="+mj-lt"/>
              <a:buAutoNum type="arabicPeriod"/>
            </a:pPr>
            <a:endParaRPr lang="en-US" sz="900" dirty="0">
              <a:solidFill>
                <a:schemeClr val="tx1"/>
              </a:solidFill>
              <a:latin typeface="+mn-lt"/>
            </a:endParaRPr>
          </a:p>
          <a:p>
            <a:pPr>
              <a:spcBef>
                <a:spcPts val="200"/>
              </a:spcBef>
              <a:spcAft>
                <a:spcPts val="200"/>
              </a:spcAft>
            </a:pPr>
            <a:r>
              <a:rPr lang="en-US" sz="900" b="1" dirty="0">
                <a:solidFill>
                  <a:schemeClr val="tx1"/>
                </a:solidFill>
                <a:latin typeface="+mn-lt"/>
              </a:rPr>
              <a:t>To fix this:</a:t>
            </a:r>
          </a:p>
          <a:p>
            <a:pPr marL="179388" indent="-179388">
              <a:spcBef>
                <a:spcPts val="200"/>
              </a:spcBef>
              <a:spcAft>
                <a:spcPts val="200"/>
              </a:spcAft>
              <a:buFont typeface="+mj-lt"/>
              <a:buAutoNum type="arabicPeriod"/>
            </a:pPr>
            <a:r>
              <a:rPr lang="en-US" sz="900" dirty="0">
                <a:solidFill>
                  <a:schemeClr val="tx1"/>
                </a:solidFill>
                <a:latin typeface="+mn-lt"/>
              </a:rPr>
              <a:t>Click on the image and from the top menu under </a:t>
            </a:r>
            <a:r>
              <a:rPr lang="en-US" sz="900" b="1" dirty="0">
                <a:solidFill>
                  <a:schemeClr val="tx1"/>
                </a:solidFill>
                <a:latin typeface="+mn-lt"/>
              </a:rPr>
              <a:t>PICTURE FORMAT </a:t>
            </a:r>
            <a:r>
              <a:rPr lang="en-US" sz="900" dirty="0">
                <a:solidFill>
                  <a:schemeClr val="tx1"/>
                </a:solidFill>
                <a:latin typeface="+mn-lt"/>
              </a:rPr>
              <a:t>select the </a:t>
            </a:r>
            <a:r>
              <a:rPr lang="en-US" sz="900" b="1" dirty="0">
                <a:solidFill>
                  <a:schemeClr val="tx1"/>
                </a:solidFill>
                <a:latin typeface="+mn-lt"/>
              </a:rPr>
              <a:t>CROP</a:t>
            </a:r>
            <a:r>
              <a:rPr lang="en-US" sz="900" dirty="0">
                <a:solidFill>
                  <a:schemeClr val="tx1"/>
                </a:solidFill>
                <a:latin typeface="+mn-lt"/>
              </a:rPr>
              <a:t> on the right and from the drop down menu select </a:t>
            </a:r>
            <a:r>
              <a:rPr lang="en-US" sz="900" b="1" kern="1200" dirty="0">
                <a:solidFill>
                  <a:schemeClr val="tx1"/>
                </a:solidFill>
                <a:latin typeface="+mn-lt"/>
                <a:ea typeface="+mn-ea"/>
                <a:cs typeface="+mn-cs"/>
              </a:rPr>
              <a:t>FILL</a:t>
            </a:r>
          </a:p>
          <a:p>
            <a:pPr marL="179388" indent="-179388">
              <a:spcBef>
                <a:spcPts val="200"/>
              </a:spcBef>
              <a:spcAft>
                <a:spcPts val="200"/>
              </a:spcAft>
              <a:buFont typeface="+mj-lt"/>
              <a:buAutoNum type="arabicPeriod"/>
            </a:pPr>
            <a:r>
              <a:rPr lang="en-US" sz="900" b="0" kern="1200" dirty="0">
                <a:solidFill>
                  <a:schemeClr val="tx1"/>
                </a:solidFill>
                <a:latin typeface="+mn-lt"/>
                <a:ea typeface="+mn-ea"/>
                <a:cs typeface="+mn-cs"/>
              </a:rPr>
              <a:t>From here you can move the image within the shape for best visual appearance</a:t>
            </a:r>
          </a:p>
          <a:p>
            <a:pPr marL="179388" indent="-179388">
              <a:spcBef>
                <a:spcPts val="200"/>
              </a:spcBef>
              <a:spcAft>
                <a:spcPts val="200"/>
              </a:spcAft>
              <a:buFont typeface="+mj-lt"/>
              <a:buAutoNum type="arabicPeriod"/>
            </a:pPr>
            <a:endParaRPr lang="en-US" sz="900" b="0" kern="1200" dirty="0">
              <a:solidFill>
                <a:schemeClr val="tx1"/>
              </a:solidFill>
              <a:latin typeface="+mn-lt"/>
              <a:ea typeface="+mn-ea"/>
              <a:cs typeface="+mn-cs"/>
            </a:endParaRPr>
          </a:p>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SAMPLE CONTACT LAYOUT</a:t>
            </a:r>
          </a:p>
        </p:txBody>
      </p:sp>
      <p:grpSp>
        <p:nvGrpSpPr>
          <p:cNvPr id="29" name="Group 28">
            <a:extLst>
              <a:ext uri="{FF2B5EF4-FFF2-40B4-BE49-F238E27FC236}">
                <a16:creationId xmlns:a16="http://schemas.microsoft.com/office/drawing/2014/main" id="{21A6FF88-090C-AFFE-292E-F39F0F9A0078}"/>
              </a:ext>
            </a:extLst>
          </p:cNvPr>
          <p:cNvGrpSpPr/>
          <p:nvPr userDrawn="1"/>
        </p:nvGrpSpPr>
        <p:grpSpPr>
          <a:xfrm>
            <a:off x="12437199" y="3429000"/>
            <a:ext cx="2813913" cy="1004063"/>
            <a:chOff x="12437199" y="3429000"/>
            <a:chExt cx="2813913" cy="1004063"/>
          </a:xfrm>
        </p:grpSpPr>
        <p:sp>
          <p:nvSpPr>
            <p:cNvPr id="13" name="TextBox 12">
              <a:extLst>
                <a:ext uri="{FF2B5EF4-FFF2-40B4-BE49-F238E27FC236}">
                  <a16:creationId xmlns:a16="http://schemas.microsoft.com/office/drawing/2014/main" id="{48FB0709-B718-3A80-97D8-422645B0CCA2}"/>
                </a:ext>
              </a:extLst>
            </p:cNvPr>
            <p:cNvSpPr txBox="1"/>
            <p:nvPr userDrawn="1"/>
          </p:nvSpPr>
          <p:spPr>
            <a:xfrm flipH="1">
              <a:off x="12611362" y="4263786"/>
              <a:ext cx="2639750"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15" name="TextBox 14">
              <a:extLst>
                <a:ext uri="{FF2B5EF4-FFF2-40B4-BE49-F238E27FC236}">
                  <a16:creationId xmlns:a16="http://schemas.microsoft.com/office/drawing/2014/main" id="{4D380931-73E2-6454-C11A-2F12A14CCC34}"/>
                </a:ext>
              </a:extLst>
            </p:cNvPr>
            <p:cNvSpPr txBox="1"/>
            <p:nvPr userDrawn="1"/>
          </p:nvSpPr>
          <p:spPr>
            <a:xfrm flipH="1">
              <a:off x="12437200" y="4263786"/>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18" name="TextBox 17">
              <a:extLst>
                <a:ext uri="{FF2B5EF4-FFF2-40B4-BE49-F238E27FC236}">
                  <a16:creationId xmlns:a16="http://schemas.microsoft.com/office/drawing/2014/main" id="{1DBE8451-63E4-AA52-8B79-6F150A2C147C}"/>
                </a:ext>
              </a:extLst>
            </p:cNvPr>
            <p:cNvSpPr txBox="1"/>
            <p:nvPr userDrawn="1"/>
          </p:nvSpPr>
          <p:spPr>
            <a:xfrm flipH="1">
              <a:off x="12437199" y="3429000"/>
              <a:ext cx="1968833"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solidFill>
                    <a:schemeClr val="tx2"/>
                  </a:solidFill>
                  <a:latin typeface="+mj-lt"/>
                </a:rPr>
                <a:t>OFFICE NAME</a:t>
              </a:r>
            </a:p>
          </p:txBody>
        </p:sp>
        <p:sp>
          <p:nvSpPr>
            <p:cNvPr id="19" name="TextBox 18">
              <a:extLst>
                <a:ext uri="{FF2B5EF4-FFF2-40B4-BE49-F238E27FC236}">
                  <a16:creationId xmlns:a16="http://schemas.microsoft.com/office/drawing/2014/main" id="{5A707C24-802F-9FA6-81F3-9FC6B929DB38}"/>
                </a:ext>
              </a:extLst>
            </p:cNvPr>
            <p:cNvSpPr txBox="1"/>
            <p:nvPr userDrawn="1"/>
          </p:nvSpPr>
          <p:spPr>
            <a:xfrm flipH="1">
              <a:off x="12437199" y="3644298"/>
              <a:ext cx="1968833"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0" lvl="0" indent="0" algn="l" defTabSz="914400" rtl="0" eaLnBrk="1" latinLnBrk="0" hangingPunct="1">
                <a:lnSpc>
                  <a:spcPct val="100000"/>
                </a:lnSpc>
                <a:spcBef>
                  <a:spcPts val="100"/>
                </a:spcBef>
                <a:spcAft>
                  <a:spcPts val="0"/>
                </a:spcAft>
                <a:buFont typeface="Arial" panose="020B0604020202020204" pitchFamily="34" charset="0"/>
                <a:buNone/>
              </a:pPr>
              <a:r>
                <a:rPr lang="en-US" dirty="0"/>
                <a:t>Address line 1</a:t>
              </a:r>
            </a:p>
            <a:p>
              <a:pPr marL="0" marR="0" lvl="0" indent="0" algn="l" defTabSz="914400" rtl="0" eaLnBrk="1" fontAlgn="auto" latinLnBrk="0" hangingPunct="1">
                <a:lnSpc>
                  <a:spcPct val="100000"/>
                </a:lnSpc>
                <a:spcBef>
                  <a:spcPts val="100"/>
                </a:spcBef>
                <a:spcAft>
                  <a:spcPts val="0"/>
                </a:spcAft>
                <a:buClrTx/>
                <a:buSzTx/>
                <a:buFont typeface="Arial" panose="020B0604020202020204" pitchFamily="34" charset="0"/>
                <a:buNone/>
                <a:tabLst/>
                <a:defRPr/>
              </a:pPr>
              <a:r>
                <a:rPr lang="en-US" dirty="0"/>
                <a:t>Address line 2</a:t>
              </a:r>
            </a:p>
            <a:p>
              <a:pPr marL="0" marR="0" lvl="0" indent="0" algn="l" defTabSz="914400" rtl="0" eaLnBrk="1" fontAlgn="auto" latinLnBrk="0" hangingPunct="1">
                <a:lnSpc>
                  <a:spcPct val="100000"/>
                </a:lnSpc>
                <a:spcBef>
                  <a:spcPts val="100"/>
                </a:spcBef>
                <a:spcAft>
                  <a:spcPts val="0"/>
                </a:spcAft>
                <a:buClrTx/>
                <a:buSzTx/>
                <a:buFont typeface="Arial" panose="020B0604020202020204" pitchFamily="34" charset="0"/>
                <a:buNone/>
                <a:tabLst/>
                <a:defRPr/>
              </a:pPr>
              <a:r>
                <a:rPr lang="en-US" dirty="0"/>
                <a:t>Address line 3</a:t>
              </a:r>
            </a:p>
            <a:p>
              <a:pPr marL="0" lvl="0" indent="0" algn="l" defTabSz="914400" rtl="0" eaLnBrk="1" latinLnBrk="0" hangingPunct="1">
                <a:lnSpc>
                  <a:spcPct val="100000"/>
                </a:lnSpc>
                <a:spcBef>
                  <a:spcPts val="200"/>
                </a:spcBef>
                <a:spcAft>
                  <a:spcPts val="200"/>
                </a:spcAft>
                <a:buFont typeface="Arial" panose="020B0604020202020204" pitchFamily="34" charset="0"/>
                <a:buNone/>
              </a:pPr>
              <a:endParaRPr lang="en-US" dirty="0"/>
            </a:p>
          </p:txBody>
        </p:sp>
      </p:grpSp>
    </p:spTree>
    <p:extLst>
      <p:ext uri="{BB962C8B-B14F-4D97-AF65-F5344CB8AC3E}">
        <p14:creationId xmlns:p14="http://schemas.microsoft.com/office/powerpoint/2010/main" val="3869261662"/>
      </p:ext>
    </p:extLst>
  </p:cSld>
  <p:clrMapOvr>
    <a:masterClrMapping/>
  </p:clrMapOvr>
  <p:transition spd="med">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Locations Office 2">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261A4C7-E98D-3660-5C37-C13B3A230A80}"/>
              </a:ext>
            </a:extLst>
          </p:cNvPr>
          <p:cNvSpPr/>
          <p:nvPr userDrawn="1"/>
        </p:nvSpPr>
        <p:spPr>
          <a:xfrm>
            <a:off x="8126413" y="0"/>
            <a:ext cx="4065587"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Slide Number Placeholder 5"/>
          <p:cNvSpPr>
            <a:spLocks noGrp="1"/>
          </p:cNvSpPr>
          <p:nvPr userDrawn="1">
            <p:ph type="sldNum" sz="quarter" idx="12"/>
          </p:nvPr>
        </p:nvSpPr>
        <p:spPr/>
        <p:txBody>
          <a:bodyPr/>
          <a:lstStyle>
            <a:lvl1pPr>
              <a:defRPr>
                <a:solidFill>
                  <a:schemeClr val="tx1"/>
                </a:solidFill>
              </a:defRPr>
            </a:lvl1pPr>
          </a:lstStyle>
          <a:p>
            <a:fld id="{8CFE0557-AA98-4E6C-B0C3-581794696B68}" type="slidenum">
              <a:rPr lang="en-GB" smtClean="0"/>
              <a:pPr/>
              <a:t>‹#›</a:t>
            </a:fld>
            <a:endParaRPr lang="en-GB" dirty="0"/>
          </a:p>
        </p:txBody>
      </p:sp>
      <p:sp>
        <p:nvSpPr>
          <p:cNvPr id="7" name="Picture Placeholder 10">
            <a:extLst>
              <a:ext uri="{FF2B5EF4-FFF2-40B4-BE49-F238E27FC236}">
                <a16:creationId xmlns:a16="http://schemas.microsoft.com/office/drawing/2014/main" id="{1CA5F42F-AC29-F4B3-E667-86842A258FF7}"/>
              </a:ext>
            </a:extLst>
          </p:cNvPr>
          <p:cNvSpPr>
            <a:spLocks noGrp="1"/>
          </p:cNvSpPr>
          <p:nvPr>
            <p:ph type="pic" sz="quarter" idx="13" hasCustomPrompt="1"/>
          </p:nvPr>
        </p:nvSpPr>
        <p:spPr>
          <a:xfrm>
            <a:off x="1588" y="0"/>
            <a:ext cx="8124825" cy="3429000"/>
          </a:xfrm>
          <a:solidFill>
            <a:schemeClr val="tx1"/>
          </a:solidFill>
        </p:spPr>
        <p:txBody>
          <a:bodyPr vert="horz" lIns="0" tIns="45720" rIns="0" bIns="45720" rtlCol="0" anchor="ctr">
            <a:normAutofit/>
          </a:bodyPr>
          <a:lstStyle>
            <a:lvl1pPr algn="ctr">
              <a:lnSpc>
                <a:spcPct val="100000"/>
              </a:lnSpc>
              <a:spcBef>
                <a:spcPts val="200"/>
              </a:spcBef>
              <a:spcAft>
                <a:spcPts val="200"/>
              </a:spcAft>
              <a:defRPr lang="en-GB" sz="2800" b="0" dirty="0">
                <a:solidFill>
                  <a:schemeClr val="bg1"/>
                </a:solidFill>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US" dirty="0"/>
              <a:t>ADD RELATED IMAGE </a:t>
            </a:r>
            <a:br>
              <a:rPr lang="en-US" dirty="0"/>
            </a:br>
            <a:r>
              <a:rPr lang="en-US" dirty="0"/>
              <a:t>FROM HFW </a:t>
            </a:r>
            <a:br>
              <a:rPr lang="en-US" dirty="0"/>
            </a:br>
            <a:r>
              <a:rPr lang="en-US" dirty="0"/>
              <a:t>IMAGE LIBRARY</a:t>
            </a:r>
          </a:p>
        </p:txBody>
      </p:sp>
      <p:sp>
        <p:nvSpPr>
          <p:cNvPr id="2" name="Picture Placeholder 10">
            <a:extLst>
              <a:ext uri="{FF2B5EF4-FFF2-40B4-BE49-F238E27FC236}">
                <a16:creationId xmlns:a16="http://schemas.microsoft.com/office/drawing/2014/main" id="{745A71BB-8DDA-5D04-068C-8F4A0028A571}"/>
              </a:ext>
            </a:extLst>
          </p:cNvPr>
          <p:cNvSpPr>
            <a:spLocks noGrp="1"/>
          </p:cNvSpPr>
          <p:nvPr>
            <p:ph type="pic" sz="quarter" idx="24" hasCustomPrompt="1"/>
          </p:nvPr>
        </p:nvSpPr>
        <p:spPr>
          <a:xfrm>
            <a:off x="1588" y="3428999"/>
            <a:ext cx="8124825" cy="3429001"/>
          </a:xfrm>
          <a:solidFill>
            <a:schemeClr val="tx1">
              <a:lumMod val="60000"/>
              <a:lumOff val="40000"/>
            </a:schemeClr>
          </a:solidFill>
        </p:spPr>
        <p:txBody>
          <a:bodyPr vert="horz" lIns="0" tIns="45720" rIns="0" bIns="45720" rtlCol="0" anchor="ctr">
            <a:normAutofit/>
          </a:bodyPr>
          <a:lstStyle>
            <a:lvl1pPr algn="ctr">
              <a:lnSpc>
                <a:spcPct val="100000"/>
              </a:lnSpc>
              <a:spcBef>
                <a:spcPts val="200"/>
              </a:spcBef>
              <a:spcAft>
                <a:spcPts val="200"/>
              </a:spcAft>
              <a:defRPr lang="en-GB" sz="2800" b="0" dirty="0">
                <a:solidFill>
                  <a:schemeClr val="bg1"/>
                </a:solidFill>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US" dirty="0"/>
              <a:t>ADD RELATED IMAGE </a:t>
            </a:r>
            <a:br>
              <a:rPr lang="en-US" dirty="0"/>
            </a:br>
            <a:r>
              <a:rPr lang="en-US" dirty="0"/>
              <a:t>FROM HFW </a:t>
            </a:r>
            <a:br>
              <a:rPr lang="en-US" dirty="0"/>
            </a:br>
            <a:r>
              <a:rPr lang="en-US" dirty="0"/>
              <a:t>IMAGE LIBRARY</a:t>
            </a:r>
          </a:p>
        </p:txBody>
      </p:sp>
      <p:sp>
        <p:nvSpPr>
          <p:cNvPr id="4" name="Text Placeholder 16">
            <a:extLst>
              <a:ext uri="{FF2B5EF4-FFF2-40B4-BE49-F238E27FC236}">
                <a16:creationId xmlns:a16="http://schemas.microsoft.com/office/drawing/2014/main" id="{079D7830-23C1-A4AF-A7DB-7495D0CA16A1}"/>
              </a:ext>
            </a:extLst>
          </p:cNvPr>
          <p:cNvSpPr>
            <a:spLocks noGrp="1"/>
          </p:cNvSpPr>
          <p:nvPr>
            <p:ph type="body" sz="quarter" idx="23" hasCustomPrompt="1"/>
          </p:nvPr>
        </p:nvSpPr>
        <p:spPr>
          <a:xfrm>
            <a:off x="8739981" y="1226030"/>
            <a:ext cx="2815432" cy="541810"/>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0"/>
              </a:spcBef>
              <a:spcAft>
                <a:spcPts val="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1"/>
            <a:r>
              <a:rPr lang="en-US" dirty="0"/>
              <a:t>Address line </a:t>
            </a:r>
          </a:p>
        </p:txBody>
      </p:sp>
      <p:sp>
        <p:nvSpPr>
          <p:cNvPr id="5" name="Text Placeholder 16">
            <a:extLst>
              <a:ext uri="{FF2B5EF4-FFF2-40B4-BE49-F238E27FC236}">
                <a16:creationId xmlns:a16="http://schemas.microsoft.com/office/drawing/2014/main" id="{8BD79C84-070F-2F11-ECBB-06B0B70912DD}"/>
              </a:ext>
            </a:extLst>
          </p:cNvPr>
          <p:cNvSpPr>
            <a:spLocks noGrp="1"/>
          </p:cNvSpPr>
          <p:nvPr>
            <p:ph type="body" sz="quarter" idx="27" hasCustomPrompt="1"/>
          </p:nvPr>
        </p:nvSpPr>
        <p:spPr>
          <a:xfrm>
            <a:off x="8739981" y="1008860"/>
            <a:ext cx="2815432" cy="169277"/>
          </a:xfrm>
        </p:spPr>
        <p:txBody>
          <a:bodyPr tIns="0" bIns="0">
            <a:noAutofit/>
          </a:bodyPr>
          <a:lstStyle>
            <a:lvl1pPr algn="l">
              <a:lnSpc>
                <a:spcPct val="100000"/>
              </a:lnSpc>
              <a:spcBef>
                <a:spcPts val="0"/>
              </a:spcBef>
              <a:spcAft>
                <a:spcPts val="0"/>
              </a:spcAft>
              <a:defRPr sz="1100" cap="all" baseline="0">
                <a:solidFill>
                  <a:schemeClr val="tx2"/>
                </a:solidFill>
                <a:latin typeface="+mj-lt"/>
              </a:defRPr>
            </a:lvl1pPr>
            <a:lvl2pPr algn="l">
              <a:lnSpc>
                <a:spcPct val="100000"/>
              </a:lnSpc>
              <a:spcBef>
                <a:spcPts val="200"/>
              </a:spcBef>
              <a:spcAft>
                <a:spcPts val="200"/>
              </a:spcAft>
              <a:defRPr sz="1100">
                <a:solidFill>
                  <a:schemeClr val="tx1"/>
                </a:solidFill>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0"/>
            <a:r>
              <a:rPr lang="en-US" dirty="0"/>
              <a:t>Office name</a:t>
            </a:r>
          </a:p>
        </p:txBody>
      </p:sp>
      <p:sp>
        <p:nvSpPr>
          <p:cNvPr id="11" name="Text Placeholder 16">
            <a:extLst>
              <a:ext uri="{FF2B5EF4-FFF2-40B4-BE49-F238E27FC236}">
                <a16:creationId xmlns:a16="http://schemas.microsoft.com/office/drawing/2014/main" id="{3F5BF370-84B4-B9EB-1938-A52EB7C07973}"/>
              </a:ext>
            </a:extLst>
          </p:cNvPr>
          <p:cNvSpPr>
            <a:spLocks noGrp="1"/>
          </p:cNvSpPr>
          <p:nvPr>
            <p:ph type="body" sz="quarter" idx="28" hasCustomPrompt="1"/>
          </p:nvPr>
        </p:nvSpPr>
        <p:spPr>
          <a:xfrm>
            <a:off x="8915664" y="1794629"/>
            <a:ext cx="263974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12" name="TextBox 11">
            <a:extLst>
              <a:ext uri="{FF2B5EF4-FFF2-40B4-BE49-F238E27FC236}">
                <a16:creationId xmlns:a16="http://schemas.microsoft.com/office/drawing/2014/main" id="{5D85D8C2-6A5A-A005-C696-E10135A0A267}"/>
              </a:ext>
            </a:extLst>
          </p:cNvPr>
          <p:cNvSpPr txBox="1"/>
          <p:nvPr userDrawn="1"/>
        </p:nvSpPr>
        <p:spPr>
          <a:xfrm flipH="1">
            <a:off x="8741500" y="1794629"/>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13" name="Text Placeholder 16">
            <a:extLst>
              <a:ext uri="{FF2B5EF4-FFF2-40B4-BE49-F238E27FC236}">
                <a16:creationId xmlns:a16="http://schemas.microsoft.com/office/drawing/2014/main" id="{855544DD-C3F8-77BE-D5B8-F5E96C05B82E}"/>
              </a:ext>
            </a:extLst>
          </p:cNvPr>
          <p:cNvSpPr>
            <a:spLocks noGrp="1"/>
          </p:cNvSpPr>
          <p:nvPr>
            <p:ph type="body" sz="quarter" idx="29" hasCustomPrompt="1"/>
          </p:nvPr>
        </p:nvSpPr>
        <p:spPr>
          <a:xfrm>
            <a:off x="8739981" y="2521430"/>
            <a:ext cx="2815432" cy="541810"/>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0"/>
              </a:spcBef>
              <a:spcAft>
                <a:spcPts val="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1"/>
            <a:r>
              <a:rPr lang="en-US" dirty="0"/>
              <a:t>Address line </a:t>
            </a:r>
          </a:p>
        </p:txBody>
      </p:sp>
      <p:sp>
        <p:nvSpPr>
          <p:cNvPr id="14" name="Text Placeholder 16">
            <a:extLst>
              <a:ext uri="{FF2B5EF4-FFF2-40B4-BE49-F238E27FC236}">
                <a16:creationId xmlns:a16="http://schemas.microsoft.com/office/drawing/2014/main" id="{ABBB6A81-7CBB-05F2-8F47-BD94389F9EDC}"/>
              </a:ext>
            </a:extLst>
          </p:cNvPr>
          <p:cNvSpPr>
            <a:spLocks noGrp="1"/>
          </p:cNvSpPr>
          <p:nvPr>
            <p:ph type="body" sz="quarter" idx="30" hasCustomPrompt="1"/>
          </p:nvPr>
        </p:nvSpPr>
        <p:spPr>
          <a:xfrm>
            <a:off x="8739981" y="2304260"/>
            <a:ext cx="2815432" cy="169277"/>
          </a:xfrm>
        </p:spPr>
        <p:txBody>
          <a:bodyPr tIns="0" bIns="0">
            <a:noAutofit/>
          </a:bodyPr>
          <a:lstStyle>
            <a:lvl1pPr algn="l">
              <a:lnSpc>
                <a:spcPct val="100000"/>
              </a:lnSpc>
              <a:spcBef>
                <a:spcPts val="0"/>
              </a:spcBef>
              <a:spcAft>
                <a:spcPts val="0"/>
              </a:spcAft>
              <a:defRPr sz="1100" cap="all" baseline="0">
                <a:solidFill>
                  <a:schemeClr val="tx2"/>
                </a:solidFill>
                <a:latin typeface="+mj-lt"/>
              </a:defRPr>
            </a:lvl1pPr>
            <a:lvl2pPr algn="l">
              <a:lnSpc>
                <a:spcPct val="100000"/>
              </a:lnSpc>
              <a:spcBef>
                <a:spcPts val="200"/>
              </a:spcBef>
              <a:spcAft>
                <a:spcPts val="200"/>
              </a:spcAft>
              <a:defRPr sz="1100">
                <a:solidFill>
                  <a:schemeClr val="tx1"/>
                </a:solidFill>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0"/>
            <a:r>
              <a:rPr lang="en-US" dirty="0"/>
              <a:t>Office name</a:t>
            </a:r>
          </a:p>
        </p:txBody>
      </p:sp>
      <p:sp>
        <p:nvSpPr>
          <p:cNvPr id="15" name="Text Placeholder 16">
            <a:extLst>
              <a:ext uri="{FF2B5EF4-FFF2-40B4-BE49-F238E27FC236}">
                <a16:creationId xmlns:a16="http://schemas.microsoft.com/office/drawing/2014/main" id="{AFD62E82-2699-6590-9B33-F1C43010CEF7}"/>
              </a:ext>
            </a:extLst>
          </p:cNvPr>
          <p:cNvSpPr>
            <a:spLocks noGrp="1"/>
          </p:cNvSpPr>
          <p:nvPr>
            <p:ph type="body" sz="quarter" idx="31" hasCustomPrompt="1"/>
          </p:nvPr>
        </p:nvSpPr>
        <p:spPr>
          <a:xfrm>
            <a:off x="8915664" y="3090029"/>
            <a:ext cx="263974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16" name="TextBox 15">
            <a:extLst>
              <a:ext uri="{FF2B5EF4-FFF2-40B4-BE49-F238E27FC236}">
                <a16:creationId xmlns:a16="http://schemas.microsoft.com/office/drawing/2014/main" id="{7E6216B4-ED2B-FACE-4366-C180A8CC9309}"/>
              </a:ext>
            </a:extLst>
          </p:cNvPr>
          <p:cNvSpPr txBox="1"/>
          <p:nvPr userDrawn="1"/>
        </p:nvSpPr>
        <p:spPr>
          <a:xfrm flipH="1">
            <a:off x="8741500" y="3090029"/>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25" name="Title 9">
            <a:extLst>
              <a:ext uri="{FF2B5EF4-FFF2-40B4-BE49-F238E27FC236}">
                <a16:creationId xmlns:a16="http://schemas.microsoft.com/office/drawing/2014/main" id="{B71C867F-0F7D-7F45-4BEB-35F155A6F463}"/>
              </a:ext>
            </a:extLst>
          </p:cNvPr>
          <p:cNvSpPr>
            <a:spLocks noGrp="1"/>
          </p:cNvSpPr>
          <p:nvPr>
            <p:ph type="title" hasCustomPrompt="1"/>
          </p:nvPr>
        </p:nvSpPr>
        <p:spPr>
          <a:xfrm>
            <a:off x="8737600" y="454013"/>
            <a:ext cx="2944813" cy="554847"/>
          </a:xfrm>
        </p:spPr>
        <p:txBody>
          <a:bodyPr/>
          <a:lstStyle>
            <a:lvl1pPr>
              <a:defRPr/>
            </a:lvl1pPr>
          </a:lstStyle>
          <a:p>
            <a:r>
              <a:rPr lang="en-US" dirty="0"/>
              <a:t>OUR OFFICE</a:t>
            </a:r>
            <a:endParaRPr lang="en-GB" dirty="0"/>
          </a:p>
        </p:txBody>
      </p:sp>
      <p:sp>
        <p:nvSpPr>
          <p:cNvPr id="9" name="TextBox 4">
            <a:extLst>
              <a:ext uri="{FF2B5EF4-FFF2-40B4-BE49-F238E27FC236}">
                <a16:creationId xmlns:a16="http://schemas.microsoft.com/office/drawing/2014/main" id="{A645C0E8-89D2-C603-DCEA-750D530C813B}"/>
              </a:ext>
            </a:extLst>
          </p:cNvPr>
          <p:cNvSpPr txBox="1"/>
          <p:nvPr userDrawn="1"/>
        </p:nvSpPr>
        <p:spPr>
          <a:xfrm>
            <a:off x="12346713" y="109538"/>
            <a:ext cx="2253207" cy="316496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INSERTING IMAGES:</a:t>
            </a:r>
          </a:p>
          <a:p>
            <a:pPr marL="179388" indent="-179388">
              <a:spcBef>
                <a:spcPts val="200"/>
              </a:spcBef>
              <a:spcAft>
                <a:spcPts val="200"/>
              </a:spcAft>
              <a:buFont typeface="+mj-lt"/>
              <a:buAutoNum type="arabicPeriod"/>
            </a:pPr>
            <a:r>
              <a:rPr lang="en-US" sz="900" dirty="0">
                <a:solidFill>
                  <a:schemeClr val="tx1"/>
                </a:solidFill>
                <a:latin typeface="+mn-lt"/>
              </a:rPr>
              <a:t>Simply click the image placeholder and select your image.</a:t>
            </a:r>
          </a:p>
          <a:p>
            <a:pPr marL="179388" indent="-179388">
              <a:spcBef>
                <a:spcPts val="200"/>
              </a:spcBef>
              <a:spcAft>
                <a:spcPts val="200"/>
              </a:spcAft>
              <a:buFont typeface="+mj-lt"/>
              <a:buAutoNum type="arabicPeriod"/>
            </a:pPr>
            <a:r>
              <a:rPr lang="en-US" sz="900" dirty="0">
                <a:solidFill>
                  <a:schemeClr val="tx1"/>
                </a:solidFill>
                <a:latin typeface="+mn-lt"/>
              </a:rPr>
              <a:t>Once your image is inserted into the shape it may be distorted. (Stretched or Squashed)</a:t>
            </a:r>
          </a:p>
          <a:p>
            <a:pPr marL="179388" indent="-179388">
              <a:spcBef>
                <a:spcPts val="200"/>
              </a:spcBef>
              <a:spcAft>
                <a:spcPts val="200"/>
              </a:spcAft>
              <a:buFont typeface="+mj-lt"/>
              <a:buAutoNum type="arabicPeriod"/>
            </a:pPr>
            <a:endParaRPr lang="en-US" sz="900" dirty="0">
              <a:solidFill>
                <a:schemeClr val="tx1"/>
              </a:solidFill>
              <a:latin typeface="+mn-lt"/>
            </a:endParaRPr>
          </a:p>
          <a:p>
            <a:pPr>
              <a:spcBef>
                <a:spcPts val="200"/>
              </a:spcBef>
              <a:spcAft>
                <a:spcPts val="200"/>
              </a:spcAft>
            </a:pPr>
            <a:r>
              <a:rPr lang="en-US" sz="900" b="1" dirty="0">
                <a:solidFill>
                  <a:schemeClr val="tx1"/>
                </a:solidFill>
                <a:latin typeface="+mn-lt"/>
              </a:rPr>
              <a:t>To fix this:</a:t>
            </a:r>
          </a:p>
          <a:p>
            <a:pPr marL="179388" indent="-179388">
              <a:spcBef>
                <a:spcPts val="200"/>
              </a:spcBef>
              <a:spcAft>
                <a:spcPts val="200"/>
              </a:spcAft>
              <a:buFont typeface="+mj-lt"/>
              <a:buAutoNum type="arabicPeriod"/>
            </a:pPr>
            <a:r>
              <a:rPr lang="en-US" sz="900" dirty="0">
                <a:solidFill>
                  <a:schemeClr val="tx1"/>
                </a:solidFill>
                <a:latin typeface="+mn-lt"/>
              </a:rPr>
              <a:t>Click on the image and from the top menu under </a:t>
            </a:r>
            <a:r>
              <a:rPr lang="en-US" sz="900" b="1" dirty="0">
                <a:solidFill>
                  <a:schemeClr val="tx1"/>
                </a:solidFill>
                <a:latin typeface="+mn-lt"/>
              </a:rPr>
              <a:t>PICTURE FORMAT </a:t>
            </a:r>
            <a:r>
              <a:rPr lang="en-US" sz="900" dirty="0">
                <a:solidFill>
                  <a:schemeClr val="tx1"/>
                </a:solidFill>
                <a:latin typeface="+mn-lt"/>
              </a:rPr>
              <a:t>select the </a:t>
            </a:r>
            <a:r>
              <a:rPr lang="en-US" sz="900" b="1" dirty="0">
                <a:solidFill>
                  <a:schemeClr val="tx1"/>
                </a:solidFill>
                <a:latin typeface="+mn-lt"/>
              </a:rPr>
              <a:t>CROP</a:t>
            </a:r>
            <a:r>
              <a:rPr lang="en-US" sz="900" dirty="0">
                <a:solidFill>
                  <a:schemeClr val="tx1"/>
                </a:solidFill>
                <a:latin typeface="+mn-lt"/>
              </a:rPr>
              <a:t> on the right and from the drop down menu select </a:t>
            </a:r>
            <a:r>
              <a:rPr lang="en-US" sz="900" b="1" kern="1200" dirty="0">
                <a:solidFill>
                  <a:schemeClr val="tx1"/>
                </a:solidFill>
                <a:latin typeface="+mn-lt"/>
                <a:ea typeface="+mn-ea"/>
                <a:cs typeface="+mn-cs"/>
              </a:rPr>
              <a:t>FILL</a:t>
            </a:r>
          </a:p>
          <a:p>
            <a:pPr marL="179388" indent="-179388">
              <a:spcBef>
                <a:spcPts val="200"/>
              </a:spcBef>
              <a:spcAft>
                <a:spcPts val="200"/>
              </a:spcAft>
              <a:buFont typeface="+mj-lt"/>
              <a:buAutoNum type="arabicPeriod"/>
            </a:pPr>
            <a:r>
              <a:rPr lang="en-US" sz="900" b="0" kern="1200" dirty="0">
                <a:solidFill>
                  <a:schemeClr val="tx1"/>
                </a:solidFill>
                <a:latin typeface="+mn-lt"/>
                <a:ea typeface="+mn-ea"/>
                <a:cs typeface="+mn-cs"/>
              </a:rPr>
              <a:t>From here you can move the image within the shape for best visual appearance</a:t>
            </a:r>
          </a:p>
          <a:p>
            <a:pPr marL="179388" indent="-179388">
              <a:spcBef>
                <a:spcPts val="200"/>
              </a:spcBef>
              <a:spcAft>
                <a:spcPts val="200"/>
              </a:spcAft>
              <a:buFont typeface="+mj-lt"/>
              <a:buAutoNum type="arabicPeriod"/>
            </a:pPr>
            <a:endParaRPr lang="en-US" sz="900" b="0" kern="1200" dirty="0">
              <a:solidFill>
                <a:schemeClr val="tx1"/>
              </a:solidFill>
              <a:latin typeface="+mn-lt"/>
              <a:ea typeface="+mn-ea"/>
              <a:cs typeface="+mn-cs"/>
            </a:endParaRPr>
          </a:p>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SAMPLE CONTACT LAYOUT</a:t>
            </a:r>
          </a:p>
        </p:txBody>
      </p:sp>
      <p:grpSp>
        <p:nvGrpSpPr>
          <p:cNvPr id="10" name="Group 9">
            <a:extLst>
              <a:ext uri="{FF2B5EF4-FFF2-40B4-BE49-F238E27FC236}">
                <a16:creationId xmlns:a16="http://schemas.microsoft.com/office/drawing/2014/main" id="{D60078EE-21D8-E5E1-365A-18454BC71BD5}"/>
              </a:ext>
            </a:extLst>
          </p:cNvPr>
          <p:cNvGrpSpPr/>
          <p:nvPr userDrawn="1"/>
        </p:nvGrpSpPr>
        <p:grpSpPr>
          <a:xfrm>
            <a:off x="12437199" y="3429000"/>
            <a:ext cx="2813913" cy="1004063"/>
            <a:chOff x="12437199" y="3429000"/>
            <a:chExt cx="2813913" cy="1004063"/>
          </a:xfrm>
        </p:grpSpPr>
        <p:sp>
          <p:nvSpPr>
            <p:cNvPr id="17" name="TextBox 16">
              <a:extLst>
                <a:ext uri="{FF2B5EF4-FFF2-40B4-BE49-F238E27FC236}">
                  <a16:creationId xmlns:a16="http://schemas.microsoft.com/office/drawing/2014/main" id="{3D8FBEC0-AFFA-A058-AFCA-9A155865AE26}"/>
                </a:ext>
              </a:extLst>
            </p:cNvPr>
            <p:cNvSpPr txBox="1"/>
            <p:nvPr userDrawn="1"/>
          </p:nvSpPr>
          <p:spPr>
            <a:xfrm flipH="1">
              <a:off x="12611362" y="4263786"/>
              <a:ext cx="2639750"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18" name="TextBox 17">
              <a:extLst>
                <a:ext uri="{FF2B5EF4-FFF2-40B4-BE49-F238E27FC236}">
                  <a16:creationId xmlns:a16="http://schemas.microsoft.com/office/drawing/2014/main" id="{5D98AE99-BCF1-5BFD-E4F6-A4D578C18D30}"/>
                </a:ext>
              </a:extLst>
            </p:cNvPr>
            <p:cNvSpPr txBox="1"/>
            <p:nvPr userDrawn="1"/>
          </p:nvSpPr>
          <p:spPr>
            <a:xfrm flipH="1">
              <a:off x="12437200" y="4263786"/>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19" name="TextBox 18">
              <a:extLst>
                <a:ext uri="{FF2B5EF4-FFF2-40B4-BE49-F238E27FC236}">
                  <a16:creationId xmlns:a16="http://schemas.microsoft.com/office/drawing/2014/main" id="{1D3C770D-0EA1-C4F8-51CA-56F23E94B661}"/>
                </a:ext>
              </a:extLst>
            </p:cNvPr>
            <p:cNvSpPr txBox="1"/>
            <p:nvPr userDrawn="1"/>
          </p:nvSpPr>
          <p:spPr>
            <a:xfrm flipH="1">
              <a:off x="12437199" y="3429000"/>
              <a:ext cx="1968833"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solidFill>
                    <a:schemeClr val="tx2"/>
                  </a:solidFill>
                  <a:latin typeface="+mj-lt"/>
                </a:rPr>
                <a:t>OFFICE NAME</a:t>
              </a:r>
            </a:p>
          </p:txBody>
        </p:sp>
        <p:sp>
          <p:nvSpPr>
            <p:cNvPr id="20" name="TextBox 19">
              <a:extLst>
                <a:ext uri="{FF2B5EF4-FFF2-40B4-BE49-F238E27FC236}">
                  <a16:creationId xmlns:a16="http://schemas.microsoft.com/office/drawing/2014/main" id="{A692D24E-0453-F841-AE64-F4A23FF32DB3}"/>
                </a:ext>
              </a:extLst>
            </p:cNvPr>
            <p:cNvSpPr txBox="1"/>
            <p:nvPr userDrawn="1"/>
          </p:nvSpPr>
          <p:spPr>
            <a:xfrm flipH="1">
              <a:off x="12437199" y="3644298"/>
              <a:ext cx="1968833"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0" lvl="0" indent="0" algn="l" defTabSz="914400" rtl="0" eaLnBrk="1" latinLnBrk="0" hangingPunct="1">
                <a:lnSpc>
                  <a:spcPct val="100000"/>
                </a:lnSpc>
                <a:spcBef>
                  <a:spcPts val="100"/>
                </a:spcBef>
                <a:spcAft>
                  <a:spcPts val="0"/>
                </a:spcAft>
                <a:buFont typeface="Arial" panose="020B0604020202020204" pitchFamily="34" charset="0"/>
                <a:buNone/>
              </a:pPr>
              <a:r>
                <a:rPr lang="en-US" dirty="0"/>
                <a:t>Address line 1</a:t>
              </a:r>
            </a:p>
            <a:p>
              <a:pPr marL="0" marR="0" lvl="0" indent="0" algn="l" defTabSz="914400" rtl="0" eaLnBrk="1" fontAlgn="auto" latinLnBrk="0" hangingPunct="1">
                <a:lnSpc>
                  <a:spcPct val="100000"/>
                </a:lnSpc>
                <a:spcBef>
                  <a:spcPts val="100"/>
                </a:spcBef>
                <a:spcAft>
                  <a:spcPts val="0"/>
                </a:spcAft>
                <a:buClrTx/>
                <a:buSzTx/>
                <a:buFont typeface="Arial" panose="020B0604020202020204" pitchFamily="34" charset="0"/>
                <a:buNone/>
                <a:tabLst/>
                <a:defRPr/>
              </a:pPr>
              <a:r>
                <a:rPr lang="en-US" dirty="0"/>
                <a:t>Address line 2</a:t>
              </a:r>
            </a:p>
            <a:p>
              <a:pPr marL="0" marR="0" lvl="0" indent="0" algn="l" defTabSz="914400" rtl="0" eaLnBrk="1" fontAlgn="auto" latinLnBrk="0" hangingPunct="1">
                <a:lnSpc>
                  <a:spcPct val="100000"/>
                </a:lnSpc>
                <a:spcBef>
                  <a:spcPts val="100"/>
                </a:spcBef>
                <a:spcAft>
                  <a:spcPts val="0"/>
                </a:spcAft>
                <a:buClrTx/>
                <a:buSzTx/>
                <a:buFont typeface="Arial" panose="020B0604020202020204" pitchFamily="34" charset="0"/>
                <a:buNone/>
                <a:tabLst/>
                <a:defRPr/>
              </a:pPr>
              <a:r>
                <a:rPr lang="en-US" dirty="0"/>
                <a:t>Address line 3</a:t>
              </a:r>
            </a:p>
            <a:p>
              <a:pPr marL="0" lvl="0" indent="0" algn="l" defTabSz="914400" rtl="0" eaLnBrk="1" latinLnBrk="0" hangingPunct="1">
                <a:lnSpc>
                  <a:spcPct val="100000"/>
                </a:lnSpc>
                <a:spcBef>
                  <a:spcPts val="200"/>
                </a:spcBef>
                <a:spcAft>
                  <a:spcPts val="200"/>
                </a:spcAft>
                <a:buFont typeface="Arial" panose="020B0604020202020204" pitchFamily="34" charset="0"/>
                <a:buNone/>
              </a:pPr>
              <a:endParaRPr lang="en-US" dirty="0"/>
            </a:p>
          </p:txBody>
        </p:sp>
      </p:grpSp>
    </p:spTree>
    <p:extLst>
      <p:ext uri="{BB962C8B-B14F-4D97-AF65-F5344CB8AC3E}">
        <p14:creationId xmlns:p14="http://schemas.microsoft.com/office/powerpoint/2010/main" val="3888764704"/>
      </p:ext>
    </p:extLst>
  </p:cSld>
  <p:clrMapOvr>
    <a:masterClrMapping/>
  </p:clrMapOvr>
  <p:transition spd="med">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Locations Office 3">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261A4C7-E98D-3660-5C37-C13B3A230A80}"/>
              </a:ext>
            </a:extLst>
          </p:cNvPr>
          <p:cNvSpPr/>
          <p:nvPr userDrawn="1"/>
        </p:nvSpPr>
        <p:spPr>
          <a:xfrm>
            <a:off x="8126413" y="0"/>
            <a:ext cx="4065587"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Slide Number Placeholder 5"/>
          <p:cNvSpPr>
            <a:spLocks noGrp="1"/>
          </p:cNvSpPr>
          <p:nvPr userDrawn="1">
            <p:ph type="sldNum" sz="quarter" idx="12"/>
          </p:nvPr>
        </p:nvSpPr>
        <p:spPr/>
        <p:txBody>
          <a:bodyPr/>
          <a:lstStyle>
            <a:lvl1pPr>
              <a:defRPr>
                <a:solidFill>
                  <a:schemeClr val="tx1"/>
                </a:solidFill>
              </a:defRPr>
            </a:lvl1pPr>
          </a:lstStyle>
          <a:p>
            <a:fld id="{8CFE0557-AA98-4E6C-B0C3-581794696B68}" type="slidenum">
              <a:rPr lang="en-GB" smtClean="0"/>
              <a:pPr/>
              <a:t>‹#›</a:t>
            </a:fld>
            <a:endParaRPr lang="en-GB" dirty="0"/>
          </a:p>
        </p:txBody>
      </p:sp>
      <p:sp>
        <p:nvSpPr>
          <p:cNvPr id="7" name="Picture Placeholder 10">
            <a:extLst>
              <a:ext uri="{FF2B5EF4-FFF2-40B4-BE49-F238E27FC236}">
                <a16:creationId xmlns:a16="http://schemas.microsoft.com/office/drawing/2014/main" id="{1CA5F42F-AC29-F4B3-E667-86842A258FF7}"/>
              </a:ext>
            </a:extLst>
          </p:cNvPr>
          <p:cNvSpPr>
            <a:spLocks noGrp="1"/>
          </p:cNvSpPr>
          <p:nvPr>
            <p:ph type="pic" sz="quarter" idx="13" hasCustomPrompt="1"/>
          </p:nvPr>
        </p:nvSpPr>
        <p:spPr>
          <a:xfrm>
            <a:off x="4067175" y="0"/>
            <a:ext cx="4059238" cy="3429000"/>
          </a:xfrm>
          <a:solidFill>
            <a:schemeClr val="tx1"/>
          </a:solidFill>
        </p:spPr>
        <p:txBody>
          <a:bodyPr vert="horz" lIns="0" tIns="45720" rIns="0" bIns="45720" rtlCol="0" anchor="ctr">
            <a:noAutofit/>
          </a:bodyPr>
          <a:lstStyle>
            <a:lvl1pPr algn="ctr">
              <a:defRPr lang="en-GB" sz="2400" b="0" dirty="0">
                <a:solidFill>
                  <a:schemeClr val="bg1"/>
                </a:solidFill>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US" dirty="0"/>
              <a:t>ADD RELATED IMAGE </a:t>
            </a:r>
            <a:br>
              <a:rPr lang="en-US" dirty="0"/>
            </a:br>
            <a:r>
              <a:rPr lang="en-US" dirty="0"/>
              <a:t>FROM HFW </a:t>
            </a:r>
            <a:br>
              <a:rPr lang="en-US" dirty="0"/>
            </a:br>
            <a:r>
              <a:rPr lang="en-US" dirty="0"/>
              <a:t>IMAGE LIBRARY</a:t>
            </a:r>
          </a:p>
        </p:txBody>
      </p:sp>
      <p:sp>
        <p:nvSpPr>
          <p:cNvPr id="2" name="Picture Placeholder 10">
            <a:extLst>
              <a:ext uri="{FF2B5EF4-FFF2-40B4-BE49-F238E27FC236}">
                <a16:creationId xmlns:a16="http://schemas.microsoft.com/office/drawing/2014/main" id="{745A71BB-8DDA-5D04-068C-8F4A0028A571}"/>
              </a:ext>
            </a:extLst>
          </p:cNvPr>
          <p:cNvSpPr>
            <a:spLocks noGrp="1"/>
          </p:cNvSpPr>
          <p:nvPr>
            <p:ph type="pic" sz="quarter" idx="24" hasCustomPrompt="1"/>
          </p:nvPr>
        </p:nvSpPr>
        <p:spPr>
          <a:xfrm>
            <a:off x="4067175" y="3428999"/>
            <a:ext cx="4059238" cy="3429001"/>
          </a:xfrm>
          <a:solidFill>
            <a:schemeClr val="tx1">
              <a:lumMod val="60000"/>
              <a:lumOff val="40000"/>
            </a:schemeClr>
          </a:solidFill>
        </p:spPr>
        <p:txBody>
          <a:bodyPr vert="horz" lIns="0" tIns="45720" rIns="0" bIns="45720" rtlCol="0" anchor="ctr">
            <a:noAutofit/>
          </a:bodyPr>
          <a:lstStyle>
            <a:lvl1pPr algn="ctr">
              <a:defRPr lang="en-GB" sz="2400" b="0" dirty="0">
                <a:solidFill>
                  <a:schemeClr val="bg1"/>
                </a:solidFill>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US" dirty="0"/>
              <a:t>ADD RELATED IMAGE </a:t>
            </a:r>
            <a:br>
              <a:rPr lang="en-US" dirty="0"/>
            </a:br>
            <a:r>
              <a:rPr lang="en-US" dirty="0"/>
              <a:t>FROM HFW </a:t>
            </a:r>
            <a:br>
              <a:rPr lang="en-US" dirty="0"/>
            </a:br>
            <a:r>
              <a:rPr lang="en-US" dirty="0"/>
              <a:t>IMAGE LIBRARY</a:t>
            </a:r>
          </a:p>
        </p:txBody>
      </p:sp>
      <p:sp>
        <p:nvSpPr>
          <p:cNvPr id="4" name="Picture Placeholder 10">
            <a:extLst>
              <a:ext uri="{FF2B5EF4-FFF2-40B4-BE49-F238E27FC236}">
                <a16:creationId xmlns:a16="http://schemas.microsoft.com/office/drawing/2014/main" id="{4B40F453-113F-A369-B2A9-CF31552B3472}"/>
              </a:ext>
            </a:extLst>
          </p:cNvPr>
          <p:cNvSpPr>
            <a:spLocks noGrp="1"/>
          </p:cNvSpPr>
          <p:nvPr>
            <p:ph type="pic" sz="quarter" idx="25" hasCustomPrompt="1"/>
          </p:nvPr>
        </p:nvSpPr>
        <p:spPr>
          <a:xfrm>
            <a:off x="-1" y="0"/>
            <a:ext cx="4067175" cy="6858000"/>
          </a:xfrm>
          <a:solidFill>
            <a:schemeClr val="tx1">
              <a:lumMod val="40000"/>
              <a:lumOff val="60000"/>
            </a:schemeClr>
          </a:solidFill>
        </p:spPr>
        <p:txBody>
          <a:bodyPr vert="horz" lIns="0" tIns="45720" rIns="0" bIns="45720" rtlCol="0" anchor="ctr">
            <a:normAutofit/>
          </a:bodyPr>
          <a:lstStyle>
            <a:lvl1pPr algn="ctr">
              <a:defRPr lang="en-GB" sz="2400" b="0" dirty="0">
                <a:solidFill>
                  <a:schemeClr val="bg1"/>
                </a:solidFill>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US" dirty="0"/>
              <a:t>ADD RELATED IMAGE </a:t>
            </a:r>
            <a:br>
              <a:rPr lang="en-US" dirty="0"/>
            </a:br>
            <a:r>
              <a:rPr lang="en-US" dirty="0"/>
              <a:t>FROM HFW </a:t>
            </a:r>
            <a:br>
              <a:rPr lang="en-US" dirty="0"/>
            </a:br>
            <a:r>
              <a:rPr lang="en-US" dirty="0"/>
              <a:t>IMAGE LIBRARY</a:t>
            </a:r>
          </a:p>
        </p:txBody>
      </p:sp>
      <p:sp>
        <p:nvSpPr>
          <p:cNvPr id="5" name="Text Placeholder 16">
            <a:extLst>
              <a:ext uri="{FF2B5EF4-FFF2-40B4-BE49-F238E27FC236}">
                <a16:creationId xmlns:a16="http://schemas.microsoft.com/office/drawing/2014/main" id="{ECB39105-BEF5-E632-0F1A-1F484BF6D606}"/>
              </a:ext>
            </a:extLst>
          </p:cNvPr>
          <p:cNvSpPr>
            <a:spLocks noGrp="1"/>
          </p:cNvSpPr>
          <p:nvPr>
            <p:ph type="body" sz="quarter" idx="23" hasCustomPrompt="1"/>
          </p:nvPr>
        </p:nvSpPr>
        <p:spPr>
          <a:xfrm>
            <a:off x="8739981" y="1226030"/>
            <a:ext cx="2815432" cy="541810"/>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0"/>
              </a:spcBef>
              <a:spcAft>
                <a:spcPts val="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1"/>
            <a:r>
              <a:rPr lang="en-US" dirty="0"/>
              <a:t>Address line </a:t>
            </a:r>
          </a:p>
        </p:txBody>
      </p:sp>
      <p:sp>
        <p:nvSpPr>
          <p:cNvPr id="11" name="Text Placeholder 16">
            <a:extLst>
              <a:ext uri="{FF2B5EF4-FFF2-40B4-BE49-F238E27FC236}">
                <a16:creationId xmlns:a16="http://schemas.microsoft.com/office/drawing/2014/main" id="{A037E17A-08FB-8398-57AD-8BB64610295A}"/>
              </a:ext>
            </a:extLst>
          </p:cNvPr>
          <p:cNvSpPr>
            <a:spLocks noGrp="1"/>
          </p:cNvSpPr>
          <p:nvPr>
            <p:ph type="body" sz="quarter" idx="27" hasCustomPrompt="1"/>
          </p:nvPr>
        </p:nvSpPr>
        <p:spPr>
          <a:xfrm>
            <a:off x="8739981" y="1008860"/>
            <a:ext cx="2815432" cy="169277"/>
          </a:xfrm>
        </p:spPr>
        <p:txBody>
          <a:bodyPr tIns="0" bIns="0">
            <a:noAutofit/>
          </a:bodyPr>
          <a:lstStyle>
            <a:lvl1pPr algn="l">
              <a:lnSpc>
                <a:spcPct val="100000"/>
              </a:lnSpc>
              <a:spcBef>
                <a:spcPts val="0"/>
              </a:spcBef>
              <a:spcAft>
                <a:spcPts val="0"/>
              </a:spcAft>
              <a:defRPr sz="1100" cap="all" baseline="0">
                <a:solidFill>
                  <a:schemeClr val="tx2"/>
                </a:solidFill>
                <a:latin typeface="+mj-lt"/>
              </a:defRPr>
            </a:lvl1pPr>
            <a:lvl2pPr algn="l">
              <a:lnSpc>
                <a:spcPct val="100000"/>
              </a:lnSpc>
              <a:spcBef>
                <a:spcPts val="200"/>
              </a:spcBef>
              <a:spcAft>
                <a:spcPts val="200"/>
              </a:spcAft>
              <a:defRPr sz="1100">
                <a:solidFill>
                  <a:schemeClr val="tx1"/>
                </a:solidFill>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0"/>
            <a:r>
              <a:rPr lang="en-US" dirty="0"/>
              <a:t>Office name</a:t>
            </a:r>
          </a:p>
        </p:txBody>
      </p:sp>
      <p:sp>
        <p:nvSpPr>
          <p:cNvPr id="12" name="Text Placeholder 16">
            <a:extLst>
              <a:ext uri="{FF2B5EF4-FFF2-40B4-BE49-F238E27FC236}">
                <a16:creationId xmlns:a16="http://schemas.microsoft.com/office/drawing/2014/main" id="{AC2DE5A5-428D-15AD-80D8-7B6EE90D0CD6}"/>
              </a:ext>
            </a:extLst>
          </p:cNvPr>
          <p:cNvSpPr>
            <a:spLocks noGrp="1"/>
          </p:cNvSpPr>
          <p:nvPr>
            <p:ph type="body" sz="quarter" idx="28" hasCustomPrompt="1"/>
          </p:nvPr>
        </p:nvSpPr>
        <p:spPr>
          <a:xfrm>
            <a:off x="8915664" y="1794629"/>
            <a:ext cx="263974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13" name="TextBox 12">
            <a:extLst>
              <a:ext uri="{FF2B5EF4-FFF2-40B4-BE49-F238E27FC236}">
                <a16:creationId xmlns:a16="http://schemas.microsoft.com/office/drawing/2014/main" id="{C8CD217E-07F9-C642-8473-DE6EF1E9E68E}"/>
              </a:ext>
            </a:extLst>
          </p:cNvPr>
          <p:cNvSpPr txBox="1"/>
          <p:nvPr userDrawn="1"/>
        </p:nvSpPr>
        <p:spPr>
          <a:xfrm flipH="1">
            <a:off x="8741500" y="1794629"/>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14" name="Text Placeholder 16">
            <a:extLst>
              <a:ext uri="{FF2B5EF4-FFF2-40B4-BE49-F238E27FC236}">
                <a16:creationId xmlns:a16="http://schemas.microsoft.com/office/drawing/2014/main" id="{8722F599-9B61-0FA8-507A-511A725A1C1C}"/>
              </a:ext>
            </a:extLst>
          </p:cNvPr>
          <p:cNvSpPr>
            <a:spLocks noGrp="1"/>
          </p:cNvSpPr>
          <p:nvPr>
            <p:ph type="body" sz="quarter" idx="29" hasCustomPrompt="1"/>
          </p:nvPr>
        </p:nvSpPr>
        <p:spPr>
          <a:xfrm>
            <a:off x="8739981" y="2521430"/>
            <a:ext cx="2815432" cy="541810"/>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0"/>
              </a:spcBef>
              <a:spcAft>
                <a:spcPts val="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1"/>
            <a:r>
              <a:rPr lang="en-US" dirty="0"/>
              <a:t>Address line </a:t>
            </a:r>
          </a:p>
        </p:txBody>
      </p:sp>
      <p:sp>
        <p:nvSpPr>
          <p:cNvPr id="15" name="Text Placeholder 16">
            <a:extLst>
              <a:ext uri="{FF2B5EF4-FFF2-40B4-BE49-F238E27FC236}">
                <a16:creationId xmlns:a16="http://schemas.microsoft.com/office/drawing/2014/main" id="{507087EC-583B-D2C6-3878-D8D610823C74}"/>
              </a:ext>
            </a:extLst>
          </p:cNvPr>
          <p:cNvSpPr>
            <a:spLocks noGrp="1"/>
          </p:cNvSpPr>
          <p:nvPr>
            <p:ph type="body" sz="quarter" idx="30" hasCustomPrompt="1"/>
          </p:nvPr>
        </p:nvSpPr>
        <p:spPr>
          <a:xfrm>
            <a:off x="8739981" y="2304260"/>
            <a:ext cx="2815432" cy="169277"/>
          </a:xfrm>
        </p:spPr>
        <p:txBody>
          <a:bodyPr tIns="0" bIns="0">
            <a:noAutofit/>
          </a:bodyPr>
          <a:lstStyle>
            <a:lvl1pPr algn="l">
              <a:lnSpc>
                <a:spcPct val="100000"/>
              </a:lnSpc>
              <a:spcBef>
                <a:spcPts val="0"/>
              </a:spcBef>
              <a:spcAft>
                <a:spcPts val="0"/>
              </a:spcAft>
              <a:defRPr sz="1100" cap="all" baseline="0">
                <a:solidFill>
                  <a:schemeClr val="tx2"/>
                </a:solidFill>
                <a:latin typeface="+mj-lt"/>
              </a:defRPr>
            </a:lvl1pPr>
            <a:lvl2pPr algn="l">
              <a:lnSpc>
                <a:spcPct val="100000"/>
              </a:lnSpc>
              <a:spcBef>
                <a:spcPts val="200"/>
              </a:spcBef>
              <a:spcAft>
                <a:spcPts val="200"/>
              </a:spcAft>
              <a:defRPr sz="1100">
                <a:solidFill>
                  <a:schemeClr val="tx1"/>
                </a:solidFill>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0"/>
            <a:r>
              <a:rPr lang="en-US" dirty="0"/>
              <a:t>Office name</a:t>
            </a:r>
          </a:p>
        </p:txBody>
      </p:sp>
      <p:sp>
        <p:nvSpPr>
          <p:cNvPr id="16" name="Text Placeholder 16">
            <a:extLst>
              <a:ext uri="{FF2B5EF4-FFF2-40B4-BE49-F238E27FC236}">
                <a16:creationId xmlns:a16="http://schemas.microsoft.com/office/drawing/2014/main" id="{DA0416A2-103A-0FA7-A733-AA6E2253D48D}"/>
              </a:ext>
            </a:extLst>
          </p:cNvPr>
          <p:cNvSpPr>
            <a:spLocks noGrp="1"/>
          </p:cNvSpPr>
          <p:nvPr>
            <p:ph type="body" sz="quarter" idx="31" hasCustomPrompt="1"/>
          </p:nvPr>
        </p:nvSpPr>
        <p:spPr>
          <a:xfrm>
            <a:off x="8915664" y="3090029"/>
            <a:ext cx="263974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17" name="TextBox 16">
            <a:extLst>
              <a:ext uri="{FF2B5EF4-FFF2-40B4-BE49-F238E27FC236}">
                <a16:creationId xmlns:a16="http://schemas.microsoft.com/office/drawing/2014/main" id="{83F9FCA5-3766-CD88-56C3-6C5CAC4699C9}"/>
              </a:ext>
            </a:extLst>
          </p:cNvPr>
          <p:cNvSpPr txBox="1"/>
          <p:nvPr userDrawn="1"/>
        </p:nvSpPr>
        <p:spPr>
          <a:xfrm flipH="1">
            <a:off x="8741500" y="3090029"/>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18" name="Text Placeholder 16">
            <a:extLst>
              <a:ext uri="{FF2B5EF4-FFF2-40B4-BE49-F238E27FC236}">
                <a16:creationId xmlns:a16="http://schemas.microsoft.com/office/drawing/2014/main" id="{4AC46F10-94DA-28FD-B28B-0729C59D9A55}"/>
              </a:ext>
            </a:extLst>
          </p:cNvPr>
          <p:cNvSpPr>
            <a:spLocks noGrp="1"/>
          </p:cNvSpPr>
          <p:nvPr>
            <p:ph type="body" sz="quarter" idx="32" hasCustomPrompt="1"/>
          </p:nvPr>
        </p:nvSpPr>
        <p:spPr>
          <a:xfrm>
            <a:off x="8739981" y="3815865"/>
            <a:ext cx="2815432" cy="541810"/>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0"/>
              </a:spcBef>
              <a:spcAft>
                <a:spcPts val="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1"/>
            <a:r>
              <a:rPr lang="en-US" dirty="0"/>
              <a:t>Address line </a:t>
            </a:r>
          </a:p>
        </p:txBody>
      </p:sp>
      <p:sp>
        <p:nvSpPr>
          <p:cNvPr id="19" name="Text Placeholder 16">
            <a:extLst>
              <a:ext uri="{FF2B5EF4-FFF2-40B4-BE49-F238E27FC236}">
                <a16:creationId xmlns:a16="http://schemas.microsoft.com/office/drawing/2014/main" id="{2FC57C67-08B1-6E30-4315-851F4B1F0B1A}"/>
              </a:ext>
            </a:extLst>
          </p:cNvPr>
          <p:cNvSpPr>
            <a:spLocks noGrp="1"/>
          </p:cNvSpPr>
          <p:nvPr>
            <p:ph type="body" sz="quarter" idx="33" hasCustomPrompt="1"/>
          </p:nvPr>
        </p:nvSpPr>
        <p:spPr>
          <a:xfrm>
            <a:off x="8739981" y="3598695"/>
            <a:ext cx="2815432" cy="169277"/>
          </a:xfrm>
        </p:spPr>
        <p:txBody>
          <a:bodyPr tIns="0" bIns="0">
            <a:noAutofit/>
          </a:bodyPr>
          <a:lstStyle>
            <a:lvl1pPr algn="l">
              <a:lnSpc>
                <a:spcPct val="100000"/>
              </a:lnSpc>
              <a:spcBef>
                <a:spcPts val="0"/>
              </a:spcBef>
              <a:spcAft>
                <a:spcPts val="0"/>
              </a:spcAft>
              <a:defRPr sz="1100" cap="all" baseline="0">
                <a:solidFill>
                  <a:schemeClr val="tx2"/>
                </a:solidFill>
                <a:latin typeface="+mj-lt"/>
              </a:defRPr>
            </a:lvl1pPr>
            <a:lvl2pPr algn="l">
              <a:lnSpc>
                <a:spcPct val="100000"/>
              </a:lnSpc>
              <a:spcBef>
                <a:spcPts val="200"/>
              </a:spcBef>
              <a:spcAft>
                <a:spcPts val="200"/>
              </a:spcAft>
              <a:defRPr sz="1100">
                <a:solidFill>
                  <a:schemeClr val="tx1"/>
                </a:solidFill>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0"/>
            <a:r>
              <a:rPr lang="en-US" dirty="0"/>
              <a:t>Office name</a:t>
            </a:r>
          </a:p>
        </p:txBody>
      </p:sp>
      <p:sp>
        <p:nvSpPr>
          <p:cNvPr id="20" name="Text Placeholder 16">
            <a:extLst>
              <a:ext uri="{FF2B5EF4-FFF2-40B4-BE49-F238E27FC236}">
                <a16:creationId xmlns:a16="http://schemas.microsoft.com/office/drawing/2014/main" id="{5DD57762-72DC-56BF-B4CD-E8817FAECCCF}"/>
              </a:ext>
            </a:extLst>
          </p:cNvPr>
          <p:cNvSpPr>
            <a:spLocks noGrp="1"/>
          </p:cNvSpPr>
          <p:nvPr>
            <p:ph type="body" sz="quarter" idx="34" hasCustomPrompt="1"/>
          </p:nvPr>
        </p:nvSpPr>
        <p:spPr>
          <a:xfrm>
            <a:off x="8915664" y="4384464"/>
            <a:ext cx="263974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21" name="TextBox 20">
            <a:extLst>
              <a:ext uri="{FF2B5EF4-FFF2-40B4-BE49-F238E27FC236}">
                <a16:creationId xmlns:a16="http://schemas.microsoft.com/office/drawing/2014/main" id="{8685041E-B1C7-FEB2-FBF6-1C659F0ED3E3}"/>
              </a:ext>
            </a:extLst>
          </p:cNvPr>
          <p:cNvSpPr txBox="1"/>
          <p:nvPr userDrawn="1"/>
        </p:nvSpPr>
        <p:spPr>
          <a:xfrm flipH="1">
            <a:off x="8741500" y="4384464"/>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26" name="Title 9">
            <a:extLst>
              <a:ext uri="{FF2B5EF4-FFF2-40B4-BE49-F238E27FC236}">
                <a16:creationId xmlns:a16="http://schemas.microsoft.com/office/drawing/2014/main" id="{EED17E0A-FD86-599F-99B5-1F1681B8E4F2}"/>
              </a:ext>
            </a:extLst>
          </p:cNvPr>
          <p:cNvSpPr>
            <a:spLocks noGrp="1"/>
          </p:cNvSpPr>
          <p:nvPr>
            <p:ph type="title" hasCustomPrompt="1"/>
          </p:nvPr>
        </p:nvSpPr>
        <p:spPr>
          <a:xfrm>
            <a:off x="8737600" y="454013"/>
            <a:ext cx="2944813" cy="554847"/>
          </a:xfrm>
        </p:spPr>
        <p:txBody>
          <a:bodyPr/>
          <a:lstStyle>
            <a:lvl1pPr>
              <a:defRPr/>
            </a:lvl1pPr>
          </a:lstStyle>
          <a:p>
            <a:r>
              <a:rPr lang="en-US" dirty="0"/>
              <a:t>OUR OFFICE</a:t>
            </a:r>
            <a:endParaRPr lang="en-GB" dirty="0"/>
          </a:p>
        </p:txBody>
      </p:sp>
      <p:sp>
        <p:nvSpPr>
          <p:cNvPr id="9" name="TextBox 4">
            <a:extLst>
              <a:ext uri="{FF2B5EF4-FFF2-40B4-BE49-F238E27FC236}">
                <a16:creationId xmlns:a16="http://schemas.microsoft.com/office/drawing/2014/main" id="{224B3D1C-01C4-2282-F60A-23AAF1395CF8}"/>
              </a:ext>
            </a:extLst>
          </p:cNvPr>
          <p:cNvSpPr txBox="1"/>
          <p:nvPr userDrawn="1"/>
        </p:nvSpPr>
        <p:spPr>
          <a:xfrm>
            <a:off x="12346713" y="109538"/>
            <a:ext cx="2253207" cy="316496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INSERTING IMAGES:</a:t>
            </a:r>
          </a:p>
          <a:p>
            <a:pPr marL="179388" indent="-179388">
              <a:spcBef>
                <a:spcPts val="200"/>
              </a:spcBef>
              <a:spcAft>
                <a:spcPts val="200"/>
              </a:spcAft>
              <a:buFont typeface="+mj-lt"/>
              <a:buAutoNum type="arabicPeriod"/>
            </a:pPr>
            <a:r>
              <a:rPr lang="en-US" sz="900" dirty="0">
                <a:solidFill>
                  <a:schemeClr val="tx1"/>
                </a:solidFill>
                <a:latin typeface="+mn-lt"/>
              </a:rPr>
              <a:t>Simply click the image placeholder and select your image.</a:t>
            </a:r>
          </a:p>
          <a:p>
            <a:pPr marL="179388" indent="-179388">
              <a:spcBef>
                <a:spcPts val="200"/>
              </a:spcBef>
              <a:spcAft>
                <a:spcPts val="200"/>
              </a:spcAft>
              <a:buFont typeface="+mj-lt"/>
              <a:buAutoNum type="arabicPeriod"/>
            </a:pPr>
            <a:r>
              <a:rPr lang="en-US" sz="900" dirty="0">
                <a:solidFill>
                  <a:schemeClr val="tx1"/>
                </a:solidFill>
                <a:latin typeface="+mn-lt"/>
              </a:rPr>
              <a:t>Once your image is inserted into the shape it may be distorted. (Stretched or Squashed)</a:t>
            </a:r>
          </a:p>
          <a:p>
            <a:pPr marL="179388" indent="-179388">
              <a:spcBef>
                <a:spcPts val="200"/>
              </a:spcBef>
              <a:spcAft>
                <a:spcPts val="200"/>
              </a:spcAft>
              <a:buFont typeface="+mj-lt"/>
              <a:buAutoNum type="arabicPeriod"/>
            </a:pPr>
            <a:endParaRPr lang="en-US" sz="900" dirty="0">
              <a:solidFill>
                <a:schemeClr val="tx1"/>
              </a:solidFill>
              <a:latin typeface="+mn-lt"/>
            </a:endParaRPr>
          </a:p>
          <a:p>
            <a:pPr>
              <a:spcBef>
                <a:spcPts val="200"/>
              </a:spcBef>
              <a:spcAft>
                <a:spcPts val="200"/>
              </a:spcAft>
            </a:pPr>
            <a:r>
              <a:rPr lang="en-US" sz="900" b="1" dirty="0">
                <a:solidFill>
                  <a:schemeClr val="tx1"/>
                </a:solidFill>
                <a:latin typeface="+mn-lt"/>
              </a:rPr>
              <a:t>To fix this:</a:t>
            </a:r>
          </a:p>
          <a:p>
            <a:pPr marL="179388" indent="-179388">
              <a:spcBef>
                <a:spcPts val="200"/>
              </a:spcBef>
              <a:spcAft>
                <a:spcPts val="200"/>
              </a:spcAft>
              <a:buFont typeface="+mj-lt"/>
              <a:buAutoNum type="arabicPeriod"/>
            </a:pPr>
            <a:r>
              <a:rPr lang="en-US" sz="900" dirty="0">
                <a:solidFill>
                  <a:schemeClr val="tx1"/>
                </a:solidFill>
                <a:latin typeface="+mn-lt"/>
              </a:rPr>
              <a:t>Click on the image and from the top menu under </a:t>
            </a:r>
            <a:r>
              <a:rPr lang="en-US" sz="900" b="1" dirty="0">
                <a:solidFill>
                  <a:schemeClr val="tx1"/>
                </a:solidFill>
                <a:latin typeface="+mn-lt"/>
              </a:rPr>
              <a:t>PICTURE FORMAT </a:t>
            </a:r>
            <a:r>
              <a:rPr lang="en-US" sz="900" dirty="0">
                <a:solidFill>
                  <a:schemeClr val="tx1"/>
                </a:solidFill>
                <a:latin typeface="+mn-lt"/>
              </a:rPr>
              <a:t>select the </a:t>
            </a:r>
            <a:r>
              <a:rPr lang="en-US" sz="900" b="1" dirty="0">
                <a:solidFill>
                  <a:schemeClr val="tx1"/>
                </a:solidFill>
                <a:latin typeface="+mn-lt"/>
              </a:rPr>
              <a:t>CROP</a:t>
            </a:r>
            <a:r>
              <a:rPr lang="en-US" sz="900" dirty="0">
                <a:solidFill>
                  <a:schemeClr val="tx1"/>
                </a:solidFill>
                <a:latin typeface="+mn-lt"/>
              </a:rPr>
              <a:t> on the right and from the drop down menu select </a:t>
            </a:r>
            <a:r>
              <a:rPr lang="en-US" sz="900" b="1" kern="1200" dirty="0">
                <a:solidFill>
                  <a:schemeClr val="tx1"/>
                </a:solidFill>
                <a:latin typeface="+mn-lt"/>
                <a:ea typeface="+mn-ea"/>
                <a:cs typeface="+mn-cs"/>
              </a:rPr>
              <a:t>FILL</a:t>
            </a:r>
          </a:p>
          <a:p>
            <a:pPr marL="179388" indent="-179388">
              <a:spcBef>
                <a:spcPts val="200"/>
              </a:spcBef>
              <a:spcAft>
                <a:spcPts val="200"/>
              </a:spcAft>
              <a:buFont typeface="+mj-lt"/>
              <a:buAutoNum type="arabicPeriod"/>
            </a:pPr>
            <a:r>
              <a:rPr lang="en-US" sz="900" b="0" kern="1200" dirty="0">
                <a:solidFill>
                  <a:schemeClr val="tx1"/>
                </a:solidFill>
                <a:latin typeface="+mn-lt"/>
                <a:ea typeface="+mn-ea"/>
                <a:cs typeface="+mn-cs"/>
              </a:rPr>
              <a:t>From here you can move the image within the shape for best visual appearance</a:t>
            </a:r>
          </a:p>
          <a:p>
            <a:pPr marL="179388" indent="-179388">
              <a:spcBef>
                <a:spcPts val="200"/>
              </a:spcBef>
              <a:spcAft>
                <a:spcPts val="200"/>
              </a:spcAft>
              <a:buFont typeface="+mj-lt"/>
              <a:buAutoNum type="arabicPeriod"/>
            </a:pPr>
            <a:endParaRPr lang="en-US" sz="900" b="0" kern="1200" dirty="0">
              <a:solidFill>
                <a:schemeClr val="tx1"/>
              </a:solidFill>
              <a:latin typeface="+mn-lt"/>
              <a:ea typeface="+mn-ea"/>
              <a:cs typeface="+mn-cs"/>
            </a:endParaRPr>
          </a:p>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SAMPLE CONTACT LAYOUT</a:t>
            </a:r>
          </a:p>
        </p:txBody>
      </p:sp>
      <p:grpSp>
        <p:nvGrpSpPr>
          <p:cNvPr id="10" name="Group 9">
            <a:extLst>
              <a:ext uri="{FF2B5EF4-FFF2-40B4-BE49-F238E27FC236}">
                <a16:creationId xmlns:a16="http://schemas.microsoft.com/office/drawing/2014/main" id="{9F4D6574-58E4-3025-6854-528FE64F287D}"/>
              </a:ext>
            </a:extLst>
          </p:cNvPr>
          <p:cNvGrpSpPr/>
          <p:nvPr userDrawn="1"/>
        </p:nvGrpSpPr>
        <p:grpSpPr>
          <a:xfrm>
            <a:off x="12437199" y="3429000"/>
            <a:ext cx="2813913" cy="1004063"/>
            <a:chOff x="12437199" y="3429000"/>
            <a:chExt cx="2813913" cy="1004063"/>
          </a:xfrm>
        </p:grpSpPr>
        <p:sp>
          <p:nvSpPr>
            <p:cNvPr id="22" name="TextBox 21">
              <a:extLst>
                <a:ext uri="{FF2B5EF4-FFF2-40B4-BE49-F238E27FC236}">
                  <a16:creationId xmlns:a16="http://schemas.microsoft.com/office/drawing/2014/main" id="{7F97BE4E-7FC8-B046-681E-12421C235CD2}"/>
                </a:ext>
              </a:extLst>
            </p:cNvPr>
            <p:cNvSpPr txBox="1"/>
            <p:nvPr userDrawn="1"/>
          </p:nvSpPr>
          <p:spPr>
            <a:xfrm flipH="1">
              <a:off x="12611362" y="4263786"/>
              <a:ext cx="2639750"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23" name="TextBox 22">
              <a:extLst>
                <a:ext uri="{FF2B5EF4-FFF2-40B4-BE49-F238E27FC236}">
                  <a16:creationId xmlns:a16="http://schemas.microsoft.com/office/drawing/2014/main" id="{0C4B2757-602B-970E-9D40-F4FED74D5395}"/>
                </a:ext>
              </a:extLst>
            </p:cNvPr>
            <p:cNvSpPr txBox="1"/>
            <p:nvPr userDrawn="1"/>
          </p:nvSpPr>
          <p:spPr>
            <a:xfrm flipH="1">
              <a:off x="12437200" y="4263786"/>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24" name="TextBox 23">
              <a:extLst>
                <a:ext uri="{FF2B5EF4-FFF2-40B4-BE49-F238E27FC236}">
                  <a16:creationId xmlns:a16="http://schemas.microsoft.com/office/drawing/2014/main" id="{055A85F1-A6CD-8DFD-2C36-54A6564F888E}"/>
                </a:ext>
              </a:extLst>
            </p:cNvPr>
            <p:cNvSpPr txBox="1"/>
            <p:nvPr userDrawn="1"/>
          </p:nvSpPr>
          <p:spPr>
            <a:xfrm flipH="1">
              <a:off x="12437199" y="3429000"/>
              <a:ext cx="1968833"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solidFill>
                    <a:schemeClr val="tx2"/>
                  </a:solidFill>
                  <a:latin typeface="+mj-lt"/>
                </a:rPr>
                <a:t>OFFICE NAME</a:t>
              </a:r>
            </a:p>
          </p:txBody>
        </p:sp>
        <p:sp>
          <p:nvSpPr>
            <p:cNvPr id="25" name="TextBox 24">
              <a:extLst>
                <a:ext uri="{FF2B5EF4-FFF2-40B4-BE49-F238E27FC236}">
                  <a16:creationId xmlns:a16="http://schemas.microsoft.com/office/drawing/2014/main" id="{4338016C-E0CF-FDA9-BF7F-4372CF4D5515}"/>
                </a:ext>
              </a:extLst>
            </p:cNvPr>
            <p:cNvSpPr txBox="1"/>
            <p:nvPr userDrawn="1"/>
          </p:nvSpPr>
          <p:spPr>
            <a:xfrm flipH="1">
              <a:off x="12437199" y="3644298"/>
              <a:ext cx="1968833"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0" lvl="0" indent="0" algn="l" defTabSz="914400" rtl="0" eaLnBrk="1" latinLnBrk="0" hangingPunct="1">
                <a:lnSpc>
                  <a:spcPct val="100000"/>
                </a:lnSpc>
                <a:spcBef>
                  <a:spcPts val="100"/>
                </a:spcBef>
                <a:spcAft>
                  <a:spcPts val="0"/>
                </a:spcAft>
                <a:buFont typeface="Arial" panose="020B0604020202020204" pitchFamily="34" charset="0"/>
                <a:buNone/>
              </a:pPr>
              <a:r>
                <a:rPr lang="en-US" dirty="0"/>
                <a:t>Address line 1</a:t>
              </a:r>
            </a:p>
            <a:p>
              <a:pPr marL="0" marR="0" lvl="0" indent="0" algn="l" defTabSz="914400" rtl="0" eaLnBrk="1" fontAlgn="auto" latinLnBrk="0" hangingPunct="1">
                <a:lnSpc>
                  <a:spcPct val="100000"/>
                </a:lnSpc>
                <a:spcBef>
                  <a:spcPts val="100"/>
                </a:spcBef>
                <a:spcAft>
                  <a:spcPts val="0"/>
                </a:spcAft>
                <a:buClrTx/>
                <a:buSzTx/>
                <a:buFont typeface="Arial" panose="020B0604020202020204" pitchFamily="34" charset="0"/>
                <a:buNone/>
                <a:tabLst/>
                <a:defRPr/>
              </a:pPr>
              <a:r>
                <a:rPr lang="en-US" dirty="0"/>
                <a:t>Address line 2</a:t>
              </a:r>
            </a:p>
            <a:p>
              <a:pPr marL="0" marR="0" lvl="0" indent="0" algn="l" defTabSz="914400" rtl="0" eaLnBrk="1" fontAlgn="auto" latinLnBrk="0" hangingPunct="1">
                <a:lnSpc>
                  <a:spcPct val="100000"/>
                </a:lnSpc>
                <a:spcBef>
                  <a:spcPts val="100"/>
                </a:spcBef>
                <a:spcAft>
                  <a:spcPts val="0"/>
                </a:spcAft>
                <a:buClrTx/>
                <a:buSzTx/>
                <a:buFont typeface="Arial" panose="020B0604020202020204" pitchFamily="34" charset="0"/>
                <a:buNone/>
                <a:tabLst/>
                <a:defRPr/>
              </a:pPr>
              <a:r>
                <a:rPr lang="en-US" dirty="0"/>
                <a:t>Address line 3</a:t>
              </a:r>
            </a:p>
            <a:p>
              <a:pPr marL="0" lvl="0" indent="0" algn="l" defTabSz="914400" rtl="0" eaLnBrk="1" latinLnBrk="0" hangingPunct="1">
                <a:lnSpc>
                  <a:spcPct val="100000"/>
                </a:lnSpc>
                <a:spcBef>
                  <a:spcPts val="200"/>
                </a:spcBef>
                <a:spcAft>
                  <a:spcPts val="200"/>
                </a:spcAft>
                <a:buFont typeface="Arial" panose="020B0604020202020204" pitchFamily="34" charset="0"/>
                <a:buNone/>
              </a:pPr>
              <a:endParaRPr lang="en-US" dirty="0"/>
            </a:p>
          </p:txBody>
        </p:sp>
      </p:grpSp>
    </p:spTree>
    <p:extLst>
      <p:ext uri="{BB962C8B-B14F-4D97-AF65-F5344CB8AC3E}">
        <p14:creationId xmlns:p14="http://schemas.microsoft.com/office/powerpoint/2010/main" val="70005766"/>
      </p:ext>
    </p:extLst>
  </p:cSld>
  <p:clrMapOvr>
    <a:masterClrMapping/>
  </p:clrMapOvr>
  <p:transition spd="med">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Locations Office 4">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261A4C7-E98D-3660-5C37-C13B3A230A80}"/>
              </a:ext>
            </a:extLst>
          </p:cNvPr>
          <p:cNvSpPr/>
          <p:nvPr userDrawn="1"/>
        </p:nvSpPr>
        <p:spPr>
          <a:xfrm>
            <a:off x="8126413" y="0"/>
            <a:ext cx="4065587"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Slide Number Placeholder 5"/>
          <p:cNvSpPr>
            <a:spLocks noGrp="1"/>
          </p:cNvSpPr>
          <p:nvPr userDrawn="1">
            <p:ph type="sldNum" sz="quarter" idx="12"/>
          </p:nvPr>
        </p:nvSpPr>
        <p:spPr/>
        <p:txBody>
          <a:bodyPr/>
          <a:lstStyle>
            <a:lvl1pPr>
              <a:defRPr>
                <a:solidFill>
                  <a:schemeClr val="tx1"/>
                </a:solidFill>
              </a:defRPr>
            </a:lvl1pPr>
          </a:lstStyle>
          <a:p>
            <a:fld id="{8CFE0557-AA98-4E6C-B0C3-581794696B68}" type="slidenum">
              <a:rPr lang="en-GB" smtClean="0"/>
              <a:pPr/>
              <a:t>‹#›</a:t>
            </a:fld>
            <a:endParaRPr lang="en-GB" dirty="0"/>
          </a:p>
        </p:txBody>
      </p:sp>
      <p:sp>
        <p:nvSpPr>
          <p:cNvPr id="7" name="Picture Placeholder 10">
            <a:extLst>
              <a:ext uri="{FF2B5EF4-FFF2-40B4-BE49-F238E27FC236}">
                <a16:creationId xmlns:a16="http://schemas.microsoft.com/office/drawing/2014/main" id="{1CA5F42F-AC29-F4B3-E667-86842A258FF7}"/>
              </a:ext>
            </a:extLst>
          </p:cNvPr>
          <p:cNvSpPr>
            <a:spLocks noGrp="1"/>
          </p:cNvSpPr>
          <p:nvPr>
            <p:ph type="pic" sz="quarter" idx="13" hasCustomPrompt="1"/>
          </p:nvPr>
        </p:nvSpPr>
        <p:spPr>
          <a:xfrm>
            <a:off x="4067175" y="0"/>
            <a:ext cx="4059238" cy="3429000"/>
          </a:xfrm>
          <a:solidFill>
            <a:schemeClr val="tx1">
              <a:lumMod val="60000"/>
              <a:lumOff val="40000"/>
            </a:schemeClr>
          </a:solidFill>
        </p:spPr>
        <p:txBody>
          <a:bodyPr vert="horz" lIns="0" tIns="45720" rIns="0" bIns="45720" rtlCol="0" anchor="ctr">
            <a:noAutofit/>
          </a:bodyPr>
          <a:lstStyle>
            <a:lvl1pPr algn="ctr">
              <a:defRPr lang="en-GB" sz="2400" b="0" dirty="0">
                <a:solidFill>
                  <a:schemeClr val="bg1"/>
                </a:solidFill>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US" dirty="0"/>
              <a:t>ADD RELATED IMAGE </a:t>
            </a:r>
            <a:br>
              <a:rPr lang="en-US" dirty="0"/>
            </a:br>
            <a:r>
              <a:rPr lang="en-US" dirty="0"/>
              <a:t>FROM HFW </a:t>
            </a:r>
            <a:br>
              <a:rPr lang="en-US" dirty="0"/>
            </a:br>
            <a:r>
              <a:rPr lang="en-US" dirty="0"/>
              <a:t>IMAGE LIBRARY</a:t>
            </a:r>
          </a:p>
        </p:txBody>
      </p:sp>
      <p:sp>
        <p:nvSpPr>
          <p:cNvPr id="2" name="Picture Placeholder 10">
            <a:extLst>
              <a:ext uri="{FF2B5EF4-FFF2-40B4-BE49-F238E27FC236}">
                <a16:creationId xmlns:a16="http://schemas.microsoft.com/office/drawing/2014/main" id="{745A71BB-8DDA-5D04-068C-8F4A0028A571}"/>
              </a:ext>
            </a:extLst>
          </p:cNvPr>
          <p:cNvSpPr>
            <a:spLocks noGrp="1"/>
          </p:cNvSpPr>
          <p:nvPr>
            <p:ph type="pic" sz="quarter" idx="24" hasCustomPrompt="1"/>
          </p:nvPr>
        </p:nvSpPr>
        <p:spPr>
          <a:xfrm>
            <a:off x="4067175" y="3428999"/>
            <a:ext cx="4059238" cy="3429001"/>
          </a:xfrm>
          <a:solidFill>
            <a:schemeClr val="tx1"/>
          </a:solidFill>
        </p:spPr>
        <p:txBody>
          <a:bodyPr vert="horz" lIns="0" tIns="45720" rIns="0" bIns="45720" rtlCol="0" anchor="ctr">
            <a:noAutofit/>
          </a:bodyPr>
          <a:lstStyle>
            <a:lvl1pPr algn="ctr">
              <a:defRPr lang="en-GB" sz="2400" b="0" dirty="0">
                <a:solidFill>
                  <a:schemeClr val="bg1"/>
                </a:solidFill>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US" dirty="0"/>
              <a:t>ADD RELATED IMAGE </a:t>
            </a:r>
            <a:br>
              <a:rPr lang="en-US" dirty="0"/>
            </a:br>
            <a:r>
              <a:rPr lang="en-US" dirty="0"/>
              <a:t>FROM HFW </a:t>
            </a:r>
            <a:br>
              <a:rPr lang="en-US" dirty="0"/>
            </a:br>
            <a:r>
              <a:rPr lang="en-US" dirty="0"/>
              <a:t>IMAGE LIBRARY</a:t>
            </a:r>
          </a:p>
        </p:txBody>
      </p:sp>
      <p:sp>
        <p:nvSpPr>
          <p:cNvPr id="4" name="Picture Placeholder 10">
            <a:extLst>
              <a:ext uri="{FF2B5EF4-FFF2-40B4-BE49-F238E27FC236}">
                <a16:creationId xmlns:a16="http://schemas.microsoft.com/office/drawing/2014/main" id="{4B40F453-113F-A369-B2A9-CF31552B3472}"/>
              </a:ext>
            </a:extLst>
          </p:cNvPr>
          <p:cNvSpPr>
            <a:spLocks noGrp="1"/>
          </p:cNvSpPr>
          <p:nvPr>
            <p:ph type="pic" sz="quarter" idx="25" hasCustomPrompt="1"/>
          </p:nvPr>
        </p:nvSpPr>
        <p:spPr>
          <a:xfrm>
            <a:off x="-1" y="3429000"/>
            <a:ext cx="4067175" cy="3429000"/>
          </a:xfrm>
          <a:solidFill>
            <a:schemeClr val="tx1">
              <a:lumMod val="60000"/>
              <a:lumOff val="40000"/>
            </a:schemeClr>
          </a:solidFill>
        </p:spPr>
        <p:txBody>
          <a:bodyPr vert="horz" lIns="0" tIns="45720" rIns="0" bIns="45720" rtlCol="0" anchor="ctr">
            <a:noAutofit/>
          </a:bodyPr>
          <a:lstStyle>
            <a:lvl1pPr algn="ctr">
              <a:defRPr lang="en-GB" sz="2400" b="0" dirty="0">
                <a:solidFill>
                  <a:schemeClr val="bg1"/>
                </a:solidFill>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US" dirty="0"/>
              <a:t>ADD RELATED IMAGE </a:t>
            </a:r>
            <a:br>
              <a:rPr lang="en-US" dirty="0"/>
            </a:br>
            <a:r>
              <a:rPr lang="en-US" dirty="0"/>
              <a:t>FROM HFW </a:t>
            </a:r>
            <a:br>
              <a:rPr lang="en-US" dirty="0"/>
            </a:br>
            <a:r>
              <a:rPr lang="en-US" dirty="0"/>
              <a:t>IMAGE LIBRARY</a:t>
            </a:r>
          </a:p>
        </p:txBody>
      </p:sp>
      <p:sp>
        <p:nvSpPr>
          <p:cNvPr id="5" name="Picture Placeholder 10">
            <a:extLst>
              <a:ext uri="{FF2B5EF4-FFF2-40B4-BE49-F238E27FC236}">
                <a16:creationId xmlns:a16="http://schemas.microsoft.com/office/drawing/2014/main" id="{613BCE8E-6271-839D-B689-871C3BB2B678}"/>
              </a:ext>
            </a:extLst>
          </p:cNvPr>
          <p:cNvSpPr>
            <a:spLocks noGrp="1"/>
          </p:cNvSpPr>
          <p:nvPr>
            <p:ph type="pic" sz="quarter" idx="26" hasCustomPrompt="1"/>
          </p:nvPr>
        </p:nvSpPr>
        <p:spPr>
          <a:xfrm>
            <a:off x="-1" y="0"/>
            <a:ext cx="4067175" cy="3429000"/>
          </a:xfrm>
          <a:solidFill>
            <a:schemeClr val="tx1"/>
          </a:solidFill>
        </p:spPr>
        <p:txBody>
          <a:bodyPr vert="horz" lIns="0" tIns="45720" rIns="0" bIns="45720" rtlCol="0" anchor="ctr">
            <a:noAutofit/>
          </a:bodyPr>
          <a:lstStyle>
            <a:lvl1pPr algn="ctr">
              <a:defRPr lang="en-GB" sz="2400" b="0" dirty="0">
                <a:solidFill>
                  <a:schemeClr val="bg1"/>
                </a:solidFill>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US" dirty="0"/>
              <a:t>ADD RELATED IMAGE </a:t>
            </a:r>
            <a:br>
              <a:rPr lang="en-US" dirty="0"/>
            </a:br>
            <a:r>
              <a:rPr lang="en-US" dirty="0"/>
              <a:t>FROM HFW </a:t>
            </a:r>
            <a:br>
              <a:rPr lang="en-US" dirty="0"/>
            </a:br>
            <a:r>
              <a:rPr lang="en-US" dirty="0"/>
              <a:t>IMAGE LIBRARY</a:t>
            </a:r>
          </a:p>
        </p:txBody>
      </p:sp>
      <p:sp>
        <p:nvSpPr>
          <p:cNvPr id="17" name="Text Placeholder 16">
            <a:extLst>
              <a:ext uri="{FF2B5EF4-FFF2-40B4-BE49-F238E27FC236}">
                <a16:creationId xmlns:a16="http://schemas.microsoft.com/office/drawing/2014/main" id="{474F7138-4444-6685-ECE0-093B24C11818}"/>
              </a:ext>
            </a:extLst>
          </p:cNvPr>
          <p:cNvSpPr>
            <a:spLocks noGrp="1"/>
          </p:cNvSpPr>
          <p:nvPr>
            <p:ph type="body" sz="quarter" idx="23" hasCustomPrompt="1"/>
          </p:nvPr>
        </p:nvSpPr>
        <p:spPr>
          <a:xfrm>
            <a:off x="8739981" y="1226030"/>
            <a:ext cx="2815432" cy="541810"/>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0"/>
              </a:spcBef>
              <a:spcAft>
                <a:spcPts val="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1"/>
            <a:r>
              <a:rPr lang="en-US" dirty="0"/>
              <a:t>Address line </a:t>
            </a:r>
          </a:p>
        </p:txBody>
      </p:sp>
      <p:sp>
        <p:nvSpPr>
          <p:cNvPr id="18" name="Text Placeholder 16">
            <a:extLst>
              <a:ext uri="{FF2B5EF4-FFF2-40B4-BE49-F238E27FC236}">
                <a16:creationId xmlns:a16="http://schemas.microsoft.com/office/drawing/2014/main" id="{83E5B837-DFCE-7DAE-5C8B-A2FB8ED9EA19}"/>
              </a:ext>
            </a:extLst>
          </p:cNvPr>
          <p:cNvSpPr>
            <a:spLocks noGrp="1"/>
          </p:cNvSpPr>
          <p:nvPr>
            <p:ph type="body" sz="quarter" idx="27" hasCustomPrompt="1"/>
          </p:nvPr>
        </p:nvSpPr>
        <p:spPr>
          <a:xfrm>
            <a:off x="8739981" y="1008860"/>
            <a:ext cx="2815432" cy="169277"/>
          </a:xfrm>
        </p:spPr>
        <p:txBody>
          <a:bodyPr tIns="0" bIns="0">
            <a:noAutofit/>
          </a:bodyPr>
          <a:lstStyle>
            <a:lvl1pPr algn="l">
              <a:lnSpc>
                <a:spcPct val="100000"/>
              </a:lnSpc>
              <a:spcBef>
                <a:spcPts val="0"/>
              </a:spcBef>
              <a:spcAft>
                <a:spcPts val="0"/>
              </a:spcAft>
              <a:defRPr sz="1100" cap="all" baseline="0">
                <a:solidFill>
                  <a:schemeClr val="tx2"/>
                </a:solidFill>
                <a:latin typeface="+mj-lt"/>
              </a:defRPr>
            </a:lvl1pPr>
            <a:lvl2pPr algn="l">
              <a:lnSpc>
                <a:spcPct val="100000"/>
              </a:lnSpc>
              <a:spcBef>
                <a:spcPts val="200"/>
              </a:spcBef>
              <a:spcAft>
                <a:spcPts val="200"/>
              </a:spcAft>
              <a:defRPr sz="1100">
                <a:solidFill>
                  <a:schemeClr val="tx1"/>
                </a:solidFill>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0"/>
            <a:r>
              <a:rPr lang="en-US" dirty="0"/>
              <a:t>Office name</a:t>
            </a:r>
          </a:p>
        </p:txBody>
      </p:sp>
      <p:sp>
        <p:nvSpPr>
          <p:cNvPr id="19" name="Text Placeholder 16">
            <a:extLst>
              <a:ext uri="{FF2B5EF4-FFF2-40B4-BE49-F238E27FC236}">
                <a16:creationId xmlns:a16="http://schemas.microsoft.com/office/drawing/2014/main" id="{437B264E-CCAE-48A6-030E-76A1776971B8}"/>
              </a:ext>
            </a:extLst>
          </p:cNvPr>
          <p:cNvSpPr>
            <a:spLocks noGrp="1"/>
          </p:cNvSpPr>
          <p:nvPr>
            <p:ph type="body" sz="quarter" idx="28" hasCustomPrompt="1"/>
          </p:nvPr>
        </p:nvSpPr>
        <p:spPr>
          <a:xfrm>
            <a:off x="8915664" y="1794629"/>
            <a:ext cx="263974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20" name="TextBox 19">
            <a:extLst>
              <a:ext uri="{FF2B5EF4-FFF2-40B4-BE49-F238E27FC236}">
                <a16:creationId xmlns:a16="http://schemas.microsoft.com/office/drawing/2014/main" id="{65D1EB0D-0F17-E0EE-5560-47A60AC776E8}"/>
              </a:ext>
            </a:extLst>
          </p:cNvPr>
          <p:cNvSpPr txBox="1"/>
          <p:nvPr userDrawn="1"/>
        </p:nvSpPr>
        <p:spPr>
          <a:xfrm flipH="1">
            <a:off x="8741500" y="1794629"/>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21" name="Text Placeholder 16">
            <a:extLst>
              <a:ext uri="{FF2B5EF4-FFF2-40B4-BE49-F238E27FC236}">
                <a16:creationId xmlns:a16="http://schemas.microsoft.com/office/drawing/2014/main" id="{2CA02E9D-FF43-8712-3894-A7E61986BBBB}"/>
              </a:ext>
            </a:extLst>
          </p:cNvPr>
          <p:cNvSpPr>
            <a:spLocks noGrp="1"/>
          </p:cNvSpPr>
          <p:nvPr>
            <p:ph type="body" sz="quarter" idx="29" hasCustomPrompt="1"/>
          </p:nvPr>
        </p:nvSpPr>
        <p:spPr>
          <a:xfrm>
            <a:off x="8739981" y="2521430"/>
            <a:ext cx="2815432" cy="541810"/>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0"/>
              </a:spcBef>
              <a:spcAft>
                <a:spcPts val="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1"/>
            <a:r>
              <a:rPr lang="en-US" dirty="0"/>
              <a:t>Address line </a:t>
            </a:r>
          </a:p>
        </p:txBody>
      </p:sp>
      <p:sp>
        <p:nvSpPr>
          <p:cNvPr id="22" name="Text Placeholder 16">
            <a:extLst>
              <a:ext uri="{FF2B5EF4-FFF2-40B4-BE49-F238E27FC236}">
                <a16:creationId xmlns:a16="http://schemas.microsoft.com/office/drawing/2014/main" id="{E43685A8-9EAF-9968-3B8A-B845E5F5D76E}"/>
              </a:ext>
            </a:extLst>
          </p:cNvPr>
          <p:cNvSpPr>
            <a:spLocks noGrp="1"/>
          </p:cNvSpPr>
          <p:nvPr>
            <p:ph type="body" sz="quarter" idx="30" hasCustomPrompt="1"/>
          </p:nvPr>
        </p:nvSpPr>
        <p:spPr>
          <a:xfrm>
            <a:off x="8739981" y="2304260"/>
            <a:ext cx="2815432" cy="169277"/>
          </a:xfrm>
        </p:spPr>
        <p:txBody>
          <a:bodyPr tIns="0" bIns="0">
            <a:noAutofit/>
          </a:bodyPr>
          <a:lstStyle>
            <a:lvl1pPr algn="l">
              <a:lnSpc>
                <a:spcPct val="100000"/>
              </a:lnSpc>
              <a:spcBef>
                <a:spcPts val="0"/>
              </a:spcBef>
              <a:spcAft>
                <a:spcPts val="0"/>
              </a:spcAft>
              <a:defRPr sz="1100" cap="all" baseline="0">
                <a:solidFill>
                  <a:schemeClr val="tx2"/>
                </a:solidFill>
                <a:latin typeface="+mj-lt"/>
              </a:defRPr>
            </a:lvl1pPr>
            <a:lvl2pPr algn="l">
              <a:lnSpc>
                <a:spcPct val="100000"/>
              </a:lnSpc>
              <a:spcBef>
                <a:spcPts val="200"/>
              </a:spcBef>
              <a:spcAft>
                <a:spcPts val="200"/>
              </a:spcAft>
              <a:defRPr sz="1100">
                <a:solidFill>
                  <a:schemeClr val="tx1"/>
                </a:solidFill>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0"/>
            <a:r>
              <a:rPr lang="en-US" dirty="0"/>
              <a:t>Office name</a:t>
            </a:r>
          </a:p>
        </p:txBody>
      </p:sp>
      <p:sp>
        <p:nvSpPr>
          <p:cNvPr id="23" name="Text Placeholder 16">
            <a:extLst>
              <a:ext uri="{FF2B5EF4-FFF2-40B4-BE49-F238E27FC236}">
                <a16:creationId xmlns:a16="http://schemas.microsoft.com/office/drawing/2014/main" id="{8FA11E57-71F0-CCDC-41DA-34E6E5EF9E3E}"/>
              </a:ext>
            </a:extLst>
          </p:cNvPr>
          <p:cNvSpPr>
            <a:spLocks noGrp="1"/>
          </p:cNvSpPr>
          <p:nvPr>
            <p:ph type="body" sz="quarter" idx="31" hasCustomPrompt="1"/>
          </p:nvPr>
        </p:nvSpPr>
        <p:spPr>
          <a:xfrm>
            <a:off x="8915664" y="3090029"/>
            <a:ext cx="263974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24" name="TextBox 23">
            <a:extLst>
              <a:ext uri="{FF2B5EF4-FFF2-40B4-BE49-F238E27FC236}">
                <a16:creationId xmlns:a16="http://schemas.microsoft.com/office/drawing/2014/main" id="{CF38B783-3D12-BF4F-9848-5604ECFFD9E2}"/>
              </a:ext>
            </a:extLst>
          </p:cNvPr>
          <p:cNvSpPr txBox="1"/>
          <p:nvPr userDrawn="1"/>
        </p:nvSpPr>
        <p:spPr>
          <a:xfrm flipH="1">
            <a:off x="8741500" y="3090029"/>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25" name="Text Placeholder 16">
            <a:extLst>
              <a:ext uri="{FF2B5EF4-FFF2-40B4-BE49-F238E27FC236}">
                <a16:creationId xmlns:a16="http://schemas.microsoft.com/office/drawing/2014/main" id="{8BC5DE68-BFA9-5C3F-F298-35411655C85B}"/>
              </a:ext>
            </a:extLst>
          </p:cNvPr>
          <p:cNvSpPr>
            <a:spLocks noGrp="1"/>
          </p:cNvSpPr>
          <p:nvPr>
            <p:ph type="body" sz="quarter" idx="32" hasCustomPrompt="1"/>
          </p:nvPr>
        </p:nvSpPr>
        <p:spPr>
          <a:xfrm>
            <a:off x="8739981" y="3815865"/>
            <a:ext cx="2815432" cy="541810"/>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0"/>
              </a:spcBef>
              <a:spcAft>
                <a:spcPts val="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1"/>
            <a:r>
              <a:rPr lang="en-US" dirty="0"/>
              <a:t>Address line </a:t>
            </a:r>
          </a:p>
        </p:txBody>
      </p:sp>
      <p:sp>
        <p:nvSpPr>
          <p:cNvPr id="26" name="Text Placeholder 16">
            <a:extLst>
              <a:ext uri="{FF2B5EF4-FFF2-40B4-BE49-F238E27FC236}">
                <a16:creationId xmlns:a16="http://schemas.microsoft.com/office/drawing/2014/main" id="{74B36DEF-C299-433E-143F-912BDF6AFA43}"/>
              </a:ext>
            </a:extLst>
          </p:cNvPr>
          <p:cNvSpPr>
            <a:spLocks noGrp="1"/>
          </p:cNvSpPr>
          <p:nvPr>
            <p:ph type="body" sz="quarter" idx="33" hasCustomPrompt="1"/>
          </p:nvPr>
        </p:nvSpPr>
        <p:spPr>
          <a:xfrm>
            <a:off x="8739981" y="3598695"/>
            <a:ext cx="2815432" cy="169277"/>
          </a:xfrm>
        </p:spPr>
        <p:txBody>
          <a:bodyPr tIns="0" bIns="0">
            <a:noAutofit/>
          </a:bodyPr>
          <a:lstStyle>
            <a:lvl1pPr algn="l">
              <a:lnSpc>
                <a:spcPct val="100000"/>
              </a:lnSpc>
              <a:spcBef>
                <a:spcPts val="0"/>
              </a:spcBef>
              <a:spcAft>
                <a:spcPts val="0"/>
              </a:spcAft>
              <a:defRPr sz="1100" cap="all" baseline="0">
                <a:solidFill>
                  <a:schemeClr val="tx2"/>
                </a:solidFill>
                <a:latin typeface="+mj-lt"/>
              </a:defRPr>
            </a:lvl1pPr>
            <a:lvl2pPr algn="l">
              <a:lnSpc>
                <a:spcPct val="100000"/>
              </a:lnSpc>
              <a:spcBef>
                <a:spcPts val="200"/>
              </a:spcBef>
              <a:spcAft>
                <a:spcPts val="200"/>
              </a:spcAft>
              <a:defRPr sz="1100">
                <a:solidFill>
                  <a:schemeClr val="tx1"/>
                </a:solidFill>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0"/>
            <a:r>
              <a:rPr lang="en-US" dirty="0"/>
              <a:t>Office name</a:t>
            </a:r>
          </a:p>
        </p:txBody>
      </p:sp>
      <p:sp>
        <p:nvSpPr>
          <p:cNvPr id="27" name="Text Placeholder 16">
            <a:extLst>
              <a:ext uri="{FF2B5EF4-FFF2-40B4-BE49-F238E27FC236}">
                <a16:creationId xmlns:a16="http://schemas.microsoft.com/office/drawing/2014/main" id="{D03EC76C-92AC-AED5-FA75-2007CCD02E5A}"/>
              </a:ext>
            </a:extLst>
          </p:cNvPr>
          <p:cNvSpPr>
            <a:spLocks noGrp="1"/>
          </p:cNvSpPr>
          <p:nvPr>
            <p:ph type="body" sz="quarter" idx="34" hasCustomPrompt="1"/>
          </p:nvPr>
        </p:nvSpPr>
        <p:spPr>
          <a:xfrm>
            <a:off x="8915664" y="4384464"/>
            <a:ext cx="263974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28" name="TextBox 27">
            <a:extLst>
              <a:ext uri="{FF2B5EF4-FFF2-40B4-BE49-F238E27FC236}">
                <a16:creationId xmlns:a16="http://schemas.microsoft.com/office/drawing/2014/main" id="{C7F82BCC-E216-86C8-6DB6-91FE9C760F83}"/>
              </a:ext>
            </a:extLst>
          </p:cNvPr>
          <p:cNvSpPr txBox="1"/>
          <p:nvPr userDrawn="1"/>
        </p:nvSpPr>
        <p:spPr>
          <a:xfrm flipH="1">
            <a:off x="8741500" y="4384464"/>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29" name="Text Placeholder 16">
            <a:extLst>
              <a:ext uri="{FF2B5EF4-FFF2-40B4-BE49-F238E27FC236}">
                <a16:creationId xmlns:a16="http://schemas.microsoft.com/office/drawing/2014/main" id="{0CDC7A08-5363-1DCD-D4BC-25E13730FCF8}"/>
              </a:ext>
            </a:extLst>
          </p:cNvPr>
          <p:cNvSpPr>
            <a:spLocks noGrp="1"/>
          </p:cNvSpPr>
          <p:nvPr>
            <p:ph type="body" sz="quarter" idx="35" hasCustomPrompt="1"/>
          </p:nvPr>
        </p:nvSpPr>
        <p:spPr>
          <a:xfrm>
            <a:off x="8739981" y="5111265"/>
            <a:ext cx="2815432" cy="541810"/>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0"/>
              </a:spcBef>
              <a:spcAft>
                <a:spcPts val="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1"/>
            <a:r>
              <a:rPr lang="en-US" dirty="0"/>
              <a:t>Address line </a:t>
            </a:r>
          </a:p>
        </p:txBody>
      </p:sp>
      <p:sp>
        <p:nvSpPr>
          <p:cNvPr id="30" name="Text Placeholder 16">
            <a:extLst>
              <a:ext uri="{FF2B5EF4-FFF2-40B4-BE49-F238E27FC236}">
                <a16:creationId xmlns:a16="http://schemas.microsoft.com/office/drawing/2014/main" id="{CCC5AB4A-82C1-050D-8C7D-013CC8D9A650}"/>
              </a:ext>
            </a:extLst>
          </p:cNvPr>
          <p:cNvSpPr>
            <a:spLocks noGrp="1"/>
          </p:cNvSpPr>
          <p:nvPr>
            <p:ph type="body" sz="quarter" idx="36" hasCustomPrompt="1"/>
          </p:nvPr>
        </p:nvSpPr>
        <p:spPr>
          <a:xfrm>
            <a:off x="8739981" y="4894095"/>
            <a:ext cx="2815432" cy="169277"/>
          </a:xfrm>
        </p:spPr>
        <p:txBody>
          <a:bodyPr tIns="0" bIns="0">
            <a:noAutofit/>
          </a:bodyPr>
          <a:lstStyle>
            <a:lvl1pPr algn="l">
              <a:lnSpc>
                <a:spcPct val="100000"/>
              </a:lnSpc>
              <a:spcBef>
                <a:spcPts val="0"/>
              </a:spcBef>
              <a:spcAft>
                <a:spcPts val="0"/>
              </a:spcAft>
              <a:defRPr sz="1100" cap="all" baseline="0">
                <a:solidFill>
                  <a:schemeClr val="tx2"/>
                </a:solidFill>
                <a:latin typeface="+mj-lt"/>
              </a:defRPr>
            </a:lvl1pPr>
            <a:lvl2pPr algn="l">
              <a:lnSpc>
                <a:spcPct val="100000"/>
              </a:lnSpc>
              <a:spcBef>
                <a:spcPts val="200"/>
              </a:spcBef>
              <a:spcAft>
                <a:spcPts val="200"/>
              </a:spcAft>
              <a:defRPr sz="1100">
                <a:solidFill>
                  <a:schemeClr val="tx1"/>
                </a:solidFill>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0"/>
            <a:r>
              <a:rPr lang="en-US" dirty="0"/>
              <a:t>Office name</a:t>
            </a:r>
          </a:p>
        </p:txBody>
      </p:sp>
      <p:sp>
        <p:nvSpPr>
          <p:cNvPr id="31" name="Text Placeholder 16">
            <a:extLst>
              <a:ext uri="{FF2B5EF4-FFF2-40B4-BE49-F238E27FC236}">
                <a16:creationId xmlns:a16="http://schemas.microsoft.com/office/drawing/2014/main" id="{2757B6C3-52B8-6EBB-396C-89551F7BCE7A}"/>
              </a:ext>
            </a:extLst>
          </p:cNvPr>
          <p:cNvSpPr>
            <a:spLocks noGrp="1"/>
          </p:cNvSpPr>
          <p:nvPr>
            <p:ph type="body" sz="quarter" idx="37" hasCustomPrompt="1"/>
          </p:nvPr>
        </p:nvSpPr>
        <p:spPr>
          <a:xfrm>
            <a:off x="8915664" y="5679864"/>
            <a:ext cx="263974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32" name="TextBox 31">
            <a:extLst>
              <a:ext uri="{FF2B5EF4-FFF2-40B4-BE49-F238E27FC236}">
                <a16:creationId xmlns:a16="http://schemas.microsoft.com/office/drawing/2014/main" id="{07692A29-B9F6-4AA5-FB8D-ACFB12F69F41}"/>
              </a:ext>
            </a:extLst>
          </p:cNvPr>
          <p:cNvSpPr txBox="1"/>
          <p:nvPr userDrawn="1"/>
        </p:nvSpPr>
        <p:spPr>
          <a:xfrm flipH="1">
            <a:off x="8741500" y="5679864"/>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34" name="Title 9">
            <a:extLst>
              <a:ext uri="{FF2B5EF4-FFF2-40B4-BE49-F238E27FC236}">
                <a16:creationId xmlns:a16="http://schemas.microsoft.com/office/drawing/2014/main" id="{7D5857E9-A6E7-08A6-14F4-7CFB2D33B4ED}"/>
              </a:ext>
            </a:extLst>
          </p:cNvPr>
          <p:cNvSpPr>
            <a:spLocks noGrp="1"/>
          </p:cNvSpPr>
          <p:nvPr>
            <p:ph type="title" hasCustomPrompt="1"/>
          </p:nvPr>
        </p:nvSpPr>
        <p:spPr>
          <a:xfrm>
            <a:off x="8737600" y="454013"/>
            <a:ext cx="2944813" cy="554847"/>
          </a:xfrm>
        </p:spPr>
        <p:txBody>
          <a:bodyPr/>
          <a:lstStyle>
            <a:lvl1pPr>
              <a:defRPr/>
            </a:lvl1pPr>
          </a:lstStyle>
          <a:p>
            <a:r>
              <a:rPr lang="en-US" dirty="0"/>
              <a:t>OUR OFFICE</a:t>
            </a:r>
            <a:endParaRPr lang="en-GB" dirty="0"/>
          </a:p>
        </p:txBody>
      </p:sp>
      <p:sp>
        <p:nvSpPr>
          <p:cNvPr id="9" name="TextBox 4">
            <a:extLst>
              <a:ext uri="{FF2B5EF4-FFF2-40B4-BE49-F238E27FC236}">
                <a16:creationId xmlns:a16="http://schemas.microsoft.com/office/drawing/2014/main" id="{D024D554-B2CA-F407-B2B8-E3A5AEF6E02D}"/>
              </a:ext>
            </a:extLst>
          </p:cNvPr>
          <p:cNvSpPr txBox="1"/>
          <p:nvPr userDrawn="1"/>
        </p:nvSpPr>
        <p:spPr>
          <a:xfrm>
            <a:off x="12346713" y="109538"/>
            <a:ext cx="2253207" cy="316496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INSERTING IMAGES:</a:t>
            </a:r>
          </a:p>
          <a:p>
            <a:pPr marL="179388" indent="-179388">
              <a:spcBef>
                <a:spcPts val="200"/>
              </a:spcBef>
              <a:spcAft>
                <a:spcPts val="200"/>
              </a:spcAft>
              <a:buFont typeface="+mj-lt"/>
              <a:buAutoNum type="arabicPeriod"/>
            </a:pPr>
            <a:r>
              <a:rPr lang="en-US" sz="900" dirty="0">
                <a:solidFill>
                  <a:schemeClr val="tx1"/>
                </a:solidFill>
                <a:latin typeface="+mn-lt"/>
              </a:rPr>
              <a:t>Simply click the image placeholder and select your image.</a:t>
            </a:r>
          </a:p>
          <a:p>
            <a:pPr marL="179388" indent="-179388">
              <a:spcBef>
                <a:spcPts val="200"/>
              </a:spcBef>
              <a:spcAft>
                <a:spcPts val="200"/>
              </a:spcAft>
              <a:buFont typeface="+mj-lt"/>
              <a:buAutoNum type="arabicPeriod"/>
            </a:pPr>
            <a:r>
              <a:rPr lang="en-US" sz="900" dirty="0">
                <a:solidFill>
                  <a:schemeClr val="tx1"/>
                </a:solidFill>
                <a:latin typeface="+mn-lt"/>
              </a:rPr>
              <a:t>Once your image is inserted into the shape it may be distorted. (Stretched or Squashed)</a:t>
            </a:r>
          </a:p>
          <a:p>
            <a:pPr marL="179388" indent="-179388">
              <a:spcBef>
                <a:spcPts val="200"/>
              </a:spcBef>
              <a:spcAft>
                <a:spcPts val="200"/>
              </a:spcAft>
              <a:buFont typeface="+mj-lt"/>
              <a:buAutoNum type="arabicPeriod"/>
            </a:pPr>
            <a:endParaRPr lang="en-US" sz="900" dirty="0">
              <a:solidFill>
                <a:schemeClr val="tx1"/>
              </a:solidFill>
              <a:latin typeface="+mn-lt"/>
            </a:endParaRPr>
          </a:p>
          <a:p>
            <a:pPr>
              <a:spcBef>
                <a:spcPts val="200"/>
              </a:spcBef>
              <a:spcAft>
                <a:spcPts val="200"/>
              </a:spcAft>
            </a:pPr>
            <a:r>
              <a:rPr lang="en-US" sz="900" b="1" dirty="0">
                <a:solidFill>
                  <a:schemeClr val="tx1"/>
                </a:solidFill>
                <a:latin typeface="+mn-lt"/>
              </a:rPr>
              <a:t>To fix this:</a:t>
            </a:r>
          </a:p>
          <a:p>
            <a:pPr marL="179388" indent="-179388">
              <a:spcBef>
                <a:spcPts val="200"/>
              </a:spcBef>
              <a:spcAft>
                <a:spcPts val="200"/>
              </a:spcAft>
              <a:buFont typeface="+mj-lt"/>
              <a:buAutoNum type="arabicPeriod"/>
            </a:pPr>
            <a:r>
              <a:rPr lang="en-US" sz="900" dirty="0">
                <a:solidFill>
                  <a:schemeClr val="tx1"/>
                </a:solidFill>
                <a:latin typeface="+mn-lt"/>
              </a:rPr>
              <a:t>Click on the image and from the top menu under </a:t>
            </a:r>
            <a:r>
              <a:rPr lang="en-US" sz="900" b="1" dirty="0">
                <a:solidFill>
                  <a:schemeClr val="tx1"/>
                </a:solidFill>
                <a:latin typeface="+mn-lt"/>
              </a:rPr>
              <a:t>PICTURE FORMAT </a:t>
            </a:r>
            <a:r>
              <a:rPr lang="en-US" sz="900" dirty="0">
                <a:solidFill>
                  <a:schemeClr val="tx1"/>
                </a:solidFill>
                <a:latin typeface="+mn-lt"/>
              </a:rPr>
              <a:t>select the </a:t>
            </a:r>
            <a:r>
              <a:rPr lang="en-US" sz="900" b="1" dirty="0">
                <a:solidFill>
                  <a:schemeClr val="tx1"/>
                </a:solidFill>
                <a:latin typeface="+mn-lt"/>
              </a:rPr>
              <a:t>CROP</a:t>
            </a:r>
            <a:r>
              <a:rPr lang="en-US" sz="900" dirty="0">
                <a:solidFill>
                  <a:schemeClr val="tx1"/>
                </a:solidFill>
                <a:latin typeface="+mn-lt"/>
              </a:rPr>
              <a:t> on the right and from the drop down menu select </a:t>
            </a:r>
            <a:r>
              <a:rPr lang="en-US" sz="900" b="1" kern="1200" dirty="0">
                <a:solidFill>
                  <a:schemeClr val="tx1"/>
                </a:solidFill>
                <a:latin typeface="+mn-lt"/>
                <a:ea typeface="+mn-ea"/>
                <a:cs typeface="+mn-cs"/>
              </a:rPr>
              <a:t>FILL</a:t>
            </a:r>
          </a:p>
          <a:p>
            <a:pPr marL="179388" indent="-179388">
              <a:spcBef>
                <a:spcPts val="200"/>
              </a:spcBef>
              <a:spcAft>
                <a:spcPts val="200"/>
              </a:spcAft>
              <a:buFont typeface="+mj-lt"/>
              <a:buAutoNum type="arabicPeriod"/>
            </a:pPr>
            <a:r>
              <a:rPr lang="en-US" sz="900" b="0" kern="1200" dirty="0">
                <a:solidFill>
                  <a:schemeClr val="tx1"/>
                </a:solidFill>
                <a:latin typeface="+mn-lt"/>
                <a:ea typeface="+mn-ea"/>
                <a:cs typeface="+mn-cs"/>
              </a:rPr>
              <a:t>From here you can move the image within the shape for best visual appearance</a:t>
            </a:r>
          </a:p>
          <a:p>
            <a:pPr marL="179388" indent="-179388">
              <a:spcBef>
                <a:spcPts val="200"/>
              </a:spcBef>
              <a:spcAft>
                <a:spcPts val="200"/>
              </a:spcAft>
              <a:buFont typeface="+mj-lt"/>
              <a:buAutoNum type="arabicPeriod"/>
            </a:pPr>
            <a:endParaRPr lang="en-US" sz="900" b="0" kern="1200" dirty="0">
              <a:solidFill>
                <a:schemeClr val="tx1"/>
              </a:solidFill>
              <a:latin typeface="+mn-lt"/>
              <a:ea typeface="+mn-ea"/>
              <a:cs typeface="+mn-cs"/>
            </a:endParaRPr>
          </a:p>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SAMPLE CONTACT LAYOUT</a:t>
            </a:r>
          </a:p>
        </p:txBody>
      </p:sp>
      <p:grpSp>
        <p:nvGrpSpPr>
          <p:cNvPr id="10" name="Group 9">
            <a:extLst>
              <a:ext uri="{FF2B5EF4-FFF2-40B4-BE49-F238E27FC236}">
                <a16:creationId xmlns:a16="http://schemas.microsoft.com/office/drawing/2014/main" id="{A2CE0D2C-A2DC-0007-E670-98D20F3D3A5F}"/>
              </a:ext>
            </a:extLst>
          </p:cNvPr>
          <p:cNvGrpSpPr/>
          <p:nvPr userDrawn="1"/>
        </p:nvGrpSpPr>
        <p:grpSpPr>
          <a:xfrm>
            <a:off x="12437199" y="3429000"/>
            <a:ext cx="2813913" cy="1004063"/>
            <a:chOff x="12437199" y="3429000"/>
            <a:chExt cx="2813913" cy="1004063"/>
          </a:xfrm>
        </p:grpSpPr>
        <p:sp>
          <p:nvSpPr>
            <p:cNvPr id="11" name="TextBox 10">
              <a:extLst>
                <a:ext uri="{FF2B5EF4-FFF2-40B4-BE49-F238E27FC236}">
                  <a16:creationId xmlns:a16="http://schemas.microsoft.com/office/drawing/2014/main" id="{3F9D981B-9785-2649-1CB8-123599F81C20}"/>
                </a:ext>
              </a:extLst>
            </p:cNvPr>
            <p:cNvSpPr txBox="1"/>
            <p:nvPr userDrawn="1"/>
          </p:nvSpPr>
          <p:spPr>
            <a:xfrm flipH="1">
              <a:off x="12611362" y="4263786"/>
              <a:ext cx="2639750"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12" name="TextBox 11">
              <a:extLst>
                <a:ext uri="{FF2B5EF4-FFF2-40B4-BE49-F238E27FC236}">
                  <a16:creationId xmlns:a16="http://schemas.microsoft.com/office/drawing/2014/main" id="{FAD8FA33-4EC1-6873-124F-EE3113E05388}"/>
                </a:ext>
              </a:extLst>
            </p:cNvPr>
            <p:cNvSpPr txBox="1"/>
            <p:nvPr userDrawn="1"/>
          </p:nvSpPr>
          <p:spPr>
            <a:xfrm flipH="1">
              <a:off x="12437200" y="4263786"/>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13" name="TextBox 12">
              <a:extLst>
                <a:ext uri="{FF2B5EF4-FFF2-40B4-BE49-F238E27FC236}">
                  <a16:creationId xmlns:a16="http://schemas.microsoft.com/office/drawing/2014/main" id="{F0860923-ADF4-8328-AED2-3F1692B3424B}"/>
                </a:ext>
              </a:extLst>
            </p:cNvPr>
            <p:cNvSpPr txBox="1"/>
            <p:nvPr userDrawn="1"/>
          </p:nvSpPr>
          <p:spPr>
            <a:xfrm flipH="1">
              <a:off x="12437199" y="3429000"/>
              <a:ext cx="1968833"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solidFill>
                    <a:schemeClr val="tx2"/>
                  </a:solidFill>
                  <a:latin typeface="+mj-lt"/>
                </a:rPr>
                <a:t>OFFICE NAME</a:t>
              </a:r>
            </a:p>
          </p:txBody>
        </p:sp>
        <p:sp>
          <p:nvSpPr>
            <p:cNvPr id="14" name="TextBox 13">
              <a:extLst>
                <a:ext uri="{FF2B5EF4-FFF2-40B4-BE49-F238E27FC236}">
                  <a16:creationId xmlns:a16="http://schemas.microsoft.com/office/drawing/2014/main" id="{0B763324-C561-36EF-C753-202E82E023C5}"/>
                </a:ext>
              </a:extLst>
            </p:cNvPr>
            <p:cNvSpPr txBox="1"/>
            <p:nvPr userDrawn="1"/>
          </p:nvSpPr>
          <p:spPr>
            <a:xfrm flipH="1">
              <a:off x="12437199" y="3644298"/>
              <a:ext cx="1968833"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0" lvl="0" indent="0" algn="l" defTabSz="914400" rtl="0" eaLnBrk="1" latinLnBrk="0" hangingPunct="1">
                <a:lnSpc>
                  <a:spcPct val="100000"/>
                </a:lnSpc>
                <a:spcBef>
                  <a:spcPts val="100"/>
                </a:spcBef>
                <a:spcAft>
                  <a:spcPts val="0"/>
                </a:spcAft>
                <a:buFont typeface="Arial" panose="020B0604020202020204" pitchFamily="34" charset="0"/>
                <a:buNone/>
              </a:pPr>
              <a:r>
                <a:rPr lang="en-US" dirty="0"/>
                <a:t>Address line 1</a:t>
              </a:r>
            </a:p>
            <a:p>
              <a:pPr marL="0" marR="0" lvl="0" indent="0" algn="l" defTabSz="914400" rtl="0" eaLnBrk="1" fontAlgn="auto" latinLnBrk="0" hangingPunct="1">
                <a:lnSpc>
                  <a:spcPct val="100000"/>
                </a:lnSpc>
                <a:spcBef>
                  <a:spcPts val="100"/>
                </a:spcBef>
                <a:spcAft>
                  <a:spcPts val="0"/>
                </a:spcAft>
                <a:buClrTx/>
                <a:buSzTx/>
                <a:buFont typeface="Arial" panose="020B0604020202020204" pitchFamily="34" charset="0"/>
                <a:buNone/>
                <a:tabLst/>
                <a:defRPr/>
              </a:pPr>
              <a:r>
                <a:rPr lang="en-US" dirty="0"/>
                <a:t>Address line 2</a:t>
              </a:r>
            </a:p>
            <a:p>
              <a:pPr marL="0" marR="0" lvl="0" indent="0" algn="l" defTabSz="914400" rtl="0" eaLnBrk="1" fontAlgn="auto" latinLnBrk="0" hangingPunct="1">
                <a:lnSpc>
                  <a:spcPct val="100000"/>
                </a:lnSpc>
                <a:spcBef>
                  <a:spcPts val="100"/>
                </a:spcBef>
                <a:spcAft>
                  <a:spcPts val="0"/>
                </a:spcAft>
                <a:buClrTx/>
                <a:buSzTx/>
                <a:buFont typeface="Arial" panose="020B0604020202020204" pitchFamily="34" charset="0"/>
                <a:buNone/>
                <a:tabLst/>
                <a:defRPr/>
              </a:pPr>
              <a:r>
                <a:rPr lang="en-US" dirty="0"/>
                <a:t>Address line 3</a:t>
              </a:r>
            </a:p>
            <a:p>
              <a:pPr marL="0" lvl="0" indent="0" algn="l" defTabSz="914400" rtl="0" eaLnBrk="1" latinLnBrk="0" hangingPunct="1">
                <a:lnSpc>
                  <a:spcPct val="100000"/>
                </a:lnSpc>
                <a:spcBef>
                  <a:spcPts val="200"/>
                </a:spcBef>
                <a:spcAft>
                  <a:spcPts val="200"/>
                </a:spcAft>
                <a:buFont typeface="Arial" panose="020B0604020202020204" pitchFamily="34" charset="0"/>
                <a:buNone/>
              </a:pPr>
              <a:endParaRPr lang="en-US" dirty="0"/>
            </a:p>
          </p:txBody>
        </p:sp>
      </p:grpSp>
    </p:spTree>
    <p:extLst>
      <p:ext uri="{BB962C8B-B14F-4D97-AF65-F5344CB8AC3E}">
        <p14:creationId xmlns:p14="http://schemas.microsoft.com/office/powerpoint/2010/main" val="748497024"/>
      </p:ext>
    </p:extLst>
  </p:cSld>
  <p:clrMapOvr>
    <a:masterClrMapping/>
  </p:clrMapOvr>
  <p:transition spd="med">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EROSPACE Boilerplate">
    <p:spTree>
      <p:nvGrpSpPr>
        <p:cNvPr id="1" name=""/>
        <p:cNvGrpSpPr/>
        <p:nvPr/>
      </p:nvGrpSpPr>
      <p:grpSpPr>
        <a:xfrm>
          <a:off x="0" y="0"/>
          <a:ext cx="0" cy="0"/>
          <a:chOff x="0" y="0"/>
          <a:chExt cx="0" cy="0"/>
        </a:xfrm>
      </p:grpSpPr>
      <p:pic>
        <p:nvPicPr>
          <p:cNvPr id="29" name="Graphic 28">
            <a:extLst>
              <a:ext uri="{FF2B5EF4-FFF2-40B4-BE49-F238E27FC236}">
                <a16:creationId xmlns:a16="http://schemas.microsoft.com/office/drawing/2014/main" id="{E445D92A-A268-DC4C-148C-0441419733C2}"/>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66653"/>
          <a:stretch/>
        </p:blipFill>
        <p:spPr>
          <a:xfrm>
            <a:off x="8126412" y="0"/>
            <a:ext cx="4065587" cy="6858000"/>
          </a:xfrm>
          <a:prstGeom prst="rect">
            <a:avLst/>
          </a:prstGeom>
        </p:spPr>
      </p:pic>
      <p:sp>
        <p:nvSpPr>
          <p:cNvPr id="7" name="TextBox 6">
            <a:extLst>
              <a:ext uri="{FF2B5EF4-FFF2-40B4-BE49-F238E27FC236}">
                <a16:creationId xmlns:a16="http://schemas.microsoft.com/office/drawing/2014/main" id="{73D10B0A-F22D-7272-14D2-169122397CB5}"/>
              </a:ext>
            </a:extLst>
          </p:cNvPr>
          <p:cNvSpPr txBox="1"/>
          <p:nvPr userDrawn="1"/>
        </p:nvSpPr>
        <p:spPr>
          <a:xfrm>
            <a:off x="8839200" y="1123947"/>
            <a:ext cx="2843213" cy="1447800"/>
          </a:xfrm>
          <a:prstGeom prst="rect">
            <a:avLst/>
          </a:prstGeom>
        </p:spPr>
        <p:txBody>
          <a:bodyPr vert="horz" wrap="square" lIns="0" tIns="45720" rIns="0" bIns="45720" rtlCol="0">
            <a:normAutofit/>
          </a:bodyPr>
          <a:lstStyle/>
          <a:p>
            <a:pPr algn="l">
              <a:lnSpc>
                <a:spcPct val="80000"/>
              </a:lnSpc>
            </a:pPr>
            <a:r>
              <a:rPr lang="en-GB" sz="7200" dirty="0">
                <a:solidFill>
                  <a:schemeClr val="bg1"/>
                </a:solidFill>
                <a:latin typeface="+mj-lt"/>
              </a:rPr>
              <a:t>20</a:t>
            </a:r>
          </a:p>
          <a:p>
            <a:pPr algn="l">
              <a:lnSpc>
                <a:spcPct val="80000"/>
              </a:lnSpc>
            </a:pPr>
            <a:r>
              <a:rPr lang="en-GB" sz="3200" dirty="0">
                <a:solidFill>
                  <a:schemeClr val="accent2"/>
                </a:solidFill>
                <a:latin typeface="+mn-lt"/>
              </a:rPr>
              <a:t>partners</a:t>
            </a:r>
            <a:endParaRPr lang="en-GB" sz="8000" kern="1200" dirty="0">
              <a:solidFill>
                <a:schemeClr val="accent2"/>
              </a:solidFill>
              <a:latin typeface="+mj-lt"/>
              <a:ea typeface="+mn-ea"/>
              <a:cs typeface="+mn-cs"/>
            </a:endParaRPr>
          </a:p>
        </p:txBody>
      </p:sp>
      <p:sp>
        <p:nvSpPr>
          <p:cNvPr id="11" name="TextBox 10">
            <a:extLst>
              <a:ext uri="{FF2B5EF4-FFF2-40B4-BE49-F238E27FC236}">
                <a16:creationId xmlns:a16="http://schemas.microsoft.com/office/drawing/2014/main" id="{67C871FE-B1B0-A638-ADC0-218F5F432E20}"/>
              </a:ext>
            </a:extLst>
          </p:cNvPr>
          <p:cNvSpPr txBox="1"/>
          <p:nvPr userDrawn="1"/>
        </p:nvSpPr>
        <p:spPr>
          <a:xfrm>
            <a:off x="8839200" y="2819215"/>
            <a:ext cx="2843213" cy="1447800"/>
          </a:xfrm>
          <a:prstGeom prst="rect">
            <a:avLst/>
          </a:prstGeom>
        </p:spPr>
        <p:txBody>
          <a:bodyPr vert="horz" wrap="square" lIns="0" tIns="45720" rIns="0" bIns="45720" rtlCol="0">
            <a:normAutofit/>
          </a:bodyPr>
          <a:lstStyle/>
          <a:p>
            <a:pPr algn="l">
              <a:lnSpc>
                <a:spcPct val="80000"/>
              </a:lnSpc>
            </a:pPr>
            <a:r>
              <a:rPr lang="en-GB" sz="7200" dirty="0">
                <a:solidFill>
                  <a:schemeClr val="bg1"/>
                </a:solidFill>
                <a:latin typeface="+mj-lt"/>
              </a:rPr>
              <a:t>85+</a:t>
            </a:r>
          </a:p>
          <a:p>
            <a:pPr algn="l">
              <a:lnSpc>
                <a:spcPct val="80000"/>
              </a:lnSpc>
            </a:pPr>
            <a:r>
              <a:rPr lang="en-GB" sz="3200" dirty="0">
                <a:solidFill>
                  <a:schemeClr val="accent2"/>
                </a:solidFill>
                <a:latin typeface="+mn-lt"/>
              </a:rPr>
              <a:t>lawyers</a:t>
            </a:r>
            <a:endParaRPr lang="en-GB" sz="8000" kern="1200" dirty="0">
              <a:solidFill>
                <a:schemeClr val="accent2"/>
              </a:solidFill>
              <a:latin typeface="+mj-lt"/>
              <a:ea typeface="+mn-ea"/>
              <a:cs typeface="+mn-cs"/>
            </a:endParaRPr>
          </a:p>
        </p:txBody>
      </p:sp>
      <p:sp>
        <p:nvSpPr>
          <p:cNvPr id="12" name="TextBox 11">
            <a:extLst>
              <a:ext uri="{FF2B5EF4-FFF2-40B4-BE49-F238E27FC236}">
                <a16:creationId xmlns:a16="http://schemas.microsoft.com/office/drawing/2014/main" id="{F11CE0C1-0666-DC6D-F362-A93308F22743}"/>
              </a:ext>
            </a:extLst>
          </p:cNvPr>
          <p:cNvSpPr txBox="1"/>
          <p:nvPr userDrawn="1"/>
        </p:nvSpPr>
        <p:spPr>
          <a:xfrm>
            <a:off x="8778240" y="4546753"/>
            <a:ext cx="2843213" cy="1775416"/>
          </a:xfrm>
          <a:prstGeom prst="rect">
            <a:avLst/>
          </a:prstGeom>
        </p:spPr>
        <p:txBody>
          <a:bodyPr vert="horz" wrap="square" lIns="0" tIns="45720" rIns="0" bIns="45720" rtlCol="0">
            <a:normAutofit/>
          </a:bodyPr>
          <a:lstStyle/>
          <a:p>
            <a:pPr marL="92075" indent="-92075" algn="l">
              <a:lnSpc>
                <a:spcPct val="100000"/>
              </a:lnSpc>
              <a:spcBef>
                <a:spcPts val="200"/>
              </a:spcBef>
              <a:spcAft>
                <a:spcPts val="200"/>
              </a:spcAft>
            </a:pPr>
            <a:r>
              <a:rPr lang="en-US" sz="1600" dirty="0">
                <a:solidFill>
                  <a:schemeClr val="bg1"/>
                </a:solidFill>
                <a:latin typeface="+mj-lt"/>
              </a:rPr>
              <a:t>“HFW are the </a:t>
            </a:r>
            <a:br>
              <a:rPr lang="en-US" sz="1600" dirty="0">
                <a:solidFill>
                  <a:schemeClr val="bg1"/>
                </a:solidFill>
                <a:latin typeface="+mj-lt"/>
              </a:rPr>
            </a:br>
            <a:r>
              <a:rPr lang="en-US" sz="1600" dirty="0">
                <a:solidFill>
                  <a:schemeClr val="bg1"/>
                </a:solidFill>
                <a:latin typeface="+mj-lt"/>
              </a:rPr>
              <a:t>most reliable, knowledgeable law </a:t>
            </a:r>
            <a:br>
              <a:rPr lang="en-US" sz="1600" dirty="0">
                <a:solidFill>
                  <a:schemeClr val="bg1"/>
                </a:solidFill>
                <a:latin typeface="+mj-lt"/>
              </a:rPr>
            </a:br>
            <a:r>
              <a:rPr lang="en-US" sz="1600" dirty="0">
                <a:solidFill>
                  <a:schemeClr val="bg1"/>
                </a:solidFill>
                <a:latin typeface="+mj-lt"/>
              </a:rPr>
              <a:t>firm I work with... </a:t>
            </a:r>
            <a:br>
              <a:rPr lang="en-US" sz="1600" dirty="0">
                <a:solidFill>
                  <a:schemeClr val="bg1"/>
                </a:solidFill>
                <a:latin typeface="+mj-lt"/>
              </a:rPr>
            </a:br>
            <a:r>
              <a:rPr lang="en-US" sz="1600" dirty="0">
                <a:solidFill>
                  <a:schemeClr val="bg1"/>
                </a:solidFill>
                <a:latin typeface="+mj-lt"/>
              </a:rPr>
              <a:t>they are my go-to.”</a:t>
            </a:r>
          </a:p>
          <a:p>
            <a:pPr marL="92075" indent="0" algn="l">
              <a:lnSpc>
                <a:spcPct val="100000"/>
              </a:lnSpc>
              <a:spcBef>
                <a:spcPts val="200"/>
              </a:spcBef>
              <a:spcAft>
                <a:spcPts val="200"/>
              </a:spcAft>
            </a:pPr>
            <a:r>
              <a:rPr lang="en-US" sz="1200" dirty="0">
                <a:solidFill>
                  <a:schemeClr val="accent2"/>
                </a:solidFill>
                <a:latin typeface="+mj-lt"/>
              </a:rPr>
              <a:t>AVIATION CLIENT</a:t>
            </a:r>
            <a:endParaRPr lang="en-GB" sz="1400" kern="1200" dirty="0">
              <a:solidFill>
                <a:schemeClr val="accent2"/>
              </a:solidFill>
              <a:latin typeface="+mj-lt"/>
              <a:ea typeface="+mn-ea"/>
              <a:cs typeface="+mn-cs"/>
            </a:endParaRPr>
          </a:p>
        </p:txBody>
      </p:sp>
      <p:sp>
        <p:nvSpPr>
          <p:cNvPr id="5" name="Footer Placeholder 4"/>
          <p:cNvSpPr>
            <a:spLocks noGrp="1"/>
          </p:cNvSpPr>
          <p:nvPr>
            <p:ph type="ftr" sz="quarter" idx="11"/>
          </p:nvPr>
        </p:nvSpPr>
        <p:spPr/>
        <p:txBody>
          <a:bodyPr/>
          <a:lstStyle/>
          <a:p>
            <a:r>
              <a:rPr lang="en-GB"/>
              <a:t>INSERT FOOTER HER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8CFE0557-AA98-4E6C-B0C3-581794696B68}" type="slidenum">
              <a:rPr lang="en-GB" smtClean="0"/>
              <a:pPr/>
              <a:t>‹#›</a:t>
            </a:fld>
            <a:endParaRPr lang="en-GB" dirty="0"/>
          </a:p>
        </p:txBody>
      </p:sp>
      <p:sp>
        <p:nvSpPr>
          <p:cNvPr id="23" name="Title 3">
            <a:extLst>
              <a:ext uri="{FF2B5EF4-FFF2-40B4-BE49-F238E27FC236}">
                <a16:creationId xmlns:a16="http://schemas.microsoft.com/office/drawing/2014/main" id="{8AB09B44-EDBF-17A6-8435-B2F4F07AB3F6}"/>
              </a:ext>
            </a:extLst>
          </p:cNvPr>
          <p:cNvSpPr txBox="1">
            <a:spLocks/>
          </p:cNvSpPr>
          <p:nvPr userDrawn="1"/>
        </p:nvSpPr>
        <p:spPr>
          <a:xfrm>
            <a:off x="508000" y="454014"/>
            <a:ext cx="7134225" cy="669934"/>
          </a:xfrm>
          <a:prstGeom prst="rect">
            <a:avLst/>
          </a:prstGeom>
        </p:spPr>
        <p:txBody>
          <a:bodyPr vert="horz" lIns="0" tIns="0" rIns="0" bIns="72000" rtlCol="0" anchor="t" anchorCtr="0">
            <a:noAutofit/>
          </a:bodyPr>
          <a:lstStyle>
            <a:lvl1pPr algn="l" defTabSz="914400" rtl="0" eaLnBrk="1" latinLnBrk="0" hangingPunct="1">
              <a:lnSpc>
                <a:spcPct val="90000"/>
              </a:lnSpc>
              <a:spcBef>
                <a:spcPct val="0"/>
              </a:spcBef>
              <a:buNone/>
              <a:defRPr sz="3200" kern="1200" cap="all" baseline="0">
                <a:solidFill>
                  <a:schemeClr val="tx2"/>
                </a:solidFill>
                <a:latin typeface="+mn-lt"/>
                <a:ea typeface="+mj-ea"/>
                <a:cs typeface="+mj-cs"/>
              </a:defRPr>
            </a:lvl1pPr>
          </a:lstStyle>
          <a:p>
            <a:r>
              <a:rPr lang="en-GB" dirty="0"/>
              <a:t>AEROSPACE</a:t>
            </a:r>
          </a:p>
        </p:txBody>
      </p:sp>
      <p:sp>
        <p:nvSpPr>
          <p:cNvPr id="25" name="TextBox 24">
            <a:extLst>
              <a:ext uri="{FF2B5EF4-FFF2-40B4-BE49-F238E27FC236}">
                <a16:creationId xmlns:a16="http://schemas.microsoft.com/office/drawing/2014/main" id="{A5EA36E1-4129-FEF6-9C2F-9D7197C7629D}"/>
              </a:ext>
            </a:extLst>
          </p:cNvPr>
          <p:cNvSpPr txBox="1"/>
          <p:nvPr userDrawn="1"/>
        </p:nvSpPr>
        <p:spPr>
          <a:xfrm>
            <a:off x="504826" y="1123946"/>
            <a:ext cx="7183961" cy="1027119"/>
          </a:xfrm>
          <a:prstGeom prst="rect">
            <a:avLst/>
          </a:prstGeom>
        </p:spPr>
        <p:txBody>
          <a:bodyPr vert="horz" wrap="square" lIns="0" tIns="45720" rIns="0" bIns="45720" rtlCol="0">
            <a:normAutofit lnSpcReduction="10000"/>
          </a:bodyPr>
          <a:lstStyle/>
          <a:p>
            <a:pPr marL="0" lvl="0" indent="0" algn="l" defTabSz="914400" rtl="0" eaLnBrk="1" latinLnBrk="0" hangingPunct="1">
              <a:lnSpc>
                <a:spcPct val="110000"/>
              </a:lnSpc>
              <a:spcBef>
                <a:spcPts val="300"/>
              </a:spcBef>
              <a:spcAft>
                <a:spcPts val="300"/>
              </a:spcAft>
              <a:buFont typeface="Arial" panose="020B0604020202020204" pitchFamily="34" charset="0"/>
              <a:buNone/>
            </a:pPr>
            <a:r>
              <a:rPr lang="en-US" sz="2000" kern="1200" dirty="0">
                <a:solidFill>
                  <a:schemeClr val="accent2"/>
                </a:solidFill>
                <a:latin typeface="+mj-lt"/>
                <a:ea typeface="+mn-ea"/>
                <a:cs typeface="+mn-cs"/>
              </a:rPr>
              <a:t>HFW’s market-leading global aerospace practice has been at the forefront of legal developments in the sector for decades.</a:t>
            </a:r>
            <a:endParaRPr lang="en-GB" sz="2000" kern="1200" dirty="0">
              <a:solidFill>
                <a:schemeClr val="accent2"/>
              </a:solidFill>
              <a:latin typeface="+mj-lt"/>
              <a:ea typeface="+mn-ea"/>
              <a:cs typeface="+mn-cs"/>
            </a:endParaRPr>
          </a:p>
        </p:txBody>
      </p:sp>
      <p:sp>
        <p:nvSpPr>
          <p:cNvPr id="26" name="TextBox 25">
            <a:extLst>
              <a:ext uri="{FF2B5EF4-FFF2-40B4-BE49-F238E27FC236}">
                <a16:creationId xmlns:a16="http://schemas.microsoft.com/office/drawing/2014/main" id="{FDFD0AFD-8043-093A-16C9-665D20AE7490}"/>
              </a:ext>
            </a:extLst>
          </p:cNvPr>
          <p:cNvSpPr txBox="1"/>
          <p:nvPr userDrawn="1"/>
        </p:nvSpPr>
        <p:spPr>
          <a:xfrm>
            <a:off x="504826" y="2195825"/>
            <a:ext cx="3403599" cy="4022429"/>
          </a:xfrm>
          <a:prstGeom prst="rect">
            <a:avLst/>
          </a:prstGeom>
        </p:spPr>
        <p:txBody>
          <a:bodyPr vert="horz" lIns="0" tIns="45720" rIns="0" bIns="45720" rtlCol="0">
            <a:normAutofit/>
          </a:bodyPr>
          <a:lstStyle>
            <a:lvl1pPr indent="0" defTabSz="914400">
              <a:lnSpc>
                <a:spcPct val="130000"/>
              </a:lnSpc>
              <a:spcBef>
                <a:spcPts val="300"/>
              </a:spcBef>
              <a:spcAft>
                <a:spcPts val="300"/>
              </a:spcAft>
              <a:buFont typeface="Arial" panose="020B0604020202020204" pitchFamily="34" charset="0"/>
              <a:buNone/>
              <a:defRPr sz="1400">
                <a:solidFill>
                  <a:schemeClr val="tx2"/>
                </a:solidFill>
                <a:latin typeface="+mj-lt"/>
              </a:defRPr>
            </a:lvl1pPr>
            <a:lvl2pPr marL="0" lvl="1" indent="0" defTabSz="914400">
              <a:lnSpc>
                <a:spcPct val="130000"/>
              </a:lnSpc>
              <a:spcBef>
                <a:spcPts val="300"/>
              </a:spcBef>
              <a:spcAft>
                <a:spcPts val="300"/>
              </a:spcAft>
              <a:buFont typeface="Arial" panose="020B0604020202020204" pitchFamily="34" charset="0"/>
              <a:buNone/>
              <a:defRPr sz="1100"/>
            </a:lvl2pPr>
            <a:lvl3pPr marL="180975" indent="-180975" defTabSz="914400">
              <a:lnSpc>
                <a:spcPct val="130000"/>
              </a:lnSpc>
              <a:spcBef>
                <a:spcPts val="300"/>
              </a:spcBef>
              <a:spcAft>
                <a:spcPts val="300"/>
              </a:spcAft>
              <a:buClr>
                <a:schemeClr val="tx2"/>
              </a:buClr>
              <a:buSzPct val="105000"/>
              <a:buFont typeface="Arial" panose="020B0604020202020204" pitchFamily="34" charset="0"/>
              <a:buChar char="•"/>
              <a:defRPr sz="1100"/>
            </a:lvl3pPr>
            <a:lvl4pPr marL="539750" indent="-180975" defTabSz="914400">
              <a:lnSpc>
                <a:spcPct val="130000"/>
              </a:lnSpc>
              <a:spcBef>
                <a:spcPts val="300"/>
              </a:spcBef>
              <a:spcAft>
                <a:spcPts val="300"/>
              </a:spcAft>
              <a:buClr>
                <a:schemeClr val="tx2"/>
              </a:buClr>
              <a:buSzPct val="105000"/>
              <a:buFont typeface="Arial" panose="020B0604020202020204" pitchFamily="34" charset="0"/>
              <a:buChar char="•"/>
              <a:defRPr sz="1050"/>
            </a:lvl4pPr>
            <a:lvl5pPr marL="898525" indent="-180975" defTabSz="914400">
              <a:lnSpc>
                <a:spcPct val="130000"/>
              </a:lnSpc>
              <a:spcBef>
                <a:spcPts val="300"/>
              </a:spcBef>
              <a:spcAft>
                <a:spcPts val="300"/>
              </a:spcAft>
              <a:buClr>
                <a:schemeClr val="tx2"/>
              </a:buClr>
              <a:buSzPct val="105000"/>
              <a:buFont typeface="Arial" panose="020B0604020202020204" pitchFamily="34" charset="0"/>
              <a:buChar char="•"/>
              <a:defRPr sz="105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1"/>
            <a:r>
              <a:rPr lang="en-US" dirty="0"/>
              <a:t>Our specialist lawyers have unrivalled experience of resolving the most complex claims and advising on aviation safety, economic regulation, finance and leasing, competition and antitrust. We help our clients negotiate documents which make sense operationally, </a:t>
            </a:r>
            <a:r>
              <a:rPr lang="en-US" dirty="0" err="1"/>
              <a:t>maximising</a:t>
            </a:r>
            <a:r>
              <a:rPr lang="en-US" dirty="0"/>
              <a:t> the revenue-generating potential of the asset, and also offer a bespoke aviation mediation service.</a:t>
            </a:r>
          </a:p>
          <a:p>
            <a:pPr lvl="1"/>
            <a:r>
              <a:rPr lang="en-US" dirty="0"/>
              <a:t>Our clients are drawn from all spheres of the aerospace industry, and our practice is one of the largest of any international law firm, with leading teams across Europe, the Middle East and Asia-Pacific. Our cooperation arrangement with Brazilian law firm CAL enables us to provide our clients with specialist local advice throughout Latin America.</a:t>
            </a:r>
            <a:endParaRPr lang="en-GB" dirty="0"/>
          </a:p>
        </p:txBody>
      </p:sp>
      <p:sp>
        <p:nvSpPr>
          <p:cNvPr id="27" name="TextBox 26">
            <a:extLst>
              <a:ext uri="{FF2B5EF4-FFF2-40B4-BE49-F238E27FC236}">
                <a16:creationId xmlns:a16="http://schemas.microsoft.com/office/drawing/2014/main" id="{530F07B0-065E-C879-CBA7-03096D29DFC1}"/>
              </a:ext>
            </a:extLst>
          </p:cNvPr>
          <p:cNvSpPr txBox="1"/>
          <p:nvPr userDrawn="1"/>
        </p:nvSpPr>
        <p:spPr>
          <a:xfrm>
            <a:off x="4233546" y="2195825"/>
            <a:ext cx="3403599" cy="4022429"/>
          </a:xfrm>
          <a:prstGeom prst="rect">
            <a:avLst/>
          </a:prstGeom>
        </p:spPr>
        <p:txBody>
          <a:bodyPr vert="horz" lIns="0" tIns="45720" rIns="0" bIns="45720" rtlCol="0">
            <a:normAutofit/>
          </a:bodyPr>
          <a:lstStyle>
            <a:lvl1pPr indent="0" defTabSz="914400">
              <a:lnSpc>
                <a:spcPct val="130000"/>
              </a:lnSpc>
              <a:spcBef>
                <a:spcPts val="300"/>
              </a:spcBef>
              <a:spcAft>
                <a:spcPts val="300"/>
              </a:spcAft>
              <a:buFont typeface="Arial" panose="020B0604020202020204" pitchFamily="34" charset="0"/>
              <a:buNone/>
              <a:defRPr sz="1400">
                <a:solidFill>
                  <a:schemeClr val="tx2"/>
                </a:solidFill>
                <a:latin typeface="+mj-lt"/>
              </a:defRPr>
            </a:lvl1pPr>
            <a:lvl2pPr marL="0" lvl="1" indent="0" defTabSz="914400">
              <a:lnSpc>
                <a:spcPct val="130000"/>
              </a:lnSpc>
              <a:spcBef>
                <a:spcPts val="300"/>
              </a:spcBef>
              <a:spcAft>
                <a:spcPts val="300"/>
              </a:spcAft>
              <a:buFont typeface="Arial" panose="020B0604020202020204" pitchFamily="34" charset="0"/>
              <a:buNone/>
              <a:defRPr sz="1100"/>
            </a:lvl2pPr>
            <a:lvl3pPr marL="180975" indent="-180975" defTabSz="914400">
              <a:lnSpc>
                <a:spcPct val="130000"/>
              </a:lnSpc>
              <a:spcBef>
                <a:spcPts val="300"/>
              </a:spcBef>
              <a:spcAft>
                <a:spcPts val="300"/>
              </a:spcAft>
              <a:buClr>
                <a:schemeClr val="tx2"/>
              </a:buClr>
              <a:buSzPct val="105000"/>
              <a:buFont typeface="Arial" panose="020B0604020202020204" pitchFamily="34" charset="0"/>
              <a:buChar char="•"/>
              <a:defRPr sz="1100"/>
            </a:lvl3pPr>
            <a:lvl4pPr marL="539750" indent="-180975" defTabSz="914400">
              <a:lnSpc>
                <a:spcPct val="130000"/>
              </a:lnSpc>
              <a:spcBef>
                <a:spcPts val="300"/>
              </a:spcBef>
              <a:spcAft>
                <a:spcPts val="300"/>
              </a:spcAft>
              <a:buClr>
                <a:schemeClr val="tx2"/>
              </a:buClr>
              <a:buSzPct val="105000"/>
              <a:buFont typeface="Arial" panose="020B0604020202020204" pitchFamily="34" charset="0"/>
              <a:buChar char="•"/>
              <a:defRPr sz="1050"/>
            </a:lvl4pPr>
            <a:lvl5pPr marL="898525" indent="-180975" defTabSz="914400">
              <a:lnSpc>
                <a:spcPct val="130000"/>
              </a:lnSpc>
              <a:spcBef>
                <a:spcPts val="300"/>
              </a:spcBef>
              <a:spcAft>
                <a:spcPts val="300"/>
              </a:spcAft>
              <a:buClr>
                <a:schemeClr val="tx2"/>
              </a:buClr>
              <a:buSzPct val="105000"/>
              <a:buFont typeface="Arial" panose="020B0604020202020204" pitchFamily="34" charset="0"/>
              <a:buChar char="•"/>
              <a:defRPr sz="105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1"/>
            <a:r>
              <a:rPr lang="en-US" dirty="0"/>
              <a:t>We act for more than 100 airlines around the world, and are ranked as a top-tier firm for aviation in Chambers and The Legal 500. Alongside our leading teams in Europe and the Middle East, we have the largest aviation team of any law firm in Asia Pacific, and have been named Aviation Law Firm of the Year by China Business Law Journal for the three years running.</a:t>
            </a:r>
            <a:endParaRPr lang="en-GB" dirty="0"/>
          </a:p>
        </p:txBody>
      </p:sp>
    </p:spTree>
    <p:extLst>
      <p:ext uri="{BB962C8B-B14F-4D97-AF65-F5344CB8AC3E}">
        <p14:creationId xmlns:p14="http://schemas.microsoft.com/office/powerpoint/2010/main" val="1751488415"/>
      </p:ext>
    </p:extLst>
  </p:cSld>
  <p:clrMapOvr>
    <a:masterClrMapping/>
  </p:clrMapOvr>
  <p:transition spd="med">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Locations Office 5">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261A4C7-E98D-3660-5C37-C13B3A230A80}"/>
              </a:ext>
            </a:extLst>
          </p:cNvPr>
          <p:cNvSpPr/>
          <p:nvPr userDrawn="1"/>
        </p:nvSpPr>
        <p:spPr>
          <a:xfrm>
            <a:off x="8126413" y="0"/>
            <a:ext cx="4065587"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Slide Number Placeholder 5"/>
          <p:cNvSpPr>
            <a:spLocks noGrp="1"/>
          </p:cNvSpPr>
          <p:nvPr userDrawn="1">
            <p:ph type="sldNum" sz="quarter" idx="12"/>
          </p:nvPr>
        </p:nvSpPr>
        <p:spPr/>
        <p:txBody>
          <a:bodyPr/>
          <a:lstStyle>
            <a:lvl1pPr>
              <a:defRPr>
                <a:solidFill>
                  <a:schemeClr val="tx1"/>
                </a:solidFill>
              </a:defRPr>
            </a:lvl1pPr>
          </a:lstStyle>
          <a:p>
            <a:fld id="{8CFE0557-AA98-4E6C-B0C3-581794696B68}" type="slidenum">
              <a:rPr lang="en-GB" smtClean="0"/>
              <a:pPr/>
              <a:t>‹#›</a:t>
            </a:fld>
            <a:endParaRPr lang="en-GB" dirty="0"/>
          </a:p>
        </p:txBody>
      </p:sp>
      <p:sp>
        <p:nvSpPr>
          <p:cNvPr id="7" name="Picture Placeholder 10">
            <a:extLst>
              <a:ext uri="{FF2B5EF4-FFF2-40B4-BE49-F238E27FC236}">
                <a16:creationId xmlns:a16="http://schemas.microsoft.com/office/drawing/2014/main" id="{1CA5F42F-AC29-F4B3-E667-86842A258FF7}"/>
              </a:ext>
            </a:extLst>
          </p:cNvPr>
          <p:cNvSpPr>
            <a:spLocks noGrp="1"/>
          </p:cNvSpPr>
          <p:nvPr>
            <p:ph type="pic" sz="quarter" idx="13" hasCustomPrompt="1"/>
          </p:nvPr>
        </p:nvSpPr>
        <p:spPr>
          <a:xfrm>
            <a:off x="4067175" y="2277000"/>
            <a:ext cx="4059238" cy="2304000"/>
          </a:xfrm>
          <a:solidFill>
            <a:schemeClr val="tx1">
              <a:lumMod val="40000"/>
              <a:lumOff val="60000"/>
            </a:schemeClr>
          </a:solidFill>
        </p:spPr>
        <p:txBody>
          <a:bodyPr vert="horz" lIns="0" tIns="45720" rIns="0" bIns="45720" rtlCol="0" anchor="ctr">
            <a:noAutofit/>
          </a:bodyPr>
          <a:lstStyle>
            <a:lvl1pPr algn="ctr">
              <a:defRPr lang="en-GB" sz="2400" b="0" dirty="0">
                <a:solidFill>
                  <a:schemeClr val="bg1"/>
                </a:solidFill>
              </a:defRPr>
            </a:lvl1pPr>
          </a:lstStyle>
          <a:p>
            <a:pPr marL="0" marR="0" lvl="0" indent="0" algn="ctr" defTabSz="914400" rtl="0" eaLnBrk="1" fontAlgn="auto" latinLnBrk="0" hangingPunct="1">
              <a:lnSpc>
                <a:spcPct val="130000"/>
              </a:lnSpc>
              <a:spcBef>
                <a:spcPts val="300"/>
              </a:spcBef>
              <a:spcAft>
                <a:spcPts val="300"/>
              </a:spcAft>
              <a:buClrTx/>
              <a:buSzTx/>
              <a:buFont typeface="Arial" panose="020B0604020202020204" pitchFamily="34" charset="0"/>
              <a:buNone/>
              <a:tabLst/>
              <a:defRPr/>
            </a:pPr>
            <a:r>
              <a:rPr lang="en-US" dirty="0"/>
              <a:t>ADD RELATED IMAGE </a:t>
            </a:r>
            <a:br>
              <a:rPr lang="en-US" dirty="0"/>
            </a:br>
            <a:r>
              <a:rPr lang="en-US" dirty="0"/>
              <a:t>FROM HFW </a:t>
            </a:r>
            <a:br>
              <a:rPr lang="en-US" dirty="0"/>
            </a:br>
            <a:r>
              <a:rPr lang="en-US" dirty="0"/>
              <a:t>IMAGE LIBRARY</a:t>
            </a:r>
          </a:p>
        </p:txBody>
      </p:sp>
      <p:sp>
        <p:nvSpPr>
          <p:cNvPr id="2" name="Picture Placeholder 10">
            <a:extLst>
              <a:ext uri="{FF2B5EF4-FFF2-40B4-BE49-F238E27FC236}">
                <a16:creationId xmlns:a16="http://schemas.microsoft.com/office/drawing/2014/main" id="{745A71BB-8DDA-5D04-068C-8F4A0028A571}"/>
              </a:ext>
            </a:extLst>
          </p:cNvPr>
          <p:cNvSpPr>
            <a:spLocks noGrp="1"/>
          </p:cNvSpPr>
          <p:nvPr>
            <p:ph type="pic" sz="quarter" idx="24" hasCustomPrompt="1"/>
          </p:nvPr>
        </p:nvSpPr>
        <p:spPr>
          <a:xfrm>
            <a:off x="4067175" y="4554000"/>
            <a:ext cx="4059238" cy="2304000"/>
          </a:xfrm>
          <a:solidFill>
            <a:schemeClr val="tx1"/>
          </a:solidFill>
        </p:spPr>
        <p:txBody>
          <a:bodyPr vert="horz" lIns="0" tIns="45720" rIns="0" bIns="45720" rtlCol="0" anchor="ctr">
            <a:noAutofit/>
          </a:bodyPr>
          <a:lstStyle>
            <a:lvl1pPr algn="ctr">
              <a:defRPr lang="en-GB" sz="2400" b="0" dirty="0">
                <a:solidFill>
                  <a:schemeClr val="bg1"/>
                </a:solidFill>
              </a:defRPr>
            </a:lvl1pPr>
          </a:lstStyle>
          <a:p>
            <a:pPr marL="0" marR="0" lvl="0" indent="0" algn="ctr" defTabSz="914400" rtl="0" eaLnBrk="1" fontAlgn="auto" latinLnBrk="0" hangingPunct="1">
              <a:lnSpc>
                <a:spcPct val="130000"/>
              </a:lnSpc>
              <a:spcBef>
                <a:spcPts val="300"/>
              </a:spcBef>
              <a:spcAft>
                <a:spcPts val="300"/>
              </a:spcAft>
              <a:buClrTx/>
              <a:buSzTx/>
              <a:buFont typeface="Arial" panose="020B0604020202020204" pitchFamily="34" charset="0"/>
              <a:buNone/>
              <a:tabLst/>
              <a:defRPr/>
            </a:pPr>
            <a:r>
              <a:rPr lang="en-US" dirty="0"/>
              <a:t>ADD RELATED IMAGE </a:t>
            </a:r>
            <a:br>
              <a:rPr lang="en-US" dirty="0"/>
            </a:br>
            <a:r>
              <a:rPr lang="en-US" dirty="0"/>
              <a:t>FROM HFW </a:t>
            </a:r>
            <a:br>
              <a:rPr lang="en-US" dirty="0"/>
            </a:br>
            <a:r>
              <a:rPr lang="en-US" dirty="0"/>
              <a:t>IMAGE LIBRARY</a:t>
            </a:r>
          </a:p>
        </p:txBody>
      </p:sp>
      <p:sp>
        <p:nvSpPr>
          <p:cNvPr id="4" name="Picture Placeholder 10">
            <a:extLst>
              <a:ext uri="{FF2B5EF4-FFF2-40B4-BE49-F238E27FC236}">
                <a16:creationId xmlns:a16="http://schemas.microsoft.com/office/drawing/2014/main" id="{4B40F453-113F-A369-B2A9-CF31552B3472}"/>
              </a:ext>
            </a:extLst>
          </p:cNvPr>
          <p:cNvSpPr>
            <a:spLocks noGrp="1"/>
          </p:cNvSpPr>
          <p:nvPr>
            <p:ph type="pic" sz="quarter" idx="25" hasCustomPrompt="1"/>
          </p:nvPr>
        </p:nvSpPr>
        <p:spPr>
          <a:xfrm>
            <a:off x="-1" y="3429000"/>
            <a:ext cx="4067175" cy="3429000"/>
          </a:xfrm>
          <a:solidFill>
            <a:schemeClr val="tx1">
              <a:lumMod val="60000"/>
              <a:lumOff val="40000"/>
            </a:schemeClr>
          </a:solidFill>
        </p:spPr>
        <p:txBody>
          <a:bodyPr vert="horz" lIns="0" tIns="45720" rIns="0" bIns="45720" rtlCol="0" anchor="ctr">
            <a:noAutofit/>
          </a:bodyPr>
          <a:lstStyle>
            <a:lvl1pPr algn="ctr">
              <a:defRPr lang="en-GB" sz="2400" b="0" dirty="0">
                <a:solidFill>
                  <a:schemeClr val="bg1"/>
                </a:solidFill>
              </a:defRPr>
            </a:lvl1pPr>
          </a:lstStyle>
          <a:p>
            <a:pPr marL="0" marR="0" lvl="0" indent="0" algn="ctr" defTabSz="914400" rtl="0" eaLnBrk="1" fontAlgn="auto" latinLnBrk="0" hangingPunct="1">
              <a:lnSpc>
                <a:spcPct val="130000"/>
              </a:lnSpc>
              <a:spcBef>
                <a:spcPts val="300"/>
              </a:spcBef>
              <a:spcAft>
                <a:spcPts val="300"/>
              </a:spcAft>
              <a:buClrTx/>
              <a:buSzTx/>
              <a:buFont typeface="Arial" panose="020B0604020202020204" pitchFamily="34" charset="0"/>
              <a:buNone/>
              <a:tabLst/>
              <a:defRPr/>
            </a:pPr>
            <a:r>
              <a:rPr lang="en-US" dirty="0"/>
              <a:t>ADD RELATED IMAGE </a:t>
            </a:r>
            <a:br>
              <a:rPr lang="en-US" dirty="0"/>
            </a:br>
            <a:r>
              <a:rPr lang="en-US" dirty="0"/>
              <a:t>FROM HFW </a:t>
            </a:r>
            <a:br>
              <a:rPr lang="en-US" dirty="0"/>
            </a:br>
            <a:r>
              <a:rPr lang="en-US" dirty="0"/>
              <a:t>IMAGE LIBRARY</a:t>
            </a:r>
          </a:p>
        </p:txBody>
      </p:sp>
      <p:sp>
        <p:nvSpPr>
          <p:cNvPr id="5" name="Picture Placeholder 10">
            <a:extLst>
              <a:ext uri="{FF2B5EF4-FFF2-40B4-BE49-F238E27FC236}">
                <a16:creationId xmlns:a16="http://schemas.microsoft.com/office/drawing/2014/main" id="{613BCE8E-6271-839D-B689-871C3BB2B678}"/>
              </a:ext>
            </a:extLst>
          </p:cNvPr>
          <p:cNvSpPr>
            <a:spLocks noGrp="1"/>
          </p:cNvSpPr>
          <p:nvPr>
            <p:ph type="pic" sz="quarter" idx="26" hasCustomPrompt="1"/>
          </p:nvPr>
        </p:nvSpPr>
        <p:spPr>
          <a:xfrm>
            <a:off x="-1" y="0"/>
            <a:ext cx="4067175" cy="3429000"/>
          </a:xfrm>
          <a:solidFill>
            <a:schemeClr val="tx1"/>
          </a:solidFill>
        </p:spPr>
        <p:txBody>
          <a:bodyPr vert="horz" lIns="0" tIns="45720" rIns="0" bIns="45720" rtlCol="0" anchor="ctr">
            <a:normAutofit/>
          </a:bodyPr>
          <a:lstStyle>
            <a:lvl1pPr algn="ctr">
              <a:defRPr lang="en-GB" sz="2400" b="0" dirty="0">
                <a:solidFill>
                  <a:schemeClr val="bg1"/>
                </a:solidFill>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US" dirty="0"/>
              <a:t>ADD RELATED IMAGE </a:t>
            </a:r>
            <a:br>
              <a:rPr lang="en-US" dirty="0"/>
            </a:br>
            <a:r>
              <a:rPr lang="en-US" dirty="0"/>
              <a:t>FROM HFW </a:t>
            </a:r>
            <a:br>
              <a:rPr lang="en-US" dirty="0"/>
            </a:br>
            <a:r>
              <a:rPr lang="en-US" dirty="0"/>
              <a:t>IMAGE LIBRARY</a:t>
            </a:r>
          </a:p>
        </p:txBody>
      </p:sp>
      <p:sp>
        <p:nvSpPr>
          <p:cNvPr id="11" name="Picture Placeholder 10">
            <a:extLst>
              <a:ext uri="{FF2B5EF4-FFF2-40B4-BE49-F238E27FC236}">
                <a16:creationId xmlns:a16="http://schemas.microsoft.com/office/drawing/2014/main" id="{752A83CB-FB67-4297-037B-8E1666F7F2A9}"/>
              </a:ext>
            </a:extLst>
          </p:cNvPr>
          <p:cNvSpPr>
            <a:spLocks noGrp="1"/>
          </p:cNvSpPr>
          <p:nvPr>
            <p:ph type="pic" sz="quarter" idx="27" hasCustomPrompt="1"/>
          </p:nvPr>
        </p:nvSpPr>
        <p:spPr>
          <a:xfrm>
            <a:off x="4067175" y="0"/>
            <a:ext cx="4059238" cy="2304000"/>
          </a:xfrm>
          <a:solidFill>
            <a:schemeClr val="tx1">
              <a:lumMod val="60000"/>
              <a:lumOff val="40000"/>
            </a:schemeClr>
          </a:solidFill>
        </p:spPr>
        <p:txBody>
          <a:bodyPr vert="horz" lIns="0" tIns="45720" rIns="0" bIns="45720" rtlCol="0" anchor="ctr">
            <a:noAutofit/>
          </a:bodyPr>
          <a:lstStyle>
            <a:lvl1pPr algn="ctr">
              <a:defRPr lang="en-GB" sz="2400" b="0" dirty="0">
                <a:solidFill>
                  <a:schemeClr val="bg1"/>
                </a:solidFill>
              </a:defRPr>
            </a:lvl1pPr>
          </a:lstStyle>
          <a:p>
            <a:pPr marL="0" marR="0" lvl="0" indent="0" algn="ctr" defTabSz="914400" rtl="0" eaLnBrk="1" fontAlgn="auto" latinLnBrk="0" hangingPunct="1">
              <a:lnSpc>
                <a:spcPct val="130000"/>
              </a:lnSpc>
              <a:spcBef>
                <a:spcPts val="300"/>
              </a:spcBef>
              <a:spcAft>
                <a:spcPts val="300"/>
              </a:spcAft>
              <a:buClrTx/>
              <a:buSzTx/>
              <a:buFont typeface="Arial" panose="020B0604020202020204" pitchFamily="34" charset="0"/>
              <a:buNone/>
              <a:tabLst/>
              <a:defRPr/>
            </a:pPr>
            <a:r>
              <a:rPr lang="en-US" dirty="0"/>
              <a:t>ADD RELATED IMAGE </a:t>
            </a:r>
            <a:br>
              <a:rPr lang="en-US" dirty="0"/>
            </a:br>
            <a:r>
              <a:rPr lang="en-US" dirty="0"/>
              <a:t>FROM HFW </a:t>
            </a:r>
            <a:br>
              <a:rPr lang="en-US" dirty="0"/>
            </a:br>
            <a:r>
              <a:rPr lang="en-US" dirty="0"/>
              <a:t>IMAGE LIBRARY</a:t>
            </a:r>
          </a:p>
        </p:txBody>
      </p:sp>
      <p:sp>
        <p:nvSpPr>
          <p:cNvPr id="10" name="Text Placeholder 16">
            <a:extLst>
              <a:ext uri="{FF2B5EF4-FFF2-40B4-BE49-F238E27FC236}">
                <a16:creationId xmlns:a16="http://schemas.microsoft.com/office/drawing/2014/main" id="{2478645F-22E2-5523-E6A2-968248A45B78}"/>
              </a:ext>
            </a:extLst>
          </p:cNvPr>
          <p:cNvSpPr>
            <a:spLocks noGrp="1"/>
          </p:cNvSpPr>
          <p:nvPr>
            <p:ph type="body" sz="quarter" idx="23" hasCustomPrompt="1"/>
          </p:nvPr>
        </p:nvSpPr>
        <p:spPr>
          <a:xfrm>
            <a:off x="8739981" y="613544"/>
            <a:ext cx="2815432" cy="541810"/>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0"/>
              </a:spcBef>
              <a:spcAft>
                <a:spcPts val="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1"/>
            <a:r>
              <a:rPr lang="en-US" dirty="0"/>
              <a:t>Address line </a:t>
            </a:r>
          </a:p>
        </p:txBody>
      </p:sp>
      <p:sp>
        <p:nvSpPr>
          <p:cNvPr id="12" name="Text Placeholder 16">
            <a:extLst>
              <a:ext uri="{FF2B5EF4-FFF2-40B4-BE49-F238E27FC236}">
                <a16:creationId xmlns:a16="http://schemas.microsoft.com/office/drawing/2014/main" id="{58B286B3-3B34-C579-B9B8-3D3AD5348C8A}"/>
              </a:ext>
            </a:extLst>
          </p:cNvPr>
          <p:cNvSpPr>
            <a:spLocks noGrp="1"/>
          </p:cNvSpPr>
          <p:nvPr>
            <p:ph type="body" sz="quarter" idx="28" hasCustomPrompt="1"/>
          </p:nvPr>
        </p:nvSpPr>
        <p:spPr>
          <a:xfrm>
            <a:off x="8739981" y="396374"/>
            <a:ext cx="2815432" cy="169277"/>
          </a:xfrm>
        </p:spPr>
        <p:txBody>
          <a:bodyPr tIns="0" bIns="0">
            <a:noAutofit/>
          </a:bodyPr>
          <a:lstStyle>
            <a:lvl1pPr algn="l">
              <a:lnSpc>
                <a:spcPct val="100000"/>
              </a:lnSpc>
              <a:spcBef>
                <a:spcPts val="0"/>
              </a:spcBef>
              <a:spcAft>
                <a:spcPts val="0"/>
              </a:spcAft>
              <a:defRPr sz="1100" cap="all" baseline="0">
                <a:solidFill>
                  <a:schemeClr val="tx2"/>
                </a:solidFill>
                <a:latin typeface="+mj-lt"/>
              </a:defRPr>
            </a:lvl1pPr>
            <a:lvl2pPr algn="l">
              <a:lnSpc>
                <a:spcPct val="100000"/>
              </a:lnSpc>
              <a:spcBef>
                <a:spcPts val="200"/>
              </a:spcBef>
              <a:spcAft>
                <a:spcPts val="200"/>
              </a:spcAft>
              <a:defRPr sz="1100">
                <a:solidFill>
                  <a:schemeClr val="tx1"/>
                </a:solidFill>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0"/>
            <a:r>
              <a:rPr lang="en-US" dirty="0"/>
              <a:t>Office name</a:t>
            </a:r>
          </a:p>
        </p:txBody>
      </p:sp>
      <p:sp>
        <p:nvSpPr>
          <p:cNvPr id="13" name="Text Placeholder 16">
            <a:extLst>
              <a:ext uri="{FF2B5EF4-FFF2-40B4-BE49-F238E27FC236}">
                <a16:creationId xmlns:a16="http://schemas.microsoft.com/office/drawing/2014/main" id="{68527332-D2A8-B7C8-1458-277C009C80F5}"/>
              </a:ext>
            </a:extLst>
          </p:cNvPr>
          <p:cNvSpPr>
            <a:spLocks noGrp="1"/>
          </p:cNvSpPr>
          <p:nvPr>
            <p:ph type="body" sz="quarter" idx="29" hasCustomPrompt="1"/>
          </p:nvPr>
        </p:nvSpPr>
        <p:spPr>
          <a:xfrm>
            <a:off x="8915664" y="1182143"/>
            <a:ext cx="263974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14" name="TextBox 13">
            <a:extLst>
              <a:ext uri="{FF2B5EF4-FFF2-40B4-BE49-F238E27FC236}">
                <a16:creationId xmlns:a16="http://schemas.microsoft.com/office/drawing/2014/main" id="{A147D012-CAEC-6089-D8AD-C8D7C336C1BB}"/>
              </a:ext>
            </a:extLst>
          </p:cNvPr>
          <p:cNvSpPr txBox="1"/>
          <p:nvPr userDrawn="1"/>
        </p:nvSpPr>
        <p:spPr>
          <a:xfrm flipH="1">
            <a:off x="8741500" y="1182143"/>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15" name="Text Placeholder 16">
            <a:extLst>
              <a:ext uri="{FF2B5EF4-FFF2-40B4-BE49-F238E27FC236}">
                <a16:creationId xmlns:a16="http://schemas.microsoft.com/office/drawing/2014/main" id="{324A2ED1-B8E3-0E7B-0F2B-01FF0EBEB6F5}"/>
              </a:ext>
            </a:extLst>
          </p:cNvPr>
          <p:cNvSpPr>
            <a:spLocks noGrp="1"/>
          </p:cNvSpPr>
          <p:nvPr>
            <p:ph type="body" sz="quarter" idx="30" hasCustomPrompt="1"/>
          </p:nvPr>
        </p:nvSpPr>
        <p:spPr>
          <a:xfrm>
            <a:off x="8739981" y="1826394"/>
            <a:ext cx="2815432" cy="541810"/>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0"/>
              </a:spcBef>
              <a:spcAft>
                <a:spcPts val="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1"/>
            <a:r>
              <a:rPr lang="en-US" dirty="0"/>
              <a:t>Address line </a:t>
            </a:r>
          </a:p>
        </p:txBody>
      </p:sp>
      <p:sp>
        <p:nvSpPr>
          <p:cNvPr id="16" name="Text Placeholder 16">
            <a:extLst>
              <a:ext uri="{FF2B5EF4-FFF2-40B4-BE49-F238E27FC236}">
                <a16:creationId xmlns:a16="http://schemas.microsoft.com/office/drawing/2014/main" id="{E8E4D90D-FF46-6C36-7D9D-D397D661BBD8}"/>
              </a:ext>
            </a:extLst>
          </p:cNvPr>
          <p:cNvSpPr>
            <a:spLocks noGrp="1"/>
          </p:cNvSpPr>
          <p:nvPr>
            <p:ph type="body" sz="quarter" idx="31" hasCustomPrompt="1"/>
          </p:nvPr>
        </p:nvSpPr>
        <p:spPr>
          <a:xfrm>
            <a:off x="8739981" y="1609224"/>
            <a:ext cx="2815432" cy="169277"/>
          </a:xfrm>
        </p:spPr>
        <p:txBody>
          <a:bodyPr tIns="0" bIns="0">
            <a:noAutofit/>
          </a:bodyPr>
          <a:lstStyle>
            <a:lvl1pPr algn="l">
              <a:lnSpc>
                <a:spcPct val="100000"/>
              </a:lnSpc>
              <a:spcBef>
                <a:spcPts val="0"/>
              </a:spcBef>
              <a:spcAft>
                <a:spcPts val="0"/>
              </a:spcAft>
              <a:defRPr sz="1100" cap="all" baseline="0">
                <a:solidFill>
                  <a:schemeClr val="tx2"/>
                </a:solidFill>
                <a:latin typeface="+mj-lt"/>
              </a:defRPr>
            </a:lvl1pPr>
            <a:lvl2pPr algn="l">
              <a:lnSpc>
                <a:spcPct val="100000"/>
              </a:lnSpc>
              <a:spcBef>
                <a:spcPts val="200"/>
              </a:spcBef>
              <a:spcAft>
                <a:spcPts val="200"/>
              </a:spcAft>
              <a:defRPr sz="1100">
                <a:solidFill>
                  <a:schemeClr val="tx1"/>
                </a:solidFill>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0"/>
            <a:r>
              <a:rPr lang="en-US" dirty="0"/>
              <a:t>Office name</a:t>
            </a:r>
          </a:p>
        </p:txBody>
      </p:sp>
      <p:sp>
        <p:nvSpPr>
          <p:cNvPr id="17" name="Text Placeholder 16">
            <a:extLst>
              <a:ext uri="{FF2B5EF4-FFF2-40B4-BE49-F238E27FC236}">
                <a16:creationId xmlns:a16="http://schemas.microsoft.com/office/drawing/2014/main" id="{79D26411-7E1A-41BC-3BA5-636A86D38E5C}"/>
              </a:ext>
            </a:extLst>
          </p:cNvPr>
          <p:cNvSpPr>
            <a:spLocks noGrp="1"/>
          </p:cNvSpPr>
          <p:nvPr>
            <p:ph type="body" sz="quarter" idx="32" hasCustomPrompt="1"/>
          </p:nvPr>
        </p:nvSpPr>
        <p:spPr>
          <a:xfrm>
            <a:off x="8915664" y="2394993"/>
            <a:ext cx="263974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18" name="TextBox 17">
            <a:extLst>
              <a:ext uri="{FF2B5EF4-FFF2-40B4-BE49-F238E27FC236}">
                <a16:creationId xmlns:a16="http://schemas.microsoft.com/office/drawing/2014/main" id="{073BDC82-BFBB-3328-BD48-58239BCED452}"/>
              </a:ext>
            </a:extLst>
          </p:cNvPr>
          <p:cNvSpPr txBox="1"/>
          <p:nvPr userDrawn="1"/>
        </p:nvSpPr>
        <p:spPr>
          <a:xfrm flipH="1">
            <a:off x="8741500" y="2394993"/>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19" name="Text Placeholder 16">
            <a:extLst>
              <a:ext uri="{FF2B5EF4-FFF2-40B4-BE49-F238E27FC236}">
                <a16:creationId xmlns:a16="http://schemas.microsoft.com/office/drawing/2014/main" id="{4E4F1CD4-205D-EAFE-2B6F-91F689B7DE89}"/>
              </a:ext>
            </a:extLst>
          </p:cNvPr>
          <p:cNvSpPr>
            <a:spLocks noGrp="1"/>
          </p:cNvSpPr>
          <p:nvPr>
            <p:ph type="body" sz="quarter" idx="33" hasCustomPrompt="1"/>
          </p:nvPr>
        </p:nvSpPr>
        <p:spPr>
          <a:xfrm>
            <a:off x="8739981" y="3038279"/>
            <a:ext cx="2815432" cy="541810"/>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0"/>
              </a:spcBef>
              <a:spcAft>
                <a:spcPts val="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1"/>
            <a:r>
              <a:rPr lang="en-US" dirty="0"/>
              <a:t>Address line </a:t>
            </a:r>
          </a:p>
        </p:txBody>
      </p:sp>
      <p:sp>
        <p:nvSpPr>
          <p:cNvPr id="20" name="Text Placeholder 16">
            <a:extLst>
              <a:ext uri="{FF2B5EF4-FFF2-40B4-BE49-F238E27FC236}">
                <a16:creationId xmlns:a16="http://schemas.microsoft.com/office/drawing/2014/main" id="{DADDA843-7172-B9B0-C236-05EC7FA2FFB7}"/>
              </a:ext>
            </a:extLst>
          </p:cNvPr>
          <p:cNvSpPr>
            <a:spLocks noGrp="1"/>
          </p:cNvSpPr>
          <p:nvPr>
            <p:ph type="body" sz="quarter" idx="34" hasCustomPrompt="1"/>
          </p:nvPr>
        </p:nvSpPr>
        <p:spPr>
          <a:xfrm>
            <a:off x="8739981" y="2821109"/>
            <a:ext cx="2815432" cy="169277"/>
          </a:xfrm>
        </p:spPr>
        <p:txBody>
          <a:bodyPr tIns="0" bIns="0">
            <a:noAutofit/>
          </a:bodyPr>
          <a:lstStyle>
            <a:lvl1pPr algn="l">
              <a:lnSpc>
                <a:spcPct val="100000"/>
              </a:lnSpc>
              <a:spcBef>
                <a:spcPts val="0"/>
              </a:spcBef>
              <a:spcAft>
                <a:spcPts val="0"/>
              </a:spcAft>
              <a:defRPr sz="1100" cap="all" baseline="0">
                <a:solidFill>
                  <a:schemeClr val="tx2"/>
                </a:solidFill>
                <a:latin typeface="+mj-lt"/>
              </a:defRPr>
            </a:lvl1pPr>
            <a:lvl2pPr algn="l">
              <a:lnSpc>
                <a:spcPct val="100000"/>
              </a:lnSpc>
              <a:spcBef>
                <a:spcPts val="200"/>
              </a:spcBef>
              <a:spcAft>
                <a:spcPts val="200"/>
              </a:spcAft>
              <a:defRPr sz="1100">
                <a:solidFill>
                  <a:schemeClr val="tx1"/>
                </a:solidFill>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0"/>
            <a:r>
              <a:rPr lang="en-US" dirty="0"/>
              <a:t>Office name</a:t>
            </a:r>
          </a:p>
        </p:txBody>
      </p:sp>
      <p:sp>
        <p:nvSpPr>
          <p:cNvPr id="21" name="Text Placeholder 16">
            <a:extLst>
              <a:ext uri="{FF2B5EF4-FFF2-40B4-BE49-F238E27FC236}">
                <a16:creationId xmlns:a16="http://schemas.microsoft.com/office/drawing/2014/main" id="{60341B52-E348-5CBC-E2C3-E254F22486B7}"/>
              </a:ext>
            </a:extLst>
          </p:cNvPr>
          <p:cNvSpPr>
            <a:spLocks noGrp="1"/>
          </p:cNvSpPr>
          <p:nvPr>
            <p:ph type="body" sz="quarter" idx="35" hasCustomPrompt="1"/>
          </p:nvPr>
        </p:nvSpPr>
        <p:spPr>
          <a:xfrm>
            <a:off x="8915664" y="3606878"/>
            <a:ext cx="263974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22" name="TextBox 21">
            <a:extLst>
              <a:ext uri="{FF2B5EF4-FFF2-40B4-BE49-F238E27FC236}">
                <a16:creationId xmlns:a16="http://schemas.microsoft.com/office/drawing/2014/main" id="{7BF4E966-7CB9-185D-134B-C246E602EC8B}"/>
              </a:ext>
            </a:extLst>
          </p:cNvPr>
          <p:cNvSpPr txBox="1"/>
          <p:nvPr userDrawn="1"/>
        </p:nvSpPr>
        <p:spPr>
          <a:xfrm flipH="1">
            <a:off x="8741500" y="3606878"/>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23" name="Text Placeholder 16">
            <a:extLst>
              <a:ext uri="{FF2B5EF4-FFF2-40B4-BE49-F238E27FC236}">
                <a16:creationId xmlns:a16="http://schemas.microsoft.com/office/drawing/2014/main" id="{3CA5CA49-3562-FFB4-E8E0-02CDB550A204}"/>
              </a:ext>
            </a:extLst>
          </p:cNvPr>
          <p:cNvSpPr>
            <a:spLocks noGrp="1"/>
          </p:cNvSpPr>
          <p:nvPr>
            <p:ph type="body" sz="quarter" idx="36" hasCustomPrompt="1"/>
          </p:nvPr>
        </p:nvSpPr>
        <p:spPr>
          <a:xfrm>
            <a:off x="8739981" y="4251129"/>
            <a:ext cx="2815432" cy="541810"/>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0"/>
              </a:spcBef>
              <a:spcAft>
                <a:spcPts val="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1"/>
            <a:r>
              <a:rPr lang="en-US" dirty="0"/>
              <a:t>Address line </a:t>
            </a:r>
          </a:p>
        </p:txBody>
      </p:sp>
      <p:sp>
        <p:nvSpPr>
          <p:cNvPr id="24" name="Text Placeholder 16">
            <a:extLst>
              <a:ext uri="{FF2B5EF4-FFF2-40B4-BE49-F238E27FC236}">
                <a16:creationId xmlns:a16="http://schemas.microsoft.com/office/drawing/2014/main" id="{9F415536-C5AA-5DF2-26E5-1B776234E4ED}"/>
              </a:ext>
            </a:extLst>
          </p:cNvPr>
          <p:cNvSpPr>
            <a:spLocks noGrp="1"/>
          </p:cNvSpPr>
          <p:nvPr>
            <p:ph type="body" sz="quarter" idx="37" hasCustomPrompt="1"/>
          </p:nvPr>
        </p:nvSpPr>
        <p:spPr>
          <a:xfrm>
            <a:off x="8739981" y="4033959"/>
            <a:ext cx="2815432" cy="169277"/>
          </a:xfrm>
        </p:spPr>
        <p:txBody>
          <a:bodyPr tIns="0" bIns="0">
            <a:noAutofit/>
          </a:bodyPr>
          <a:lstStyle>
            <a:lvl1pPr algn="l">
              <a:lnSpc>
                <a:spcPct val="100000"/>
              </a:lnSpc>
              <a:spcBef>
                <a:spcPts val="0"/>
              </a:spcBef>
              <a:spcAft>
                <a:spcPts val="0"/>
              </a:spcAft>
              <a:defRPr sz="1100" cap="all" baseline="0">
                <a:solidFill>
                  <a:schemeClr val="tx2"/>
                </a:solidFill>
                <a:latin typeface="+mj-lt"/>
              </a:defRPr>
            </a:lvl1pPr>
            <a:lvl2pPr algn="l">
              <a:lnSpc>
                <a:spcPct val="100000"/>
              </a:lnSpc>
              <a:spcBef>
                <a:spcPts val="200"/>
              </a:spcBef>
              <a:spcAft>
                <a:spcPts val="200"/>
              </a:spcAft>
              <a:defRPr sz="1100">
                <a:solidFill>
                  <a:schemeClr val="tx1"/>
                </a:solidFill>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0"/>
            <a:r>
              <a:rPr lang="en-US" dirty="0"/>
              <a:t>Office name</a:t>
            </a:r>
          </a:p>
        </p:txBody>
      </p:sp>
      <p:sp>
        <p:nvSpPr>
          <p:cNvPr id="25" name="Text Placeholder 16">
            <a:extLst>
              <a:ext uri="{FF2B5EF4-FFF2-40B4-BE49-F238E27FC236}">
                <a16:creationId xmlns:a16="http://schemas.microsoft.com/office/drawing/2014/main" id="{114F78A2-9B95-D108-971A-6863EED49059}"/>
              </a:ext>
            </a:extLst>
          </p:cNvPr>
          <p:cNvSpPr>
            <a:spLocks noGrp="1"/>
          </p:cNvSpPr>
          <p:nvPr>
            <p:ph type="body" sz="quarter" idx="38" hasCustomPrompt="1"/>
          </p:nvPr>
        </p:nvSpPr>
        <p:spPr>
          <a:xfrm>
            <a:off x="8915664" y="4819728"/>
            <a:ext cx="263974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26" name="TextBox 25">
            <a:extLst>
              <a:ext uri="{FF2B5EF4-FFF2-40B4-BE49-F238E27FC236}">
                <a16:creationId xmlns:a16="http://schemas.microsoft.com/office/drawing/2014/main" id="{DC2D0CC1-7BD1-C9D1-AC0F-B670D782EF0B}"/>
              </a:ext>
            </a:extLst>
          </p:cNvPr>
          <p:cNvSpPr txBox="1"/>
          <p:nvPr userDrawn="1"/>
        </p:nvSpPr>
        <p:spPr>
          <a:xfrm flipH="1">
            <a:off x="8741500" y="4819728"/>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28" name="Text Placeholder 16">
            <a:extLst>
              <a:ext uri="{FF2B5EF4-FFF2-40B4-BE49-F238E27FC236}">
                <a16:creationId xmlns:a16="http://schemas.microsoft.com/office/drawing/2014/main" id="{328F2429-F6C3-36FF-A654-06D5F45F017E}"/>
              </a:ext>
            </a:extLst>
          </p:cNvPr>
          <p:cNvSpPr>
            <a:spLocks noGrp="1"/>
          </p:cNvSpPr>
          <p:nvPr>
            <p:ph type="body" sz="quarter" idx="39" hasCustomPrompt="1"/>
          </p:nvPr>
        </p:nvSpPr>
        <p:spPr>
          <a:xfrm>
            <a:off x="8739981" y="5474535"/>
            <a:ext cx="2815432" cy="541810"/>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0"/>
              </a:spcBef>
              <a:spcAft>
                <a:spcPts val="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1"/>
            <a:r>
              <a:rPr lang="en-US" dirty="0"/>
              <a:t>Address line</a:t>
            </a:r>
          </a:p>
        </p:txBody>
      </p:sp>
      <p:sp>
        <p:nvSpPr>
          <p:cNvPr id="29" name="Text Placeholder 16">
            <a:extLst>
              <a:ext uri="{FF2B5EF4-FFF2-40B4-BE49-F238E27FC236}">
                <a16:creationId xmlns:a16="http://schemas.microsoft.com/office/drawing/2014/main" id="{7D3FB776-CB2C-C43B-0134-A91B34DD6957}"/>
              </a:ext>
            </a:extLst>
          </p:cNvPr>
          <p:cNvSpPr>
            <a:spLocks noGrp="1"/>
          </p:cNvSpPr>
          <p:nvPr>
            <p:ph type="body" sz="quarter" idx="40" hasCustomPrompt="1"/>
          </p:nvPr>
        </p:nvSpPr>
        <p:spPr>
          <a:xfrm>
            <a:off x="8739981" y="5257365"/>
            <a:ext cx="2815432" cy="169277"/>
          </a:xfrm>
        </p:spPr>
        <p:txBody>
          <a:bodyPr tIns="0" bIns="0">
            <a:noAutofit/>
          </a:bodyPr>
          <a:lstStyle>
            <a:lvl1pPr algn="l">
              <a:lnSpc>
                <a:spcPct val="100000"/>
              </a:lnSpc>
              <a:spcBef>
                <a:spcPts val="0"/>
              </a:spcBef>
              <a:spcAft>
                <a:spcPts val="0"/>
              </a:spcAft>
              <a:defRPr sz="1100" cap="all" baseline="0">
                <a:solidFill>
                  <a:schemeClr val="tx2"/>
                </a:solidFill>
                <a:latin typeface="+mj-lt"/>
              </a:defRPr>
            </a:lvl1pPr>
            <a:lvl2pPr algn="l">
              <a:lnSpc>
                <a:spcPct val="100000"/>
              </a:lnSpc>
              <a:spcBef>
                <a:spcPts val="200"/>
              </a:spcBef>
              <a:spcAft>
                <a:spcPts val="200"/>
              </a:spcAft>
              <a:defRPr sz="1100">
                <a:solidFill>
                  <a:schemeClr val="tx1"/>
                </a:solidFill>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0"/>
            <a:r>
              <a:rPr lang="en-US" dirty="0"/>
              <a:t>Office name</a:t>
            </a:r>
          </a:p>
        </p:txBody>
      </p:sp>
      <p:sp>
        <p:nvSpPr>
          <p:cNvPr id="30" name="Text Placeholder 16">
            <a:extLst>
              <a:ext uri="{FF2B5EF4-FFF2-40B4-BE49-F238E27FC236}">
                <a16:creationId xmlns:a16="http://schemas.microsoft.com/office/drawing/2014/main" id="{93E02E3E-0180-EEF2-BC53-C6F8EC664363}"/>
              </a:ext>
            </a:extLst>
          </p:cNvPr>
          <p:cNvSpPr>
            <a:spLocks noGrp="1"/>
          </p:cNvSpPr>
          <p:nvPr>
            <p:ph type="body" sz="quarter" idx="41" hasCustomPrompt="1"/>
          </p:nvPr>
        </p:nvSpPr>
        <p:spPr>
          <a:xfrm>
            <a:off x="8915664" y="6043134"/>
            <a:ext cx="263974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31" name="TextBox 30">
            <a:extLst>
              <a:ext uri="{FF2B5EF4-FFF2-40B4-BE49-F238E27FC236}">
                <a16:creationId xmlns:a16="http://schemas.microsoft.com/office/drawing/2014/main" id="{BD32DB83-7401-138A-B8F2-58CED9C43A8F}"/>
              </a:ext>
            </a:extLst>
          </p:cNvPr>
          <p:cNvSpPr txBox="1"/>
          <p:nvPr userDrawn="1"/>
        </p:nvSpPr>
        <p:spPr>
          <a:xfrm flipH="1">
            <a:off x="8741500" y="6043134"/>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9" name="TextBox 4">
            <a:extLst>
              <a:ext uri="{FF2B5EF4-FFF2-40B4-BE49-F238E27FC236}">
                <a16:creationId xmlns:a16="http://schemas.microsoft.com/office/drawing/2014/main" id="{FB38180A-C471-10DC-8890-1F79F2809ED3}"/>
              </a:ext>
            </a:extLst>
          </p:cNvPr>
          <p:cNvSpPr txBox="1"/>
          <p:nvPr userDrawn="1"/>
        </p:nvSpPr>
        <p:spPr>
          <a:xfrm>
            <a:off x="12346713" y="109538"/>
            <a:ext cx="2253207" cy="316496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INSERTING IMAGES:</a:t>
            </a:r>
          </a:p>
          <a:p>
            <a:pPr marL="179388" indent="-179388">
              <a:spcBef>
                <a:spcPts val="200"/>
              </a:spcBef>
              <a:spcAft>
                <a:spcPts val="200"/>
              </a:spcAft>
              <a:buFont typeface="+mj-lt"/>
              <a:buAutoNum type="arabicPeriod"/>
            </a:pPr>
            <a:r>
              <a:rPr lang="en-US" sz="900" dirty="0">
                <a:solidFill>
                  <a:schemeClr val="tx1"/>
                </a:solidFill>
                <a:latin typeface="+mn-lt"/>
              </a:rPr>
              <a:t>Simply click the image placeholder and select your image.</a:t>
            </a:r>
          </a:p>
          <a:p>
            <a:pPr marL="179388" indent="-179388">
              <a:spcBef>
                <a:spcPts val="200"/>
              </a:spcBef>
              <a:spcAft>
                <a:spcPts val="200"/>
              </a:spcAft>
              <a:buFont typeface="+mj-lt"/>
              <a:buAutoNum type="arabicPeriod"/>
            </a:pPr>
            <a:r>
              <a:rPr lang="en-US" sz="900" dirty="0">
                <a:solidFill>
                  <a:schemeClr val="tx1"/>
                </a:solidFill>
                <a:latin typeface="+mn-lt"/>
              </a:rPr>
              <a:t>Once your image is inserted into the shape it may be distorted. (Stretched or Squashed)</a:t>
            </a:r>
          </a:p>
          <a:p>
            <a:pPr marL="179388" indent="-179388">
              <a:spcBef>
                <a:spcPts val="200"/>
              </a:spcBef>
              <a:spcAft>
                <a:spcPts val="200"/>
              </a:spcAft>
              <a:buFont typeface="+mj-lt"/>
              <a:buAutoNum type="arabicPeriod"/>
            </a:pPr>
            <a:endParaRPr lang="en-US" sz="900" dirty="0">
              <a:solidFill>
                <a:schemeClr val="tx1"/>
              </a:solidFill>
              <a:latin typeface="+mn-lt"/>
            </a:endParaRPr>
          </a:p>
          <a:p>
            <a:pPr>
              <a:spcBef>
                <a:spcPts val="200"/>
              </a:spcBef>
              <a:spcAft>
                <a:spcPts val="200"/>
              </a:spcAft>
            </a:pPr>
            <a:r>
              <a:rPr lang="en-US" sz="900" b="1" dirty="0">
                <a:solidFill>
                  <a:schemeClr val="tx1"/>
                </a:solidFill>
                <a:latin typeface="+mn-lt"/>
              </a:rPr>
              <a:t>To fix this:</a:t>
            </a:r>
          </a:p>
          <a:p>
            <a:pPr marL="179388" indent="-179388">
              <a:spcBef>
                <a:spcPts val="200"/>
              </a:spcBef>
              <a:spcAft>
                <a:spcPts val="200"/>
              </a:spcAft>
              <a:buFont typeface="+mj-lt"/>
              <a:buAutoNum type="arabicPeriod"/>
            </a:pPr>
            <a:r>
              <a:rPr lang="en-US" sz="900" dirty="0">
                <a:solidFill>
                  <a:schemeClr val="tx1"/>
                </a:solidFill>
                <a:latin typeface="+mn-lt"/>
              </a:rPr>
              <a:t>Click on the image and from the top menu under </a:t>
            </a:r>
            <a:r>
              <a:rPr lang="en-US" sz="900" b="1" dirty="0">
                <a:solidFill>
                  <a:schemeClr val="tx1"/>
                </a:solidFill>
                <a:latin typeface="+mn-lt"/>
              </a:rPr>
              <a:t>PICTURE FORMAT </a:t>
            </a:r>
            <a:r>
              <a:rPr lang="en-US" sz="900" dirty="0">
                <a:solidFill>
                  <a:schemeClr val="tx1"/>
                </a:solidFill>
                <a:latin typeface="+mn-lt"/>
              </a:rPr>
              <a:t>select the </a:t>
            </a:r>
            <a:r>
              <a:rPr lang="en-US" sz="900" b="1" dirty="0">
                <a:solidFill>
                  <a:schemeClr val="tx1"/>
                </a:solidFill>
                <a:latin typeface="+mn-lt"/>
              </a:rPr>
              <a:t>CROP</a:t>
            </a:r>
            <a:r>
              <a:rPr lang="en-US" sz="900" dirty="0">
                <a:solidFill>
                  <a:schemeClr val="tx1"/>
                </a:solidFill>
                <a:latin typeface="+mn-lt"/>
              </a:rPr>
              <a:t> on the right and from the drop down menu select </a:t>
            </a:r>
            <a:r>
              <a:rPr lang="en-US" sz="900" b="1" kern="1200" dirty="0">
                <a:solidFill>
                  <a:schemeClr val="tx1"/>
                </a:solidFill>
                <a:latin typeface="+mn-lt"/>
                <a:ea typeface="+mn-ea"/>
                <a:cs typeface="+mn-cs"/>
              </a:rPr>
              <a:t>FILL</a:t>
            </a:r>
          </a:p>
          <a:p>
            <a:pPr marL="179388" indent="-179388">
              <a:spcBef>
                <a:spcPts val="200"/>
              </a:spcBef>
              <a:spcAft>
                <a:spcPts val="200"/>
              </a:spcAft>
              <a:buFont typeface="+mj-lt"/>
              <a:buAutoNum type="arabicPeriod"/>
            </a:pPr>
            <a:r>
              <a:rPr lang="en-US" sz="900" b="0" kern="1200" dirty="0">
                <a:solidFill>
                  <a:schemeClr val="tx1"/>
                </a:solidFill>
                <a:latin typeface="+mn-lt"/>
                <a:ea typeface="+mn-ea"/>
                <a:cs typeface="+mn-cs"/>
              </a:rPr>
              <a:t>From here you can move the image within the shape for best visual appearance</a:t>
            </a:r>
          </a:p>
          <a:p>
            <a:pPr marL="179388" indent="-179388">
              <a:spcBef>
                <a:spcPts val="200"/>
              </a:spcBef>
              <a:spcAft>
                <a:spcPts val="200"/>
              </a:spcAft>
              <a:buFont typeface="+mj-lt"/>
              <a:buAutoNum type="arabicPeriod"/>
            </a:pPr>
            <a:endParaRPr lang="en-US" sz="900" b="0" kern="1200" dirty="0">
              <a:solidFill>
                <a:schemeClr val="tx1"/>
              </a:solidFill>
              <a:latin typeface="+mn-lt"/>
              <a:ea typeface="+mn-ea"/>
              <a:cs typeface="+mn-cs"/>
            </a:endParaRPr>
          </a:p>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SAMPLE CONTACT LAYOUT</a:t>
            </a:r>
          </a:p>
        </p:txBody>
      </p:sp>
      <p:grpSp>
        <p:nvGrpSpPr>
          <p:cNvPr id="27" name="Group 26">
            <a:extLst>
              <a:ext uri="{FF2B5EF4-FFF2-40B4-BE49-F238E27FC236}">
                <a16:creationId xmlns:a16="http://schemas.microsoft.com/office/drawing/2014/main" id="{18BA1B1C-5824-FFF1-8289-E7B43FFC828E}"/>
              </a:ext>
            </a:extLst>
          </p:cNvPr>
          <p:cNvGrpSpPr/>
          <p:nvPr userDrawn="1"/>
        </p:nvGrpSpPr>
        <p:grpSpPr>
          <a:xfrm>
            <a:off x="12437199" y="3429000"/>
            <a:ext cx="2813913" cy="1004063"/>
            <a:chOff x="12437199" y="3429000"/>
            <a:chExt cx="2813913" cy="1004063"/>
          </a:xfrm>
        </p:grpSpPr>
        <p:sp>
          <p:nvSpPr>
            <p:cNvPr id="32" name="TextBox 31">
              <a:extLst>
                <a:ext uri="{FF2B5EF4-FFF2-40B4-BE49-F238E27FC236}">
                  <a16:creationId xmlns:a16="http://schemas.microsoft.com/office/drawing/2014/main" id="{21996933-FE92-7F23-2406-8F1989230EED}"/>
                </a:ext>
              </a:extLst>
            </p:cNvPr>
            <p:cNvSpPr txBox="1"/>
            <p:nvPr userDrawn="1"/>
          </p:nvSpPr>
          <p:spPr>
            <a:xfrm flipH="1">
              <a:off x="12611362" y="4263786"/>
              <a:ext cx="2639750"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33" name="TextBox 32">
              <a:extLst>
                <a:ext uri="{FF2B5EF4-FFF2-40B4-BE49-F238E27FC236}">
                  <a16:creationId xmlns:a16="http://schemas.microsoft.com/office/drawing/2014/main" id="{7E5282DF-6A79-7A1C-F334-1E50049FBC3A}"/>
                </a:ext>
              </a:extLst>
            </p:cNvPr>
            <p:cNvSpPr txBox="1"/>
            <p:nvPr userDrawn="1"/>
          </p:nvSpPr>
          <p:spPr>
            <a:xfrm flipH="1">
              <a:off x="12437200" y="4263786"/>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34" name="TextBox 33">
              <a:extLst>
                <a:ext uri="{FF2B5EF4-FFF2-40B4-BE49-F238E27FC236}">
                  <a16:creationId xmlns:a16="http://schemas.microsoft.com/office/drawing/2014/main" id="{66F8B409-23E4-40AB-4BDA-4D9C9B822982}"/>
                </a:ext>
              </a:extLst>
            </p:cNvPr>
            <p:cNvSpPr txBox="1"/>
            <p:nvPr userDrawn="1"/>
          </p:nvSpPr>
          <p:spPr>
            <a:xfrm flipH="1">
              <a:off x="12437199" y="3429000"/>
              <a:ext cx="1968833"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solidFill>
                    <a:schemeClr val="tx2"/>
                  </a:solidFill>
                  <a:latin typeface="+mj-lt"/>
                </a:rPr>
                <a:t>OFFICE NAME</a:t>
              </a:r>
            </a:p>
          </p:txBody>
        </p:sp>
        <p:sp>
          <p:nvSpPr>
            <p:cNvPr id="35" name="TextBox 34">
              <a:extLst>
                <a:ext uri="{FF2B5EF4-FFF2-40B4-BE49-F238E27FC236}">
                  <a16:creationId xmlns:a16="http://schemas.microsoft.com/office/drawing/2014/main" id="{1420FD23-1389-D236-F8E4-0D8AC9A7DD7F}"/>
                </a:ext>
              </a:extLst>
            </p:cNvPr>
            <p:cNvSpPr txBox="1"/>
            <p:nvPr userDrawn="1"/>
          </p:nvSpPr>
          <p:spPr>
            <a:xfrm flipH="1">
              <a:off x="12437199" y="3644298"/>
              <a:ext cx="1968833"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0" lvl="0" indent="0" algn="l" defTabSz="914400" rtl="0" eaLnBrk="1" latinLnBrk="0" hangingPunct="1">
                <a:lnSpc>
                  <a:spcPct val="100000"/>
                </a:lnSpc>
                <a:spcBef>
                  <a:spcPts val="100"/>
                </a:spcBef>
                <a:spcAft>
                  <a:spcPts val="0"/>
                </a:spcAft>
                <a:buFont typeface="Arial" panose="020B0604020202020204" pitchFamily="34" charset="0"/>
                <a:buNone/>
              </a:pPr>
              <a:r>
                <a:rPr lang="en-US" dirty="0"/>
                <a:t>Address line 1</a:t>
              </a:r>
            </a:p>
            <a:p>
              <a:pPr marL="0" marR="0" lvl="0" indent="0" algn="l" defTabSz="914400" rtl="0" eaLnBrk="1" fontAlgn="auto" latinLnBrk="0" hangingPunct="1">
                <a:lnSpc>
                  <a:spcPct val="100000"/>
                </a:lnSpc>
                <a:spcBef>
                  <a:spcPts val="100"/>
                </a:spcBef>
                <a:spcAft>
                  <a:spcPts val="0"/>
                </a:spcAft>
                <a:buClrTx/>
                <a:buSzTx/>
                <a:buFont typeface="Arial" panose="020B0604020202020204" pitchFamily="34" charset="0"/>
                <a:buNone/>
                <a:tabLst/>
                <a:defRPr/>
              </a:pPr>
              <a:r>
                <a:rPr lang="en-US" dirty="0"/>
                <a:t>Address line 2</a:t>
              </a:r>
            </a:p>
            <a:p>
              <a:pPr marL="0" marR="0" lvl="0" indent="0" algn="l" defTabSz="914400" rtl="0" eaLnBrk="1" fontAlgn="auto" latinLnBrk="0" hangingPunct="1">
                <a:lnSpc>
                  <a:spcPct val="100000"/>
                </a:lnSpc>
                <a:spcBef>
                  <a:spcPts val="100"/>
                </a:spcBef>
                <a:spcAft>
                  <a:spcPts val="0"/>
                </a:spcAft>
                <a:buClrTx/>
                <a:buSzTx/>
                <a:buFont typeface="Arial" panose="020B0604020202020204" pitchFamily="34" charset="0"/>
                <a:buNone/>
                <a:tabLst/>
                <a:defRPr/>
              </a:pPr>
              <a:r>
                <a:rPr lang="en-US" dirty="0"/>
                <a:t>Address line 3</a:t>
              </a:r>
            </a:p>
            <a:p>
              <a:pPr marL="0" lvl="0" indent="0" algn="l" defTabSz="914400" rtl="0" eaLnBrk="1" latinLnBrk="0" hangingPunct="1">
                <a:lnSpc>
                  <a:spcPct val="100000"/>
                </a:lnSpc>
                <a:spcBef>
                  <a:spcPts val="200"/>
                </a:spcBef>
                <a:spcAft>
                  <a:spcPts val="200"/>
                </a:spcAft>
                <a:buFont typeface="Arial" panose="020B0604020202020204" pitchFamily="34" charset="0"/>
                <a:buNone/>
              </a:pPr>
              <a:endParaRPr lang="en-US" dirty="0"/>
            </a:p>
          </p:txBody>
        </p:sp>
      </p:grpSp>
    </p:spTree>
    <p:extLst>
      <p:ext uri="{BB962C8B-B14F-4D97-AF65-F5344CB8AC3E}">
        <p14:creationId xmlns:p14="http://schemas.microsoft.com/office/powerpoint/2010/main" val="3163226792"/>
      </p:ext>
    </p:extLst>
  </p:cSld>
  <p:clrMapOvr>
    <a:masterClrMapping/>
  </p:clrMapOvr>
  <p:transition spd="med">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Key Contacts 10">
    <p:bg>
      <p:bgPr>
        <a:solidFill>
          <a:schemeClr val="bg2"/>
        </a:solidFill>
        <a:effectLst/>
      </p:bgPr>
    </p:bg>
    <p:spTree>
      <p:nvGrpSpPr>
        <p:cNvPr id="1" name=""/>
        <p:cNvGrpSpPr/>
        <p:nvPr/>
      </p:nvGrpSpPr>
      <p:grpSpPr>
        <a:xfrm>
          <a:off x="0" y="0"/>
          <a:ext cx="0" cy="0"/>
          <a:chOff x="0" y="0"/>
          <a:chExt cx="0" cy="0"/>
        </a:xfrm>
      </p:grpSpPr>
      <p:sp>
        <p:nvSpPr>
          <p:cNvPr id="9" name="Picture Placeholder 10">
            <a:extLst>
              <a:ext uri="{FF2B5EF4-FFF2-40B4-BE49-F238E27FC236}">
                <a16:creationId xmlns:a16="http://schemas.microsoft.com/office/drawing/2014/main" id="{957F7B8C-8896-F507-1133-31FF9F06D6DB}"/>
              </a:ext>
            </a:extLst>
          </p:cNvPr>
          <p:cNvSpPr>
            <a:spLocks noGrp="1"/>
          </p:cNvSpPr>
          <p:nvPr>
            <p:ph type="pic" sz="quarter" idx="13" hasCustomPrompt="1"/>
          </p:nvPr>
        </p:nvSpPr>
        <p:spPr>
          <a:xfrm>
            <a:off x="8126412" y="0"/>
            <a:ext cx="4065587" cy="6858000"/>
          </a:xfrm>
          <a:solidFill>
            <a:schemeClr val="tx1"/>
          </a:solidFill>
        </p:spPr>
        <p:txBody>
          <a:bodyPr vert="horz" lIns="0" tIns="45720" rIns="0" bIns="45720" rtlCol="0" anchor="ctr">
            <a:normAutofit/>
          </a:bodyPr>
          <a:lstStyle>
            <a:lvl1pPr algn="ctr">
              <a:defRPr lang="en-GB" sz="2800" b="0" dirty="0">
                <a:solidFill>
                  <a:schemeClr val="bg1"/>
                </a:solidFill>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US" dirty="0"/>
              <a:t>ADD RELATED </a:t>
            </a:r>
            <a:br>
              <a:rPr lang="en-US" dirty="0"/>
            </a:br>
            <a:r>
              <a:rPr lang="en-US" dirty="0"/>
              <a:t>IMAGE </a:t>
            </a:r>
            <a:br>
              <a:rPr lang="en-US" dirty="0"/>
            </a:br>
            <a:r>
              <a:rPr lang="en-US" dirty="0"/>
              <a:t>FROM HFW </a:t>
            </a:r>
            <a:br>
              <a:rPr lang="en-US" dirty="0"/>
            </a:br>
            <a:r>
              <a:rPr lang="en-US" dirty="0"/>
              <a:t>IMAGE LIBRARY</a:t>
            </a:r>
          </a:p>
        </p:txBody>
      </p:sp>
      <p:sp>
        <p:nvSpPr>
          <p:cNvPr id="2" name="Title 1"/>
          <p:cNvSpPr>
            <a:spLocks noGrp="1"/>
          </p:cNvSpPr>
          <p:nvPr>
            <p:ph type="title" hasCustomPrompt="1"/>
          </p:nvPr>
        </p:nvSpPr>
        <p:spPr>
          <a:xfrm>
            <a:off x="508000" y="454013"/>
            <a:ext cx="7459663" cy="663587"/>
          </a:xfrm>
        </p:spPr>
        <p:txBody>
          <a:bodyPr/>
          <a:lstStyle/>
          <a:p>
            <a:r>
              <a:rPr lang="en-US" dirty="0"/>
              <a:t>Key </a:t>
            </a:r>
            <a:r>
              <a:rPr lang="en-US" dirty="0" err="1"/>
              <a:t>contactS</a:t>
            </a:r>
            <a:endParaRPr lang="en-US" dirty="0"/>
          </a:p>
        </p:txBody>
      </p:sp>
      <p:sp>
        <p:nvSpPr>
          <p:cNvPr id="5" name="Footer Placeholder 4"/>
          <p:cNvSpPr>
            <a:spLocks noGrp="1"/>
          </p:cNvSpPr>
          <p:nvPr>
            <p:ph type="ftr" sz="quarter" idx="11"/>
          </p:nvPr>
        </p:nvSpPr>
        <p:spPr/>
        <p:txBody>
          <a:bodyPr/>
          <a:lstStyle/>
          <a:p>
            <a:r>
              <a:rPr lang="en-GB"/>
              <a:t>INSERT FOOTER HER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8CFE0557-AA98-4E6C-B0C3-581794696B68}" type="slidenum">
              <a:rPr lang="en-GB" smtClean="0"/>
              <a:pPr/>
              <a:t>‹#›</a:t>
            </a:fld>
            <a:endParaRPr lang="en-GB"/>
          </a:p>
        </p:txBody>
      </p:sp>
      <p:sp>
        <p:nvSpPr>
          <p:cNvPr id="3" name="Picture Placeholder 14">
            <a:extLst>
              <a:ext uri="{FF2B5EF4-FFF2-40B4-BE49-F238E27FC236}">
                <a16:creationId xmlns:a16="http://schemas.microsoft.com/office/drawing/2014/main" id="{02D7B66A-AE40-49CA-7F64-FC0D71E53057}"/>
              </a:ext>
            </a:extLst>
          </p:cNvPr>
          <p:cNvSpPr>
            <a:spLocks noGrp="1"/>
          </p:cNvSpPr>
          <p:nvPr>
            <p:ph type="pic" sz="quarter" idx="35" hasCustomPrompt="1"/>
          </p:nvPr>
        </p:nvSpPr>
        <p:spPr>
          <a:xfrm>
            <a:off x="4235451" y="1298891"/>
            <a:ext cx="876299" cy="876299"/>
          </a:xfrm>
          <a:solidFill>
            <a:schemeClr val="bg1"/>
          </a:solidFill>
        </p:spPr>
        <p:txBody>
          <a:bodyPr anchor="ctr">
            <a:normAutofit/>
          </a:bodyPr>
          <a:lstStyle>
            <a:lvl1pPr algn="ctr">
              <a:defRPr sz="1000">
                <a:latin typeface="+mn-lt"/>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GB" dirty="0"/>
              <a:t>Picture</a:t>
            </a:r>
          </a:p>
        </p:txBody>
      </p:sp>
      <p:sp>
        <p:nvSpPr>
          <p:cNvPr id="7" name="Text Placeholder 16">
            <a:extLst>
              <a:ext uri="{FF2B5EF4-FFF2-40B4-BE49-F238E27FC236}">
                <a16:creationId xmlns:a16="http://schemas.microsoft.com/office/drawing/2014/main" id="{B05E2EAA-2472-4650-7112-6FA68FD693A6}"/>
              </a:ext>
            </a:extLst>
          </p:cNvPr>
          <p:cNvSpPr>
            <a:spLocks noGrp="1"/>
          </p:cNvSpPr>
          <p:nvPr>
            <p:ph type="body" sz="quarter" idx="36" hasCustomPrompt="1"/>
          </p:nvPr>
        </p:nvSpPr>
        <p:spPr>
          <a:xfrm>
            <a:off x="5211365" y="1538859"/>
            <a:ext cx="2543172"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US" dirty="0"/>
              <a:t>Position, Location</a:t>
            </a:r>
          </a:p>
        </p:txBody>
      </p:sp>
      <p:sp>
        <p:nvSpPr>
          <p:cNvPr id="29" name="Text Placeholder 16">
            <a:extLst>
              <a:ext uri="{FF2B5EF4-FFF2-40B4-BE49-F238E27FC236}">
                <a16:creationId xmlns:a16="http://schemas.microsoft.com/office/drawing/2014/main" id="{C6653ABC-31D1-DCD6-65A5-A3F136BB06DC}"/>
              </a:ext>
            </a:extLst>
          </p:cNvPr>
          <p:cNvSpPr>
            <a:spLocks noGrp="1"/>
          </p:cNvSpPr>
          <p:nvPr>
            <p:ph type="body" sz="quarter" idx="37" hasCustomPrompt="1"/>
          </p:nvPr>
        </p:nvSpPr>
        <p:spPr>
          <a:xfrm>
            <a:off x="5211365" y="1321689"/>
            <a:ext cx="2543172" cy="169277"/>
          </a:xfrm>
        </p:spPr>
        <p:txBody>
          <a:bodyPr tIns="0" bIns="0">
            <a:noAutofit/>
          </a:bodyPr>
          <a:lstStyle>
            <a:lvl1pPr algn="l">
              <a:lnSpc>
                <a:spcPct val="100000"/>
              </a:lnSpc>
              <a:spcBef>
                <a:spcPts val="0"/>
              </a:spcBef>
              <a:spcAft>
                <a:spcPts val="0"/>
              </a:spcAft>
              <a:defRPr sz="1100" cap="all" baseline="0">
                <a:solidFill>
                  <a:schemeClr val="tx2"/>
                </a:solidFill>
                <a:latin typeface="+mj-lt"/>
              </a:defRPr>
            </a:lvl1pPr>
            <a:lvl2pPr algn="l">
              <a:lnSpc>
                <a:spcPct val="100000"/>
              </a:lnSpc>
              <a:spcBef>
                <a:spcPts val="200"/>
              </a:spcBef>
              <a:spcAft>
                <a:spcPts val="200"/>
              </a:spcAft>
              <a:defRPr sz="1100">
                <a:solidFill>
                  <a:schemeClr val="tx1"/>
                </a:solidFill>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0"/>
            <a:r>
              <a:rPr lang="en-US" dirty="0"/>
              <a:t>NAME SURNAME</a:t>
            </a:r>
          </a:p>
        </p:txBody>
      </p:sp>
      <p:sp>
        <p:nvSpPr>
          <p:cNvPr id="30" name="Text Placeholder 16">
            <a:extLst>
              <a:ext uri="{FF2B5EF4-FFF2-40B4-BE49-F238E27FC236}">
                <a16:creationId xmlns:a16="http://schemas.microsoft.com/office/drawing/2014/main" id="{77C6DEB4-8649-D2F5-E526-EDC552A195B6}"/>
              </a:ext>
            </a:extLst>
          </p:cNvPr>
          <p:cNvSpPr>
            <a:spLocks noGrp="1"/>
          </p:cNvSpPr>
          <p:nvPr>
            <p:ph type="body" sz="quarter" idx="38" hasCustomPrompt="1"/>
          </p:nvPr>
        </p:nvSpPr>
        <p:spPr>
          <a:xfrm>
            <a:off x="5387048" y="1756091"/>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31" name="Text Placeholder 16">
            <a:extLst>
              <a:ext uri="{FF2B5EF4-FFF2-40B4-BE49-F238E27FC236}">
                <a16:creationId xmlns:a16="http://schemas.microsoft.com/office/drawing/2014/main" id="{A2876901-29AC-22C6-CCCA-41D0E6BC1809}"/>
              </a:ext>
            </a:extLst>
          </p:cNvPr>
          <p:cNvSpPr>
            <a:spLocks noGrp="1"/>
          </p:cNvSpPr>
          <p:nvPr>
            <p:ph type="body" sz="quarter" idx="39" hasCustomPrompt="1"/>
          </p:nvPr>
        </p:nvSpPr>
        <p:spPr>
          <a:xfrm>
            <a:off x="5387048" y="1973323"/>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name.surname@hfw.com</a:t>
            </a:r>
            <a:endParaRPr lang="en-US" dirty="0"/>
          </a:p>
        </p:txBody>
      </p:sp>
      <p:sp>
        <p:nvSpPr>
          <p:cNvPr id="32" name="TextBox 31">
            <a:extLst>
              <a:ext uri="{FF2B5EF4-FFF2-40B4-BE49-F238E27FC236}">
                <a16:creationId xmlns:a16="http://schemas.microsoft.com/office/drawing/2014/main" id="{FF43B9EB-8072-CF9D-C0B6-7AD7D0290FE9}"/>
              </a:ext>
            </a:extLst>
          </p:cNvPr>
          <p:cNvSpPr txBox="1"/>
          <p:nvPr userDrawn="1"/>
        </p:nvSpPr>
        <p:spPr>
          <a:xfrm flipH="1">
            <a:off x="5212884" y="1756091"/>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33" name="TextBox 32">
            <a:extLst>
              <a:ext uri="{FF2B5EF4-FFF2-40B4-BE49-F238E27FC236}">
                <a16:creationId xmlns:a16="http://schemas.microsoft.com/office/drawing/2014/main" id="{1E82F238-4495-C676-1023-14B3E0E174AC}"/>
              </a:ext>
            </a:extLst>
          </p:cNvPr>
          <p:cNvSpPr txBox="1"/>
          <p:nvPr userDrawn="1"/>
        </p:nvSpPr>
        <p:spPr>
          <a:xfrm flipH="1">
            <a:off x="5212884" y="1973323"/>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E</a:t>
            </a:r>
          </a:p>
        </p:txBody>
      </p:sp>
      <p:sp>
        <p:nvSpPr>
          <p:cNvPr id="34" name="Picture Placeholder 14">
            <a:extLst>
              <a:ext uri="{FF2B5EF4-FFF2-40B4-BE49-F238E27FC236}">
                <a16:creationId xmlns:a16="http://schemas.microsoft.com/office/drawing/2014/main" id="{3A9079D6-B2B4-19C1-D651-F4C4E1D7113D}"/>
              </a:ext>
            </a:extLst>
          </p:cNvPr>
          <p:cNvSpPr>
            <a:spLocks noGrp="1"/>
          </p:cNvSpPr>
          <p:nvPr>
            <p:ph type="pic" sz="quarter" idx="40" hasCustomPrompt="1"/>
          </p:nvPr>
        </p:nvSpPr>
        <p:spPr>
          <a:xfrm>
            <a:off x="516891" y="1298891"/>
            <a:ext cx="876299" cy="876299"/>
          </a:xfrm>
          <a:solidFill>
            <a:schemeClr val="bg1"/>
          </a:solidFill>
        </p:spPr>
        <p:txBody>
          <a:bodyPr anchor="ctr">
            <a:normAutofit/>
          </a:bodyPr>
          <a:lstStyle>
            <a:lvl1pPr algn="ctr">
              <a:defRPr sz="1000">
                <a:latin typeface="+mn-lt"/>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GB" dirty="0"/>
              <a:t>Picture</a:t>
            </a:r>
          </a:p>
        </p:txBody>
      </p:sp>
      <p:sp>
        <p:nvSpPr>
          <p:cNvPr id="35" name="Text Placeholder 16">
            <a:extLst>
              <a:ext uri="{FF2B5EF4-FFF2-40B4-BE49-F238E27FC236}">
                <a16:creationId xmlns:a16="http://schemas.microsoft.com/office/drawing/2014/main" id="{E4E063B1-7D98-65D2-504F-1F6D2A81815F}"/>
              </a:ext>
            </a:extLst>
          </p:cNvPr>
          <p:cNvSpPr>
            <a:spLocks noGrp="1"/>
          </p:cNvSpPr>
          <p:nvPr>
            <p:ph type="body" sz="quarter" idx="41" hasCustomPrompt="1"/>
          </p:nvPr>
        </p:nvSpPr>
        <p:spPr>
          <a:xfrm>
            <a:off x="1492805" y="1538859"/>
            <a:ext cx="2543172"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US" dirty="0"/>
              <a:t>Position, Location</a:t>
            </a:r>
          </a:p>
        </p:txBody>
      </p:sp>
      <p:sp>
        <p:nvSpPr>
          <p:cNvPr id="36" name="Text Placeholder 16">
            <a:extLst>
              <a:ext uri="{FF2B5EF4-FFF2-40B4-BE49-F238E27FC236}">
                <a16:creationId xmlns:a16="http://schemas.microsoft.com/office/drawing/2014/main" id="{A039A773-C6DB-3A6C-EC4A-E29A943A8D7B}"/>
              </a:ext>
            </a:extLst>
          </p:cNvPr>
          <p:cNvSpPr>
            <a:spLocks noGrp="1"/>
          </p:cNvSpPr>
          <p:nvPr>
            <p:ph type="body" sz="quarter" idx="42" hasCustomPrompt="1"/>
          </p:nvPr>
        </p:nvSpPr>
        <p:spPr>
          <a:xfrm>
            <a:off x="1492805" y="1321689"/>
            <a:ext cx="2543172" cy="169277"/>
          </a:xfrm>
        </p:spPr>
        <p:txBody>
          <a:bodyPr tIns="0" bIns="0">
            <a:noAutofit/>
          </a:bodyPr>
          <a:lstStyle>
            <a:lvl1pPr algn="l">
              <a:lnSpc>
                <a:spcPct val="100000"/>
              </a:lnSpc>
              <a:spcBef>
                <a:spcPts val="0"/>
              </a:spcBef>
              <a:spcAft>
                <a:spcPts val="0"/>
              </a:spcAft>
              <a:defRPr sz="1100" cap="all" baseline="0">
                <a:solidFill>
                  <a:schemeClr val="tx2"/>
                </a:solidFill>
                <a:latin typeface="+mj-lt"/>
              </a:defRPr>
            </a:lvl1pPr>
            <a:lvl2pPr algn="l">
              <a:lnSpc>
                <a:spcPct val="100000"/>
              </a:lnSpc>
              <a:spcBef>
                <a:spcPts val="200"/>
              </a:spcBef>
              <a:spcAft>
                <a:spcPts val="200"/>
              </a:spcAft>
              <a:defRPr sz="1100">
                <a:solidFill>
                  <a:schemeClr val="tx1"/>
                </a:solidFill>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0"/>
            <a:r>
              <a:rPr lang="en-US" dirty="0"/>
              <a:t>NAME SURNAME</a:t>
            </a:r>
          </a:p>
        </p:txBody>
      </p:sp>
      <p:sp>
        <p:nvSpPr>
          <p:cNvPr id="37" name="Text Placeholder 16">
            <a:extLst>
              <a:ext uri="{FF2B5EF4-FFF2-40B4-BE49-F238E27FC236}">
                <a16:creationId xmlns:a16="http://schemas.microsoft.com/office/drawing/2014/main" id="{751C7180-0DA3-7B03-40C8-2A8D90A42E28}"/>
              </a:ext>
            </a:extLst>
          </p:cNvPr>
          <p:cNvSpPr>
            <a:spLocks noGrp="1"/>
          </p:cNvSpPr>
          <p:nvPr>
            <p:ph type="body" sz="quarter" idx="43" hasCustomPrompt="1"/>
          </p:nvPr>
        </p:nvSpPr>
        <p:spPr>
          <a:xfrm>
            <a:off x="1668488" y="1756091"/>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38" name="Text Placeholder 16">
            <a:extLst>
              <a:ext uri="{FF2B5EF4-FFF2-40B4-BE49-F238E27FC236}">
                <a16:creationId xmlns:a16="http://schemas.microsoft.com/office/drawing/2014/main" id="{C90A2C28-251C-377F-CB64-E237B8362BE5}"/>
              </a:ext>
            </a:extLst>
          </p:cNvPr>
          <p:cNvSpPr>
            <a:spLocks noGrp="1"/>
          </p:cNvSpPr>
          <p:nvPr>
            <p:ph type="body" sz="quarter" idx="44" hasCustomPrompt="1"/>
          </p:nvPr>
        </p:nvSpPr>
        <p:spPr>
          <a:xfrm>
            <a:off x="1668488" y="1973323"/>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name.surname@hfw.com</a:t>
            </a:r>
            <a:endParaRPr lang="en-US" dirty="0"/>
          </a:p>
        </p:txBody>
      </p:sp>
      <p:sp>
        <p:nvSpPr>
          <p:cNvPr id="39" name="TextBox 38">
            <a:extLst>
              <a:ext uri="{FF2B5EF4-FFF2-40B4-BE49-F238E27FC236}">
                <a16:creationId xmlns:a16="http://schemas.microsoft.com/office/drawing/2014/main" id="{CD88C032-8EAF-2B08-F79B-F8345375A305}"/>
              </a:ext>
            </a:extLst>
          </p:cNvPr>
          <p:cNvSpPr txBox="1"/>
          <p:nvPr userDrawn="1"/>
        </p:nvSpPr>
        <p:spPr>
          <a:xfrm flipH="1">
            <a:off x="1494324" y="1756091"/>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40" name="TextBox 39">
            <a:extLst>
              <a:ext uri="{FF2B5EF4-FFF2-40B4-BE49-F238E27FC236}">
                <a16:creationId xmlns:a16="http://schemas.microsoft.com/office/drawing/2014/main" id="{A35926F1-2042-E8E3-9FEA-F667A6E25907}"/>
              </a:ext>
            </a:extLst>
          </p:cNvPr>
          <p:cNvSpPr txBox="1"/>
          <p:nvPr userDrawn="1"/>
        </p:nvSpPr>
        <p:spPr>
          <a:xfrm flipH="1">
            <a:off x="1494324" y="1973323"/>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E</a:t>
            </a:r>
          </a:p>
        </p:txBody>
      </p:sp>
      <p:sp>
        <p:nvSpPr>
          <p:cNvPr id="50" name="Picture Placeholder 14">
            <a:extLst>
              <a:ext uri="{FF2B5EF4-FFF2-40B4-BE49-F238E27FC236}">
                <a16:creationId xmlns:a16="http://schemas.microsoft.com/office/drawing/2014/main" id="{937FF250-ABDC-C04C-B144-30A7ECBB65B3}"/>
              </a:ext>
            </a:extLst>
          </p:cNvPr>
          <p:cNvSpPr>
            <a:spLocks noGrp="1"/>
          </p:cNvSpPr>
          <p:nvPr>
            <p:ph type="pic" sz="quarter" idx="45" hasCustomPrompt="1"/>
          </p:nvPr>
        </p:nvSpPr>
        <p:spPr>
          <a:xfrm>
            <a:off x="4235451" y="2319337"/>
            <a:ext cx="876299" cy="876299"/>
          </a:xfrm>
          <a:solidFill>
            <a:schemeClr val="bg1"/>
          </a:solidFill>
        </p:spPr>
        <p:txBody>
          <a:bodyPr anchor="ctr">
            <a:normAutofit/>
          </a:bodyPr>
          <a:lstStyle>
            <a:lvl1pPr algn="ctr">
              <a:defRPr sz="1000">
                <a:latin typeface="+mn-lt"/>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GB" dirty="0"/>
              <a:t>Picture</a:t>
            </a:r>
          </a:p>
        </p:txBody>
      </p:sp>
      <p:sp>
        <p:nvSpPr>
          <p:cNvPr id="51" name="Text Placeholder 16">
            <a:extLst>
              <a:ext uri="{FF2B5EF4-FFF2-40B4-BE49-F238E27FC236}">
                <a16:creationId xmlns:a16="http://schemas.microsoft.com/office/drawing/2014/main" id="{B12224F1-E76D-4968-C7B8-D148F73F27A3}"/>
              </a:ext>
            </a:extLst>
          </p:cNvPr>
          <p:cNvSpPr>
            <a:spLocks noGrp="1"/>
          </p:cNvSpPr>
          <p:nvPr>
            <p:ph type="body" sz="quarter" idx="46" hasCustomPrompt="1"/>
          </p:nvPr>
        </p:nvSpPr>
        <p:spPr>
          <a:xfrm>
            <a:off x="5211365" y="2559305"/>
            <a:ext cx="2543172"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US" dirty="0"/>
              <a:t>Position, Location</a:t>
            </a:r>
          </a:p>
        </p:txBody>
      </p:sp>
      <p:sp>
        <p:nvSpPr>
          <p:cNvPr id="52" name="Text Placeholder 16">
            <a:extLst>
              <a:ext uri="{FF2B5EF4-FFF2-40B4-BE49-F238E27FC236}">
                <a16:creationId xmlns:a16="http://schemas.microsoft.com/office/drawing/2014/main" id="{5475F4ED-840C-A019-A56F-5AEFD94C8C0D}"/>
              </a:ext>
            </a:extLst>
          </p:cNvPr>
          <p:cNvSpPr>
            <a:spLocks noGrp="1"/>
          </p:cNvSpPr>
          <p:nvPr>
            <p:ph type="body" sz="quarter" idx="47" hasCustomPrompt="1"/>
          </p:nvPr>
        </p:nvSpPr>
        <p:spPr>
          <a:xfrm>
            <a:off x="5211365" y="2342135"/>
            <a:ext cx="2543172" cy="169277"/>
          </a:xfrm>
        </p:spPr>
        <p:txBody>
          <a:bodyPr tIns="0" bIns="0">
            <a:noAutofit/>
          </a:bodyPr>
          <a:lstStyle>
            <a:lvl1pPr algn="l">
              <a:lnSpc>
                <a:spcPct val="100000"/>
              </a:lnSpc>
              <a:spcBef>
                <a:spcPts val="0"/>
              </a:spcBef>
              <a:spcAft>
                <a:spcPts val="0"/>
              </a:spcAft>
              <a:defRPr sz="1100" cap="all" baseline="0">
                <a:solidFill>
                  <a:schemeClr val="tx2"/>
                </a:solidFill>
                <a:latin typeface="+mj-lt"/>
              </a:defRPr>
            </a:lvl1pPr>
            <a:lvl2pPr algn="l">
              <a:lnSpc>
                <a:spcPct val="100000"/>
              </a:lnSpc>
              <a:spcBef>
                <a:spcPts val="200"/>
              </a:spcBef>
              <a:spcAft>
                <a:spcPts val="200"/>
              </a:spcAft>
              <a:defRPr sz="1100">
                <a:solidFill>
                  <a:schemeClr val="tx1"/>
                </a:solidFill>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0"/>
            <a:r>
              <a:rPr lang="en-US" dirty="0"/>
              <a:t>NAME SURNAME</a:t>
            </a:r>
          </a:p>
        </p:txBody>
      </p:sp>
      <p:sp>
        <p:nvSpPr>
          <p:cNvPr id="53" name="Text Placeholder 16">
            <a:extLst>
              <a:ext uri="{FF2B5EF4-FFF2-40B4-BE49-F238E27FC236}">
                <a16:creationId xmlns:a16="http://schemas.microsoft.com/office/drawing/2014/main" id="{97822B6D-6AD5-2BB1-A2A7-4ABC0696D327}"/>
              </a:ext>
            </a:extLst>
          </p:cNvPr>
          <p:cNvSpPr>
            <a:spLocks noGrp="1"/>
          </p:cNvSpPr>
          <p:nvPr>
            <p:ph type="body" sz="quarter" idx="48" hasCustomPrompt="1"/>
          </p:nvPr>
        </p:nvSpPr>
        <p:spPr>
          <a:xfrm>
            <a:off x="5387048" y="2776537"/>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54" name="Text Placeholder 16">
            <a:extLst>
              <a:ext uri="{FF2B5EF4-FFF2-40B4-BE49-F238E27FC236}">
                <a16:creationId xmlns:a16="http://schemas.microsoft.com/office/drawing/2014/main" id="{28A558B1-CA9C-2EB9-A0A6-6E3FA1AFDB18}"/>
              </a:ext>
            </a:extLst>
          </p:cNvPr>
          <p:cNvSpPr>
            <a:spLocks noGrp="1"/>
          </p:cNvSpPr>
          <p:nvPr>
            <p:ph type="body" sz="quarter" idx="49" hasCustomPrompt="1"/>
          </p:nvPr>
        </p:nvSpPr>
        <p:spPr>
          <a:xfrm>
            <a:off x="5387048" y="2993769"/>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name.surname@hfw.com</a:t>
            </a:r>
            <a:endParaRPr lang="en-US" dirty="0"/>
          </a:p>
        </p:txBody>
      </p:sp>
      <p:sp>
        <p:nvSpPr>
          <p:cNvPr id="55" name="TextBox 54">
            <a:extLst>
              <a:ext uri="{FF2B5EF4-FFF2-40B4-BE49-F238E27FC236}">
                <a16:creationId xmlns:a16="http://schemas.microsoft.com/office/drawing/2014/main" id="{AA89D37C-3865-24CC-E3E3-7B87C33F753F}"/>
              </a:ext>
            </a:extLst>
          </p:cNvPr>
          <p:cNvSpPr txBox="1"/>
          <p:nvPr userDrawn="1"/>
        </p:nvSpPr>
        <p:spPr>
          <a:xfrm flipH="1">
            <a:off x="5212884" y="2776537"/>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56" name="TextBox 55">
            <a:extLst>
              <a:ext uri="{FF2B5EF4-FFF2-40B4-BE49-F238E27FC236}">
                <a16:creationId xmlns:a16="http://schemas.microsoft.com/office/drawing/2014/main" id="{A15F0AE5-885E-8759-849B-82CAF7267867}"/>
              </a:ext>
            </a:extLst>
          </p:cNvPr>
          <p:cNvSpPr txBox="1"/>
          <p:nvPr userDrawn="1"/>
        </p:nvSpPr>
        <p:spPr>
          <a:xfrm flipH="1">
            <a:off x="5212884" y="2993769"/>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E</a:t>
            </a:r>
          </a:p>
        </p:txBody>
      </p:sp>
      <p:sp>
        <p:nvSpPr>
          <p:cNvPr id="57" name="Picture Placeholder 14">
            <a:extLst>
              <a:ext uri="{FF2B5EF4-FFF2-40B4-BE49-F238E27FC236}">
                <a16:creationId xmlns:a16="http://schemas.microsoft.com/office/drawing/2014/main" id="{E2779DBF-9BF5-D367-CCF3-D23F3F5071AD}"/>
              </a:ext>
            </a:extLst>
          </p:cNvPr>
          <p:cNvSpPr>
            <a:spLocks noGrp="1"/>
          </p:cNvSpPr>
          <p:nvPr>
            <p:ph type="pic" sz="quarter" idx="50" hasCustomPrompt="1"/>
          </p:nvPr>
        </p:nvSpPr>
        <p:spPr>
          <a:xfrm>
            <a:off x="516891" y="2319337"/>
            <a:ext cx="876299" cy="876299"/>
          </a:xfrm>
          <a:solidFill>
            <a:schemeClr val="bg1"/>
          </a:solidFill>
        </p:spPr>
        <p:txBody>
          <a:bodyPr anchor="ctr">
            <a:normAutofit/>
          </a:bodyPr>
          <a:lstStyle>
            <a:lvl1pPr algn="ctr">
              <a:defRPr sz="1000">
                <a:latin typeface="+mn-lt"/>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GB" dirty="0"/>
              <a:t>Picture</a:t>
            </a:r>
          </a:p>
        </p:txBody>
      </p:sp>
      <p:sp>
        <p:nvSpPr>
          <p:cNvPr id="58" name="Text Placeholder 16">
            <a:extLst>
              <a:ext uri="{FF2B5EF4-FFF2-40B4-BE49-F238E27FC236}">
                <a16:creationId xmlns:a16="http://schemas.microsoft.com/office/drawing/2014/main" id="{E6675F0F-FD39-882F-76E9-99E0A362B496}"/>
              </a:ext>
            </a:extLst>
          </p:cNvPr>
          <p:cNvSpPr>
            <a:spLocks noGrp="1"/>
          </p:cNvSpPr>
          <p:nvPr>
            <p:ph type="body" sz="quarter" idx="51" hasCustomPrompt="1"/>
          </p:nvPr>
        </p:nvSpPr>
        <p:spPr>
          <a:xfrm>
            <a:off x="1492805" y="2559305"/>
            <a:ext cx="2543172"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US" dirty="0"/>
              <a:t>Position, Location</a:t>
            </a:r>
          </a:p>
        </p:txBody>
      </p:sp>
      <p:sp>
        <p:nvSpPr>
          <p:cNvPr id="59" name="Text Placeholder 16">
            <a:extLst>
              <a:ext uri="{FF2B5EF4-FFF2-40B4-BE49-F238E27FC236}">
                <a16:creationId xmlns:a16="http://schemas.microsoft.com/office/drawing/2014/main" id="{43D17FD4-4ABD-B1D3-2B8B-0D17D121A907}"/>
              </a:ext>
            </a:extLst>
          </p:cNvPr>
          <p:cNvSpPr>
            <a:spLocks noGrp="1"/>
          </p:cNvSpPr>
          <p:nvPr>
            <p:ph type="body" sz="quarter" idx="52" hasCustomPrompt="1"/>
          </p:nvPr>
        </p:nvSpPr>
        <p:spPr>
          <a:xfrm>
            <a:off x="1492805" y="2342135"/>
            <a:ext cx="2543172" cy="169277"/>
          </a:xfrm>
        </p:spPr>
        <p:txBody>
          <a:bodyPr tIns="0" bIns="0">
            <a:noAutofit/>
          </a:bodyPr>
          <a:lstStyle>
            <a:lvl1pPr algn="l">
              <a:lnSpc>
                <a:spcPct val="100000"/>
              </a:lnSpc>
              <a:spcBef>
                <a:spcPts val="0"/>
              </a:spcBef>
              <a:spcAft>
                <a:spcPts val="0"/>
              </a:spcAft>
              <a:defRPr sz="1100" cap="all" baseline="0">
                <a:solidFill>
                  <a:schemeClr val="tx2"/>
                </a:solidFill>
                <a:latin typeface="+mj-lt"/>
              </a:defRPr>
            </a:lvl1pPr>
            <a:lvl2pPr algn="l">
              <a:lnSpc>
                <a:spcPct val="100000"/>
              </a:lnSpc>
              <a:spcBef>
                <a:spcPts val="200"/>
              </a:spcBef>
              <a:spcAft>
                <a:spcPts val="200"/>
              </a:spcAft>
              <a:defRPr sz="1100">
                <a:solidFill>
                  <a:schemeClr val="tx1"/>
                </a:solidFill>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0"/>
            <a:r>
              <a:rPr lang="en-US" dirty="0"/>
              <a:t>NAME SURNAME</a:t>
            </a:r>
          </a:p>
        </p:txBody>
      </p:sp>
      <p:sp>
        <p:nvSpPr>
          <p:cNvPr id="60" name="Text Placeholder 16">
            <a:extLst>
              <a:ext uri="{FF2B5EF4-FFF2-40B4-BE49-F238E27FC236}">
                <a16:creationId xmlns:a16="http://schemas.microsoft.com/office/drawing/2014/main" id="{790A0A28-E3E5-FF55-B80E-22798889CCDC}"/>
              </a:ext>
            </a:extLst>
          </p:cNvPr>
          <p:cNvSpPr>
            <a:spLocks noGrp="1"/>
          </p:cNvSpPr>
          <p:nvPr>
            <p:ph type="body" sz="quarter" idx="53" hasCustomPrompt="1"/>
          </p:nvPr>
        </p:nvSpPr>
        <p:spPr>
          <a:xfrm>
            <a:off x="1668488" y="2776537"/>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61" name="Text Placeholder 16">
            <a:extLst>
              <a:ext uri="{FF2B5EF4-FFF2-40B4-BE49-F238E27FC236}">
                <a16:creationId xmlns:a16="http://schemas.microsoft.com/office/drawing/2014/main" id="{3BA82DC3-BAEC-8C1E-1495-A212A38A6304}"/>
              </a:ext>
            </a:extLst>
          </p:cNvPr>
          <p:cNvSpPr>
            <a:spLocks noGrp="1"/>
          </p:cNvSpPr>
          <p:nvPr>
            <p:ph type="body" sz="quarter" idx="54" hasCustomPrompt="1"/>
          </p:nvPr>
        </p:nvSpPr>
        <p:spPr>
          <a:xfrm>
            <a:off x="1668488" y="2993769"/>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name.surname@hfw.com</a:t>
            </a:r>
            <a:endParaRPr lang="en-US" dirty="0"/>
          </a:p>
        </p:txBody>
      </p:sp>
      <p:sp>
        <p:nvSpPr>
          <p:cNvPr id="62" name="TextBox 61">
            <a:extLst>
              <a:ext uri="{FF2B5EF4-FFF2-40B4-BE49-F238E27FC236}">
                <a16:creationId xmlns:a16="http://schemas.microsoft.com/office/drawing/2014/main" id="{3A0610F4-A8A4-AF15-E9C6-9F095DAF8590}"/>
              </a:ext>
            </a:extLst>
          </p:cNvPr>
          <p:cNvSpPr txBox="1"/>
          <p:nvPr userDrawn="1"/>
        </p:nvSpPr>
        <p:spPr>
          <a:xfrm flipH="1">
            <a:off x="1494324" y="2776537"/>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63" name="TextBox 62">
            <a:extLst>
              <a:ext uri="{FF2B5EF4-FFF2-40B4-BE49-F238E27FC236}">
                <a16:creationId xmlns:a16="http://schemas.microsoft.com/office/drawing/2014/main" id="{C5513907-8DC7-CF5A-94B7-C0613F1B8D60}"/>
              </a:ext>
            </a:extLst>
          </p:cNvPr>
          <p:cNvSpPr txBox="1"/>
          <p:nvPr userDrawn="1"/>
        </p:nvSpPr>
        <p:spPr>
          <a:xfrm flipH="1">
            <a:off x="1494324" y="2993769"/>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E</a:t>
            </a:r>
          </a:p>
        </p:txBody>
      </p:sp>
      <p:sp>
        <p:nvSpPr>
          <p:cNvPr id="64" name="Picture Placeholder 14">
            <a:extLst>
              <a:ext uri="{FF2B5EF4-FFF2-40B4-BE49-F238E27FC236}">
                <a16:creationId xmlns:a16="http://schemas.microsoft.com/office/drawing/2014/main" id="{01EB1F97-D543-7ADA-E079-8484D6C02417}"/>
              </a:ext>
            </a:extLst>
          </p:cNvPr>
          <p:cNvSpPr>
            <a:spLocks noGrp="1"/>
          </p:cNvSpPr>
          <p:nvPr>
            <p:ph type="pic" sz="quarter" idx="55" hasCustomPrompt="1"/>
          </p:nvPr>
        </p:nvSpPr>
        <p:spPr>
          <a:xfrm>
            <a:off x="4235451" y="3327399"/>
            <a:ext cx="876299" cy="876299"/>
          </a:xfrm>
          <a:solidFill>
            <a:schemeClr val="bg1"/>
          </a:solidFill>
        </p:spPr>
        <p:txBody>
          <a:bodyPr anchor="ctr">
            <a:normAutofit/>
          </a:bodyPr>
          <a:lstStyle>
            <a:lvl1pPr algn="ctr">
              <a:defRPr sz="1000">
                <a:latin typeface="+mn-lt"/>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GB" dirty="0"/>
              <a:t>Picture</a:t>
            </a:r>
          </a:p>
        </p:txBody>
      </p:sp>
      <p:sp>
        <p:nvSpPr>
          <p:cNvPr id="65" name="Text Placeholder 16">
            <a:extLst>
              <a:ext uri="{FF2B5EF4-FFF2-40B4-BE49-F238E27FC236}">
                <a16:creationId xmlns:a16="http://schemas.microsoft.com/office/drawing/2014/main" id="{9B63BDF2-4CD8-35D5-6A67-4E8433EEA85D}"/>
              </a:ext>
            </a:extLst>
          </p:cNvPr>
          <p:cNvSpPr>
            <a:spLocks noGrp="1"/>
          </p:cNvSpPr>
          <p:nvPr>
            <p:ph type="body" sz="quarter" idx="56" hasCustomPrompt="1"/>
          </p:nvPr>
        </p:nvSpPr>
        <p:spPr>
          <a:xfrm>
            <a:off x="5211365" y="3567367"/>
            <a:ext cx="2543172"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US" dirty="0"/>
              <a:t>Position, Location</a:t>
            </a:r>
          </a:p>
        </p:txBody>
      </p:sp>
      <p:sp>
        <p:nvSpPr>
          <p:cNvPr id="66" name="Text Placeholder 16">
            <a:extLst>
              <a:ext uri="{FF2B5EF4-FFF2-40B4-BE49-F238E27FC236}">
                <a16:creationId xmlns:a16="http://schemas.microsoft.com/office/drawing/2014/main" id="{2275F1B3-52F0-AF67-47BA-91FDB1D15E42}"/>
              </a:ext>
            </a:extLst>
          </p:cNvPr>
          <p:cNvSpPr>
            <a:spLocks noGrp="1"/>
          </p:cNvSpPr>
          <p:nvPr>
            <p:ph type="body" sz="quarter" idx="57" hasCustomPrompt="1"/>
          </p:nvPr>
        </p:nvSpPr>
        <p:spPr>
          <a:xfrm>
            <a:off x="5211365" y="3350197"/>
            <a:ext cx="2543172" cy="169277"/>
          </a:xfrm>
        </p:spPr>
        <p:txBody>
          <a:bodyPr tIns="0" bIns="0">
            <a:noAutofit/>
          </a:bodyPr>
          <a:lstStyle>
            <a:lvl1pPr algn="l">
              <a:lnSpc>
                <a:spcPct val="100000"/>
              </a:lnSpc>
              <a:spcBef>
                <a:spcPts val="0"/>
              </a:spcBef>
              <a:spcAft>
                <a:spcPts val="0"/>
              </a:spcAft>
              <a:defRPr sz="1100" cap="all" baseline="0">
                <a:solidFill>
                  <a:schemeClr val="tx2"/>
                </a:solidFill>
                <a:latin typeface="+mj-lt"/>
              </a:defRPr>
            </a:lvl1pPr>
            <a:lvl2pPr algn="l">
              <a:lnSpc>
                <a:spcPct val="100000"/>
              </a:lnSpc>
              <a:spcBef>
                <a:spcPts val="200"/>
              </a:spcBef>
              <a:spcAft>
                <a:spcPts val="200"/>
              </a:spcAft>
              <a:defRPr sz="1100">
                <a:solidFill>
                  <a:schemeClr val="tx1"/>
                </a:solidFill>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0"/>
            <a:r>
              <a:rPr lang="en-US" dirty="0"/>
              <a:t>NAME SURNAME</a:t>
            </a:r>
          </a:p>
        </p:txBody>
      </p:sp>
      <p:sp>
        <p:nvSpPr>
          <p:cNvPr id="67" name="Text Placeholder 16">
            <a:extLst>
              <a:ext uri="{FF2B5EF4-FFF2-40B4-BE49-F238E27FC236}">
                <a16:creationId xmlns:a16="http://schemas.microsoft.com/office/drawing/2014/main" id="{6D2A183D-8C32-A4C4-6CAA-DA397DB73ABA}"/>
              </a:ext>
            </a:extLst>
          </p:cNvPr>
          <p:cNvSpPr>
            <a:spLocks noGrp="1"/>
          </p:cNvSpPr>
          <p:nvPr>
            <p:ph type="body" sz="quarter" idx="58" hasCustomPrompt="1"/>
          </p:nvPr>
        </p:nvSpPr>
        <p:spPr>
          <a:xfrm>
            <a:off x="5387048" y="3784599"/>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68" name="Text Placeholder 16">
            <a:extLst>
              <a:ext uri="{FF2B5EF4-FFF2-40B4-BE49-F238E27FC236}">
                <a16:creationId xmlns:a16="http://schemas.microsoft.com/office/drawing/2014/main" id="{4629C55A-0B20-B830-500C-6BBE7264684B}"/>
              </a:ext>
            </a:extLst>
          </p:cNvPr>
          <p:cNvSpPr>
            <a:spLocks noGrp="1"/>
          </p:cNvSpPr>
          <p:nvPr>
            <p:ph type="body" sz="quarter" idx="59" hasCustomPrompt="1"/>
          </p:nvPr>
        </p:nvSpPr>
        <p:spPr>
          <a:xfrm>
            <a:off x="5387048" y="4001831"/>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name.surname@hfw.com</a:t>
            </a:r>
            <a:endParaRPr lang="en-US" dirty="0"/>
          </a:p>
        </p:txBody>
      </p:sp>
      <p:sp>
        <p:nvSpPr>
          <p:cNvPr id="69" name="TextBox 68">
            <a:extLst>
              <a:ext uri="{FF2B5EF4-FFF2-40B4-BE49-F238E27FC236}">
                <a16:creationId xmlns:a16="http://schemas.microsoft.com/office/drawing/2014/main" id="{C5B4A0E4-1F39-0B87-39DA-30A61A990830}"/>
              </a:ext>
            </a:extLst>
          </p:cNvPr>
          <p:cNvSpPr txBox="1"/>
          <p:nvPr userDrawn="1"/>
        </p:nvSpPr>
        <p:spPr>
          <a:xfrm flipH="1">
            <a:off x="5212884" y="3784599"/>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70" name="TextBox 69">
            <a:extLst>
              <a:ext uri="{FF2B5EF4-FFF2-40B4-BE49-F238E27FC236}">
                <a16:creationId xmlns:a16="http://schemas.microsoft.com/office/drawing/2014/main" id="{176D58DF-6035-B9BF-A547-E8125F37CF4C}"/>
              </a:ext>
            </a:extLst>
          </p:cNvPr>
          <p:cNvSpPr txBox="1"/>
          <p:nvPr userDrawn="1"/>
        </p:nvSpPr>
        <p:spPr>
          <a:xfrm flipH="1">
            <a:off x="5212884" y="4001831"/>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E</a:t>
            </a:r>
          </a:p>
        </p:txBody>
      </p:sp>
      <p:sp>
        <p:nvSpPr>
          <p:cNvPr id="71" name="Picture Placeholder 14">
            <a:extLst>
              <a:ext uri="{FF2B5EF4-FFF2-40B4-BE49-F238E27FC236}">
                <a16:creationId xmlns:a16="http://schemas.microsoft.com/office/drawing/2014/main" id="{E1116702-5BD0-A3E2-3F8D-1C4F64D8F5A0}"/>
              </a:ext>
            </a:extLst>
          </p:cNvPr>
          <p:cNvSpPr>
            <a:spLocks noGrp="1"/>
          </p:cNvSpPr>
          <p:nvPr>
            <p:ph type="pic" sz="quarter" idx="60" hasCustomPrompt="1"/>
          </p:nvPr>
        </p:nvSpPr>
        <p:spPr>
          <a:xfrm>
            <a:off x="516891" y="3327399"/>
            <a:ext cx="876299" cy="876299"/>
          </a:xfrm>
          <a:solidFill>
            <a:schemeClr val="bg1"/>
          </a:solidFill>
        </p:spPr>
        <p:txBody>
          <a:bodyPr anchor="ctr">
            <a:normAutofit/>
          </a:bodyPr>
          <a:lstStyle>
            <a:lvl1pPr algn="ctr">
              <a:defRPr sz="1000">
                <a:latin typeface="+mn-lt"/>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GB" dirty="0"/>
              <a:t>Picture</a:t>
            </a:r>
          </a:p>
        </p:txBody>
      </p:sp>
      <p:sp>
        <p:nvSpPr>
          <p:cNvPr id="72" name="Text Placeholder 16">
            <a:extLst>
              <a:ext uri="{FF2B5EF4-FFF2-40B4-BE49-F238E27FC236}">
                <a16:creationId xmlns:a16="http://schemas.microsoft.com/office/drawing/2014/main" id="{C0B1D79D-D1B8-625E-91A3-415109E27E47}"/>
              </a:ext>
            </a:extLst>
          </p:cNvPr>
          <p:cNvSpPr>
            <a:spLocks noGrp="1"/>
          </p:cNvSpPr>
          <p:nvPr>
            <p:ph type="body" sz="quarter" idx="61" hasCustomPrompt="1"/>
          </p:nvPr>
        </p:nvSpPr>
        <p:spPr>
          <a:xfrm>
            <a:off x="1492805" y="3567367"/>
            <a:ext cx="2543172"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US" dirty="0"/>
              <a:t>Position, Location</a:t>
            </a:r>
          </a:p>
        </p:txBody>
      </p:sp>
      <p:sp>
        <p:nvSpPr>
          <p:cNvPr id="73" name="Text Placeholder 16">
            <a:extLst>
              <a:ext uri="{FF2B5EF4-FFF2-40B4-BE49-F238E27FC236}">
                <a16:creationId xmlns:a16="http://schemas.microsoft.com/office/drawing/2014/main" id="{27640ED5-71AC-8CD2-F946-0F12FFF15D59}"/>
              </a:ext>
            </a:extLst>
          </p:cNvPr>
          <p:cNvSpPr>
            <a:spLocks noGrp="1"/>
          </p:cNvSpPr>
          <p:nvPr>
            <p:ph type="body" sz="quarter" idx="62" hasCustomPrompt="1"/>
          </p:nvPr>
        </p:nvSpPr>
        <p:spPr>
          <a:xfrm>
            <a:off x="1492805" y="3350197"/>
            <a:ext cx="2543172" cy="169277"/>
          </a:xfrm>
        </p:spPr>
        <p:txBody>
          <a:bodyPr tIns="0" bIns="0">
            <a:noAutofit/>
          </a:bodyPr>
          <a:lstStyle>
            <a:lvl1pPr algn="l">
              <a:lnSpc>
                <a:spcPct val="100000"/>
              </a:lnSpc>
              <a:spcBef>
                <a:spcPts val="0"/>
              </a:spcBef>
              <a:spcAft>
                <a:spcPts val="0"/>
              </a:spcAft>
              <a:defRPr sz="1100" cap="all" baseline="0">
                <a:solidFill>
                  <a:schemeClr val="tx2"/>
                </a:solidFill>
                <a:latin typeface="+mj-lt"/>
              </a:defRPr>
            </a:lvl1pPr>
            <a:lvl2pPr algn="l">
              <a:lnSpc>
                <a:spcPct val="100000"/>
              </a:lnSpc>
              <a:spcBef>
                <a:spcPts val="200"/>
              </a:spcBef>
              <a:spcAft>
                <a:spcPts val="200"/>
              </a:spcAft>
              <a:defRPr sz="1100">
                <a:solidFill>
                  <a:schemeClr val="tx1"/>
                </a:solidFill>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0"/>
            <a:r>
              <a:rPr lang="en-US" dirty="0"/>
              <a:t>NAME SURNAME</a:t>
            </a:r>
          </a:p>
        </p:txBody>
      </p:sp>
      <p:sp>
        <p:nvSpPr>
          <p:cNvPr id="74" name="Text Placeholder 16">
            <a:extLst>
              <a:ext uri="{FF2B5EF4-FFF2-40B4-BE49-F238E27FC236}">
                <a16:creationId xmlns:a16="http://schemas.microsoft.com/office/drawing/2014/main" id="{63E6B106-AA30-075B-E0E9-6958B9E55D60}"/>
              </a:ext>
            </a:extLst>
          </p:cNvPr>
          <p:cNvSpPr>
            <a:spLocks noGrp="1"/>
          </p:cNvSpPr>
          <p:nvPr>
            <p:ph type="body" sz="quarter" idx="63" hasCustomPrompt="1"/>
          </p:nvPr>
        </p:nvSpPr>
        <p:spPr>
          <a:xfrm>
            <a:off x="1668488" y="3784599"/>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75" name="Text Placeholder 16">
            <a:extLst>
              <a:ext uri="{FF2B5EF4-FFF2-40B4-BE49-F238E27FC236}">
                <a16:creationId xmlns:a16="http://schemas.microsoft.com/office/drawing/2014/main" id="{B3A8345A-6A69-0289-361E-83E4671BE8A9}"/>
              </a:ext>
            </a:extLst>
          </p:cNvPr>
          <p:cNvSpPr>
            <a:spLocks noGrp="1"/>
          </p:cNvSpPr>
          <p:nvPr>
            <p:ph type="body" sz="quarter" idx="64" hasCustomPrompt="1"/>
          </p:nvPr>
        </p:nvSpPr>
        <p:spPr>
          <a:xfrm>
            <a:off x="1668488" y="4001831"/>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name.surname@hfw.com</a:t>
            </a:r>
            <a:endParaRPr lang="en-US" dirty="0"/>
          </a:p>
        </p:txBody>
      </p:sp>
      <p:sp>
        <p:nvSpPr>
          <p:cNvPr id="76" name="TextBox 75">
            <a:extLst>
              <a:ext uri="{FF2B5EF4-FFF2-40B4-BE49-F238E27FC236}">
                <a16:creationId xmlns:a16="http://schemas.microsoft.com/office/drawing/2014/main" id="{8F1A9AED-E825-DF72-A57E-FC1BE1BF4829}"/>
              </a:ext>
            </a:extLst>
          </p:cNvPr>
          <p:cNvSpPr txBox="1"/>
          <p:nvPr userDrawn="1"/>
        </p:nvSpPr>
        <p:spPr>
          <a:xfrm flipH="1">
            <a:off x="1494324" y="3784599"/>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77" name="TextBox 76">
            <a:extLst>
              <a:ext uri="{FF2B5EF4-FFF2-40B4-BE49-F238E27FC236}">
                <a16:creationId xmlns:a16="http://schemas.microsoft.com/office/drawing/2014/main" id="{9E8CCCC6-E20C-23EA-CF4D-57CD5AED1D05}"/>
              </a:ext>
            </a:extLst>
          </p:cNvPr>
          <p:cNvSpPr txBox="1"/>
          <p:nvPr userDrawn="1"/>
        </p:nvSpPr>
        <p:spPr>
          <a:xfrm flipH="1">
            <a:off x="1494324" y="4001831"/>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E</a:t>
            </a:r>
          </a:p>
        </p:txBody>
      </p:sp>
      <p:sp>
        <p:nvSpPr>
          <p:cNvPr id="78" name="Picture Placeholder 14">
            <a:extLst>
              <a:ext uri="{FF2B5EF4-FFF2-40B4-BE49-F238E27FC236}">
                <a16:creationId xmlns:a16="http://schemas.microsoft.com/office/drawing/2014/main" id="{4ED377C3-A6EB-22E6-AA8D-36F173247557}"/>
              </a:ext>
            </a:extLst>
          </p:cNvPr>
          <p:cNvSpPr>
            <a:spLocks noGrp="1"/>
          </p:cNvSpPr>
          <p:nvPr>
            <p:ph type="pic" sz="quarter" idx="65" hasCustomPrompt="1"/>
          </p:nvPr>
        </p:nvSpPr>
        <p:spPr>
          <a:xfrm>
            <a:off x="4235451" y="4335461"/>
            <a:ext cx="876299" cy="876299"/>
          </a:xfrm>
          <a:solidFill>
            <a:schemeClr val="bg1"/>
          </a:solidFill>
        </p:spPr>
        <p:txBody>
          <a:bodyPr anchor="ctr">
            <a:normAutofit/>
          </a:bodyPr>
          <a:lstStyle>
            <a:lvl1pPr algn="ctr">
              <a:defRPr sz="1000">
                <a:latin typeface="+mn-lt"/>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GB" dirty="0"/>
              <a:t>Picture</a:t>
            </a:r>
          </a:p>
        </p:txBody>
      </p:sp>
      <p:sp>
        <p:nvSpPr>
          <p:cNvPr id="79" name="Text Placeholder 16">
            <a:extLst>
              <a:ext uri="{FF2B5EF4-FFF2-40B4-BE49-F238E27FC236}">
                <a16:creationId xmlns:a16="http://schemas.microsoft.com/office/drawing/2014/main" id="{36B7E5CB-7CF5-0A15-10E2-9B5648668EBA}"/>
              </a:ext>
            </a:extLst>
          </p:cNvPr>
          <p:cNvSpPr>
            <a:spLocks noGrp="1"/>
          </p:cNvSpPr>
          <p:nvPr>
            <p:ph type="body" sz="quarter" idx="66" hasCustomPrompt="1"/>
          </p:nvPr>
        </p:nvSpPr>
        <p:spPr>
          <a:xfrm>
            <a:off x="5211365" y="4575429"/>
            <a:ext cx="2543172"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US" dirty="0"/>
              <a:t>Position, Location</a:t>
            </a:r>
          </a:p>
        </p:txBody>
      </p:sp>
      <p:sp>
        <p:nvSpPr>
          <p:cNvPr id="80" name="Text Placeholder 16">
            <a:extLst>
              <a:ext uri="{FF2B5EF4-FFF2-40B4-BE49-F238E27FC236}">
                <a16:creationId xmlns:a16="http://schemas.microsoft.com/office/drawing/2014/main" id="{D4F4FDFA-1C77-395E-0CBE-F3538C2F1BC6}"/>
              </a:ext>
            </a:extLst>
          </p:cNvPr>
          <p:cNvSpPr>
            <a:spLocks noGrp="1"/>
          </p:cNvSpPr>
          <p:nvPr>
            <p:ph type="body" sz="quarter" idx="67" hasCustomPrompt="1"/>
          </p:nvPr>
        </p:nvSpPr>
        <p:spPr>
          <a:xfrm>
            <a:off x="5211365" y="4358259"/>
            <a:ext cx="2543172" cy="169277"/>
          </a:xfrm>
        </p:spPr>
        <p:txBody>
          <a:bodyPr tIns="0" bIns="0">
            <a:noAutofit/>
          </a:bodyPr>
          <a:lstStyle>
            <a:lvl1pPr algn="l">
              <a:lnSpc>
                <a:spcPct val="100000"/>
              </a:lnSpc>
              <a:spcBef>
                <a:spcPts val="0"/>
              </a:spcBef>
              <a:spcAft>
                <a:spcPts val="0"/>
              </a:spcAft>
              <a:defRPr sz="1100" cap="all" baseline="0">
                <a:solidFill>
                  <a:schemeClr val="tx2"/>
                </a:solidFill>
                <a:latin typeface="+mj-lt"/>
              </a:defRPr>
            </a:lvl1pPr>
            <a:lvl2pPr algn="l">
              <a:lnSpc>
                <a:spcPct val="100000"/>
              </a:lnSpc>
              <a:spcBef>
                <a:spcPts val="200"/>
              </a:spcBef>
              <a:spcAft>
                <a:spcPts val="200"/>
              </a:spcAft>
              <a:defRPr sz="1100">
                <a:solidFill>
                  <a:schemeClr val="tx1"/>
                </a:solidFill>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0"/>
            <a:r>
              <a:rPr lang="en-US" dirty="0"/>
              <a:t>NAME SURNAME</a:t>
            </a:r>
          </a:p>
        </p:txBody>
      </p:sp>
      <p:sp>
        <p:nvSpPr>
          <p:cNvPr id="81" name="Text Placeholder 16">
            <a:extLst>
              <a:ext uri="{FF2B5EF4-FFF2-40B4-BE49-F238E27FC236}">
                <a16:creationId xmlns:a16="http://schemas.microsoft.com/office/drawing/2014/main" id="{FB3F10DA-D583-7CB9-C24E-6708FE1D5C44}"/>
              </a:ext>
            </a:extLst>
          </p:cNvPr>
          <p:cNvSpPr>
            <a:spLocks noGrp="1"/>
          </p:cNvSpPr>
          <p:nvPr>
            <p:ph type="body" sz="quarter" idx="68" hasCustomPrompt="1"/>
          </p:nvPr>
        </p:nvSpPr>
        <p:spPr>
          <a:xfrm>
            <a:off x="5387048" y="4792661"/>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82" name="Text Placeholder 16">
            <a:extLst>
              <a:ext uri="{FF2B5EF4-FFF2-40B4-BE49-F238E27FC236}">
                <a16:creationId xmlns:a16="http://schemas.microsoft.com/office/drawing/2014/main" id="{6B25EA35-A18E-8CD0-13E0-96FFCB0855AD}"/>
              </a:ext>
            </a:extLst>
          </p:cNvPr>
          <p:cNvSpPr>
            <a:spLocks noGrp="1"/>
          </p:cNvSpPr>
          <p:nvPr>
            <p:ph type="body" sz="quarter" idx="69" hasCustomPrompt="1"/>
          </p:nvPr>
        </p:nvSpPr>
        <p:spPr>
          <a:xfrm>
            <a:off x="5387048" y="5009893"/>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name.surname@hfw.com</a:t>
            </a:r>
            <a:endParaRPr lang="en-US" dirty="0"/>
          </a:p>
        </p:txBody>
      </p:sp>
      <p:sp>
        <p:nvSpPr>
          <p:cNvPr id="83" name="TextBox 82">
            <a:extLst>
              <a:ext uri="{FF2B5EF4-FFF2-40B4-BE49-F238E27FC236}">
                <a16:creationId xmlns:a16="http://schemas.microsoft.com/office/drawing/2014/main" id="{A7941DC0-D5B5-A3C0-855C-43EE16431DD5}"/>
              </a:ext>
            </a:extLst>
          </p:cNvPr>
          <p:cNvSpPr txBox="1"/>
          <p:nvPr userDrawn="1"/>
        </p:nvSpPr>
        <p:spPr>
          <a:xfrm flipH="1">
            <a:off x="5212884" y="4792661"/>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84" name="TextBox 83">
            <a:extLst>
              <a:ext uri="{FF2B5EF4-FFF2-40B4-BE49-F238E27FC236}">
                <a16:creationId xmlns:a16="http://schemas.microsoft.com/office/drawing/2014/main" id="{29D74432-7B1A-6A12-67A8-94415CD7242D}"/>
              </a:ext>
            </a:extLst>
          </p:cNvPr>
          <p:cNvSpPr txBox="1"/>
          <p:nvPr userDrawn="1"/>
        </p:nvSpPr>
        <p:spPr>
          <a:xfrm flipH="1">
            <a:off x="5212884" y="5009893"/>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E</a:t>
            </a:r>
          </a:p>
        </p:txBody>
      </p:sp>
      <p:sp>
        <p:nvSpPr>
          <p:cNvPr id="85" name="Picture Placeholder 14">
            <a:extLst>
              <a:ext uri="{FF2B5EF4-FFF2-40B4-BE49-F238E27FC236}">
                <a16:creationId xmlns:a16="http://schemas.microsoft.com/office/drawing/2014/main" id="{E2371D05-9521-0026-5F90-E6E8549EB329}"/>
              </a:ext>
            </a:extLst>
          </p:cNvPr>
          <p:cNvSpPr>
            <a:spLocks noGrp="1"/>
          </p:cNvSpPr>
          <p:nvPr>
            <p:ph type="pic" sz="quarter" idx="70" hasCustomPrompt="1"/>
          </p:nvPr>
        </p:nvSpPr>
        <p:spPr>
          <a:xfrm>
            <a:off x="516891" y="4335461"/>
            <a:ext cx="876299" cy="876299"/>
          </a:xfrm>
          <a:solidFill>
            <a:schemeClr val="bg1"/>
          </a:solidFill>
        </p:spPr>
        <p:txBody>
          <a:bodyPr anchor="ctr">
            <a:normAutofit/>
          </a:bodyPr>
          <a:lstStyle>
            <a:lvl1pPr algn="ctr">
              <a:defRPr sz="1000">
                <a:latin typeface="+mn-lt"/>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GB" dirty="0"/>
              <a:t>Picture</a:t>
            </a:r>
          </a:p>
        </p:txBody>
      </p:sp>
      <p:sp>
        <p:nvSpPr>
          <p:cNvPr id="86" name="Text Placeholder 16">
            <a:extLst>
              <a:ext uri="{FF2B5EF4-FFF2-40B4-BE49-F238E27FC236}">
                <a16:creationId xmlns:a16="http://schemas.microsoft.com/office/drawing/2014/main" id="{37C99C1E-F24E-8066-6D8C-2024C0DA50FC}"/>
              </a:ext>
            </a:extLst>
          </p:cNvPr>
          <p:cNvSpPr>
            <a:spLocks noGrp="1"/>
          </p:cNvSpPr>
          <p:nvPr>
            <p:ph type="body" sz="quarter" idx="71" hasCustomPrompt="1"/>
          </p:nvPr>
        </p:nvSpPr>
        <p:spPr>
          <a:xfrm>
            <a:off x="1492805" y="4575429"/>
            <a:ext cx="2543172"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US" dirty="0"/>
              <a:t>Position, Location</a:t>
            </a:r>
          </a:p>
        </p:txBody>
      </p:sp>
      <p:sp>
        <p:nvSpPr>
          <p:cNvPr id="87" name="Text Placeholder 16">
            <a:extLst>
              <a:ext uri="{FF2B5EF4-FFF2-40B4-BE49-F238E27FC236}">
                <a16:creationId xmlns:a16="http://schemas.microsoft.com/office/drawing/2014/main" id="{648C6843-3FD4-CF4B-3D92-0540A8516246}"/>
              </a:ext>
            </a:extLst>
          </p:cNvPr>
          <p:cNvSpPr>
            <a:spLocks noGrp="1"/>
          </p:cNvSpPr>
          <p:nvPr>
            <p:ph type="body" sz="quarter" idx="72" hasCustomPrompt="1"/>
          </p:nvPr>
        </p:nvSpPr>
        <p:spPr>
          <a:xfrm>
            <a:off x="1492805" y="4358259"/>
            <a:ext cx="2543172" cy="169277"/>
          </a:xfrm>
        </p:spPr>
        <p:txBody>
          <a:bodyPr tIns="0" bIns="0">
            <a:noAutofit/>
          </a:bodyPr>
          <a:lstStyle>
            <a:lvl1pPr algn="l">
              <a:lnSpc>
                <a:spcPct val="100000"/>
              </a:lnSpc>
              <a:spcBef>
                <a:spcPts val="0"/>
              </a:spcBef>
              <a:spcAft>
                <a:spcPts val="0"/>
              </a:spcAft>
              <a:defRPr sz="1100" cap="all" baseline="0">
                <a:solidFill>
                  <a:schemeClr val="tx2"/>
                </a:solidFill>
                <a:latin typeface="+mj-lt"/>
              </a:defRPr>
            </a:lvl1pPr>
            <a:lvl2pPr algn="l">
              <a:lnSpc>
                <a:spcPct val="100000"/>
              </a:lnSpc>
              <a:spcBef>
                <a:spcPts val="200"/>
              </a:spcBef>
              <a:spcAft>
                <a:spcPts val="200"/>
              </a:spcAft>
              <a:defRPr sz="1100">
                <a:solidFill>
                  <a:schemeClr val="tx1"/>
                </a:solidFill>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0"/>
            <a:r>
              <a:rPr lang="en-US" dirty="0"/>
              <a:t>NAME SURNAME</a:t>
            </a:r>
          </a:p>
        </p:txBody>
      </p:sp>
      <p:sp>
        <p:nvSpPr>
          <p:cNvPr id="88" name="Text Placeholder 16">
            <a:extLst>
              <a:ext uri="{FF2B5EF4-FFF2-40B4-BE49-F238E27FC236}">
                <a16:creationId xmlns:a16="http://schemas.microsoft.com/office/drawing/2014/main" id="{08A2D76D-0614-E80F-3883-6C66FDE33EF3}"/>
              </a:ext>
            </a:extLst>
          </p:cNvPr>
          <p:cNvSpPr>
            <a:spLocks noGrp="1"/>
          </p:cNvSpPr>
          <p:nvPr>
            <p:ph type="body" sz="quarter" idx="73" hasCustomPrompt="1"/>
          </p:nvPr>
        </p:nvSpPr>
        <p:spPr>
          <a:xfrm>
            <a:off x="1668488" y="4792661"/>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89" name="Text Placeholder 16">
            <a:extLst>
              <a:ext uri="{FF2B5EF4-FFF2-40B4-BE49-F238E27FC236}">
                <a16:creationId xmlns:a16="http://schemas.microsoft.com/office/drawing/2014/main" id="{796FD917-4525-9EB2-4226-C6483E978188}"/>
              </a:ext>
            </a:extLst>
          </p:cNvPr>
          <p:cNvSpPr>
            <a:spLocks noGrp="1"/>
          </p:cNvSpPr>
          <p:nvPr>
            <p:ph type="body" sz="quarter" idx="74" hasCustomPrompt="1"/>
          </p:nvPr>
        </p:nvSpPr>
        <p:spPr>
          <a:xfrm>
            <a:off x="1668488" y="5009893"/>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name.surname@hfw.com</a:t>
            </a:r>
            <a:endParaRPr lang="en-US" dirty="0"/>
          </a:p>
        </p:txBody>
      </p:sp>
      <p:sp>
        <p:nvSpPr>
          <p:cNvPr id="90" name="TextBox 89">
            <a:extLst>
              <a:ext uri="{FF2B5EF4-FFF2-40B4-BE49-F238E27FC236}">
                <a16:creationId xmlns:a16="http://schemas.microsoft.com/office/drawing/2014/main" id="{F170950D-BE5E-6482-0E04-8A5950AFE8D9}"/>
              </a:ext>
            </a:extLst>
          </p:cNvPr>
          <p:cNvSpPr txBox="1"/>
          <p:nvPr userDrawn="1"/>
        </p:nvSpPr>
        <p:spPr>
          <a:xfrm flipH="1">
            <a:off x="1494324" y="4792661"/>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91" name="TextBox 90">
            <a:extLst>
              <a:ext uri="{FF2B5EF4-FFF2-40B4-BE49-F238E27FC236}">
                <a16:creationId xmlns:a16="http://schemas.microsoft.com/office/drawing/2014/main" id="{B6C6FFF6-C18D-5AF8-38F0-8BE0F7B575D4}"/>
              </a:ext>
            </a:extLst>
          </p:cNvPr>
          <p:cNvSpPr txBox="1"/>
          <p:nvPr userDrawn="1"/>
        </p:nvSpPr>
        <p:spPr>
          <a:xfrm flipH="1">
            <a:off x="1494324" y="5009893"/>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E</a:t>
            </a:r>
          </a:p>
        </p:txBody>
      </p:sp>
      <p:sp>
        <p:nvSpPr>
          <p:cNvPr id="92" name="Picture Placeholder 14">
            <a:extLst>
              <a:ext uri="{FF2B5EF4-FFF2-40B4-BE49-F238E27FC236}">
                <a16:creationId xmlns:a16="http://schemas.microsoft.com/office/drawing/2014/main" id="{5A706D81-23C7-1845-9E56-DA4E0732466E}"/>
              </a:ext>
            </a:extLst>
          </p:cNvPr>
          <p:cNvSpPr>
            <a:spLocks noGrp="1"/>
          </p:cNvSpPr>
          <p:nvPr>
            <p:ph type="pic" sz="quarter" idx="75" hasCustomPrompt="1"/>
          </p:nvPr>
        </p:nvSpPr>
        <p:spPr>
          <a:xfrm>
            <a:off x="4235451" y="5341171"/>
            <a:ext cx="876299" cy="876299"/>
          </a:xfrm>
          <a:solidFill>
            <a:schemeClr val="bg1"/>
          </a:solidFill>
        </p:spPr>
        <p:txBody>
          <a:bodyPr anchor="ctr">
            <a:normAutofit/>
          </a:bodyPr>
          <a:lstStyle>
            <a:lvl1pPr algn="ctr">
              <a:defRPr sz="1000">
                <a:latin typeface="+mn-lt"/>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GB" dirty="0"/>
              <a:t>Picture</a:t>
            </a:r>
          </a:p>
        </p:txBody>
      </p:sp>
      <p:sp>
        <p:nvSpPr>
          <p:cNvPr id="93" name="Text Placeholder 16">
            <a:extLst>
              <a:ext uri="{FF2B5EF4-FFF2-40B4-BE49-F238E27FC236}">
                <a16:creationId xmlns:a16="http://schemas.microsoft.com/office/drawing/2014/main" id="{CB42EFA4-D4B5-F880-B822-6863879CCBE0}"/>
              </a:ext>
            </a:extLst>
          </p:cNvPr>
          <p:cNvSpPr>
            <a:spLocks noGrp="1"/>
          </p:cNvSpPr>
          <p:nvPr>
            <p:ph type="body" sz="quarter" idx="76" hasCustomPrompt="1"/>
          </p:nvPr>
        </p:nvSpPr>
        <p:spPr>
          <a:xfrm>
            <a:off x="5211365" y="5581139"/>
            <a:ext cx="2543172"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US" dirty="0"/>
              <a:t>Position, Location</a:t>
            </a:r>
          </a:p>
        </p:txBody>
      </p:sp>
      <p:sp>
        <p:nvSpPr>
          <p:cNvPr id="94" name="Text Placeholder 16">
            <a:extLst>
              <a:ext uri="{FF2B5EF4-FFF2-40B4-BE49-F238E27FC236}">
                <a16:creationId xmlns:a16="http://schemas.microsoft.com/office/drawing/2014/main" id="{38184237-12E4-BE72-1239-79BA07848F5D}"/>
              </a:ext>
            </a:extLst>
          </p:cNvPr>
          <p:cNvSpPr>
            <a:spLocks noGrp="1"/>
          </p:cNvSpPr>
          <p:nvPr>
            <p:ph type="body" sz="quarter" idx="77" hasCustomPrompt="1"/>
          </p:nvPr>
        </p:nvSpPr>
        <p:spPr>
          <a:xfrm>
            <a:off x="5211365" y="5363969"/>
            <a:ext cx="2543172" cy="169277"/>
          </a:xfrm>
        </p:spPr>
        <p:txBody>
          <a:bodyPr tIns="0" bIns="0">
            <a:noAutofit/>
          </a:bodyPr>
          <a:lstStyle>
            <a:lvl1pPr algn="l">
              <a:lnSpc>
                <a:spcPct val="100000"/>
              </a:lnSpc>
              <a:spcBef>
                <a:spcPts val="0"/>
              </a:spcBef>
              <a:spcAft>
                <a:spcPts val="0"/>
              </a:spcAft>
              <a:defRPr sz="1100" cap="all" baseline="0">
                <a:solidFill>
                  <a:schemeClr val="tx2"/>
                </a:solidFill>
                <a:latin typeface="+mj-lt"/>
              </a:defRPr>
            </a:lvl1pPr>
            <a:lvl2pPr algn="l">
              <a:lnSpc>
                <a:spcPct val="100000"/>
              </a:lnSpc>
              <a:spcBef>
                <a:spcPts val="200"/>
              </a:spcBef>
              <a:spcAft>
                <a:spcPts val="200"/>
              </a:spcAft>
              <a:defRPr sz="1100">
                <a:solidFill>
                  <a:schemeClr val="tx1"/>
                </a:solidFill>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0"/>
            <a:r>
              <a:rPr lang="en-US" dirty="0"/>
              <a:t>NAME SURNAME</a:t>
            </a:r>
          </a:p>
        </p:txBody>
      </p:sp>
      <p:sp>
        <p:nvSpPr>
          <p:cNvPr id="95" name="Text Placeholder 16">
            <a:extLst>
              <a:ext uri="{FF2B5EF4-FFF2-40B4-BE49-F238E27FC236}">
                <a16:creationId xmlns:a16="http://schemas.microsoft.com/office/drawing/2014/main" id="{8D382521-697C-E3E8-D7DB-E6FCD15631B9}"/>
              </a:ext>
            </a:extLst>
          </p:cNvPr>
          <p:cNvSpPr>
            <a:spLocks noGrp="1"/>
          </p:cNvSpPr>
          <p:nvPr>
            <p:ph type="body" sz="quarter" idx="78" hasCustomPrompt="1"/>
          </p:nvPr>
        </p:nvSpPr>
        <p:spPr>
          <a:xfrm>
            <a:off x="5387048" y="5798371"/>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96" name="Text Placeholder 16">
            <a:extLst>
              <a:ext uri="{FF2B5EF4-FFF2-40B4-BE49-F238E27FC236}">
                <a16:creationId xmlns:a16="http://schemas.microsoft.com/office/drawing/2014/main" id="{186BD757-0C6C-8339-1177-67E5B6D1965F}"/>
              </a:ext>
            </a:extLst>
          </p:cNvPr>
          <p:cNvSpPr>
            <a:spLocks noGrp="1"/>
          </p:cNvSpPr>
          <p:nvPr>
            <p:ph type="body" sz="quarter" idx="79" hasCustomPrompt="1"/>
          </p:nvPr>
        </p:nvSpPr>
        <p:spPr>
          <a:xfrm>
            <a:off x="5387048" y="6015603"/>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name.surname@hfw.com</a:t>
            </a:r>
            <a:endParaRPr lang="en-US" dirty="0"/>
          </a:p>
        </p:txBody>
      </p:sp>
      <p:sp>
        <p:nvSpPr>
          <p:cNvPr id="97" name="TextBox 96">
            <a:extLst>
              <a:ext uri="{FF2B5EF4-FFF2-40B4-BE49-F238E27FC236}">
                <a16:creationId xmlns:a16="http://schemas.microsoft.com/office/drawing/2014/main" id="{CCCD8483-CA79-2996-A13A-6CE91675DB4E}"/>
              </a:ext>
            </a:extLst>
          </p:cNvPr>
          <p:cNvSpPr txBox="1"/>
          <p:nvPr userDrawn="1"/>
        </p:nvSpPr>
        <p:spPr>
          <a:xfrm flipH="1">
            <a:off x="5212884" y="5798371"/>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98" name="TextBox 97">
            <a:extLst>
              <a:ext uri="{FF2B5EF4-FFF2-40B4-BE49-F238E27FC236}">
                <a16:creationId xmlns:a16="http://schemas.microsoft.com/office/drawing/2014/main" id="{F453F1BF-3B52-2669-05C3-DAA6810E5D6A}"/>
              </a:ext>
            </a:extLst>
          </p:cNvPr>
          <p:cNvSpPr txBox="1"/>
          <p:nvPr userDrawn="1"/>
        </p:nvSpPr>
        <p:spPr>
          <a:xfrm flipH="1">
            <a:off x="5212884" y="6015603"/>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E</a:t>
            </a:r>
          </a:p>
        </p:txBody>
      </p:sp>
      <p:sp>
        <p:nvSpPr>
          <p:cNvPr id="99" name="Picture Placeholder 14">
            <a:extLst>
              <a:ext uri="{FF2B5EF4-FFF2-40B4-BE49-F238E27FC236}">
                <a16:creationId xmlns:a16="http://schemas.microsoft.com/office/drawing/2014/main" id="{634ABBB9-2D82-C3DE-FC7C-107FECF19350}"/>
              </a:ext>
            </a:extLst>
          </p:cNvPr>
          <p:cNvSpPr>
            <a:spLocks noGrp="1"/>
          </p:cNvSpPr>
          <p:nvPr>
            <p:ph type="pic" sz="quarter" idx="80" hasCustomPrompt="1"/>
          </p:nvPr>
        </p:nvSpPr>
        <p:spPr>
          <a:xfrm>
            <a:off x="516891" y="5341171"/>
            <a:ext cx="876299" cy="876299"/>
          </a:xfrm>
          <a:solidFill>
            <a:schemeClr val="bg1"/>
          </a:solidFill>
        </p:spPr>
        <p:txBody>
          <a:bodyPr anchor="ctr">
            <a:normAutofit/>
          </a:bodyPr>
          <a:lstStyle>
            <a:lvl1pPr algn="ctr">
              <a:defRPr sz="1000">
                <a:latin typeface="+mn-lt"/>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GB" dirty="0"/>
              <a:t>Picture</a:t>
            </a:r>
          </a:p>
        </p:txBody>
      </p:sp>
      <p:sp>
        <p:nvSpPr>
          <p:cNvPr id="100" name="Text Placeholder 16">
            <a:extLst>
              <a:ext uri="{FF2B5EF4-FFF2-40B4-BE49-F238E27FC236}">
                <a16:creationId xmlns:a16="http://schemas.microsoft.com/office/drawing/2014/main" id="{649F4865-D789-7EB8-B822-D82A0C700233}"/>
              </a:ext>
            </a:extLst>
          </p:cNvPr>
          <p:cNvSpPr>
            <a:spLocks noGrp="1"/>
          </p:cNvSpPr>
          <p:nvPr>
            <p:ph type="body" sz="quarter" idx="81" hasCustomPrompt="1"/>
          </p:nvPr>
        </p:nvSpPr>
        <p:spPr>
          <a:xfrm>
            <a:off x="1492805" y="5581139"/>
            <a:ext cx="2543172"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US" dirty="0"/>
              <a:t>Position, Location</a:t>
            </a:r>
          </a:p>
        </p:txBody>
      </p:sp>
      <p:sp>
        <p:nvSpPr>
          <p:cNvPr id="101" name="Text Placeholder 16">
            <a:extLst>
              <a:ext uri="{FF2B5EF4-FFF2-40B4-BE49-F238E27FC236}">
                <a16:creationId xmlns:a16="http://schemas.microsoft.com/office/drawing/2014/main" id="{D3FEF5DD-FA37-0CD5-A68D-F011FD9E888F}"/>
              </a:ext>
            </a:extLst>
          </p:cNvPr>
          <p:cNvSpPr>
            <a:spLocks noGrp="1"/>
          </p:cNvSpPr>
          <p:nvPr>
            <p:ph type="body" sz="quarter" idx="82" hasCustomPrompt="1"/>
          </p:nvPr>
        </p:nvSpPr>
        <p:spPr>
          <a:xfrm>
            <a:off x="1492805" y="5363969"/>
            <a:ext cx="2543172" cy="169277"/>
          </a:xfrm>
        </p:spPr>
        <p:txBody>
          <a:bodyPr tIns="0" bIns="0">
            <a:noAutofit/>
          </a:bodyPr>
          <a:lstStyle>
            <a:lvl1pPr algn="l">
              <a:lnSpc>
                <a:spcPct val="100000"/>
              </a:lnSpc>
              <a:spcBef>
                <a:spcPts val="0"/>
              </a:spcBef>
              <a:spcAft>
                <a:spcPts val="0"/>
              </a:spcAft>
              <a:defRPr sz="1100" cap="all" baseline="0">
                <a:solidFill>
                  <a:schemeClr val="tx2"/>
                </a:solidFill>
                <a:latin typeface="+mj-lt"/>
              </a:defRPr>
            </a:lvl1pPr>
            <a:lvl2pPr algn="l">
              <a:lnSpc>
                <a:spcPct val="100000"/>
              </a:lnSpc>
              <a:spcBef>
                <a:spcPts val="200"/>
              </a:spcBef>
              <a:spcAft>
                <a:spcPts val="200"/>
              </a:spcAft>
              <a:defRPr sz="1100">
                <a:solidFill>
                  <a:schemeClr val="tx1"/>
                </a:solidFill>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0"/>
            <a:r>
              <a:rPr lang="en-US" dirty="0"/>
              <a:t>NAME SURNAME</a:t>
            </a:r>
          </a:p>
        </p:txBody>
      </p:sp>
      <p:sp>
        <p:nvSpPr>
          <p:cNvPr id="102" name="Text Placeholder 16">
            <a:extLst>
              <a:ext uri="{FF2B5EF4-FFF2-40B4-BE49-F238E27FC236}">
                <a16:creationId xmlns:a16="http://schemas.microsoft.com/office/drawing/2014/main" id="{5C6BAD69-B6E1-F29C-CE1E-6A6C1084A849}"/>
              </a:ext>
            </a:extLst>
          </p:cNvPr>
          <p:cNvSpPr>
            <a:spLocks noGrp="1"/>
          </p:cNvSpPr>
          <p:nvPr>
            <p:ph type="body" sz="quarter" idx="83" hasCustomPrompt="1"/>
          </p:nvPr>
        </p:nvSpPr>
        <p:spPr>
          <a:xfrm>
            <a:off x="1668488" y="5798371"/>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103" name="Text Placeholder 16">
            <a:extLst>
              <a:ext uri="{FF2B5EF4-FFF2-40B4-BE49-F238E27FC236}">
                <a16:creationId xmlns:a16="http://schemas.microsoft.com/office/drawing/2014/main" id="{3D09D9B7-E176-C2D2-A61C-20F7A59D5021}"/>
              </a:ext>
            </a:extLst>
          </p:cNvPr>
          <p:cNvSpPr>
            <a:spLocks noGrp="1"/>
          </p:cNvSpPr>
          <p:nvPr>
            <p:ph type="body" sz="quarter" idx="84" hasCustomPrompt="1"/>
          </p:nvPr>
        </p:nvSpPr>
        <p:spPr>
          <a:xfrm>
            <a:off x="1668488" y="6015603"/>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name.surname@hfw.com</a:t>
            </a:r>
            <a:endParaRPr lang="en-US" dirty="0"/>
          </a:p>
        </p:txBody>
      </p:sp>
      <p:sp>
        <p:nvSpPr>
          <p:cNvPr id="104" name="TextBox 103">
            <a:extLst>
              <a:ext uri="{FF2B5EF4-FFF2-40B4-BE49-F238E27FC236}">
                <a16:creationId xmlns:a16="http://schemas.microsoft.com/office/drawing/2014/main" id="{F7A13089-E945-2F60-DD27-50F3532A8CFF}"/>
              </a:ext>
            </a:extLst>
          </p:cNvPr>
          <p:cNvSpPr txBox="1"/>
          <p:nvPr userDrawn="1"/>
        </p:nvSpPr>
        <p:spPr>
          <a:xfrm flipH="1">
            <a:off x="1494324" y="5798371"/>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105" name="TextBox 104">
            <a:extLst>
              <a:ext uri="{FF2B5EF4-FFF2-40B4-BE49-F238E27FC236}">
                <a16:creationId xmlns:a16="http://schemas.microsoft.com/office/drawing/2014/main" id="{EDCA0103-8227-CDBF-2FF3-CBB0571F5D88}"/>
              </a:ext>
            </a:extLst>
          </p:cNvPr>
          <p:cNvSpPr txBox="1"/>
          <p:nvPr userDrawn="1"/>
        </p:nvSpPr>
        <p:spPr>
          <a:xfrm flipH="1">
            <a:off x="1494324" y="6015603"/>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E</a:t>
            </a:r>
          </a:p>
        </p:txBody>
      </p:sp>
      <p:sp>
        <p:nvSpPr>
          <p:cNvPr id="4" name="TextBox 4">
            <a:extLst>
              <a:ext uri="{FF2B5EF4-FFF2-40B4-BE49-F238E27FC236}">
                <a16:creationId xmlns:a16="http://schemas.microsoft.com/office/drawing/2014/main" id="{EE164C4F-193A-A83A-C144-0E1F781150F1}"/>
              </a:ext>
            </a:extLst>
          </p:cNvPr>
          <p:cNvSpPr txBox="1"/>
          <p:nvPr userDrawn="1"/>
        </p:nvSpPr>
        <p:spPr>
          <a:xfrm>
            <a:off x="12346713" y="109538"/>
            <a:ext cx="2253207" cy="498085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INSERTING IMAGES:</a:t>
            </a:r>
          </a:p>
          <a:p>
            <a:pPr marL="179388" indent="-179388">
              <a:spcBef>
                <a:spcPts val="200"/>
              </a:spcBef>
              <a:spcAft>
                <a:spcPts val="200"/>
              </a:spcAft>
              <a:buFont typeface="+mj-lt"/>
              <a:buAutoNum type="arabicPeriod"/>
            </a:pPr>
            <a:r>
              <a:rPr lang="en-US" sz="900" dirty="0">
                <a:solidFill>
                  <a:schemeClr val="tx1"/>
                </a:solidFill>
                <a:latin typeface="+mn-lt"/>
              </a:rPr>
              <a:t>Simply click the image placeholder and select your image.</a:t>
            </a:r>
          </a:p>
          <a:p>
            <a:pPr marL="179388" indent="-179388">
              <a:spcBef>
                <a:spcPts val="200"/>
              </a:spcBef>
              <a:spcAft>
                <a:spcPts val="200"/>
              </a:spcAft>
              <a:buFont typeface="+mj-lt"/>
              <a:buAutoNum type="arabicPeriod"/>
            </a:pPr>
            <a:r>
              <a:rPr lang="en-US" sz="900" dirty="0">
                <a:solidFill>
                  <a:schemeClr val="tx1"/>
                </a:solidFill>
                <a:latin typeface="+mn-lt"/>
              </a:rPr>
              <a:t>Once your image is inserted into the shape it may be distorted. (Stretched or Squashed)</a:t>
            </a:r>
          </a:p>
          <a:p>
            <a:pPr marL="179388" indent="-179388">
              <a:spcBef>
                <a:spcPts val="200"/>
              </a:spcBef>
              <a:spcAft>
                <a:spcPts val="200"/>
              </a:spcAft>
              <a:buFont typeface="+mj-lt"/>
              <a:buAutoNum type="arabicPeriod"/>
            </a:pPr>
            <a:endParaRPr lang="en-US" sz="900" dirty="0">
              <a:solidFill>
                <a:schemeClr val="tx1"/>
              </a:solidFill>
              <a:latin typeface="+mn-lt"/>
            </a:endParaRPr>
          </a:p>
          <a:p>
            <a:pPr>
              <a:spcBef>
                <a:spcPts val="200"/>
              </a:spcBef>
              <a:spcAft>
                <a:spcPts val="200"/>
              </a:spcAft>
            </a:pPr>
            <a:r>
              <a:rPr lang="en-US" sz="900" b="1" dirty="0">
                <a:solidFill>
                  <a:schemeClr val="tx1"/>
                </a:solidFill>
                <a:latin typeface="+mn-lt"/>
              </a:rPr>
              <a:t>To fix this:</a:t>
            </a:r>
          </a:p>
          <a:p>
            <a:pPr marL="179388" indent="-179388">
              <a:spcBef>
                <a:spcPts val="200"/>
              </a:spcBef>
              <a:spcAft>
                <a:spcPts val="200"/>
              </a:spcAft>
              <a:buFont typeface="+mj-lt"/>
              <a:buAutoNum type="arabicPeriod"/>
            </a:pPr>
            <a:r>
              <a:rPr lang="en-US" sz="900" dirty="0">
                <a:solidFill>
                  <a:schemeClr val="tx1"/>
                </a:solidFill>
                <a:latin typeface="+mn-lt"/>
              </a:rPr>
              <a:t>Click on the image and from the top menu under </a:t>
            </a:r>
            <a:r>
              <a:rPr lang="en-US" sz="900" b="1" dirty="0">
                <a:solidFill>
                  <a:schemeClr val="tx1"/>
                </a:solidFill>
                <a:latin typeface="+mn-lt"/>
              </a:rPr>
              <a:t>PICTURE FORMAT </a:t>
            </a:r>
            <a:r>
              <a:rPr lang="en-US" sz="900" dirty="0">
                <a:solidFill>
                  <a:schemeClr val="tx1"/>
                </a:solidFill>
                <a:latin typeface="+mn-lt"/>
              </a:rPr>
              <a:t>select the </a:t>
            </a:r>
            <a:r>
              <a:rPr lang="en-US" sz="900" b="1" dirty="0">
                <a:solidFill>
                  <a:schemeClr val="tx1"/>
                </a:solidFill>
                <a:latin typeface="+mn-lt"/>
              </a:rPr>
              <a:t>CROP</a:t>
            </a:r>
            <a:r>
              <a:rPr lang="en-US" sz="900" dirty="0">
                <a:solidFill>
                  <a:schemeClr val="tx1"/>
                </a:solidFill>
                <a:latin typeface="+mn-lt"/>
              </a:rPr>
              <a:t> on the right and from the drop down menu select </a:t>
            </a:r>
            <a:r>
              <a:rPr lang="en-US" sz="900" b="1" kern="1200" dirty="0">
                <a:solidFill>
                  <a:schemeClr val="tx1"/>
                </a:solidFill>
                <a:latin typeface="+mn-lt"/>
                <a:ea typeface="+mn-ea"/>
                <a:cs typeface="+mn-cs"/>
              </a:rPr>
              <a:t>FILL</a:t>
            </a:r>
          </a:p>
          <a:p>
            <a:pPr marL="179388" indent="-179388">
              <a:spcBef>
                <a:spcPts val="200"/>
              </a:spcBef>
              <a:spcAft>
                <a:spcPts val="200"/>
              </a:spcAft>
              <a:buFont typeface="+mj-lt"/>
              <a:buAutoNum type="arabicPeriod"/>
            </a:pPr>
            <a:r>
              <a:rPr lang="en-US" sz="900" b="0" kern="1200" dirty="0">
                <a:solidFill>
                  <a:schemeClr val="tx1"/>
                </a:solidFill>
                <a:latin typeface="+mn-lt"/>
                <a:ea typeface="+mn-ea"/>
                <a:cs typeface="+mn-cs"/>
              </a:rPr>
              <a:t>From here you can move the image within the shape for best visual appearance</a:t>
            </a:r>
          </a:p>
          <a:p>
            <a:pPr marL="179388" indent="-179388">
              <a:spcBef>
                <a:spcPts val="200"/>
              </a:spcBef>
              <a:spcAft>
                <a:spcPts val="200"/>
              </a:spcAft>
              <a:buFont typeface="+mj-lt"/>
              <a:buAutoNum type="arabicPeriod"/>
            </a:pPr>
            <a:endParaRPr lang="en-US" sz="900" b="0" i="0" kern="1200" dirty="0">
              <a:solidFill>
                <a:schemeClr val="tx1"/>
              </a:solidFill>
              <a:latin typeface="+mn-lt"/>
              <a:ea typeface="+mn-ea"/>
              <a:cs typeface="+mn-cs"/>
            </a:endParaRPr>
          </a:p>
          <a:p>
            <a:pPr marL="0" marR="0" lvl="0" indent="0" algn="l" defTabSz="914400" rtl="0" eaLnBrk="1" fontAlgn="auto" latinLnBrk="0" hangingPunct="1">
              <a:lnSpc>
                <a:spcPct val="100000"/>
              </a:lnSpc>
              <a:spcBef>
                <a:spcPts val="200"/>
              </a:spcBef>
              <a:spcAft>
                <a:spcPts val="200"/>
              </a:spcAft>
              <a:buClrTx/>
              <a:buSzTx/>
              <a:buFont typeface="+mj-lt"/>
              <a:buNone/>
              <a:tabLst/>
              <a:defRPr/>
            </a:pPr>
            <a:r>
              <a:rPr lang="en-GB" sz="1000" b="1" i="0" dirty="0">
                <a:effectLst/>
                <a:latin typeface="Arial" panose="020B0604020202020204" pitchFamily="34" charset="0"/>
                <a:ea typeface="Calibri" panose="020F0502020204030204" pitchFamily="34" charset="0"/>
              </a:rPr>
              <a:t>When inserting staff photos, </a:t>
            </a:r>
            <a:r>
              <a:rPr lang="en-GB" sz="1000" i="0" dirty="0">
                <a:effectLst/>
                <a:latin typeface="Arial" panose="020B0604020202020204" pitchFamily="34" charset="0"/>
                <a:ea typeface="Calibri" panose="020F0502020204030204" pitchFamily="34" charset="0"/>
              </a:rPr>
              <a:t>please use the same method as suggested above. To ensure you are using staff photos that are optimised for use in this Pitch Template, please insert them from the “Staff Photos 40x40 BW” folder, located in the Staff photos section of the HFW Pitch Template folder.</a:t>
            </a:r>
            <a:endParaRPr lang="en-GB" sz="1000" i="0" dirty="0">
              <a:effectLst/>
              <a:latin typeface="Calibri" panose="020F0502020204030204" pitchFamily="34" charset="0"/>
              <a:ea typeface="Calibri" panose="020F0502020204030204" pitchFamily="34" charset="0"/>
            </a:endParaRPr>
          </a:p>
          <a:p>
            <a:pPr marL="179388" indent="-179388">
              <a:spcBef>
                <a:spcPts val="200"/>
              </a:spcBef>
              <a:spcAft>
                <a:spcPts val="200"/>
              </a:spcAft>
              <a:buFont typeface="+mj-lt"/>
              <a:buAutoNum type="arabicPeriod"/>
            </a:pPr>
            <a:endParaRPr lang="en-US" sz="900" b="0" kern="1200" dirty="0">
              <a:solidFill>
                <a:schemeClr val="tx1"/>
              </a:solidFill>
              <a:latin typeface="+mn-lt"/>
              <a:ea typeface="+mn-ea"/>
              <a:cs typeface="+mn-cs"/>
            </a:endParaRPr>
          </a:p>
          <a:p>
            <a:pPr marL="179388" indent="-179388">
              <a:spcBef>
                <a:spcPts val="200"/>
              </a:spcBef>
              <a:spcAft>
                <a:spcPts val="200"/>
              </a:spcAft>
              <a:buFont typeface="+mj-lt"/>
              <a:buAutoNum type="arabicPeriod"/>
            </a:pPr>
            <a:endParaRPr lang="en-US" sz="900" b="0" kern="1200" dirty="0">
              <a:solidFill>
                <a:schemeClr val="tx1"/>
              </a:solidFill>
              <a:latin typeface="+mn-lt"/>
              <a:ea typeface="+mn-ea"/>
              <a:cs typeface="+mn-cs"/>
            </a:endParaRPr>
          </a:p>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SAMPLE CONTACT LAYOUT</a:t>
            </a:r>
          </a:p>
        </p:txBody>
      </p:sp>
      <p:grpSp>
        <p:nvGrpSpPr>
          <p:cNvPr id="8" name="Group 7">
            <a:extLst>
              <a:ext uri="{FF2B5EF4-FFF2-40B4-BE49-F238E27FC236}">
                <a16:creationId xmlns:a16="http://schemas.microsoft.com/office/drawing/2014/main" id="{242DF000-AB47-4C45-E48B-A51B45A01289}"/>
              </a:ext>
            </a:extLst>
          </p:cNvPr>
          <p:cNvGrpSpPr/>
          <p:nvPr userDrawn="1"/>
        </p:nvGrpSpPr>
        <p:grpSpPr>
          <a:xfrm>
            <a:off x="12437199" y="5138030"/>
            <a:ext cx="2813913" cy="819975"/>
            <a:chOff x="12399099" y="4230487"/>
            <a:chExt cx="2813913" cy="819975"/>
          </a:xfrm>
        </p:grpSpPr>
        <p:sp>
          <p:nvSpPr>
            <p:cNvPr id="10" name="TextBox 9">
              <a:extLst>
                <a:ext uri="{FF2B5EF4-FFF2-40B4-BE49-F238E27FC236}">
                  <a16:creationId xmlns:a16="http://schemas.microsoft.com/office/drawing/2014/main" id="{D4853939-7724-347F-66BC-E409CD2AB73E}"/>
                </a:ext>
              </a:extLst>
            </p:cNvPr>
            <p:cNvSpPr txBox="1"/>
            <p:nvPr userDrawn="1"/>
          </p:nvSpPr>
          <p:spPr>
            <a:xfrm flipH="1">
              <a:off x="12573262" y="4663953"/>
              <a:ext cx="2639750"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grpSp>
          <p:nvGrpSpPr>
            <p:cNvPr id="11" name="Group 10">
              <a:extLst>
                <a:ext uri="{FF2B5EF4-FFF2-40B4-BE49-F238E27FC236}">
                  <a16:creationId xmlns:a16="http://schemas.microsoft.com/office/drawing/2014/main" id="{E3E5C70C-C928-732D-C388-8C0725A2DE9E}"/>
                </a:ext>
              </a:extLst>
            </p:cNvPr>
            <p:cNvGrpSpPr/>
            <p:nvPr userDrawn="1"/>
          </p:nvGrpSpPr>
          <p:grpSpPr>
            <a:xfrm>
              <a:off x="12399099" y="4230487"/>
              <a:ext cx="2326813" cy="819975"/>
              <a:chOff x="12399099" y="4230487"/>
              <a:chExt cx="2326813" cy="819975"/>
            </a:xfrm>
          </p:grpSpPr>
          <p:sp>
            <p:nvSpPr>
              <p:cNvPr id="12" name="TextBox 11">
                <a:extLst>
                  <a:ext uri="{FF2B5EF4-FFF2-40B4-BE49-F238E27FC236}">
                    <a16:creationId xmlns:a16="http://schemas.microsoft.com/office/drawing/2014/main" id="{A5176EB2-6660-6DAD-AFB0-F62DFDDBD568}"/>
                  </a:ext>
                </a:extLst>
              </p:cNvPr>
              <p:cNvSpPr txBox="1"/>
              <p:nvPr userDrawn="1"/>
            </p:nvSpPr>
            <p:spPr>
              <a:xfrm flipH="1">
                <a:off x="12399100" y="4663953"/>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13" name="TextBox 12">
                <a:extLst>
                  <a:ext uri="{FF2B5EF4-FFF2-40B4-BE49-F238E27FC236}">
                    <a16:creationId xmlns:a16="http://schemas.microsoft.com/office/drawing/2014/main" id="{924EB972-BAF0-BC0D-BA28-1C5E99E05801}"/>
                  </a:ext>
                </a:extLst>
              </p:cNvPr>
              <p:cNvSpPr txBox="1"/>
              <p:nvPr userDrawn="1"/>
            </p:nvSpPr>
            <p:spPr>
              <a:xfrm flipH="1">
                <a:off x="12399100" y="4881185"/>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E</a:t>
                </a:r>
              </a:p>
            </p:txBody>
          </p:sp>
          <p:sp>
            <p:nvSpPr>
              <p:cNvPr id="14" name="TextBox 13">
                <a:extLst>
                  <a:ext uri="{FF2B5EF4-FFF2-40B4-BE49-F238E27FC236}">
                    <a16:creationId xmlns:a16="http://schemas.microsoft.com/office/drawing/2014/main" id="{08F02546-3449-DF3E-D82E-595188DB8127}"/>
                  </a:ext>
                </a:extLst>
              </p:cNvPr>
              <p:cNvSpPr txBox="1"/>
              <p:nvPr userDrawn="1"/>
            </p:nvSpPr>
            <p:spPr>
              <a:xfrm flipH="1">
                <a:off x="12573262" y="4881185"/>
                <a:ext cx="2152650"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name.surname@hfw.com</a:t>
                </a:r>
                <a:endParaRPr lang="en-US" dirty="0"/>
              </a:p>
            </p:txBody>
          </p:sp>
          <p:sp>
            <p:nvSpPr>
              <p:cNvPr id="15" name="TextBox 14">
                <a:extLst>
                  <a:ext uri="{FF2B5EF4-FFF2-40B4-BE49-F238E27FC236}">
                    <a16:creationId xmlns:a16="http://schemas.microsoft.com/office/drawing/2014/main" id="{271913B7-3AEA-60A4-5513-7D335F8A09A1}"/>
                  </a:ext>
                </a:extLst>
              </p:cNvPr>
              <p:cNvSpPr txBox="1"/>
              <p:nvPr userDrawn="1"/>
            </p:nvSpPr>
            <p:spPr>
              <a:xfrm flipH="1">
                <a:off x="12399099" y="4230487"/>
                <a:ext cx="1968833"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solidFill>
                      <a:schemeClr val="tx2"/>
                    </a:solidFill>
                    <a:latin typeface="+mj-lt"/>
                  </a:rPr>
                  <a:t>NAME SURNAME</a:t>
                </a:r>
              </a:p>
            </p:txBody>
          </p:sp>
          <p:sp>
            <p:nvSpPr>
              <p:cNvPr id="16" name="TextBox 15">
                <a:extLst>
                  <a:ext uri="{FF2B5EF4-FFF2-40B4-BE49-F238E27FC236}">
                    <a16:creationId xmlns:a16="http://schemas.microsoft.com/office/drawing/2014/main" id="{2D99FCBF-090B-3949-B2B4-9E41EA18487D}"/>
                  </a:ext>
                </a:extLst>
              </p:cNvPr>
              <p:cNvSpPr txBox="1"/>
              <p:nvPr userDrawn="1"/>
            </p:nvSpPr>
            <p:spPr>
              <a:xfrm flipH="1">
                <a:off x="12399099" y="4445785"/>
                <a:ext cx="1968833"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US" dirty="0"/>
                  <a:t>Position, Location</a:t>
                </a:r>
              </a:p>
            </p:txBody>
          </p:sp>
        </p:grpSp>
      </p:grpSp>
    </p:spTree>
    <p:extLst>
      <p:ext uri="{BB962C8B-B14F-4D97-AF65-F5344CB8AC3E}">
        <p14:creationId xmlns:p14="http://schemas.microsoft.com/office/powerpoint/2010/main" val="3503000661"/>
      </p:ext>
    </p:extLst>
  </p:cSld>
  <p:clrMapOvr>
    <a:masterClrMapping/>
  </p:clrMapOvr>
  <p:transition spd="med">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Key Contacts 8 &amp; Quote">
    <p:bg>
      <p:bgPr>
        <a:solidFill>
          <a:schemeClr val="bg2"/>
        </a:solidFill>
        <a:effectLst/>
      </p:bgPr>
    </p:bg>
    <p:spTree>
      <p:nvGrpSpPr>
        <p:cNvPr id="1" name=""/>
        <p:cNvGrpSpPr/>
        <p:nvPr/>
      </p:nvGrpSpPr>
      <p:grpSpPr>
        <a:xfrm>
          <a:off x="0" y="0"/>
          <a:ext cx="0" cy="0"/>
          <a:chOff x="0" y="0"/>
          <a:chExt cx="0" cy="0"/>
        </a:xfrm>
      </p:grpSpPr>
      <p:sp>
        <p:nvSpPr>
          <p:cNvPr id="9" name="Picture Placeholder 10">
            <a:extLst>
              <a:ext uri="{FF2B5EF4-FFF2-40B4-BE49-F238E27FC236}">
                <a16:creationId xmlns:a16="http://schemas.microsoft.com/office/drawing/2014/main" id="{957F7B8C-8896-F507-1133-31FF9F06D6DB}"/>
              </a:ext>
            </a:extLst>
          </p:cNvPr>
          <p:cNvSpPr>
            <a:spLocks noGrp="1"/>
          </p:cNvSpPr>
          <p:nvPr>
            <p:ph type="pic" sz="quarter" idx="13" hasCustomPrompt="1"/>
          </p:nvPr>
        </p:nvSpPr>
        <p:spPr>
          <a:xfrm>
            <a:off x="8126412" y="0"/>
            <a:ext cx="4065587" cy="6858000"/>
          </a:xfrm>
          <a:solidFill>
            <a:schemeClr val="tx1"/>
          </a:solidFill>
        </p:spPr>
        <p:txBody>
          <a:bodyPr vert="horz" lIns="0" tIns="45720" rIns="0" bIns="45720" rtlCol="0" anchor="ctr">
            <a:normAutofit/>
          </a:bodyPr>
          <a:lstStyle>
            <a:lvl1pPr algn="ctr">
              <a:defRPr lang="en-GB" sz="2800" b="0" dirty="0">
                <a:solidFill>
                  <a:schemeClr val="bg1"/>
                </a:solidFill>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US" dirty="0"/>
              <a:t>ADD RELATED </a:t>
            </a:r>
            <a:br>
              <a:rPr lang="en-US" dirty="0"/>
            </a:br>
            <a:r>
              <a:rPr lang="en-US" dirty="0"/>
              <a:t>IMAGE </a:t>
            </a:r>
            <a:br>
              <a:rPr lang="en-US" dirty="0"/>
            </a:br>
            <a:r>
              <a:rPr lang="en-US" dirty="0"/>
              <a:t>FROM HFW </a:t>
            </a:r>
            <a:br>
              <a:rPr lang="en-US" dirty="0"/>
            </a:br>
            <a:r>
              <a:rPr lang="en-US" dirty="0"/>
              <a:t>IMAGE LIBRARY</a:t>
            </a:r>
          </a:p>
        </p:txBody>
      </p:sp>
      <p:sp>
        <p:nvSpPr>
          <p:cNvPr id="2" name="Title 1"/>
          <p:cNvSpPr>
            <a:spLocks noGrp="1"/>
          </p:cNvSpPr>
          <p:nvPr>
            <p:ph type="title" hasCustomPrompt="1"/>
          </p:nvPr>
        </p:nvSpPr>
        <p:spPr>
          <a:xfrm>
            <a:off x="508000" y="454013"/>
            <a:ext cx="7459663" cy="663587"/>
          </a:xfrm>
        </p:spPr>
        <p:txBody>
          <a:bodyPr/>
          <a:lstStyle/>
          <a:p>
            <a:r>
              <a:rPr lang="en-US" dirty="0"/>
              <a:t>Key </a:t>
            </a:r>
            <a:r>
              <a:rPr lang="en-US" dirty="0" err="1"/>
              <a:t>contactS</a:t>
            </a:r>
            <a:endParaRPr lang="en-US" dirty="0"/>
          </a:p>
        </p:txBody>
      </p:sp>
      <p:sp>
        <p:nvSpPr>
          <p:cNvPr id="5" name="Footer Placeholder 4"/>
          <p:cNvSpPr>
            <a:spLocks noGrp="1"/>
          </p:cNvSpPr>
          <p:nvPr>
            <p:ph type="ftr" sz="quarter" idx="11"/>
          </p:nvPr>
        </p:nvSpPr>
        <p:spPr/>
        <p:txBody>
          <a:bodyPr/>
          <a:lstStyle/>
          <a:p>
            <a:r>
              <a:rPr lang="en-GB"/>
              <a:t>INSERT FOOTER HER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8CFE0557-AA98-4E6C-B0C3-581794696B68}" type="slidenum">
              <a:rPr lang="en-GB" smtClean="0"/>
              <a:pPr/>
              <a:t>‹#›</a:t>
            </a:fld>
            <a:endParaRPr lang="en-GB"/>
          </a:p>
        </p:txBody>
      </p:sp>
      <p:sp>
        <p:nvSpPr>
          <p:cNvPr id="7" name="Text Placeholder 12">
            <a:extLst>
              <a:ext uri="{FF2B5EF4-FFF2-40B4-BE49-F238E27FC236}">
                <a16:creationId xmlns:a16="http://schemas.microsoft.com/office/drawing/2014/main" id="{9DF0CBE1-BC51-4653-7CF9-EE375FF1E781}"/>
              </a:ext>
            </a:extLst>
          </p:cNvPr>
          <p:cNvSpPr>
            <a:spLocks noGrp="1"/>
          </p:cNvSpPr>
          <p:nvPr>
            <p:ph type="body" sz="quarter" idx="34" hasCustomPrompt="1"/>
          </p:nvPr>
        </p:nvSpPr>
        <p:spPr>
          <a:xfrm>
            <a:off x="508000" y="5334846"/>
            <a:ext cx="7127876" cy="681779"/>
          </a:xfrm>
        </p:spPr>
        <p:txBody>
          <a:bodyPr vert="horz" lIns="0" tIns="45720" rIns="0" bIns="0" rtlCol="0" anchor="b" anchorCtr="0">
            <a:noAutofit/>
          </a:bodyPr>
          <a:lstStyle>
            <a:lvl1pPr marL="108000" indent="-108000">
              <a:lnSpc>
                <a:spcPct val="110000"/>
              </a:lnSpc>
              <a:spcBef>
                <a:spcPts val="0"/>
              </a:spcBef>
              <a:spcAft>
                <a:spcPts val="0"/>
              </a:spcAft>
              <a:defRPr lang="en-US" sz="2000" dirty="0">
                <a:solidFill>
                  <a:schemeClr val="accent2"/>
                </a:solidFill>
              </a:defRPr>
            </a:lvl1pPr>
            <a:lvl2pPr>
              <a:defRPr lang="en-US" sz="1400" dirty="0">
                <a:solidFill>
                  <a:schemeClr val="tx2"/>
                </a:solidFill>
                <a:latin typeface="+mj-lt"/>
              </a:defRPr>
            </a:lvl2pPr>
          </a:lstStyle>
          <a:p>
            <a:pPr marL="108000" lvl="0" indent="-108000">
              <a:lnSpc>
                <a:spcPct val="100000"/>
              </a:lnSpc>
              <a:spcBef>
                <a:spcPts val="200"/>
              </a:spcBef>
              <a:spcAft>
                <a:spcPts val="200"/>
              </a:spcAft>
            </a:pPr>
            <a:r>
              <a:rPr lang="en-US" dirty="0"/>
              <a:t>“Quote goes here.”</a:t>
            </a:r>
          </a:p>
        </p:txBody>
      </p:sp>
      <p:sp>
        <p:nvSpPr>
          <p:cNvPr id="16" name="Text Placeholder 7">
            <a:extLst>
              <a:ext uri="{FF2B5EF4-FFF2-40B4-BE49-F238E27FC236}">
                <a16:creationId xmlns:a16="http://schemas.microsoft.com/office/drawing/2014/main" id="{EADD8149-D1FC-02CF-5D7E-365B3EF2011C}"/>
              </a:ext>
            </a:extLst>
          </p:cNvPr>
          <p:cNvSpPr>
            <a:spLocks noGrp="1"/>
          </p:cNvSpPr>
          <p:nvPr>
            <p:ph type="body" sz="quarter" idx="24" hasCustomPrompt="1"/>
          </p:nvPr>
        </p:nvSpPr>
        <p:spPr>
          <a:xfrm>
            <a:off x="508000" y="6047121"/>
            <a:ext cx="7127876" cy="215444"/>
          </a:xfrm>
        </p:spPr>
        <p:txBody>
          <a:bodyPr wrap="square" tIns="0" bIns="0" anchor="b" anchorCtr="0">
            <a:spAutoFit/>
          </a:bodyPr>
          <a:lstStyle>
            <a:lvl1pPr marL="108000">
              <a:lnSpc>
                <a:spcPct val="100000"/>
              </a:lnSpc>
              <a:defRPr sz="1400" cap="all" baseline="0">
                <a:solidFill>
                  <a:schemeClr val="tx2"/>
                </a:solidFill>
                <a:latin typeface="+mj-lt"/>
              </a:defRPr>
            </a:lvl1pPr>
            <a:lvl2pPr marL="108000">
              <a:lnSpc>
                <a:spcPct val="100000"/>
              </a:lnSpc>
              <a:defRPr sz="1400" cap="all" baseline="0">
                <a:solidFill>
                  <a:schemeClr val="tx2"/>
                </a:solidFill>
                <a:latin typeface="+mj-lt"/>
              </a:defRPr>
            </a:lvl2pPr>
            <a:lvl3pPr marL="108000">
              <a:lnSpc>
                <a:spcPct val="100000"/>
              </a:lnSpc>
              <a:defRPr sz="1400" cap="all" baseline="0">
                <a:solidFill>
                  <a:schemeClr val="tx2"/>
                </a:solidFill>
                <a:latin typeface="+mj-lt"/>
              </a:defRPr>
            </a:lvl3pPr>
            <a:lvl4pPr marL="108000">
              <a:lnSpc>
                <a:spcPct val="100000"/>
              </a:lnSpc>
              <a:defRPr sz="1400" cap="all" baseline="0">
                <a:solidFill>
                  <a:schemeClr val="tx2"/>
                </a:solidFill>
                <a:latin typeface="+mj-lt"/>
              </a:defRPr>
            </a:lvl4pPr>
            <a:lvl5pPr marL="108000">
              <a:lnSpc>
                <a:spcPct val="100000"/>
              </a:lnSpc>
              <a:defRPr sz="1400" cap="all" baseline="0">
                <a:solidFill>
                  <a:schemeClr val="tx2"/>
                </a:solidFill>
                <a:latin typeface="+mj-lt"/>
              </a:defRPr>
            </a:lvl5pPr>
          </a:lstStyle>
          <a:p>
            <a:pPr lvl="0"/>
            <a:r>
              <a:rPr lang="en-US" dirty="0"/>
              <a:t>quote author</a:t>
            </a:r>
            <a:endParaRPr lang="en-GB" dirty="0"/>
          </a:p>
        </p:txBody>
      </p:sp>
      <p:sp>
        <p:nvSpPr>
          <p:cNvPr id="35" name="Picture Placeholder 14">
            <a:extLst>
              <a:ext uri="{FF2B5EF4-FFF2-40B4-BE49-F238E27FC236}">
                <a16:creationId xmlns:a16="http://schemas.microsoft.com/office/drawing/2014/main" id="{45A950D6-8B2E-929D-E4AA-DFFE052EE330}"/>
              </a:ext>
            </a:extLst>
          </p:cNvPr>
          <p:cNvSpPr>
            <a:spLocks noGrp="1"/>
          </p:cNvSpPr>
          <p:nvPr>
            <p:ph type="pic" sz="quarter" idx="35" hasCustomPrompt="1"/>
          </p:nvPr>
        </p:nvSpPr>
        <p:spPr>
          <a:xfrm>
            <a:off x="4235451" y="1298891"/>
            <a:ext cx="876299" cy="876299"/>
          </a:xfrm>
          <a:solidFill>
            <a:schemeClr val="bg1"/>
          </a:solidFill>
        </p:spPr>
        <p:txBody>
          <a:bodyPr anchor="ctr">
            <a:normAutofit/>
          </a:bodyPr>
          <a:lstStyle>
            <a:lvl1pPr algn="ctr">
              <a:defRPr sz="1000">
                <a:latin typeface="+mn-lt"/>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GB" dirty="0"/>
              <a:t>Picture</a:t>
            </a:r>
          </a:p>
        </p:txBody>
      </p:sp>
      <p:sp>
        <p:nvSpPr>
          <p:cNvPr id="36" name="Text Placeholder 16">
            <a:extLst>
              <a:ext uri="{FF2B5EF4-FFF2-40B4-BE49-F238E27FC236}">
                <a16:creationId xmlns:a16="http://schemas.microsoft.com/office/drawing/2014/main" id="{DB4C727A-AC6E-8335-F98B-DD5011F41EA0}"/>
              </a:ext>
            </a:extLst>
          </p:cNvPr>
          <p:cNvSpPr>
            <a:spLocks noGrp="1"/>
          </p:cNvSpPr>
          <p:nvPr>
            <p:ph type="body" sz="quarter" idx="36" hasCustomPrompt="1"/>
          </p:nvPr>
        </p:nvSpPr>
        <p:spPr>
          <a:xfrm>
            <a:off x="5211365" y="1538859"/>
            <a:ext cx="2543172"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US" dirty="0"/>
              <a:t>Position, Location</a:t>
            </a:r>
          </a:p>
        </p:txBody>
      </p:sp>
      <p:sp>
        <p:nvSpPr>
          <p:cNvPr id="37" name="Text Placeholder 16">
            <a:extLst>
              <a:ext uri="{FF2B5EF4-FFF2-40B4-BE49-F238E27FC236}">
                <a16:creationId xmlns:a16="http://schemas.microsoft.com/office/drawing/2014/main" id="{DC153831-3B57-01E8-9C7A-5992AE64232D}"/>
              </a:ext>
            </a:extLst>
          </p:cNvPr>
          <p:cNvSpPr>
            <a:spLocks noGrp="1"/>
          </p:cNvSpPr>
          <p:nvPr>
            <p:ph type="body" sz="quarter" idx="37" hasCustomPrompt="1"/>
          </p:nvPr>
        </p:nvSpPr>
        <p:spPr>
          <a:xfrm>
            <a:off x="5211365" y="1321689"/>
            <a:ext cx="2543172" cy="169277"/>
          </a:xfrm>
        </p:spPr>
        <p:txBody>
          <a:bodyPr tIns="0" bIns="0">
            <a:noAutofit/>
          </a:bodyPr>
          <a:lstStyle>
            <a:lvl1pPr algn="l">
              <a:lnSpc>
                <a:spcPct val="100000"/>
              </a:lnSpc>
              <a:spcBef>
                <a:spcPts val="0"/>
              </a:spcBef>
              <a:spcAft>
                <a:spcPts val="0"/>
              </a:spcAft>
              <a:defRPr sz="1100" cap="all" baseline="0">
                <a:solidFill>
                  <a:schemeClr val="tx2"/>
                </a:solidFill>
                <a:latin typeface="+mj-lt"/>
              </a:defRPr>
            </a:lvl1pPr>
            <a:lvl2pPr algn="l">
              <a:lnSpc>
                <a:spcPct val="100000"/>
              </a:lnSpc>
              <a:spcBef>
                <a:spcPts val="200"/>
              </a:spcBef>
              <a:spcAft>
                <a:spcPts val="200"/>
              </a:spcAft>
              <a:defRPr sz="1100">
                <a:solidFill>
                  <a:schemeClr val="tx1"/>
                </a:solidFill>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0"/>
            <a:r>
              <a:rPr lang="en-US" dirty="0"/>
              <a:t>NAME SURNAME</a:t>
            </a:r>
          </a:p>
        </p:txBody>
      </p:sp>
      <p:sp>
        <p:nvSpPr>
          <p:cNvPr id="38" name="Text Placeholder 16">
            <a:extLst>
              <a:ext uri="{FF2B5EF4-FFF2-40B4-BE49-F238E27FC236}">
                <a16:creationId xmlns:a16="http://schemas.microsoft.com/office/drawing/2014/main" id="{29AAE6CD-FC62-78BD-0A61-ECBC2C794D5E}"/>
              </a:ext>
            </a:extLst>
          </p:cNvPr>
          <p:cNvSpPr>
            <a:spLocks noGrp="1"/>
          </p:cNvSpPr>
          <p:nvPr>
            <p:ph type="body" sz="quarter" idx="38" hasCustomPrompt="1"/>
          </p:nvPr>
        </p:nvSpPr>
        <p:spPr>
          <a:xfrm>
            <a:off x="5387048" y="1756091"/>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39" name="Text Placeholder 16">
            <a:extLst>
              <a:ext uri="{FF2B5EF4-FFF2-40B4-BE49-F238E27FC236}">
                <a16:creationId xmlns:a16="http://schemas.microsoft.com/office/drawing/2014/main" id="{BC35688D-CDD7-7DA6-E7AA-2F6CD7493F22}"/>
              </a:ext>
            </a:extLst>
          </p:cNvPr>
          <p:cNvSpPr>
            <a:spLocks noGrp="1"/>
          </p:cNvSpPr>
          <p:nvPr>
            <p:ph type="body" sz="quarter" idx="39" hasCustomPrompt="1"/>
          </p:nvPr>
        </p:nvSpPr>
        <p:spPr>
          <a:xfrm>
            <a:off x="5387048" y="1973323"/>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name.surname@hfw.com</a:t>
            </a:r>
            <a:endParaRPr lang="en-US" dirty="0"/>
          </a:p>
        </p:txBody>
      </p:sp>
      <p:sp>
        <p:nvSpPr>
          <p:cNvPr id="40" name="TextBox 39">
            <a:extLst>
              <a:ext uri="{FF2B5EF4-FFF2-40B4-BE49-F238E27FC236}">
                <a16:creationId xmlns:a16="http://schemas.microsoft.com/office/drawing/2014/main" id="{D230F808-342D-AC38-F9A3-894F3C04BA8C}"/>
              </a:ext>
            </a:extLst>
          </p:cNvPr>
          <p:cNvSpPr txBox="1"/>
          <p:nvPr userDrawn="1"/>
        </p:nvSpPr>
        <p:spPr>
          <a:xfrm flipH="1">
            <a:off x="5212884" y="1756091"/>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41" name="TextBox 40">
            <a:extLst>
              <a:ext uri="{FF2B5EF4-FFF2-40B4-BE49-F238E27FC236}">
                <a16:creationId xmlns:a16="http://schemas.microsoft.com/office/drawing/2014/main" id="{99A9B875-CE41-6371-C337-302DBFE74A20}"/>
              </a:ext>
            </a:extLst>
          </p:cNvPr>
          <p:cNvSpPr txBox="1"/>
          <p:nvPr userDrawn="1"/>
        </p:nvSpPr>
        <p:spPr>
          <a:xfrm flipH="1">
            <a:off x="5212884" y="1973323"/>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E</a:t>
            </a:r>
          </a:p>
        </p:txBody>
      </p:sp>
      <p:sp>
        <p:nvSpPr>
          <p:cNvPr id="42" name="Picture Placeholder 14">
            <a:extLst>
              <a:ext uri="{FF2B5EF4-FFF2-40B4-BE49-F238E27FC236}">
                <a16:creationId xmlns:a16="http://schemas.microsoft.com/office/drawing/2014/main" id="{E9E349D0-3950-5951-8080-9AC34677432E}"/>
              </a:ext>
            </a:extLst>
          </p:cNvPr>
          <p:cNvSpPr>
            <a:spLocks noGrp="1"/>
          </p:cNvSpPr>
          <p:nvPr>
            <p:ph type="pic" sz="quarter" idx="40" hasCustomPrompt="1"/>
          </p:nvPr>
        </p:nvSpPr>
        <p:spPr>
          <a:xfrm>
            <a:off x="516891" y="1298891"/>
            <a:ext cx="876299" cy="876299"/>
          </a:xfrm>
          <a:solidFill>
            <a:schemeClr val="bg1"/>
          </a:solidFill>
        </p:spPr>
        <p:txBody>
          <a:bodyPr anchor="ctr">
            <a:normAutofit/>
          </a:bodyPr>
          <a:lstStyle>
            <a:lvl1pPr algn="ctr">
              <a:defRPr sz="1000">
                <a:latin typeface="+mn-lt"/>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GB" dirty="0"/>
              <a:t>Picture</a:t>
            </a:r>
          </a:p>
        </p:txBody>
      </p:sp>
      <p:sp>
        <p:nvSpPr>
          <p:cNvPr id="43" name="Text Placeholder 16">
            <a:extLst>
              <a:ext uri="{FF2B5EF4-FFF2-40B4-BE49-F238E27FC236}">
                <a16:creationId xmlns:a16="http://schemas.microsoft.com/office/drawing/2014/main" id="{107F1C7D-201C-FFF0-E256-198255D0AC5B}"/>
              </a:ext>
            </a:extLst>
          </p:cNvPr>
          <p:cNvSpPr>
            <a:spLocks noGrp="1"/>
          </p:cNvSpPr>
          <p:nvPr>
            <p:ph type="body" sz="quarter" idx="41" hasCustomPrompt="1"/>
          </p:nvPr>
        </p:nvSpPr>
        <p:spPr>
          <a:xfrm>
            <a:off x="1492805" y="1538859"/>
            <a:ext cx="2543172"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US" dirty="0"/>
              <a:t>Position, Location</a:t>
            </a:r>
          </a:p>
        </p:txBody>
      </p:sp>
      <p:sp>
        <p:nvSpPr>
          <p:cNvPr id="44" name="Text Placeholder 16">
            <a:extLst>
              <a:ext uri="{FF2B5EF4-FFF2-40B4-BE49-F238E27FC236}">
                <a16:creationId xmlns:a16="http://schemas.microsoft.com/office/drawing/2014/main" id="{9F42F667-9F96-5B82-1CA6-B90B793C169F}"/>
              </a:ext>
            </a:extLst>
          </p:cNvPr>
          <p:cNvSpPr>
            <a:spLocks noGrp="1"/>
          </p:cNvSpPr>
          <p:nvPr>
            <p:ph type="body" sz="quarter" idx="42" hasCustomPrompt="1"/>
          </p:nvPr>
        </p:nvSpPr>
        <p:spPr>
          <a:xfrm>
            <a:off x="1492805" y="1321689"/>
            <a:ext cx="2543172" cy="169277"/>
          </a:xfrm>
        </p:spPr>
        <p:txBody>
          <a:bodyPr tIns="0" bIns="0">
            <a:noAutofit/>
          </a:bodyPr>
          <a:lstStyle>
            <a:lvl1pPr algn="l">
              <a:lnSpc>
                <a:spcPct val="100000"/>
              </a:lnSpc>
              <a:spcBef>
                <a:spcPts val="0"/>
              </a:spcBef>
              <a:spcAft>
                <a:spcPts val="0"/>
              </a:spcAft>
              <a:defRPr sz="1100" cap="all" baseline="0">
                <a:solidFill>
                  <a:schemeClr val="tx2"/>
                </a:solidFill>
                <a:latin typeface="+mj-lt"/>
              </a:defRPr>
            </a:lvl1pPr>
            <a:lvl2pPr algn="l">
              <a:lnSpc>
                <a:spcPct val="100000"/>
              </a:lnSpc>
              <a:spcBef>
                <a:spcPts val="200"/>
              </a:spcBef>
              <a:spcAft>
                <a:spcPts val="200"/>
              </a:spcAft>
              <a:defRPr sz="1100">
                <a:solidFill>
                  <a:schemeClr val="tx1"/>
                </a:solidFill>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0"/>
            <a:r>
              <a:rPr lang="en-US" dirty="0"/>
              <a:t>NAME SURNAME</a:t>
            </a:r>
          </a:p>
        </p:txBody>
      </p:sp>
      <p:sp>
        <p:nvSpPr>
          <p:cNvPr id="45" name="Text Placeholder 16">
            <a:extLst>
              <a:ext uri="{FF2B5EF4-FFF2-40B4-BE49-F238E27FC236}">
                <a16:creationId xmlns:a16="http://schemas.microsoft.com/office/drawing/2014/main" id="{78427E96-2D4D-28DB-3AAB-EA57438B7501}"/>
              </a:ext>
            </a:extLst>
          </p:cNvPr>
          <p:cNvSpPr>
            <a:spLocks noGrp="1"/>
          </p:cNvSpPr>
          <p:nvPr>
            <p:ph type="body" sz="quarter" idx="43" hasCustomPrompt="1"/>
          </p:nvPr>
        </p:nvSpPr>
        <p:spPr>
          <a:xfrm>
            <a:off x="1668488" y="1756091"/>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46" name="Text Placeholder 16">
            <a:extLst>
              <a:ext uri="{FF2B5EF4-FFF2-40B4-BE49-F238E27FC236}">
                <a16:creationId xmlns:a16="http://schemas.microsoft.com/office/drawing/2014/main" id="{026E2CDC-211A-9E73-95AB-A47DEDD4A45D}"/>
              </a:ext>
            </a:extLst>
          </p:cNvPr>
          <p:cNvSpPr>
            <a:spLocks noGrp="1"/>
          </p:cNvSpPr>
          <p:nvPr>
            <p:ph type="body" sz="quarter" idx="44" hasCustomPrompt="1"/>
          </p:nvPr>
        </p:nvSpPr>
        <p:spPr>
          <a:xfrm>
            <a:off x="1668488" y="1973323"/>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name.surname@hfw.com</a:t>
            </a:r>
            <a:endParaRPr lang="en-US" dirty="0"/>
          </a:p>
        </p:txBody>
      </p:sp>
      <p:sp>
        <p:nvSpPr>
          <p:cNvPr id="47" name="TextBox 46">
            <a:extLst>
              <a:ext uri="{FF2B5EF4-FFF2-40B4-BE49-F238E27FC236}">
                <a16:creationId xmlns:a16="http://schemas.microsoft.com/office/drawing/2014/main" id="{98911204-4A6F-5E58-F9D0-2528D4D12F4D}"/>
              </a:ext>
            </a:extLst>
          </p:cNvPr>
          <p:cNvSpPr txBox="1"/>
          <p:nvPr userDrawn="1"/>
        </p:nvSpPr>
        <p:spPr>
          <a:xfrm flipH="1">
            <a:off x="1494324" y="1756091"/>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48" name="TextBox 47">
            <a:extLst>
              <a:ext uri="{FF2B5EF4-FFF2-40B4-BE49-F238E27FC236}">
                <a16:creationId xmlns:a16="http://schemas.microsoft.com/office/drawing/2014/main" id="{0D87C31C-0C20-B232-BBFB-49CB0673F85A}"/>
              </a:ext>
            </a:extLst>
          </p:cNvPr>
          <p:cNvSpPr txBox="1"/>
          <p:nvPr userDrawn="1"/>
        </p:nvSpPr>
        <p:spPr>
          <a:xfrm flipH="1">
            <a:off x="1494324" y="1973323"/>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E</a:t>
            </a:r>
          </a:p>
        </p:txBody>
      </p:sp>
      <p:sp>
        <p:nvSpPr>
          <p:cNvPr id="49" name="Picture Placeholder 14">
            <a:extLst>
              <a:ext uri="{FF2B5EF4-FFF2-40B4-BE49-F238E27FC236}">
                <a16:creationId xmlns:a16="http://schemas.microsoft.com/office/drawing/2014/main" id="{D122CE6A-ADA1-6643-4A39-B2BB83C49924}"/>
              </a:ext>
            </a:extLst>
          </p:cNvPr>
          <p:cNvSpPr>
            <a:spLocks noGrp="1"/>
          </p:cNvSpPr>
          <p:nvPr>
            <p:ph type="pic" sz="quarter" idx="45" hasCustomPrompt="1"/>
          </p:nvPr>
        </p:nvSpPr>
        <p:spPr>
          <a:xfrm>
            <a:off x="4235451" y="2319337"/>
            <a:ext cx="876299" cy="876299"/>
          </a:xfrm>
          <a:solidFill>
            <a:schemeClr val="bg1"/>
          </a:solidFill>
        </p:spPr>
        <p:txBody>
          <a:bodyPr anchor="ctr">
            <a:normAutofit/>
          </a:bodyPr>
          <a:lstStyle>
            <a:lvl1pPr algn="ctr">
              <a:defRPr sz="1000">
                <a:latin typeface="+mn-lt"/>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GB" dirty="0"/>
              <a:t>Picture</a:t>
            </a:r>
          </a:p>
        </p:txBody>
      </p:sp>
      <p:sp>
        <p:nvSpPr>
          <p:cNvPr id="50" name="Text Placeholder 16">
            <a:extLst>
              <a:ext uri="{FF2B5EF4-FFF2-40B4-BE49-F238E27FC236}">
                <a16:creationId xmlns:a16="http://schemas.microsoft.com/office/drawing/2014/main" id="{6699B732-81F3-372C-F3CC-66894C266323}"/>
              </a:ext>
            </a:extLst>
          </p:cNvPr>
          <p:cNvSpPr>
            <a:spLocks noGrp="1"/>
          </p:cNvSpPr>
          <p:nvPr>
            <p:ph type="body" sz="quarter" idx="46" hasCustomPrompt="1"/>
          </p:nvPr>
        </p:nvSpPr>
        <p:spPr>
          <a:xfrm>
            <a:off x="5211365" y="2559305"/>
            <a:ext cx="2543172"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US" dirty="0"/>
              <a:t>Position, Location</a:t>
            </a:r>
          </a:p>
        </p:txBody>
      </p:sp>
      <p:sp>
        <p:nvSpPr>
          <p:cNvPr id="51" name="Text Placeholder 16">
            <a:extLst>
              <a:ext uri="{FF2B5EF4-FFF2-40B4-BE49-F238E27FC236}">
                <a16:creationId xmlns:a16="http://schemas.microsoft.com/office/drawing/2014/main" id="{BEEDE40F-EB38-F0F7-DD14-281A0B3781E3}"/>
              </a:ext>
            </a:extLst>
          </p:cNvPr>
          <p:cNvSpPr>
            <a:spLocks noGrp="1"/>
          </p:cNvSpPr>
          <p:nvPr>
            <p:ph type="body" sz="quarter" idx="47" hasCustomPrompt="1"/>
          </p:nvPr>
        </p:nvSpPr>
        <p:spPr>
          <a:xfrm>
            <a:off x="5211365" y="2342135"/>
            <a:ext cx="2543172" cy="169277"/>
          </a:xfrm>
        </p:spPr>
        <p:txBody>
          <a:bodyPr tIns="0" bIns="0">
            <a:noAutofit/>
          </a:bodyPr>
          <a:lstStyle>
            <a:lvl1pPr algn="l">
              <a:lnSpc>
                <a:spcPct val="100000"/>
              </a:lnSpc>
              <a:spcBef>
                <a:spcPts val="0"/>
              </a:spcBef>
              <a:spcAft>
                <a:spcPts val="0"/>
              </a:spcAft>
              <a:defRPr sz="1100" cap="all" baseline="0">
                <a:solidFill>
                  <a:schemeClr val="tx2"/>
                </a:solidFill>
                <a:latin typeface="+mj-lt"/>
              </a:defRPr>
            </a:lvl1pPr>
            <a:lvl2pPr algn="l">
              <a:lnSpc>
                <a:spcPct val="100000"/>
              </a:lnSpc>
              <a:spcBef>
                <a:spcPts val="200"/>
              </a:spcBef>
              <a:spcAft>
                <a:spcPts val="200"/>
              </a:spcAft>
              <a:defRPr sz="1100">
                <a:solidFill>
                  <a:schemeClr val="tx1"/>
                </a:solidFill>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0"/>
            <a:r>
              <a:rPr lang="en-US" dirty="0"/>
              <a:t>NAME SURNAME</a:t>
            </a:r>
          </a:p>
        </p:txBody>
      </p:sp>
      <p:sp>
        <p:nvSpPr>
          <p:cNvPr id="52" name="Text Placeholder 16">
            <a:extLst>
              <a:ext uri="{FF2B5EF4-FFF2-40B4-BE49-F238E27FC236}">
                <a16:creationId xmlns:a16="http://schemas.microsoft.com/office/drawing/2014/main" id="{274E07FA-5DAB-3123-CE90-8B5CD5BAF4F8}"/>
              </a:ext>
            </a:extLst>
          </p:cNvPr>
          <p:cNvSpPr>
            <a:spLocks noGrp="1"/>
          </p:cNvSpPr>
          <p:nvPr>
            <p:ph type="body" sz="quarter" idx="48" hasCustomPrompt="1"/>
          </p:nvPr>
        </p:nvSpPr>
        <p:spPr>
          <a:xfrm>
            <a:off x="5387048" y="2776537"/>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53" name="Text Placeholder 16">
            <a:extLst>
              <a:ext uri="{FF2B5EF4-FFF2-40B4-BE49-F238E27FC236}">
                <a16:creationId xmlns:a16="http://schemas.microsoft.com/office/drawing/2014/main" id="{04821569-D24A-43A2-DFDD-6C2D55383380}"/>
              </a:ext>
            </a:extLst>
          </p:cNvPr>
          <p:cNvSpPr>
            <a:spLocks noGrp="1"/>
          </p:cNvSpPr>
          <p:nvPr>
            <p:ph type="body" sz="quarter" idx="49" hasCustomPrompt="1"/>
          </p:nvPr>
        </p:nvSpPr>
        <p:spPr>
          <a:xfrm>
            <a:off x="5387048" y="2993769"/>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name.surname@hfw.com</a:t>
            </a:r>
            <a:endParaRPr lang="en-US" dirty="0"/>
          </a:p>
        </p:txBody>
      </p:sp>
      <p:sp>
        <p:nvSpPr>
          <p:cNvPr id="54" name="TextBox 53">
            <a:extLst>
              <a:ext uri="{FF2B5EF4-FFF2-40B4-BE49-F238E27FC236}">
                <a16:creationId xmlns:a16="http://schemas.microsoft.com/office/drawing/2014/main" id="{76B0886F-D7CF-3B90-0DED-8574DB6D4BB5}"/>
              </a:ext>
            </a:extLst>
          </p:cNvPr>
          <p:cNvSpPr txBox="1"/>
          <p:nvPr userDrawn="1"/>
        </p:nvSpPr>
        <p:spPr>
          <a:xfrm flipH="1">
            <a:off x="5212884" y="2776537"/>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55" name="TextBox 54">
            <a:extLst>
              <a:ext uri="{FF2B5EF4-FFF2-40B4-BE49-F238E27FC236}">
                <a16:creationId xmlns:a16="http://schemas.microsoft.com/office/drawing/2014/main" id="{401006BB-BC7E-DB41-C899-247C453E99C4}"/>
              </a:ext>
            </a:extLst>
          </p:cNvPr>
          <p:cNvSpPr txBox="1"/>
          <p:nvPr userDrawn="1"/>
        </p:nvSpPr>
        <p:spPr>
          <a:xfrm flipH="1">
            <a:off x="5212884" y="2993769"/>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E</a:t>
            </a:r>
          </a:p>
        </p:txBody>
      </p:sp>
      <p:sp>
        <p:nvSpPr>
          <p:cNvPr id="56" name="Picture Placeholder 14">
            <a:extLst>
              <a:ext uri="{FF2B5EF4-FFF2-40B4-BE49-F238E27FC236}">
                <a16:creationId xmlns:a16="http://schemas.microsoft.com/office/drawing/2014/main" id="{86EE5881-A10C-9201-FECC-9BED25AF9CA2}"/>
              </a:ext>
            </a:extLst>
          </p:cNvPr>
          <p:cNvSpPr>
            <a:spLocks noGrp="1"/>
          </p:cNvSpPr>
          <p:nvPr>
            <p:ph type="pic" sz="quarter" idx="50" hasCustomPrompt="1"/>
          </p:nvPr>
        </p:nvSpPr>
        <p:spPr>
          <a:xfrm>
            <a:off x="516891" y="2319337"/>
            <a:ext cx="876299" cy="876299"/>
          </a:xfrm>
          <a:solidFill>
            <a:schemeClr val="bg1"/>
          </a:solidFill>
        </p:spPr>
        <p:txBody>
          <a:bodyPr anchor="ctr">
            <a:normAutofit/>
          </a:bodyPr>
          <a:lstStyle>
            <a:lvl1pPr algn="ctr">
              <a:defRPr sz="1000">
                <a:latin typeface="+mn-lt"/>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GB" dirty="0"/>
              <a:t>Picture</a:t>
            </a:r>
          </a:p>
        </p:txBody>
      </p:sp>
      <p:sp>
        <p:nvSpPr>
          <p:cNvPr id="57" name="Text Placeholder 16">
            <a:extLst>
              <a:ext uri="{FF2B5EF4-FFF2-40B4-BE49-F238E27FC236}">
                <a16:creationId xmlns:a16="http://schemas.microsoft.com/office/drawing/2014/main" id="{695F2E13-F450-6E91-AE1E-D4F5C55F4C9C}"/>
              </a:ext>
            </a:extLst>
          </p:cNvPr>
          <p:cNvSpPr>
            <a:spLocks noGrp="1"/>
          </p:cNvSpPr>
          <p:nvPr>
            <p:ph type="body" sz="quarter" idx="51" hasCustomPrompt="1"/>
          </p:nvPr>
        </p:nvSpPr>
        <p:spPr>
          <a:xfrm>
            <a:off x="1492805" y="2559305"/>
            <a:ext cx="2543172"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US" dirty="0"/>
              <a:t>Position, Location</a:t>
            </a:r>
          </a:p>
        </p:txBody>
      </p:sp>
      <p:sp>
        <p:nvSpPr>
          <p:cNvPr id="58" name="Text Placeholder 16">
            <a:extLst>
              <a:ext uri="{FF2B5EF4-FFF2-40B4-BE49-F238E27FC236}">
                <a16:creationId xmlns:a16="http://schemas.microsoft.com/office/drawing/2014/main" id="{BA60F1FD-C751-9716-753C-CBC97A65C7D7}"/>
              </a:ext>
            </a:extLst>
          </p:cNvPr>
          <p:cNvSpPr>
            <a:spLocks noGrp="1"/>
          </p:cNvSpPr>
          <p:nvPr>
            <p:ph type="body" sz="quarter" idx="52" hasCustomPrompt="1"/>
          </p:nvPr>
        </p:nvSpPr>
        <p:spPr>
          <a:xfrm>
            <a:off x="1492805" y="2342135"/>
            <a:ext cx="2543172" cy="169277"/>
          </a:xfrm>
        </p:spPr>
        <p:txBody>
          <a:bodyPr tIns="0" bIns="0">
            <a:noAutofit/>
          </a:bodyPr>
          <a:lstStyle>
            <a:lvl1pPr algn="l">
              <a:lnSpc>
                <a:spcPct val="100000"/>
              </a:lnSpc>
              <a:spcBef>
                <a:spcPts val="0"/>
              </a:spcBef>
              <a:spcAft>
                <a:spcPts val="0"/>
              </a:spcAft>
              <a:defRPr sz="1100" cap="all" baseline="0">
                <a:solidFill>
                  <a:schemeClr val="tx2"/>
                </a:solidFill>
                <a:latin typeface="+mj-lt"/>
              </a:defRPr>
            </a:lvl1pPr>
            <a:lvl2pPr algn="l">
              <a:lnSpc>
                <a:spcPct val="100000"/>
              </a:lnSpc>
              <a:spcBef>
                <a:spcPts val="200"/>
              </a:spcBef>
              <a:spcAft>
                <a:spcPts val="200"/>
              </a:spcAft>
              <a:defRPr sz="1100">
                <a:solidFill>
                  <a:schemeClr val="tx1"/>
                </a:solidFill>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0"/>
            <a:r>
              <a:rPr lang="en-US" dirty="0"/>
              <a:t>NAME SURNAME</a:t>
            </a:r>
          </a:p>
        </p:txBody>
      </p:sp>
      <p:sp>
        <p:nvSpPr>
          <p:cNvPr id="59" name="Text Placeholder 16">
            <a:extLst>
              <a:ext uri="{FF2B5EF4-FFF2-40B4-BE49-F238E27FC236}">
                <a16:creationId xmlns:a16="http://schemas.microsoft.com/office/drawing/2014/main" id="{6A1505B4-5192-5A57-E0E2-DD683D889AB8}"/>
              </a:ext>
            </a:extLst>
          </p:cNvPr>
          <p:cNvSpPr>
            <a:spLocks noGrp="1"/>
          </p:cNvSpPr>
          <p:nvPr>
            <p:ph type="body" sz="quarter" idx="53" hasCustomPrompt="1"/>
          </p:nvPr>
        </p:nvSpPr>
        <p:spPr>
          <a:xfrm>
            <a:off x="1668488" y="2776537"/>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60" name="Text Placeholder 16">
            <a:extLst>
              <a:ext uri="{FF2B5EF4-FFF2-40B4-BE49-F238E27FC236}">
                <a16:creationId xmlns:a16="http://schemas.microsoft.com/office/drawing/2014/main" id="{9470C987-8BEE-B6DB-C8DF-6FE66ADF3950}"/>
              </a:ext>
            </a:extLst>
          </p:cNvPr>
          <p:cNvSpPr>
            <a:spLocks noGrp="1"/>
          </p:cNvSpPr>
          <p:nvPr>
            <p:ph type="body" sz="quarter" idx="54" hasCustomPrompt="1"/>
          </p:nvPr>
        </p:nvSpPr>
        <p:spPr>
          <a:xfrm>
            <a:off x="1668488" y="2993769"/>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name.surname@hfw.com</a:t>
            </a:r>
            <a:endParaRPr lang="en-US" dirty="0"/>
          </a:p>
        </p:txBody>
      </p:sp>
      <p:sp>
        <p:nvSpPr>
          <p:cNvPr id="61" name="TextBox 60">
            <a:extLst>
              <a:ext uri="{FF2B5EF4-FFF2-40B4-BE49-F238E27FC236}">
                <a16:creationId xmlns:a16="http://schemas.microsoft.com/office/drawing/2014/main" id="{2FE1D017-B07C-00B2-5CCA-804F9F530497}"/>
              </a:ext>
            </a:extLst>
          </p:cNvPr>
          <p:cNvSpPr txBox="1"/>
          <p:nvPr userDrawn="1"/>
        </p:nvSpPr>
        <p:spPr>
          <a:xfrm flipH="1">
            <a:off x="1494324" y="2776537"/>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62" name="TextBox 61">
            <a:extLst>
              <a:ext uri="{FF2B5EF4-FFF2-40B4-BE49-F238E27FC236}">
                <a16:creationId xmlns:a16="http://schemas.microsoft.com/office/drawing/2014/main" id="{C5EB9E64-77B3-B4CE-08C7-9944A2DCBF26}"/>
              </a:ext>
            </a:extLst>
          </p:cNvPr>
          <p:cNvSpPr txBox="1"/>
          <p:nvPr userDrawn="1"/>
        </p:nvSpPr>
        <p:spPr>
          <a:xfrm flipH="1">
            <a:off x="1494324" y="2993769"/>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E</a:t>
            </a:r>
          </a:p>
        </p:txBody>
      </p:sp>
      <p:sp>
        <p:nvSpPr>
          <p:cNvPr id="63" name="Picture Placeholder 14">
            <a:extLst>
              <a:ext uri="{FF2B5EF4-FFF2-40B4-BE49-F238E27FC236}">
                <a16:creationId xmlns:a16="http://schemas.microsoft.com/office/drawing/2014/main" id="{46E62F1F-7842-2ED2-18FA-EBE6B72B197C}"/>
              </a:ext>
            </a:extLst>
          </p:cNvPr>
          <p:cNvSpPr>
            <a:spLocks noGrp="1"/>
          </p:cNvSpPr>
          <p:nvPr>
            <p:ph type="pic" sz="quarter" idx="55" hasCustomPrompt="1"/>
          </p:nvPr>
        </p:nvSpPr>
        <p:spPr>
          <a:xfrm>
            <a:off x="4235451" y="3327399"/>
            <a:ext cx="876299" cy="876299"/>
          </a:xfrm>
          <a:solidFill>
            <a:schemeClr val="bg1"/>
          </a:solidFill>
        </p:spPr>
        <p:txBody>
          <a:bodyPr anchor="ctr">
            <a:normAutofit/>
          </a:bodyPr>
          <a:lstStyle>
            <a:lvl1pPr algn="ctr">
              <a:defRPr sz="1000">
                <a:latin typeface="+mn-lt"/>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GB" dirty="0"/>
              <a:t>Picture</a:t>
            </a:r>
          </a:p>
        </p:txBody>
      </p:sp>
      <p:sp>
        <p:nvSpPr>
          <p:cNvPr id="64" name="Text Placeholder 16">
            <a:extLst>
              <a:ext uri="{FF2B5EF4-FFF2-40B4-BE49-F238E27FC236}">
                <a16:creationId xmlns:a16="http://schemas.microsoft.com/office/drawing/2014/main" id="{FF59C9A3-86B1-73EA-65C0-7901A1ECC218}"/>
              </a:ext>
            </a:extLst>
          </p:cNvPr>
          <p:cNvSpPr>
            <a:spLocks noGrp="1"/>
          </p:cNvSpPr>
          <p:nvPr>
            <p:ph type="body" sz="quarter" idx="56" hasCustomPrompt="1"/>
          </p:nvPr>
        </p:nvSpPr>
        <p:spPr>
          <a:xfrm>
            <a:off x="5211365" y="3567367"/>
            <a:ext cx="2543172"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US" dirty="0"/>
              <a:t>Position, Location</a:t>
            </a:r>
          </a:p>
        </p:txBody>
      </p:sp>
      <p:sp>
        <p:nvSpPr>
          <p:cNvPr id="65" name="Text Placeholder 16">
            <a:extLst>
              <a:ext uri="{FF2B5EF4-FFF2-40B4-BE49-F238E27FC236}">
                <a16:creationId xmlns:a16="http://schemas.microsoft.com/office/drawing/2014/main" id="{AA11E300-71C0-9EC2-7B4D-C77F972E7C07}"/>
              </a:ext>
            </a:extLst>
          </p:cNvPr>
          <p:cNvSpPr>
            <a:spLocks noGrp="1"/>
          </p:cNvSpPr>
          <p:nvPr>
            <p:ph type="body" sz="quarter" idx="57" hasCustomPrompt="1"/>
          </p:nvPr>
        </p:nvSpPr>
        <p:spPr>
          <a:xfrm>
            <a:off x="5211365" y="3350197"/>
            <a:ext cx="2543172" cy="169277"/>
          </a:xfrm>
        </p:spPr>
        <p:txBody>
          <a:bodyPr tIns="0" bIns="0">
            <a:noAutofit/>
          </a:bodyPr>
          <a:lstStyle>
            <a:lvl1pPr algn="l">
              <a:lnSpc>
                <a:spcPct val="100000"/>
              </a:lnSpc>
              <a:spcBef>
                <a:spcPts val="0"/>
              </a:spcBef>
              <a:spcAft>
                <a:spcPts val="0"/>
              </a:spcAft>
              <a:defRPr sz="1100" cap="all" baseline="0">
                <a:solidFill>
                  <a:schemeClr val="tx2"/>
                </a:solidFill>
                <a:latin typeface="+mj-lt"/>
              </a:defRPr>
            </a:lvl1pPr>
            <a:lvl2pPr algn="l">
              <a:lnSpc>
                <a:spcPct val="100000"/>
              </a:lnSpc>
              <a:spcBef>
                <a:spcPts val="200"/>
              </a:spcBef>
              <a:spcAft>
                <a:spcPts val="200"/>
              </a:spcAft>
              <a:defRPr sz="1100">
                <a:solidFill>
                  <a:schemeClr val="tx1"/>
                </a:solidFill>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0"/>
            <a:r>
              <a:rPr lang="en-US" dirty="0"/>
              <a:t>NAME SURNAME</a:t>
            </a:r>
          </a:p>
        </p:txBody>
      </p:sp>
      <p:sp>
        <p:nvSpPr>
          <p:cNvPr id="66" name="Text Placeholder 16">
            <a:extLst>
              <a:ext uri="{FF2B5EF4-FFF2-40B4-BE49-F238E27FC236}">
                <a16:creationId xmlns:a16="http://schemas.microsoft.com/office/drawing/2014/main" id="{D9DD8F45-CCAA-8ADF-30C9-4FDA42DD1B41}"/>
              </a:ext>
            </a:extLst>
          </p:cNvPr>
          <p:cNvSpPr>
            <a:spLocks noGrp="1"/>
          </p:cNvSpPr>
          <p:nvPr>
            <p:ph type="body" sz="quarter" idx="58" hasCustomPrompt="1"/>
          </p:nvPr>
        </p:nvSpPr>
        <p:spPr>
          <a:xfrm>
            <a:off x="5387048" y="3784599"/>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67" name="Text Placeholder 16">
            <a:extLst>
              <a:ext uri="{FF2B5EF4-FFF2-40B4-BE49-F238E27FC236}">
                <a16:creationId xmlns:a16="http://schemas.microsoft.com/office/drawing/2014/main" id="{0F131D31-37AD-AF84-1BB9-C3A57CECF456}"/>
              </a:ext>
            </a:extLst>
          </p:cNvPr>
          <p:cNvSpPr>
            <a:spLocks noGrp="1"/>
          </p:cNvSpPr>
          <p:nvPr>
            <p:ph type="body" sz="quarter" idx="59" hasCustomPrompt="1"/>
          </p:nvPr>
        </p:nvSpPr>
        <p:spPr>
          <a:xfrm>
            <a:off x="5387048" y="4001831"/>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name.surname@hfw.com</a:t>
            </a:r>
            <a:endParaRPr lang="en-US" dirty="0"/>
          </a:p>
        </p:txBody>
      </p:sp>
      <p:sp>
        <p:nvSpPr>
          <p:cNvPr id="68" name="TextBox 67">
            <a:extLst>
              <a:ext uri="{FF2B5EF4-FFF2-40B4-BE49-F238E27FC236}">
                <a16:creationId xmlns:a16="http://schemas.microsoft.com/office/drawing/2014/main" id="{E0F7049E-6849-D32F-FE34-01929965BAEB}"/>
              </a:ext>
            </a:extLst>
          </p:cNvPr>
          <p:cNvSpPr txBox="1"/>
          <p:nvPr userDrawn="1"/>
        </p:nvSpPr>
        <p:spPr>
          <a:xfrm flipH="1">
            <a:off x="5212884" y="3784599"/>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69" name="TextBox 68">
            <a:extLst>
              <a:ext uri="{FF2B5EF4-FFF2-40B4-BE49-F238E27FC236}">
                <a16:creationId xmlns:a16="http://schemas.microsoft.com/office/drawing/2014/main" id="{CAC70E89-6B14-DE4D-57F8-8CA475B7DB34}"/>
              </a:ext>
            </a:extLst>
          </p:cNvPr>
          <p:cNvSpPr txBox="1"/>
          <p:nvPr userDrawn="1"/>
        </p:nvSpPr>
        <p:spPr>
          <a:xfrm flipH="1">
            <a:off x="5212884" y="4001831"/>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E</a:t>
            </a:r>
          </a:p>
        </p:txBody>
      </p:sp>
      <p:sp>
        <p:nvSpPr>
          <p:cNvPr id="70" name="Picture Placeholder 14">
            <a:extLst>
              <a:ext uri="{FF2B5EF4-FFF2-40B4-BE49-F238E27FC236}">
                <a16:creationId xmlns:a16="http://schemas.microsoft.com/office/drawing/2014/main" id="{4A846600-BA51-0149-6BD1-2C7C829913DA}"/>
              </a:ext>
            </a:extLst>
          </p:cNvPr>
          <p:cNvSpPr>
            <a:spLocks noGrp="1"/>
          </p:cNvSpPr>
          <p:nvPr>
            <p:ph type="pic" sz="quarter" idx="60" hasCustomPrompt="1"/>
          </p:nvPr>
        </p:nvSpPr>
        <p:spPr>
          <a:xfrm>
            <a:off x="516891" y="3327399"/>
            <a:ext cx="876299" cy="876299"/>
          </a:xfrm>
          <a:solidFill>
            <a:schemeClr val="bg1"/>
          </a:solidFill>
        </p:spPr>
        <p:txBody>
          <a:bodyPr anchor="ctr">
            <a:normAutofit/>
          </a:bodyPr>
          <a:lstStyle>
            <a:lvl1pPr algn="ctr">
              <a:defRPr sz="1000">
                <a:latin typeface="+mn-lt"/>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GB" dirty="0"/>
              <a:t>Picture</a:t>
            </a:r>
          </a:p>
        </p:txBody>
      </p:sp>
      <p:sp>
        <p:nvSpPr>
          <p:cNvPr id="71" name="Text Placeholder 16">
            <a:extLst>
              <a:ext uri="{FF2B5EF4-FFF2-40B4-BE49-F238E27FC236}">
                <a16:creationId xmlns:a16="http://schemas.microsoft.com/office/drawing/2014/main" id="{0547A0F2-0AEF-8586-3A0A-261E0A7FAE43}"/>
              </a:ext>
            </a:extLst>
          </p:cNvPr>
          <p:cNvSpPr>
            <a:spLocks noGrp="1"/>
          </p:cNvSpPr>
          <p:nvPr>
            <p:ph type="body" sz="quarter" idx="61" hasCustomPrompt="1"/>
          </p:nvPr>
        </p:nvSpPr>
        <p:spPr>
          <a:xfrm>
            <a:off x="1492805" y="3567367"/>
            <a:ext cx="2543172"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US" dirty="0"/>
              <a:t>Position, Location</a:t>
            </a:r>
          </a:p>
        </p:txBody>
      </p:sp>
      <p:sp>
        <p:nvSpPr>
          <p:cNvPr id="72" name="Text Placeholder 16">
            <a:extLst>
              <a:ext uri="{FF2B5EF4-FFF2-40B4-BE49-F238E27FC236}">
                <a16:creationId xmlns:a16="http://schemas.microsoft.com/office/drawing/2014/main" id="{3CCD5467-8D86-42E9-7275-0335B46B3DCA}"/>
              </a:ext>
            </a:extLst>
          </p:cNvPr>
          <p:cNvSpPr>
            <a:spLocks noGrp="1"/>
          </p:cNvSpPr>
          <p:nvPr>
            <p:ph type="body" sz="quarter" idx="62" hasCustomPrompt="1"/>
          </p:nvPr>
        </p:nvSpPr>
        <p:spPr>
          <a:xfrm>
            <a:off x="1492805" y="3350197"/>
            <a:ext cx="2543172" cy="169277"/>
          </a:xfrm>
        </p:spPr>
        <p:txBody>
          <a:bodyPr tIns="0" bIns="0">
            <a:noAutofit/>
          </a:bodyPr>
          <a:lstStyle>
            <a:lvl1pPr algn="l">
              <a:lnSpc>
                <a:spcPct val="100000"/>
              </a:lnSpc>
              <a:spcBef>
                <a:spcPts val="0"/>
              </a:spcBef>
              <a:spcAft>
                <a:spcPts val="0"/>
              </a:spcAft>
              <a:defRPr sz="1100" cap="all" baseline="0">
                <a:solidFill>
                  <a:schemeClr val="tx2"/>
                </a:solidFill>
                <a:latin typeface="+mj-lt"/>
              </a:defRPr>
            </a:lvl1pPr>
            <a:lvl2pPr algn="l">
              <a:lnSpc>
                <a:spcPct val="100000"/>
              </a:lnSpc>
              <a:spcBef>
                <a:spcPts val="200"/>
              </a:spcBef>
              <a:spcAft>
                <a:spcPts val="200"/>
              </a:spcAft>
              <a:defRPr sz="1100">
                <a:solidFill>
                  <a:schemeClr val="tx1"/>
                </a:solidFill>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0"/>
            <a:r>
              <a:rPr lang="en-US" dirty="0"/>
              <a:t>NAME SURNAME</a:t>
            </a:r>
          </a:p>
        </p:txBody>
      </p:sp>
      <p:sp>
        <p:nvSpPr>
          <p:cNvPr id="73" name="Text Placeholder 16">
            <a:extLst>
              <a:ext uri="{FF2B5EF4-FFF2-40B4-BE49-F238E27FC236}">
                <a16:creationId xmlns:a16="http://schemas.microsoft.com/office/drawing/2014/main" id="{7FF98669-4ADD-67D1-95DE-82183F7380D0}"/>
              </a:ext>
            </a:extLst>
          </p:cNvPr>
          <p:cNvSpPr>
            <a:spLocks noGrp="1"/>
          </p:cNvSpPr>
          <p:nvPr>
            <p:ph type="body" sz="quarter" idx="63" hasCustomPrompt="1"/>
          </p:nvPr>
        </p:nvSpPr>
        <p:spPr>
          <a:xfrm>
            <a:off x="1668488" y="3784599"/>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74" name="Text Placeholder 16">
            <a:extLst>
              <a:ext uri="{FF2B5EF4-FFF2-40B4-BE49-F238E27FC236}">
                <a16:creationId xmlns:a16="http://schemas.microsoft.com/office/drawing/2014/main" id="{EB0467A4-B7A0-CF90-6227-303D8546427A}"/>
              </a:ext>
            </a:extLst>
          </p:cNvPr>
          <p:cNvSpPr>
            <a:spLocks noGrp="1"/>
          </p:cNvSpPr>
          <p:nvPr>
            <p:ph type="body" sz="quarter" idx="64" hasCustomPrompt="1"/>
          </p:nvPr>
        </p:nvSpPr>
        <p:spPr>
          <a:xfrm>
            <a:off x="1668488" y="4001831"/>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name.surname@hfw.com</a:t>
            </a:r>
            <a:endParaRPr lang="en-US" dirty="0"/>
          </a:p>
        </p:txBody>
      </p:sp>
      <p:sp>
        <p:nvSpPr>
          <p:cNvPr id="75" name="TextBox 74">
            <a:extLst>
              <a:ext uri="{FF2B5EF4-FFF2-40B4-BE49-F238E27FC236}">
                <a16:creationId xmlns:a16="http://schemas.microsoft.com/office/drawing/2014/main" id="{2A229137-B6B3-E776-1B59-81523D99B0F3}"/>
              </a:ext>
            </a:extLst>
          </p:cNvPr>
          <p:cNvSpPr txBox="1"/>
          <p:nvPr userDrawn="1"/>
        </p:nvSpPr>
        <p:spPr>
          <a:xfrm flipH="1">
            <a:off x="1494324" y="3784599"/>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76" name="TextBox 75">
            <a:extLst>
              <a:ext uri="{FF2B5EF4-FFF2-40B4-BE49-F238E27FC236}">
                <a16:creationId xmlns:a16="http://schemas.microsoft.com/office/drawing/2014/main" id="{6BA105D9-8805-4D9A-FBBA-1A8C0EA57AB8}"/>
              </a:ext>
            </a:extLst>
          </p:cNvPr>
          <p:cNvSpPr txBox="1"/>
          <p:nvPr userDrawn="1"/>
        </p:nvSpPr>
        <p:spPr>
          <a:xfrm flipH="1">
            <a:off x="1494324" y="4001831"/>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E</a:t>
            </a:r>
          </a:p>
        </p:txBody>
      </p:sp>
      <p:sp>
        <p:nvSpPr>
          <p:cNvPr id="77" name="Picture Placeholder 14">
            <a:extLst>
              <a:ext uri="{FF2B5EF4-FFF2-40B4-BE49-F238E27FC236}">
                <a16:creationId xmlns:a16="http://schemas.microsoft.com/office/drawing/2014/main" id="{CCDA2602-29E5-DC46-55D0-C80A99675B40}"/>
              </a:ext>
            </a:extLst>
          </p:cNvPr>
          <p:cNvSpPr>
            <a:spLocks noGrp="1"/>
          </p:cNvSpPr>
          <p:nvPr>
            <p:ph type="pic" sz="quarter" idx="65" hasCustomPrompt="1"/>
          </p:nvPr>
        </p:nvSpPr>
        <p:spPr>
          <a:xfrm>
            <a:off x="4235451" y="4335461"/>
            <a:ext cx="876299" cy="876299"/>
          </a:xfrm>
          <a:solidFill>
            <a:schemeClr val="bg1"/>
          </a:solidFill>
        </p:spPr>
        <p:txBody>
          <a:bodyPr anchor="ctr">
            <a:normAutofit/>
          </a:bodyPr>
          <a:lstStyle>
            <a:lvl1pPr algn="ctr">
              <a:defRPr sz="1000">
                <a:latin typeface="+mn-lt"/>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GB" dirty="0"/>
              <a:t>Picture</a:t>
            </a:r>
          </a:p>
        </p:txBody>
      </p:sp>
      <p:sp>
        <p:nvSpPr>
          <p:cNvPr id="78" name="Text Placeholder 16">
            <a:extLst>
              <a:ext uri="{FF2B5EF4-FFF2-40B4-BE49-F238E27FC236}">
                <a16:creationId xmlns:a16="http://schemas.microsoft.com/office/drawing/2014/main" id="{A1B3D1AF-D4E7-C146-0199-36FD90E78C9D}"/>
              </a:ext>
            </a:extLst>
          </p:cNvPr>
          <p:cNvSpPr>
            <a:spLocks noGrp="1"/>
          </p:cNvSpPr>
          <p:nvPr>
            <p:ph type="body" sz="quarter" idx="66" hasCustomPrompt="1"/>
          </p:nvPr>
        </p:nvSpPr>
        <p:spPr>
          <a:xfrm>
            <a:off x="5211365" y="4575429"/>
            <a:ext cx="2543172"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US" dirty="0"/>
              <a:t>Position, Location</a:t>
            </a:r>
          </a:p>
        </p:txBody>
      </p:sp>
      <p:sp>
        <p:nvSpPr>
          <p:cNvPr id="79" name="Text Placeholder 16">
            <a:extLst>
              <a:ext uri="{FF2B5EF4-FFF2-40B4-BE49-F238E27FC236}">
                <a16:creationId xmlns:a16="http://schemas.microsoft.com/office/drawing/2014/main" id="{6BEF8F31-958A-4D44-4DA4-79D49E29FA2E}"/>
              </a:ext>
            </a:extLst>
          </p:cNvPr>
          <p:cNvSpPr>
            <a:spLocks noGrp="1"/>
          </p:cNvSpPr>
          <p:nvPr>
            <p:ph type="body" sz="quarter" idx="67" hasCustomPrompt="1"/>
          </p:nvPr>
        </p:nvSpPr>
        <p:spPr>
          <a:xfrm>
            <a:off x="5211365" y="4358259"/>
            <a:ext cx="2543172" cy="169277"/>
          </a:xfrm>
        </p:spPr>
        <p:txBody>
          <a:bodyPr tIns="0" bIns="0">
            <a:noAutofit/>
          </a:bodyPr>
          <a:lstStyle>
            <a:lvl1pPr algn="l">
              <a:lnSpc>
                <a:spcPct val="100000"/>
              </a:lnSpc>
              <a:spcBef>
                <a:spcPts val="0"/>
              </a:spcBef>
              <a:spcAft>
                <a:spcPts val="0"/>
              </a:spcAft>
              <a:defRPr sz="1100" cap="all" baseline="0">
                <a:solidFill>
                  <a:schemeClr val="tx2"/>
                </a:solidFill>
                <a:latin typeface="+mj-lt"/>
              </a:defRPr>
            </a:lvl1pPr>
            <a:lvl2pPr algn="l">
              <a:lnSpc>
                <a:spcPct val="100000"/>
              </a:lnSpc>
              <a:spcBef>
                <a:spcPts val="200"/>
              </a:spcBef>
              <a:spcAft>
                <a:spcPts val="200"/>
              </a:spcAft>
              <a:defRPr sz="1100">
                <a:solidFill>
                  <a:schemeClr val="tx1"/>
                </a:solidFill>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0"/>
            <a:r>
              <a:rPr lang="en-US" dirty="0"/>
              <a:t>NAME SURNAME</a:t>
            </a:r>
          </a:p>
        </p:txBody>
      </p:sp>
      <p:sp>
        <p:nvSpPr>
          <p:cNvPr id="80" name="Text Placeholder 16">
            <a:extLst>
              <a:ext uri="{FF2B5EF4-FFF2-40B4-BE49-F238E27FC236}">
                <a16:creationId xmlns:a16="http://schemas.microsoft.com/office/drawing/2014/main" id="{54DCF957-0967-0D44-9AE3-D4D4C34257C0}"/>
              </a:ext>
            </a:extLst>
          </p:cNvPr>
          <p:cNvSpPr>
            <a:spLocks noGrp="1"/>
          </p:cNvSpPr>
          <p:nvPr>
            <p:ph type="body" sz="quarter" idx="68" hasCustomPrompt="1"/>
          </p:nvPr>
        </p:nvSpPr>
        <p:spPr>
          <a:xfrm>
            <a:off x="5387048" y="4792661"/>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81" name="Text Placeholder 16">
            <a:extLst>
              <a:ext uri="{FF2B5EF4-FFF2-40B4-BE49-F238E27FC236}">
                <a16:creationId xmlns:a16="http://schemas.microsoft.com/office/drawing/2014/main" id="{3596CB8B-C8D6-4203-1353-62A57B22DFCC}"/>
              </a:ext>
            </a:extLst>
          </p:cNvPr>
          <p:cNvSpPr>
            <a:spLocks noGrp="1"/>
          </p:cNvSpPr>
          <p:nvPr>
            <p:ph type="body" sz="quarter" idx="69" hasCustomPrompt="1"/>
          </p:nvPr>
        </p:nvSpPr>
        <p:spPr>
          <a:xfrm>
            <a:off x="5387048" y="5009893"/>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name.surname@hfw.com</a:t>
            </a:r>
            <a:endParaRPr lang="en-US" dirty="0"/>
          </a:p>
        </p:txBody>
      </p:sp>
      <p:sp>
        <p:nvSpPr>
          <p:cNvPr id="82" name="TextBox 81">
            <a:extLst>
              <a:ext uri="{FF2B5EF4-FFF2-40B4-BE49-F238E27FC236}">
                <a16:creationId xmlns:a16="http://schemas.microsoft.com/office/drawing/2014/main" id="{406C1A0B-18D6-51F2-5216-1DFAFB75AA1E}"/>
              </a:ext>
            </a:extLst>
          </p:cNvPr>
          <p:cNvSpPr txBox="1"/>
          <p:nvPr userDrawn="1"/>
        </p:nvSpPr>
        <p:spPr>
          <a:xfrm flipH="1">
            <a:off x="5212884" y="4792661"/>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83" name="TextBox 82">
            <a:extLst>
              <a:ext uri="{FF2B5EF4-FFF2-40B4-BE49-F238E27FC236}">
                <a16:creationId xmlns:a16="http://schemas.microsoft.com/office/drawing/2014/main" id="{CB391F17-6969-1E2B-4FAF-C83CA4FB23D0}"/>
              </a:ext>
            </a:extLst>
          </p:cNvPr>
          <p:cNvSpPr txBox="1"/>
          <p:nvPr userDrawn="1"/>
        </p:nvSpPr>
        <p:spPr>
          <a:xfrm flipH="1">
            <a:off x="5212884" y="5009893"/>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E</a:t>
            </a:r>
          </a:p>
        </p:txBody>
      </p:sp>
      <p:sp>
        <p:nvSpPr>
          <p:cNvPr id="84" name="Picture Placeholder 14">
            <a:extLst>
              <a:ext uri="{FF2B5EF4-FFF2-40B4-BE49-F238E27FC236}">
                <a16:creationId xmlns:a16="http://schemas.microsoft.com/office/drawing/2014/main" id="{2CE77FEF-9D0A-2E18-6494-480078B5BB50}"/>
              </a:ext>
            </a:extLst>
          </p:cNvPr>
          <p:cNvSpPr>
            <a:spLocks noGrp="1"/>
          </p:cNvSpPr>
          <p:nvPr>
            <p:ph type="pic" sz="quarter" idx="70" hasCustomPrompt="1"/>
          </p:nvPr>
        </p:nvSpPr>
        <p:spPr>
          <a:xfrm>
            <a:off x="516891" y="4335461"/>
            <a:ext cx="876299" cy="876299"/>
          </a:xfrm>
          <a:solidFill>
            <a:schemeClr val="bg1"/>
          </a:solidFill>
        </p:spPr>
        <p:txBody>
          <a:bodyPr anchor="ctr">
            <a:normAutofit/>
          </a:bodyPr>
          <a:lstStyle>
            <a:lvl1pPr algn="ctr">
              <a:defRPr sz="1000">
                <a:latin typeface="+mn-lt"/>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GB" dirty="0"/>
              <a:t>Picture</a:t>
            </a:r>
          </a:p>
        </p:txBody>
      </p:sp>
      <p:sp>
        <p:nvSpPr>
          <p:cNvPr id="85" name="Text Placeholder 16">
            <a:extLst>
              <a:ext uri="{FF2B5EF4-FFF2-40B4-BE49-F238E27FC236}">
                <a16:creationId xmlns:a16="http://schemas.microsoft.com/office/drawing/2014/main" id="{3558A82C-EF43-E3BD-41A8-5625676A615D}"/>
              </a:ext>
            </a:extLst>
          </p:cNvPr>
          <p:cNvSpPr>
            <a:spLocks noGrp="1"/>
          </p:cNvSpPr>
          <p:nvPr>
            <p:ph type="body" sz="quarter" idx="71" hasCustomPrompt="1"/>
          </p:nvPr>
        </p:nvSpPr>
        <p:spPr>
          <a:xfrm>
            <a:off x="1492805" y="4575429"/>
            <a:ext cx="2543172"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US" dirty="0"/>
              <a:t>Position, Location</a:t>
            </a:r>
          </a:p>
        </p:txBody>
      </p:sp>
      <p:sp>
        <p:nvSpPr>
          <p:cNvPr id="86" name="Text Placeholder 16">
            <a:extLst>
              <a:ext uri="{FF2B5EF4-FFF2-40B4-BE49-F238E27FC236}">
                <a16:creationId xmlns:a16="http://schemas.microsoft.com/office/drawing/2014/main" id="{6CCA3952-FD4A-EE3B-6793-82E8EC1F05CC}"/>
              </a:ext>
            </a:extLst>
          </p:cNvPr>
          <p:cNvSpPr>
            <a:spLocks noGrp="1"/>
          </p:cNvSpPr>
          <p:nvPr>
            <p:ph type="body" sz="quarter" idx="72" hasCustomPrompt="1"/>
          </p:nvPr>
        </p:nvSpPr>
        <p:spPr>
          <a:xfrm>
            <a:off x="1492805" y="4358259"/>
            <a:ext cx="2543172" cy="169277"/>
          </a:xfrm>
        </p:spPr>
        <p:txBody>
          <a:bodyPr tIns="0" bIns="0">
            <a:noAutofit/>
          </a:bodyPr>
          <a:lstStyle>
            <a:lvl1pPr algn="l">
              <a:lnSpc>
                <a:spcPct val="100000"/>
              </a:lnSpc>
              <a:spcBef>
                <a:spcPts val="0"/>
              </a:spcBef>
              <a:spcAft>
                <a:spcPts val="0"/>
              </a:spcAft>
              <a:defRPr sz="1100" cap="all" baseline="0">
                <a:solidFill>
                  <a:schemeClr val="tx2"/>
                </a:solidFill>
                <a:latin typeface="+mj-lt"/>
              </a:defRPr>
            </a:lvl1pPr>
            <a:lvl2pPr algn="l">
              <a:lnSpc>
                <a:spcPct val="100000"/>
              </a:lnSpc>
              <a:spcBef>
                <a:spcPts val="200"/>
              </a:spcBef>
              <a:spcAft>
                <a:spcPts val="200"/>
              </a:spcAft>
              <a:defRPr sz="1100">
                <a:solidFill>
                  <a:schemeClr val="tx1"/>
                </a:solidFill>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0"/>
            <a:r>
              <a:rPr lang="en-US" dirty="0"/>
              <a:t>NAME SURNAME</a:t>
            </a:r>
          </a:p>
        </p:txBody>
      </p:sp>
      <p:sp>
        <p:nvSpPr>
          <p:cNvPr id="87" name="Text Placeholder 16">
            <a:extLst>
              <a:ext uri="{FF2B5EF4-FFF2-40B4-BE49-F238E27FC236}">
                <a16:creationId xmlns:a16="http://schemas.microsoft.com/office/drawing/2014/main" id="{8C5AD2B1-35CC-C3A3-2F0A-8437B51E669E}"/>
              </a:ext>
            </a:extLst>
          </p:cNvPr>
          <p:cNvSpPr>
            <a:spLocks noGrp="1"/>
          </p:cNvSpPr>
          <p:nvPr>
            <p:ph type="body" sz="quarter" idx="73" hasCustomPrompt="1"/>
          </p:nvPr>
        </p:nvSpPr>
        <p:spPr>
          <a:xfrm>
            <a:off x="1668488" y="4792661"/>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88" name="Text Placeholder 16">
            <a:extLst>
              <a:ext uri="{FF2B5EF4-FFF2-40B4-BE49-F238E27FC236}">
                <a16:creationId xmlns:a16="http://schemas.microsoft.com/office/drawing/2014/main" id="{C88D07AA-992C-70C2-17B7-46FFEE532F53}"/>
              </a:ext>
            </a:extLst>
          </p:cNvPr>
          <p:cNvSpPr>
            <a:spLocks noGrp="1"/>
          </p:cNvSpPr>
          <p:nvPr>
            <p:ph type="body" sz="quarter" idx="74" hasCustomPrompt="1"/>
          </p:nvPr>
        </p:nvSpPr>
        <p:spPr>
          <a:xfrm>
            <a:off x="1668488" y="5009893"/>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name.surname@hfw.com</a:t>
            </a:r>
            <a:endParaRPr lang="en-US" dirty="0"/>
          </a:p>
        </p:txBody>
      </p:sp>
      <p:sp>
        <p:nvSpPr>
          <p:cNvPr id="89" name="TextBox 88">
            <a:extLst>
              <a:ext uri="{FF2B5EF4-FFF2-40B4-BE49-F238E27FC236}">
                <a16:creationId xmlns:a16="http://schemas.microsoft.com/office/drawing/2014/main" id="{D34D32A2-B328-BA24-E7FC-E14D9825E12C}"/>
              </a:ext>
            </a:extLst>
          </p:cNvPr>
          <p:cNvSpPr txBox="1"/>
          <p:nvPr userDrawn="1"/>
        </p:nvSpPr>
        <p:spPr>
          <a:xfrm flipH="1">
            <a:off x="1494324" y="4792661"/>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90" name="TextBox 89">
            <a:extLst>
              <a:ext uri="{FF2B5EF4-FFF2-40B4-BE49-F238E27FC236}">
                <a16:creationId xmlns:a16="http://schemas.microsoft.com/office/drawing/2014/main" id="{A41A36D5-C146-4075-1E19-88E75D051802}"/>
              </a:ext>
            </a:extLst>
          </p:cNvPr>
          <p:cNvSpPr txBox="1"/>
          <p:nvPr userDrawn="1"/>
        </p:nvSpPr>
        <p:spPr>
          <a:xfrm flipH="1">
            <a:off x="1494324" y="5009893"/>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E</a:t>
            </a:r>
          </a:p>
        </p:txBody>
      </p:sp>
      <p:sp>
        <p:nvSpPr>
          <p:cNvPr id="18" name="TextBox 4">
            <a:extLst>
              <a:ext uri="{FF2B5EF4-FFF2-40B4-BE49-F238E27FC236}">
                <a16:creationId xmlns:a16="http://schemas.microsoft.com/office/drawing/2014/main" id="{64066A92-895C-EC17-A799-CDF86395CE20}"/>
              </a:ext>
            </a:extLst>
          </p:cNvPr>
          <p:cNvSpPr txBox="1"/>
          <p:nvPr userDrawn="1"/>
        </p:nvSpPr>
        <p:spPr>
          <a:xfrm>
            <a:off x="12346713" y="109538"/>
            <a:ext cx="2253207" cy="498085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INSERTING IMAGES:</a:t>
            </a:r>
          </a:p>
          <a:p>
            <a:pPr marL="179388" indent="-179388">
              <a:spcBef>
                <a:spcPts val="200"/>
              </a:spcBef>
              <a:spcAft>
                <a:spcPts val="200"/>
              </a:spcAft>
              <a:buFont typeface="+mj-lt"/>
              <a:buAutoNum type="arabicPeriod"/>
            </a:pPr>
            <a:r>
              <a:rPr lang="en-US" sz="900" dirty="0">
                <a:solidFill>
                  <a:schemeClr val="tx1"/>
                </a:solidFill>
                <a:latin typeface="+mn-lt"/>
              </a:rPr>
              <a:t>Simply click the image placeholder and select your image.</a:t>
            </a:r>
          </a:p>
          <a:p>
            <a:pPr marL="179388" indent="-179388">
              <a:spcBef>
                <a:spcPts val="200"/>
              </a:spcBef>
              <a:spcAft>
                <a:spcPts val="200"/>
              </a:spcAft>
              <a:buFont typeface="+mj-lt"/>
              <a:buAutoNum type="arabicPeriod"/>
            </a:pPr>
            <a:r>
              <a:rPr lang="en-US" sz="900" dirty="0">
                <a:solidFill>
                  <a:schemeClr val="tx1"/>
                </a:solidFill>
                <a:latin typeface="+mn-lt"/>
              </a:rPr>
              <a:t>Once your image is inserted into the shape it may be distorted. (Stretched or Squashed)</a:t>
            </a:r>
          </a:p>
          <a:p>
            <a:pPr marL="179388" indent="-179388">
              <a:spcBef>
                <a:spcPts val="200"/>
              </a:spcBef>
              <a:spcAft>
                <a:spcPts val="200"/>
              </a:spcAft>
              <a:buFont typeface="+mj-lt"/>
              <a:buAutoNum type="arabicPeriod"/>
            </a:pPr>
            <a:endParaRPr lang="en-US" sz="900" dirty="0">
              <a:solidFill>
                <a:schemeClr val="tx1"/>
              </a:solidFill>
              <a:latin typeface="+mn-lt"/>
            </a:endParaRPr>
          </a:p>
          <a:p>
            <a:pPr>
              <a:spcBef>
                <a:spcPts val="200"/>
              </a:spcBef>
              <a:spcAft>
                <a:spcPts val="200"/>
              </a:spcAft>
            </a:pPr>
            <a:r>
              <a:rPr lang="en-US" sz="900" b="1" dirty="0">
                <a:solidFill>
                  <a:schemeClr val="tx1"/>
                </a:solidFill>
                <a:latin typeface="+mn-lt"/>
              </a:rPr>
              <a:t>To fix this:</a:t>
            </a:r>
          </a:p>
          <a:p>
            <a:pPr marL="179388" indent="-179388">
              <a:spcBef>
                <a:spcPts val="200"/>
              </a:spcBef>
              <a:spcAft>
                <a:spcPts val="200"/>
              </a:spcAft>
              <a:buFont typeface="+mj-lt"/>
              <a:buAutoNum type="arabicPeriod"/>
            </a:pPr>
            <a:r>
              <a:rPr lang="en-US" sz="900" dirty="0">
                <a:solidFill>
                  <a:schemeClr val="tx1"/>
                </a:solidFill>
                <a:latin typeface="+mn-lt"/>
              </a:rPr>
              <a:t>Click on the image and from the top menu under </a:t>
            </a:r>
            <a:r>
              <a:rPr lang="en-US" sz="900" b="1" dirty="0">
                <a:solidFill>
                  <a:schemeClr val="tx1"/>
                </a:solidFill>
                <a:latin typeface="+mn-lt"/>
              </a:rPr>
              <a:t>PICTURE FORMAT </a:t>
            </a:r>
            <a:r>
              <a:rPr lang="en-US" sz="900" dirty="0">
                <a:solidFill>
                  <a:schemeClr val="tx1"/>
                </a:solidFill>
                <a:latin typeface="+mn-lt"/>
              </a:rPr>
              <a:t>select the </a:t>
            </a:r>
            <a:r>
              <a:rPr lang="en-US" sz="900" b="1" dirty="0">
                <a:solidFill>
                  <a:schemeClr val="tx1"/>
                </a:solidFill>
                <a:latin typeface="+mn-lt"/>
              </a:rPr>
              <a:t>CROP</a:t>
            </a:r>
            <a:r>
              <a:rPr lang="en-US" sz="900" dirty="0">
                <a:solidFill>
                  <a:schemeClr val="tx1"/>
                </a:solidFill>
                <a:latin typeface="+mn-lt"/>
              </a:rPr>
              <a:t> on the right and from the drop down menu select </a:t>
            </a:r>
            <a:r>
              <a:rPr lang="en-US" sz="900" b="1" kern="1200" dirty="0">
                <a:solidFill>
                  <a:schemeClr val="tx1"/>
                </a:solidFill>
                <a:latin typeface="+mn-lt"/>
                <a:ea typeface="+mn-ea"/>
                <a:cs typeface="+mn-cs"/>
              </a:rPr>
              <a:t>FILL</a:t>
            </a:r>
          </a:p>
          <a:p>
            <a:pPr marL="179388" indent="-179388">
              <a:spcBef>
                <a:spcPts val="200"/>
              </a:spcBef>
              <a:spcAft>
                <a:spcPts val="200"/>
              </a:spcAft>
              <a:buFont typeface="+mj-lt"/>
              <a:buAutoNum type="arabicPeriod"/>
            </a:pPr>
            <a:r>
              <a:rPr lang="en-US" sz="900" b="0" kern="1200" dirty="0">
                <a:solidFill>
                  <a:schemeClr val="tx1"/>
                </a:solidFill>
                <a:latin typeface="+mn-lt"/>
                <a:ea typeface="+mn-ea"/>
                <a:cs typeface="+mn-cs"/>
              </a:rPr>
              <a:t>From here you can move the image within the shape for best visual appearance</a:t>
            </a:r>
          </a:p>
          <a:p>
            <a:pPr marL="179388" indent="-179388">
              <a:spcBef>
                <a:spcPts val="200"/>
              </a:spcBef>
              <a:spcAft>
                <a:spcPts val="200"/>
              </a:spcAft>
              <a:buFont typeface="+mj-lt"/>
              <a:buAutoNum type="arabicPeriod"/>
            </a:pPr>
            <a:endParaRPr lang="en-US" sz="900" b="0" i="0" kern="1200" dirty="0">
              <a:solidFill>
                <a:schemeClr val="tx1"/>
              </a:solidFill>
              <a:latin typeface="+mn-lt"/>
              <a:ea typeface="+mn-ea"/>
              <a:cs typeface="+mn-cs"/>
            </a:endParaRPr>
          </a:p>
          <a:p>
            <a:pPr marL="0" marR="0" lvl="0" indent="0" algn="l" defTabSz="914400" rtl="0" eaLnBrk="1" fontAlgn="auto" latinLnBrk="0" hangingPunct="1">
              <a:lnSpc>
                <a:spcPct val="100000"/>
              </a:lnSpc>
              <a:spcBef>
                <a:spcPts val="200"/>
              </a:spcBef>
              <a:spcAft>
                <a:spcPts val="200"/>
              </a:spcAft>
              <a:buClrTx/>
              <a:buSzTx/>
              <a:buFont typeface="+mj-lt"/>
              <a:buNone/>
              <a:tabLst/>
              <a:defRPr/>
            </a:pPr>
            <a:r>
              <a:rPr lang="en-GB" sz="1000" b="1" i="0" dirty="0">
                <a:effectLst/>
                <a:latin typeface="Arial" panose="020B0604020202020204" pitchFamily="34" charset="0"/>
                <a:ea typeface="Calibri" panose="020F0502020204030204" pitchFamily="34" charset="0"/>
              </a:rPr>
              <a:t>When inserting staff photos, </a:t>
            </a:r>
            <a:r>
              <a:rPr lang="en-GB" sz="1000" i="0" dirty="0">
                <a:effectLst/>
                <a:latin typeface="Arial" panose="020B0604020202020204" pitchFamily="34" charset="0"/>
                <a:ea typeface="Calibri" panose="020F0502020204030204" pitchFamily="34" charset="0"/>
              </a:rPr>
              <a:t>please use the same method as suggested above. To ensure you are using staff photos that are optimised for use in this Pitch Template, please insert them from the “Staff Photos 40x40 BW” folder, located in the Staff photos section of the HFW Pitch Template folder.</a:t>
            </a:r>
            <a:endParaRPr lang="en-GB" sz="1000" i="0" dirty="0">
              <a:effectLst/>
              <a:latin typeface="Calibri" panose="020F0502020204030204" pitchFamily="34" charset="0"/>
              <a:ea typeface="Calibri" panose="020F0502020204030204" pitchFamily="34" charset="0"/>
            </a:endParaRPr>
          </a:p>
          <a:p>
            <a:pPr marL="179388" indent="-179388">
              <a:spcBef>
                <a:spcPts val="200"/>
              </a:spcBef>
              <a:spcAft>
                <a:spcPts val="200"/>
              </a:spcAft>
              <a:buFont typeface="+mj-lt"/>
              <a:buAutoNum type="arabicPeriod"/>
            </a:pPr>
            <a:endParaRPr lang="en-US" sz="900" b="0" kern="1200" dirty="0">
              <a:solidFill>
                <a:schemeClr val="tx1"/>
              </a:solidFill>
              <a:latin typeface="+mn-lt"/>
              <a:ea typeface="+mn-ea"/>
              <a:cs typeface="+mn-cs"/>
            </a:endParaRPr>
          </a:p>
          <a:p>
            <a:pPr marL="179388" indent="-179388">
              <a:spcBef>
                <a:spcPts val="200"/>
              </a:spcBef>
              <a:spcAft>
                <a:spcPts val="200"/>
              </a:spcAft>
              <a:buFont typeface="+mj-lt"/>
              <a:buAutoNum type="arabicPeriod"/>
            </a:pPr>
            <a:endParaRPr lang="en-US" sz="900" b="0" kern="1200" dirty="0">
              <a:solidFill>
                <a:schemeClr val="tx1"/>
              </a:solidFill>
              <a:latin typeface="+mn-lt"/>
              <a:ea typeface="+mn-ea"/>
              <a:cs typeface="+mn-cs"/>
            </a:endParaRPr>
          </a:p>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SAMPLE CONTACT LAYOUT</a:t>
            </a:r>
          </a:p>
        </p:txBody>
      </p:sp>
      <p:grpSp>
        <p:nvGrpSpPr>
          <p:cNvPr id="19" name="Group 18">
            <a:extLst>
              <a:ext uri="{FF2B5EF4-FFF2-40B4-BE49-F238E27FC236}">
                <a16:creationId xmlns:a16="http://schemas.microsoft.com/office/drawing/2014/main" id="{E115C972-2117-01F0-A655-0A656363AEFC}"/>
              </a:ext>
            </a:extLst>
          </p:cNvPr>
          <p:cNvGrpSpPr/>
          <p:nvPr userDrawn="1"/>
        </p:nvGrpSpPr>
        <p:grpSpPr>
          <a:xfrm>
            <a:off x="12437199" y="5138030"/>
            <a:ext cx="2813913" cy="819975"/>
            <a:chOff x="12399099" y="4230487"/>
            <a:chExt cx="2813913" cy="819975"/>
          </a:xfrm>
        </p:grpSpPr>
        <p:sp>
          <p:nvSpPr>
            <p:cNvPr id="20" name="TextBox 19">
              <a:extLst>
                <a:ext uri="{FF2B5EF4-FFF2-40B4-BE49-F238E27FC236}">
                  <a16:creationId xmlns:a16="http://schemas.microsoft.com/office/drawing/2014/main" id="{CDBE061D-3E81-660B-31EB-9E79BE697BC3}"/>
                </a:ext>
              </a:extLst>
            </p:cNvPr>
            <p:cNvSpPr txBox="1"/>
            <p:nvPr userDrawn="1"/>
          </p:nvSpPr>
          <p:spPr>
            <a:xfrm flipH="1">
              <a:off x="12573262" y="4663953"/>
              <a:ext cx="2639750"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grpSp>
          <p:nvGrpSpPr>
            <p:cNvPr id="21" name="Group 20">
              <a:extLst>
                <a:ext uri="{FF2B5EF4-FFF2-40B4-BE49-F238E27FC236}">
                  <a16:creationId xmlns:a16="http://schemas.microsoft.com/office/drawing/2014/main" id="{3332A730-EE29-0D00-8C98-29954FAB21D0}"/>
                </a:ext>
              </a:extLst>
            </p:cNvPr>
            <p:cNvGrpSpPr/>
            <p:nvPr userDrawn="1"/>
          </p:nvGrpSpPr>
          <p:grpSpPr>
            <a:xfrm>
              <a:off x="12399099" y="4230487"/>
              <a:ext cx="2326813" cy="819975"/>
              <a:chOff x="12399099" y="4230487"/>
              <a:chExt cx="2326813" cy="819975"/>
            </a:xfrm>
          </p:grpSpPr>
          <p:sp>
            <p:nvSpPr>
              <p:cNvPr id="22" name="TextBox 21">
                <a:extLst>
                  <a:ext uri="{FF2B5EF4-FFF2-40B4-BE49-F238E27FC236}">
                    <a16:creationId xmlns:a16="http://schemas.microsoft.com/office/drawing/2014/main" id="{9AD9F648-774A-5298-BC61-FB55875AE783}"/>
                  </a:ext>
                </a:extLst>
              </p:cNvPr>
              <p:cNvSpPr txBox="1"/>
              <p:nvPr userDrawn="1"/>
            </p:nvSpPr>
            <p:spPr>
              <a:xfrm flipH="1">
                <a:off x="12399100" y="4663953"/>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23" name="TextBox 22">
                <a:extLst>
                  <a:ext uri="{FF2B5EF4-FFF2-40B4-BE49-F238E27FC236}">
                    <a16:creationId xmlns:a16="http://schemas.microsoft.com/office/drawing/2014/main" id="{79EE13E5-7691-433B-4E33-C63A4EBEE151}"/>
                  </a:ext>
                </a:extLst>
              </p:cNvPr>
              <p:cNvSpPr txBox="1"/>
              <p:nvPr userDrawn="1"/>
            </p:nvSpPr>
            <p:spPr>
              <a:xfrm flipH="1">
                <a:off x="12399100" y="4881185"/>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E</a:t>
                </a:r>
              </a:p>
            </p:txBody>
          </p:sp>
          <p:sp>
            <p:nvSpPr>
              <p:cNvPr id="24" name="TextBox 23">
                <a:extLst>
                  <a:ext uri="{FF2B5EF4-FFF2-40B4-BE49-F238E27FC236}">
                    <a16:creationId xmlns:a16="http://schemas.microsoft.com/office/drawing/2014/main" id="{7ED7C0AF-9A80-420B-FE97-AEC7E880007A}"/>
                  </a:ext>
                </a:extLst>
              </p:cNvPr>
              <p:cNvSpPr txBox="1"/>
              <p:nvPr userDrawn="1"/>
            </p:nvSpPr>
            <p:spPr>
              <a:xfrm flipH="1">
                <a:off x="12573262" y="4881185"/>
                <a:ext cx="2152650"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name.surname@hfw.com</a:t>
                </a:r>
                <a:endParaRPr lang="en-US" dirty="0"/>
              </a:p>
            </p:txBody>
          </p:sp>
          <p:sp>
            <p:nvSpPr>
              <p:cNvPr id="25" name="TextBox 24">
                <a:extLst>
                  <a:ext uri="{FF2B5EF4-FFF2-40B4-BE49-F238E27FC236}">
                    <a16:creationId xmlns:a16="http://schemas.microsoft.com/office/drawing/2014/main" id="{76E96E1F-987B-B912-E292-489555DEF846}"/>
                  </a:ext>
                </a:extLst>
              </p:cNvPr>
              <p:cNvSpPr txBox="1"/>
              <p:nvPr userDrawn="1"/>
            </p:nvSpPr>
            <p:spPr>
              <a:xfrm flipH="1">
                <a:off x="12399099" y="4230487"/>
                <a:ext cx="1968833"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solidFill>
                      <a:schemeClr val="tx2"/>
                    </a:solidFill>
                    <a:latin typeface="+mj-lt"/>
                  </a:rPr>
                  <a:t>NAME SURNAME</a:t>
                </a:r>
              </a:p>
            </p:txBody>
          </p:sp>
          <p:sp>
            <p:nvSpPr>
              <p:cNvPr id="28" name="TextBox 27">
                <a:extLst>
                  <a:ext uri="{FF2B5EF4-FFF2-40B4-BE49-F238E27FC236}">
                    <a16:creationId xmlns:a16="http://schemas.microsoft.com/office/drawing/2014/main" id="{4D5E47CD-8D00-EF08-934F-578C4CFCE1A6}"/>
                  </a:ext>
                </a:extLst>
              </p:cNvPr>
              <p:cNvSpPr txBox="1"/>
              <p:nvPr userDrawn="1"/>
            </p:nvSpPr>
            <p:spPr>
              <a:xfrm flipH="1">
                <a:off x="12399099" y="4445785"/>
                <a:ext cx="1968833"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US" dirty="0"/>
                  <a:t>Position, Location</a:t>
                </a:r>
              </a:p>
            </p:txBody>
          </p:sp>
        </p:grpSp>
      </p:grpSp>
    </p:spTree>
    <p:extLst>
      <p:ext uri="{BB962C8B-B14F-4D97-AF65-F5344CB8AC3E}">
        <p14:creationId xmlns:p14="http://schemas.microsoft.com/office/powerpoint/2010/main" val="1408595693"/>
      </p:ext>
    </p:extLst>
  </p:cSld>
  <p:clrMapOvr>
    <a:masterClrMapping/>
  </p:clrMapOvr>
  <p:transition spd="med">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Key Contacts 6 &amp; Quote">
    <p:bg>
      <p:bgPr>
        <a:solidFill>
          <a:schemeClr val="bg2"/>
        </a:solidFill>
        <a:effectLst/>
      </p:bgPr>
    </p:bg>
    <p:spTree>
      <p:nvGrpSpPr>
        <p:cNvPr id="1" name=""/>
        <p:cNvGrpSpPr/>
        <p:nvPr/>
      </p:nvGrpSpPr>
      <p:grpSpPr>
        <a:xfrm>
          <a:off x="0" y="0"/>
          <a:ext cx="0" cy="0"/>
          <a:chOff x="0" y="0"/>
          <a:chExt cx="0" cy="0"/>
        </a:xfrm>
      </p:grpSpPr>
      <p:sp>
        <p:nvSpPr>
          <p:cNvPr id="9" name="Picture Placeholder 10">
            <a:extLst>
              <a:ext uri="{FF2B5EF4-FFF2-40B4-BE49-F238E27FC236}">
                <a16:creationId xmlns:a16="http://schemas.microsoft.com/office/drawing/2014/main" id="{957F7B8C-8896-F507-1133-31FF9F06D6DB}"/>
              </a:ext>
            </a:extLst>
          </p:cNvPr>
          <p:cNvSpPr>
            <a:spLocks noGrp="1"/>
          </p:cNvSpPr>
          <p:nvPr>
            <p:ph type="pic" sz="quarter" idx="13" hasCustomPrompt="1"/>
          </p:nvPr>
        </p:nvSpPr>
        <p:spPr>
          <a:xfrm>
            <a:off x="8126412" y="0"/>
            <a:ext cx="4065587" cy="6858000"/>
          </a:xfrm>
          <a:solidFill>
            <a:schemeClr val="tx1"/>
          </a:solidFill>
        </p:spPr>
        <p:txBody>
          <a:bodyPr vert="horz" lIns="0" tIns="45720" rIns="0" bIns="45720" rtlCol="0" anchor="ctr">
            <a:normAutofit/>
          </a:bodyPr>
          <a:lstStyle>
            <a:lvl1pPr algn="ctr">
              <a:defRPr lang="en-GB" sz="2800" b="0" dirty="0">
                <a:solidFill>
                  <a:schemeClr val="bg1"/>
                </a:solidFill>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US" dirty="0"/>
              <a:t>ADD RELATED </a:t>
            </a:r>
            <a:br>
              <a:rPr lang="en-US" dirty="0"/>
            </a:br>
            <a:r>
              <a:rPr lang="en-US" dirty="0"/>
              <a:t>IMAGE </a:t>
            </a:r>
            <a:br>
              <a:rPr lang="en-US" dirty="0"/>
            </a:br>
            <a:r>
              <a:rPr lang="en-US" dirty="0"/>
              <a:t>FROM HFW </a:t>
            </a:r>
            <a:br>
              <a:rPr lang="en-US" dirty="0"/>
            </a:br>
            <a:r>
              <a:rPr lang="en-US" dirty="0"/>
              <a:t>IMAGE LIBRARY</a:t>
            </a:r>
          </a:p>
        </p:txBody>
      </p:sp>
      <p:sp>
        <p:nvSpPr>
          <p:cNvPr id="2" name="Title 1"/>
          <p:cNvSpPr>
            <a:spLocks noGrp="1"/>
          </p:cNvSpPr>
          <p:nvPr>
            <p:ph type="title" hasCustomPrompt="1"/>
          </p:nvPr>
        </p:nvSpPr>
        <p:spPr>
          <a:xfrm>
            <a:off x="508000" y="454013"/>
            <a:ext cx="7459663" cy="663587"/>
          </a:xfrm>
        </p:spPr>
        <p:txBody>
          <a:bodyPr/>
          <a:lstStyle/>
          <a:p>
            <a:r>
              <a:rPr lang="en-US" dirty="0"/>
              <a:t>Key </a:t>
            </a:r>
            <a:r>
              <a:rPr lang="en-US" dirty="0" err="1"/>
              <a:t>contactS</a:t>
            </a:r>
            <a:endParaRPr lang="en-US" dirty="0"/>
          </a:p>
        </p:txBody>
      </p:sp>
      <p:sp>
        <p:nvSpPr>
          <p:cNvPr id="5" name="Footer Placeholder 4"/>
          <p:cNvSpPr>
            <a:spLocks noGrp="1"/>
          </p:cNvSpPr>
          <p:nvPr>
            <p:ph type="ftr" sz="quarter" idx="11"/>
          </p:nvPr>
        </p:nvSpPr>
        <p:spPr/>
        <p:txBody>
          <a:bodyPr/>
          <a:lstStyle/>
          <a:p>
            <a:r>
              <a:rPr lang="en-GB"/>
              <a:t>INSERT FOOTER HER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8CFE0557-AA98-4E6C-B0C3-581794696B68}" type="slidenum">
              <a:rPr lang="en-GB" smtClean="0"/>
              <a:pPr/>
              <a:t>‹#›</a:t>
            </a:fld>
            <a:endParaRPr lang="en-GB"/>
          </a:p>
        </p:txBody>
      </p:sp>
      <p:sp>
        <p:nvSpPr>
          <p:cNvPr id="15" name="Text Placeholder 12">
            <a:extLst>
              <a:ext uri="{FF2B5EF4-FFF2-40B4-BE49-F238E27FC236}">
                <a16:creationId xmlns:a16="http://schemas.microsoft.com/office/drawing/2014/main" id="{794C8C8E-E01D-5FFB-68A5-0BDBA94C4ADE}"/>
              </a:ext>
            </a:extLst>
          </p:cNvPr>
          <p:cNvSpPr>
            <a:spLocks noGrp="1"/>
          </p:cNvSpPr>
          <p:nvPr>
            <p:ph type="body" sz="quarter" idx="34" hasCustomPrompt="1"/>
          </p:nvPr>
        </p:nvSpPr>
        <p:spPr>
          <a:xfrm>
            <a:off x="508000" y="5334846"/>
            <a:ext cx="7127876" cy="681779"/>
          </a:xfrm>
        </p:spPr>
        <p:txBody>
          <a:bodyPr vert="horz" lIns="0" tIns="45720" rIns="0" bIns="0" rtlCol="0" anchor="b" anchorCtr="0">
            <a:noAutofit/>
          </a:bodyPr>
          <a:lstStyle>
            <a:lvl1pPr marL="108000" indent="-108000">
              <a:lnSpc>
                <a:spcPct val="110000"/>
              </a:lnSpc>
              <a:spcBef>
                <a:spcPts val="0"/>
              </a:spcBef>
              <a:spcAft>
                <a:spcPts val="0"/>
              </a:spcAft>
              <a:defRPr lang="en-US" sz="2000" dirty="0">
                <a:solidFill>
                  <a:schemeClr val="accent2"/>
                </a:solidFill>
              </a:defRPr>
            </a:lvl1pPr>
            <a:lvl2pPr>
              <a:defRPr lang="en-US" sz="1400" dirty="0">
                <a:solidFill>
                  <a:schemeClr val="tx2"/>
                </a:solidFill>
                <a:latin typeface="+mj-lt"/>
              </a:defRPr>
            </a:lvl2pPr>
          </a:lstStyle>
          <a:p>
            <a:pPr marL="108000" lvl="0" indent="-108000">
              <a:lnSpc>
                <a:spcPct val="100000"/>
              </a:lnSpc>
              <a:spcBef>
                <a:spcPts val="200"/>
              </a:spcBef>
              <a:spcAft>
                <a:spcPts val="200"/>
              </a:spcAft>
            </a:pPr>
            <a:r>
              <a:rPr lang="en-US" dirty="0"/>
              <a:t>“Quote goes here.”</a:t>
            </a:r>
          </a:p>
        </p:txBody>
      </p:sp>
      <p:sp>
        <p:nvSpPr>
          <p:cNvPr id="16" name="Text Placeholder 7">
            <a:extLst>
              <a:ext uri="{FF2B5EF4-FFF2-40B4-BE49-F238E27FC236}">
                <a16:creationId xmlns:a16="http://schemas.microsoft.com/office/drawing/2014/main" id="{EC7C1D2B-C4A3-B326-6312-67307ED0176A}"/>
              </a:ext>
            </a:extLst>
          </p:cNvPr>
          <p:cNvSpPr>
            <a:spLocks noGrp="1"/>
          </p:cNvSpPr>
          <p:nvPr>
            <p:ph type="body" sz="quarter" idx="24" hasCustomPrompt="1"/>
          </p:nvPr>
        </p:nvSpPr>
        <p:spPr>
          <a:xfrm>
            <a:off x="508000" y="6047121"/>
            <a:ext cx="7127876" cy="215444"/>
          </a:xfrm>
        </p:spPr>
        <p:txBody>
          <a:bodyPr wrap="square" tIns="0" bIns="0" anchor="b" anchorCtr="0">
            <a:spAutoFit/>
          </a:bodyPr>
          <a:lstStyle>
            <a:lvl1pPr marL="108000">
              <a:lnSpc>
                <a:spcPct val="100000"/>
              </a:lnSpc>
              <a:defRPr sz="1400" cap="all" baseline="0">
                <a:solidFill>
                  <a:schemeClr val="tx2"/>
                </a:solidFill>
                <a:latin typeface="+mj-lt"/>
              </a:defRPr>
            </a:lvl1pPr>
            <a:lvl2pPr marL="108000">
              <a:lnSpc>
                <a:spcPct val="100000"/>
              </a:lnSpc>
              <a:defRPr sz="1400" cap="all" baseline="0">
                <a:solidFill>
                  <a:schemeClr val="tx2"/>
                </a:solidFill>
                <a:latin typeface="+mj-lt"/>
              </a:defRPr>
            </a:lvl2pPr>
            <a:lvl3pPr marL="108000">
              <a:lnSpc>
                <a:spcPct val="100000"/>
              </a:lnSpc>
              <a:defRPr sz="1400" cap="all" baseline="0">
                <a:solidFill>
                  <a:schemeClr val="tx2"/>
                </a:solidFill>
                <a:latin typeface="+mj-lt"/>
              </a:defRPr>
            </a:lvl3pPr>
            <a:lvl4pPr marL="108000">
              <a:lnSpc>
                <a:spcPct val="100000"/>
              </a:lnSpc>
              <a:defRPr sz="1400" cap="all" baseline="0">
                <a:solidFill>
                  <a:schemeClr val="tx2"/>
                </a:solidFill>
                <a:latin typeface="+mj-lt"/>
              </a:defRPr>
            </a:lvl4pPr>
            <a:lvl5pPr marL="108000">
              <a:lnSpc>
                <a:spcPct val="100000"/>
              </a:lnSpc>
              <a:defRPr sz="1400" cap="all" baseline="0">
                <a:solidFill>
                  <a:schemeClr val="tx2"/>
                </a:solidFill>
                <a:latin typeface="+mj-lt"/>
              </a:defRPr>
            </a:lvl5pPr>
          </a:lstStyle>
          <a:p>
            <a:pPr lvl="0"/>
            <a:r>
              <a:rPr lang="en-US" dirty="0"/>
              <a:t>quote author</a:t>
            </a:r>
            <a:endParaRPr lang="en-GB" dirty="0"/>
          </a:p>
        </p:txBody>
      </p:sp>
      <p:sp>
        <p:nvSpPr>
          <p:cNvPr id="33" name="Picture Placeholder 14">
            <a:extLst>
              <a:ext uri="{FF2B5EF4-FFF2-40B4-BE49-F238E27FC236}">
                <a16:creationId xmlns:a16="http://schemas.microsoft.com/office/drawing/2014/main" id="{B4D0D383-B772-0E16-F7FA-7D06514F020F}"/>
              </a:ext>
            </a:extLst>
          </p:cNvPr>
          <p:cNvSpPr>
            <a:spLocks noGrp="1"/>
          </p:cNvSpPr>
          <p:nvPr>
            <p:ph type="pic" sz="quarter" idx="35" hasCustomPrompt="1"/>
          </p:nvPr>
        </p:nvSpPr>
        <p:spPr>
          <a:xfrm>
            <a:off x="4235451" y="1298891"/>
            <a:ext cx="876299" cy="876299"/>
          </a:xfrm>
          <a:solidFill>
            <a:schemeClr val="bg1"/>
          </a:solidFill>
        </p:spPr>
        <p:txBody>
          <a:bodyPr anchor="ctr">
            <a:normAutofit/>
          </a:bodyPr>
          <a:lstStyle>
            <a:lvl1pPr algn="ctr">
              <a:defRPr sz="1000">
                <a:latin typeface="+mn-lt"/>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GB" dirty="0"/>
              <a:t>Picture</a:t>
            </a:r>
          </a:p>
        </p:txBody>
      </p:sp>
      <p:sp>
        <p:nvSpPr>
          <p:cNvPr id="34" name="Text Placeholder 16">
            <a:extLst>
              <a:ext uri="{FF2B5EF4-FFF2-40B4-BE49-F238E27FC236}">
                <a16:creationId xmlns:a16="http://schemas.microsoft.com/office/drawing/2014/main" id="{9B54ADEF-278F-CC0C-107C-FBCE678EA15A}"/>
              </a:ext>
            </a:extLst>
          </p:cNvPr>
          <p:cNvSpPr>
            <a:spLocks noGrp="1"/>
          </p:cNvSpPr>
          <p:nvPr>
            <p:ph type="body" sz="quarter" idx="36" hasCustomPrompt="1"/>
          </p:nvPr>
        </p:nvSpPr>
        <p:spPr>
          <a:xfrm>
            <a:off x="5211365" y="1538859"/>
            <a:ext cx="2543172"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US" dirty="0"/>
              <a:t>Position, Location</a:t>
            </a:r>
          </a:p>
        </p:txBody>
      </p:sp>
      <p:sp>
        <p:nvSpPr>
          <p:cNvPr id="35" name="Text Placeholder 16">
            <a:extLst>
              <a:ext uri="{FF2B5EF4-FFF2-40B4-BE49-F238E27FC236}">
                <a16:creationId xmlns:a16="http://schemas.microsoft.com/office/drawing/2014/main" id="{5B0CF73D-51D5-F167-59B0-4C8E1AD56FB6}"/>
              </a:ext>
            </a:extLst>
          </p:cNvPr>
          <p:cNvSpPr>
            <a:spLocks noGrp="1"/>
          </p:cNvSpPr>
          <p:nvPr>
            <p:ph type="body" sz="quarter" idx="37" hasCustomPrompt="1"/>
          </p:nvPr>
        </p:nvSpPr>
        <p:spPr>
          <a:xfrm>
            <a:off x="5211365" y="1321689"/>
            <a:ext cx="2543172" cy="169277"/>
          </a:xfrm>
        </p:spPr>
        <p:txBody>
          <a:bodyPr tIns="0" bIns="0">
            <a:noAutofit/>
          </a:bodyPr>
          <a:lstStyle>
            <a:lvl1pPr algn="l">
              <a:lnSpc>
                <a:spcPct val="100000"/>
              </a:lnSpc>
              <a:spcBef>
                <a:spcPts val="0"/>
              </a:spcBef>
              <a:spcAft>
                <a:spcPts val="0"/>
              </a:spcAft>
              <a:defRPr sz="1100" cap="all" baseline="0">
                <a:solidFill>
                  <a:schemeClr val="tx2"/>
                </a:solidFill>
                <a:latin typeface="+mj-lt"/>
              </a:defRPr>
            </a:lvl1pPr>
            <a:lvl2pPr algn="l">
              <a:lnSpc>
                <a:spcPct val="100000"/>
              </a:lnSpc>
              <a:spcBef>
                <a:spcPts val="200"/>
              </a:spcBef>
              <a:spcAft>
                <a:spcPts val="200"/>
              </a:spcAft>
              <a:defRPr sz="1100">
                <a:solidFill>
                  <a:schemeClr val="tx1"/>
                </a:solidFill>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0"/>
            <a:r>
              <a:rPr lang="en-US" dirty="0"/>
              <a:t>NAME SURNAME</a:t>
            </a:r>
          </a:p>
        </p:txBody>
      </p:sp>
      <p:sp>
        <p:nvSpPr>
          <p:cNvPr id="36" name="Text Placeholder 16">
            <a:extLst>
              <a:ext uri="{FF2B5EF4-FFF2-40B4-BE49-F238E27FC236}">
                <a16:creationId xmlns:a16="http://schemas.microsoft.com/office/drawing/2014/main" id="{A429076C-2756-FC7A-38CE-31B0132D9C9A}"/>
              </a:ext>
            </a:extLst>
          </p:cNvPr>
          <p:cNvSpPr>
            <a:spLocks noGrp="1"/>
          </p:cNvSpPr>
          <p:nvPr>
            <p:ph type="body" sz="quarter" idx="38" hasCustomPrompt="1"/>
          </p:nvPr>
        </p:nvSpPr>
        <p:spPr>
          <a:xfrm>
            <a:off x="5387048" y="1756091"/>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37" name="Text Placeholder 16">
            <a:extLst>
              <a:ext uri="{FF2B5EF4-FFF2-40B4-BE49-F238E27FC236}">
                <a16:creationId xmlns:a16="http://schemas.microsoft.com/office/drawing/2014/main" id="{AA911953-F270-2CC3-A35E-D6747A3D2DD4}"/>
              </a:ext>
            </a:extLst>
          </p:cNvPr>
          <p:cNvSpPr>
            <a:spLocks noGrp="1"/>
          </p:cNvSpPr>
          <p:nvPr>
            <p:ph type="body" sz="quarter" idx="39" hasCustomPrompt="1"/>
          </p:nvPr>
        </p:nvSpPr>
        <p:spPr>
          <a:xfrm>
            <a:off x="5387048" y="1973323"/>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name.surname@hfw.com</a:t>
            </a:r>
            <a:endParaRPr lang="en-US" dirty="0"/>
          </a:p>
        </p:txBody>
      </p:sp>
      <p:sp>
        <p:nvSpPr>
          <p:cNvPr id="38" name="TextBox 37">
            <a:extLst>
              <a:ext uri="{FF2B5EF4-FFF2-40B4-BE49-F238E27FC236}">
                <a16:creationId xmlns:a16="http://schemas.microsoft.com/office/drawing/2014/main" id="{48198480-FD49-A6FE-6411-998B15B403DB}"/>
              </a:ext>
            </a:extLst>
          </p:cNvPr>
          <p:cNvSpPr txBox="1"/>
          <p:nvPr userDrawn="1"/>
        </p:nvSpPr>
        <p:spPr>
          <a:xfrm flipH="1">
            <a:off x="5212884" y="1756091"/>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39" name="TextBox 38">
            <a:extLst>
              <a:ext uri="{FF2B5EF4-FFF2-40B4-BE49-F238E27FC236}">
                <a16:creationId xmlns:a16="http://schemas.microsoft.com/office/drawing/2014/main" id="{82C4203F-1F52-37D4-F1B3-7820160ECFFB}"/>
              </a:ext>
            </a:extLst>
          </p:cNvPr>
          <p:cNvSpPr txBox="1"/>
          <p:nvPr userDrawn="1"/>
        </p:nvSpPr>
        <p:spPr>
          <a:xfrm flipH="1">
            <a:off x="5212884" y="1973323"/>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E</a:t>
            </a:r>
          </a:p>
        </p:txBody>
      </p:sp>
      <p:sp>
        <p:nvSpPr>
          <p:cNvPr id="40" name="Picture Placeholder 14">
            <a:extLst>
              <a:ext uri="{FF2B5EF4-FFF2-40B4-BE49-F238E27FC236}">
                <a16:creationId xmlns:a16="http://schemas.microsoft.com/office/drawing/2014/main" id="{E39A9BF0-CDC0-92B9-C86C-20E2C296CCDA}"/>
              </a:ext>
            </a:extLst>
          </p:cNvPr>
          <p:cNvSpPr>
            <a:spLocks noGrp="1"/>
          </p:cNvSpPr>
          <p:nvPr>
            <p:ph type="pic" sz="quarter" idx="40" hasCustomPrompt="1"/>
          </p:nvPr>
        </p:nvSpPr>
        <p:spPr>
          <a:xfrm>
            <a:off x="516891" y="1298891"/>
            <a:ext cx="876299" cy="876299"/>
          </a:xfrm>
          <a:solidFill>
            <a:schemeClr val="bg1"/>
          </a:solidFill>
        </p:spPr>
        <p:txBody>
          <a:bodyPr anchor="ctr">
            <a:normAutofit/>
          </a:bodyPr>
          <a:lstStyle>
            <a:lvl1pPr algn="ctr">
              <a:defRPr sz="1000">
                <a:latin typeface="+mn-lt"/>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GB" dirty="0"/>
              <a:t>Picture</a:t>
            </a:r>
          </a:p>
        </p:txBody>
      </p:sp>
      <p:sp>
        <p:nvSpPr>
          <p:cNvPr id="41" name="Text Placeholder 16">
            <a:extLst>
              <a:ext uri="{FF2B5EF4-FFF2-40B4-BE49-F238E27FC236}">
                <a16:creationId xmlns:a16="http://schemas.microsoft.com/office/drawing/2014/main" id="{13ED7132-03FE-77EB-D338-107ADB85331F}"/>
              </a:ext>
            </a:extLst>
          </p:cNvPr>
          <p:cNvSpPr>
            <a:spLocks noGrp="1"/>
          </p:cNvSpPr>
          <p:nvPr>
            <p:ph type="body" sz="quarter" idx="41" hasCustomPrompt="1"/>
          </p:nvPr>
        </p:nvSpPr>
        <p:spPr>
          <a:xfrm>
            <a:off x="1492805" y="1538859"/>
            <a:ext cx="2543172"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US" dirty="0"/>
              <a:t>Position, Location</a:t>
            </a:r>
          </a:p>
        </p:txBody>
      </p:sp>
      <p:sp>
        <p:nvSpPr>
          <p:cNvPr id="42" name="Text Placeholder 16">
            <a:extLst>
              <a:ext uri="{FF2B5EF4-FFF2-40B4-BE49-F238E27FC236}">
                <a16:creationId xmlns:a16="http://schemas.microsoft.com/office/drawing/2014/main" id="{1F34B3DE-3A4C-ECEE-4983-1B0BB7EC9160}"/>
              </a:ext>
            </a:extLst>
          </p:cNvPr>
          <p:cNvSpPr>
            <a:spLocks noGrp="1"/>
          </p:cNvSpPr>
          <p:nvPr>
            <p:ph type="body" sz="quarter" idx="42" hasCustomPrompt="1"/>
          </p:nvPr>
        </p:nvSpPr>
        <p:spPr>
          <a:xfrm>
            <a:off x="1492805" y="1321689"/>
            <a:ext cx="2543172" cy="169277"/>
          </a:xfrm>
        </p:spPr>
        <p:txBody>
          <a:bodyPr tIns="0" bIns="0">
            <a:noAutofit/>
          </a:bodyPr>
          <a:lstStyle>
            <a:lvl1pPr algn="l">
              <a:lnSpc>
                <a:spcPct val="100000"/>
              </a:lnSpc>
              <a:spcBef>
                <a:spcPts val="0"/>
              </a:spcBef>
              <a:spcAft>
                <a:spcPts val="0"/>
              </a:spcAft>
              <a:defRPr sz="1100" cap="all" baseline="0">
                <a:solidFill>
                  <a:schemeClr val="tx2"/>
                </a:solidFill>
                <a:latin typeface="+mj-lt"/>
              </a:defRPr>
            </a:lvl1pPr>
            <a:lvl2pPr algn="l">
              <a:lnSpc>
                <a:spcPct val="100000"/>
              </a:lnSpc>
              <a:spcBef>
                <a:spcPts val="200"/>
              </a:spcBef>
              <a:spcAft>
                <a:spcPts val="200"/>
              </a:spcAft>
              <a:defRPr sz="1100">
                <a:solidFill>
                  <a:schemeClr val="tx1"/>
                </a:solidFill>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0"/>
            <a:r>
              <a:rPr lang="en-US" dirty="0"/>
              <a:t>NAME SURNAME</a:t>
            </a:r>
          </a:p>
        </p:txBody>
      </p:sp>
      <p:sp>
        <p:nvSpPr>
          <p:cNvPr id="43" name="Text Placeholder 16">
            <a:extLst>
              <a:ext uri="{FF2B5EF4-FFF2-40B4-BE49-F238E27FC236}">
                <a16:creationId xmlns:a16="http://schemas.microsoft.com/office/drawing/2014/main" id="{928ECBE1-7B1C-F8B6-7CC6-3C16CB51FE44}"/>
              </a:ext>
            </a:extLst>
          </p:cNvPr>
          <p:cNvSpPr>
            <a:spLocks noGrp="1"/>
          </p:cNvSpPr>
          <p:nvPr>
            <p:ph type="body" sz="quarter" idx="43" hasCustomPrompt="1"/>
          </p:nvPr>
        </p:nvSpPr>
        <p:spPr>
          <a:xfrm>
            <a:off x="1668488" y="1756091"/>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44" name="Text Placeholder 16">
            <a:extLst>
              <a:ext uri="{FF2B5EF4-FFF2-40B4-BE49-F238E27FC236}">
                <a16:creationId xmlns:a16="http://schemas.microsoft.com/office/drawing/2014/main" id="{67000870-B22E-05DA-499F-460540EF18D5}"/>
              </a:ext>
            </a:extLst>
          </p:cNvPr>
          <p:cNvSpPr>
            <a:spLocks noGrp="1"/>
          </p:cNvSpPr>
          <p:nvPr>
            <p:ph type="body" sz="quarter" idx="44" hasCustomPrompt="1"/>
          </p:nvPr>
        </p:nvSpPr>
        <p:spPr>
          <a:xfrm>
            <a:off x="1668488" y="1973323"/>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name.surname@hfw.com</a:t>
            </a:r>
            <a:endParaRPr lang="en-US" dirty="0"/>
          </a:p>
        </p:txBody>
      </p:sp>
      <p:sp>
        <p:nvSpPr>
          <p:cNvPr id="45" name="TextBox 44">
            <a:extLst>
              <a:ext uri="{FF2B5EF4-FFF2-40B4-BE49-F238E27FC236}">
                <a16:creationId xmlns:a16="http://schemas.microsoft.com/office/drawing/2014/main" id="{C4D7086B-DFFF-F5AF-FC33-DB28DD46C46C}"/>
              </a:ext>
            </a:extLst>
          </p:cNvPr>
          <p:cNvSpPr txBox="1"/>
          <p:nvPr userDrawn="1"/>
        </p:nvSpPr>
        <p:spPr>
          <a:xfrm flipH="1">
            <a:off x="1494324" y="1756091"/>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46" name="TextBox 45">
            <a:extLst>
              <a:ext uri="{FF2B5EF4-FFF2-40B4-BE49-F238E27FC236}">
                <a16:creationId xmlns:a16="http://schemas.microsoft.com/office/drawing/2014/main" id="{ECD16A64-F531-8C98-9D9D-E9648F50C881}"/>
              </a:ext>
            </a:extLst>
          </p:cNvPr>
          <p:cNvSpPr txBox="1"/>
          <p:nvPr userDrawn="1"/>
        </p:nvSpPr>
        <p:spPr>
          <a:xfrm flipH="1">
            <a:off x="1494324" y="1973323"/>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E</a:t>
            </a:r>
          </a:p>
        </p:txBody>
      </p:sp>
      <p:sp>
        <p:nvSpPr>
          <p:cNvPr id="47" name="Picture Placeholder 14">
            <a:extLst>
              <a:ext uri="{FF2B5EF4-FFF2-40B4-BE49-F238E27FC236}">
                <a16:creationId xmlns:a16="http://schemas.microsoft.com/office/drawing/2014/main" id="{FCBF5B17-E3B7-E8CE-F1D6-91E78D476C26}"/>
              </a:ext>
            </a:extLst>
          </p:cNvPr>
          <p:cNvSpPr>
            <a:spLocks noGrp="1"/>
          </p:cNvSpPr>
          <p:nvPr>
            <p:ph type="pic" sz="quarter" idx="45" hasCustomPrompt="1"/>
          </p:nvPr>
        </p:nvSpPr>
        <p:spPr>
          <a:xfrm>
            <a:off x="4235451" y="2319337"/>
            <a:ext cx="876299" cy="876299"/>
          </a:xfrm>
          <a:solidFill>
            <a:schemeClr val="bg1"/>
          </a:solidFill>
        </p:spPr>
        <p:txBody>
          <a:bodyPr anchor="ctr">
            <a:normAutofit/>
          </a:bodyPr>
          <a:lstStyle>
            <a:lvl1pPr algn="ctr">
              <a:defRPr sz="1000">
                <a:latin typeface="+mn-lt"/>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GB" dirty="0"/>
              <a:t>Picture</a:t>
            </a:r>
          </a:p>
        </p:txBody>
      </p:sp>
      <p:sp>
        <p:nvSpPr>
          <p:cNvPr id="48" name="Text Placeholder 16">
            <a:extLst>
              <a:ext uri="{FF2B5EF4-FFF2-40B4-BE49-F238E27FC236}">
                <a16:creationId xmlns:a16="http://schemas.microsoft.com/office/drawing/2014/main" id="{74CA3B02-5DF3-B5CF-80A0-D9373BAEC72F}"/>
              </a:ext>
            </a:extLst>
          </p:cNvPr>
          <p:cNvSpPr>
            <a:spLocks noGrp="1"/>
          </p:cNvSpPr>
          <p:nvPr>
            <p:ph type="body" sz="quarter" idx="46" hasCustomPrompt="1"/>
          </p:nvPr>
        </p:nvSpPr>
        <p:spPr>
          <a:xfrm>
            <a:off x="5211365" y="2559305"/>
            <a:ext cx="2543172"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US" dirty="0"/>
              <a:t>Position, Location</a:t>
            </a:r>
          </a:p>
        </p:txBody>
      </p:sp>
      <p:sp>
        <p:nvSpPr>
          <p:cNvPr id="49" name="Text Placeholder 16">
            <a:extLst>
              <a:ext uri="{FF2B5EF4-FFF2-40B4-BE49-F238E27FC236}">
                <a16:creationId xmlns:a16="http://schemas.microsoft.com/office/drawing/2014/main" id="{27D0C356-16EF-F264-F3A5-7DA2B3A9589C}"/>
              </a:ext>
            </a:extLst>
          </p:cNvPr>
          <p:cNvSpPr>
            <a:spLocks noGrp="1"/>
          </p:cNvSpPr>
          <p:nvPr>
            <p:ph type="body" sz="quarter" idx="47" hasCustomPrompt="1"/>
          </p:nvPr>
        </p:nvSpPr>
        <p:spPr>
          <a:xfrm>
            <a:off x="5211365" y="2342135"/>
            <a:ext cx="2543172" cy="169277"/>
          </a:xfrm>
        </p:spPr>
        <p:txBody>
          <a:bodyPr tIns="0" bIns="0">
            <a:noAutofit/>
          </a:bodyPr>
          <a:lstStyle>
            <a:lvl1pPr algn="l">
              <a:lnSpc>
                <a:spcPct val="100000"/>
              </a:lnSpc>
              <a:spcBef>
                <a:spcPts val="0"/>
              </a:spcBef>
              <a:spcAft>
                <a:spcPts val="0"/>
              </a:spcAft>
              <a:defRPr sz="1100" cap="all" baseline="0">
                <a:solidFill>
                  <a:schemeClr val="tx2"/>
                </a:solidFill>
                <a:latin typeface="+mj-lt"/>
              </a:defRPr>
            </a:lvl1pPr>
            <a:lvl2pPr algn="l">
              <a:lnSpc>
                <a:spcPct val="100000"/>
              </a:lnSpc>
              <a:spcBef>
                <a:spcPts val="200"/>
              </a:spcBef>
              <a:spcAft>
                <a:spcPts val="200"/>
              </a:spcAft>
              <a:defRPr sz="1100">
                <a:solidFill>
                  <a:schemeClr val="tx1"/>
                </a:solidFill>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0"/>
            <a:r>
              <a:rPr lang="en-US" dirty="0"/>
              <a:t>NAME SURNAME</a:t>
            </a:r>
          </a:p>
        </p:txBody>
      </p:sp>
      <p:sp>
        <p:nvSpPr>
          <p:cNvPr id="50" name="Text Placeholder 16">
            <a:extLst>
              <a:ext uri="{FF2B5EF4-FFF2-40B4-BE49-F238E27FC236}">
                <a16:creationId xmlns:a16="http://schemas.microsoft.com/office/drawing/2014/main" id="{994AA1FD-73F5-3CB9-ABD5-D1975A8DA379}"/>
              </a:ext>
            </a:extLst>
          </p:cNvPr>
          <p:cNvSpPr>
            <a:spLocks noGrp="1"/>
          </p:cNvSpPr>
          <p:nvPr>
            <p:ph type="body" sz="quarter" idx="48" hasCustomPrompt="1"/>
          </p:nvPr>
        </p:nvSpPr>
        <p:spPr>
          <a:xfrm>
            <a:off x="5387048" y="2776537"/>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51" name="Text Placeholder 16">
            <a:extLst>
              <a:ext uri="{FF2B5EF4-FFF2-40B4-BE49-F238E27FC236}">
                <a16:creationId xmlns:a16="http://schemas.microsoft.com/office/drawing/2014/main" id="{3C4229B8-ECCF-AE3C-8800-0DCAAAB34784}"/>
              </a:ext>
            </a:extLst>
          </p:cNvPr>
          <p:cNvSpPr>
            <a:spLocks noGrp="1"/>
          </p:cNvSpPr>
          <p:nvPr>
            <p:ph type="body" sz="quarter" idx="49" hasCustomPrompt="1"/>
          </p:nvPr>
        </p:nvSpPr>
        <p:spPr>
          <a:xfrm>
            <a:off x="5387048" y="2993769"/>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name.surname@hfw.com</a:t>
            </a:r>
            <a:endParaRPr lang="en-US" dirty="0"/>
          </a:p>
        </p:txBody>
      </p:sp>
      <p:sp>
        <p:nvSpPr>
          <p:cNvPr id="52" name="TextBox 51">
            <a:extLst>
              <a:ext uri="{FF2B5EF4-FFF2-40B4-BE49-F238E27FC236}">
                <a16:creationId xmlns:a16="http://schemas.microsoft.com/office/drawing/2014/main" id="{71C89E1E-3C13-96FB-7233-43671A6C3ADA}"/>
              </a:ext>
            </a:extLst>
          </p:cNvPr>
          <p:cNvSpPr txBox="1"/>
          <p:nvPr userDrawn="1"/>
        </p:nvSpPr>
        <p:spPr>
          <a:xfrm flipH="1">
            <a:off x="5212884" y="2776537"/>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53" name="TextBox 52">
            <a:extLst>
              <a:ext uri="{FF2B5EF4-FFF2-40B4-BE49-F238E27FC236}">
                <a16:creationId xmlns:a16="http://schemas.microsoft.com/office/drawing/2014/main" id="{7DD16675-497F-E05C-56B1-DFB96390941D}"/>
              </a:ext>
            </a:extLst>
          </p:cNvPr>
          <p:cNvSpPr txBox="1"/>
          <p:nvPr userDrawn="1"/>
        </p:nvSpPr>
        <p:spPr>
          <a:xfrm flipH="1">
            <a:off x="5212884" y="2993769"/>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E</a:t>
            </a:r>
          </a:p>
        </p:txBody>
      </p:sp>
      <p:sp>
        <p:nvSpPr>
          <p:cNvPr id="54" name="Picture Placeholder 14">
            <a:extLst>
              <a:ext uri="{FF2B5EF4-FFF2-40B4-BE49-F238E27FC236}">
                <a16:creationId xmlns:a16="http://schemas.microsoft.com/office/drawing/2014/main" id="{765D0AF9-09D7-CB8A-18F1-CEE987C8A0F5}"/>
              </a:ext>
            </a:extLst>
          </p:cNvPr>
          <p:cNvSpPr>
            <a:spLocks noGrp="1"/>
          </p:cNvSpPr>
          <p:nvPr>
            <p:ph type="pic" sz="quarter" idx="50" hasCustomPrompt="1"/>
          </p:nvPr>
        </p:nvSpPr>
        <p:spPr>
          <a:xfrm>
            <a:off x="516891" y="2319337"/>
            <a:ext cx="876299" cy="876299"/>
          </a:xfrm>
          <a:solidFill>
            <a:schemeClr val="bg1"/>
          </a:solidFill>
        </p:spPr>
        <p:txBody>
          <a:bodyPr anchor="ctr">
            <a:normAutofit/>
          </a:bodyPr>
          <a:lstStyle>
            <a:lvl1pPr algn="ctr">
              <a:defRPr sz="1000">
                <a:latin typeface="+mn-lt"/>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GB" dirty="0"/>
              <a:t>Picture</a:t>
            </a:r>
          </a:p>
        </p:txBody>
      </p:sp>
      <p:sp>
        <p:nvSpPr>
          <p:cNvPr id="55" name="Text Placeholder 16">
            <a:extLst>
              <a:ext uri="{FF2B5EF4-FFF2-40B4-BE49-F238E27FC236}">
                <a16:creationId xmlns:a16="http://schemas.microsoft.com/office/drawing/2014/main" id="{12D1AF25-C238-F5D2-7E4D-8425E6ACF0C1}"/>
              </a:ext>
            </a:extLst>
          </p:cNvPr>
          <p:cNvSpPr>
            <a:spLocks noGrp="1"/>
          </p:cNvSpPr>
          <p:nvPr>
            <p:ph type="body" sz="quarter" idx="51" hasCustomPrompt="1"/>
          </p:nvPr>
        </p:nvSpPr>
        <p:spPr>
          <a:xfrm>
            <a:off x="1492805" y="2559305"/>
            <a:ext cx="2543172"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US" dirty="0"/>
              <a:t>Position, Location</a:t>
            </a:r>
          </a:p>
        </p:txBody>
      </p:sp>
      <p:sp>
        <p:nvSpPr>
          <p:cNvPr id="56" name="Text Placeholder 16">
            <a:extLst>
              <a:ext uri="{FF2B5EF4-FFF2-40B4-BE49-F238E27FC236}">
                <a16:creationId xmlns:a16="http://schemas.microsoft.com/office/drawing/2014/main" id="{58D64E4A-189B-B2C3-165C-1C8E6C459A82}"/>
              </a:ext>
            </a:extLst>
          </p:cNvPr>
          <p:cNvSpPr>
            <a:spLocks noGrp="1"/>
          </p:cNvSpPr>
          <p:nvPr>
            <p:ph type="body" sz="quarter" idx="52" hasCustomPrompt="1"/>
          </p:nvPr>
        </p:nvSpPr>
        <p:spPr>
          <a:xfrm>
            <a:off x="1492805" y="2342135"/>
            <a:ext cx="2543172" cy="169277"/>
          </a:xfrm>
        </p:spPr>
        <p:txBody>
          <a:bodyPr tIns="0" bIns="0">
            <a:noAutofit/>
          </a:bodyPr>
          <a:lstStyle>
            <a:lvl1pPr algn="l">
              <a:lnSpc>
                <a:spcPct val="100000"/>
              </a:lnSpc>
              <a:spcBef>
                <a:spcPts val="0"/>
              </a:spcBef>
              <a:spcAft>
                <a:spcPts val="0"/>
              </a:spcAft>
              <a:defRPr sz="1100" cap="all" baseline="0">
                <a:solidFill>
                  <a:schemeClr val="tx2"/>
                </a:solidFill>
                <a:latin typeface="+mj-lt"/>
              </a:defRPr>
            </a:lvl1pPr>
            <a:lvl2pPr algn="l">
              <a:lnSpc>
                <a:spcPct val="100000"/>
              </a:lnSpc>
              <a:spcBef>
                <a:spcPts val="200"/>
              </a:spcBef>
              <a:spcAft>
                <a:spcPts val="200"/>
              </a:spcAft>
              <a:defRPr sz="1100">
                <a:solidFill>
                  <a:schemeClr val="tx1"/>
                </a:solidFill>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0"/>
            <a:r>
              <a:rPr lang="en-US" dirty="0"/>
              <a:t>NAME SURNAME</a:t>
            </a:r>
          </a:p>
        </p:txBody>
      </p:sp>
      <p:sp>
        <p:nvSpPr>
          <p:cNvPr id="57" name="Text Placeholder 16">
            <a:extLst>
              <a:ext uri="{FF2B5EF4-FFF2-40B4-BE49-F238E27FC236}">
                <a16:creationId xmlns:a16="http://schemas.microsoft.com/office/drawing/2014/main" id="{31B8901B-9AA9-2A54-5444-FAAAC0E68BE5}"/>
              </a:ext>
            </a:extLst>
          </p:cNvPr>
          <p:cNvSpPr>
            <a:spLocks noGrp="1"/>
          </p:cNvSpPr>
          <p:nvPr>
            <p:ph type="body" sz="quarter" idx="53" hasCustomPrompt="1"/>
          </p:nvPr>
        </p:nvSpPr>
        <p:spPr>
          <a:xfrm>
            <a:off x="1668488" y="2776537"/>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58" name="Text Placeholder 16">
            <a:extLst>
              <a:ext uri="{FF2B5EF4-FFF2-40B4-BE49-F238E27FC236}">
                <a16:creationId xmlns:a16="http://schemas.microsoft.com/office/drawing/2014/main" id="{C7B415D3-E86F-CB8B-4256-8E447C9821B2}"/>
              </a:ext>
            </a:extLst>
          </p:cNvPr>
          <p:cNvSpPr>
            <a:spLocks noGrp="1"/>
          </p:cNvSpPr>
          <p:nvPr>
            <p:ph type="body" sz="quarter" idx="54" hasCustomPrompt="1"/>
          </p:nvPr>
        </p:nvSpPr>
        <p:spPr>
          <a:xfrm>
            <a:off x="1668488" y="2993769"/>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name.surname@hfw.com</a:t>
            </a:r>
            <a:endParaRPr lang="en-US" dirty="0"/>
          </a:p>
        </p:txBody>
      </p:sp>
      <p:sp>
        <p:nvSpPr>
          <p:cNvPr id="59" name="TextBox 58">
            <a:extLst>
              <a:ext uri="{FF2B5EF4-FFF2-40B4-BE49-F238E27FC236}">
                <a16:creationId xmlns:a16="http://schemas.microsoft.com/office/drawing/2014/main" id="{77DD0898-E136-F88E-FAC2-567AA8F09F52}"/>
              </a:ext>
            </a:extLst>
          </p:cNvPr>
          <p:cNvSpPr txBox="1"/>
          <p:nvPr userDrawn="1"/>
        </p:nvSpPr>
        <p:spPr>
          <a:xfrm flipH="1">
            <a:off x="1494324" y="2776537"/>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60" name="TextBox 59">
            <a:extLst>
              <a:ext uri="{FF2B5EF4-FFF2-40B4-BE49-F238E27FC236}">
                <a16:creationId xmlns:a16="http://schemas.microsoft.com/office/drawing/2014/main" id="{75A38973-D9A4-62D3-7BAC-CA5462931AF9}"/>
              </a:ext>
            </a:extLst>
          </p:cNvPr>
          <p:cNvSpPr txBox="1"/>
          <p:nvPr userDrawn="1"/>
        </p:nvSpPr>
        <p:spPr>
          <a:xfrm flipH="1">
            <a:off x="1494324" y="2993769"/>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E</a:t>
            </a:r>
          </a:p>
        </p:txBody>
      </p:sp>
      <p:sp>
        <p:nvSpPr>
          <p:cNvPr id="61" name="Picture Placeholder 14">
            <a:extLst>
              <a:ext uri="{FF2B5EF4-FFF2-40B4-BE49-F238E27FC236}">
                <a16:creationId xmlns:a16="http://schemas.microsoft.com/office/drawing/2014/main" id="{D905706B-3B0D-8AEA-D5E3-00161EC30E40}"/>
              </a:ext>
            </a:extLst>
          </p:cNvPr>
          <p:cNvSpPr>
            <a:spLocks noGrp="1"/>
          </p:cNvSpPr>
          <p:nvPr>
            <p:ph type="pic" sz="quarter" idx="55" hasCustomPrompt="1"/>
          </p:nvPr>
        </p:nvSpPr>
        <p:spPr>
          <a:xfrm>
            <a:off x="4235451" y="3327399"/>
            <a:ext cx="876299" cy="876299"/>
          </a:xfrm>
          <a:solidFill>
            <a:schemeClr val="bg1"/>
          </a:solidFill>
        </p:spPr>
        <p:txBody>
          <a:bodyPr anchor="ctr">
            <a:normAutofit/>
          </a:bodyPr>
          <a:lstStyle>
            <a:lvl1pPr algn="ctr">
              <a:defRPr sz="1000">
                <a:latin typeface="+mn-lt"/>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GB" dirty="0"/>
              <a:t>Picture</a:t>
            </a:r>
          </a:p>
        </p:txBody>
      </p:sp>
      <p:sp>
        <p:nvSpPr>
          <p:cNvPr id="62" name="Text Placeholder 16">
            <a:extLst>
              <a:ext uri="{FF2B5EF4-FFF2-40B4-BE49-F238E27FC236}">
                <a16:creationId xmlns:a16="http://schemas.microsoft.com/office/drawing/2014/main" id="{9E85131A-A0EB-50C6-2235-C5AECFD90BB8}"/>
              </a:ext>
            </a:extLst>
          </p:cNvPr>
          <p:cNvSpPr>
            <a:spLocks noGrp="1"/>
          </p:cNvSpPr>
          <p:nvPr>
            <p:ph type="body" sz="quarter" idx="56" hasCustomPrompt="1"/>
          </p:nvPr>
        </p:nvSpPr>
        <p:spPr>
          <a:xfrm>
            <a:off x="5211365" y="3567367"/>
            <a:ext cx="2543172"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US" dirty="0"/>
              <a:t>Position, Location</a:t>
            </a:r>
          </a:p>
        </p:txBody>
      </p:sp>
      <p:sp>
        <p:nvSpPr>
          <p:cNvPr id="63" name="Text Placeholder 16">
            <a:extLst>
              <a:ext uri="{FF2B5EF4-FFF2-40B4-BE49-F238E27FC236}">
                <a16:creationId xmlns:a16="http://schemas.microsoft.com/office/drawing/2014/main" id="{3F6CA03E-6080-4680-8909-FE3132F26098}"/>
              </a:ext>
            </a:extLst>
          </p:cNvPr>
          <p:cNvSpPr>
            <a:spLocks noGrp="1"/>
          </p:cNvSpPr>
          <p:nvPr>
            <p:ph type="body" sz="quarter" idx="57" hasCustomPrompt="1"/>
          </p:nvPr>
        </p:nvSpPr>
        <p:spPr>
          <a:xfrm>
            <a:off x="5211365" y="3350197"/>
            <a:ext cx="2543172" cy="169277"/>
          </a:xfrm>
        </p:spPr>
        <p:txBody>
          <a:bodyPr tIns="0" bIns="0">
            <a:noAutofit/>
          </a:bodyPr>
          <a:lstStyle>
            <a:lvl1pPr algn="l">
              <a:lnSpc>
                <a:spcPct val="100000"/>
              </a:lnSpc>
              <a:spcBef>
                <a:spcPts val="0"/>
              </a:spcBef>
              <a:spcAft>
                <a:spcPts val="0"/>
              </a:spcAft>
              <a:defRPr sz="1100" cap="all" baseline="0">
                <a:solidFill>
                  <a:schemeClr val="tx2"/>
                </a:solidFill>
                <a:latin typeface="+mj-lt"/>
              </a:defRPr>
            </a:lvl1pPr>
            <a:lvl2pPr algn="l">
              <a:lnSpc>
                <a:spcPct val="100000"/>
              </a:lnSpc>
              <a:spcBef>
                <a:spcPts val="200"/>
              </a:spcBef>
              <a:spcAft>
                <a:spcPts val="200"/>
              </a:spcAft>
              <a:defRPr sz="1100">
                <a:solidFill>
                  <a:schemeClr val="tx1"/>
                </a:solidFill>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0"/>
            <a:r>
              <a:rPr lang="en-US" dirty="0"/>
              <a:t>NAME SURNAME</a:t>
            </a:r>
          </a:p>
        </p:txBody>
      </p:sp>
      <p:sp>
        <p:nvSpPr>
          <p:cNvPr id="64" name="Text Placeholder 16">
            <a:extLst>
              <a:ext uri="{FF2B5EF4-FFF2-40B4-BE49-F238E27FC236}">
                <a16:creationId xmlns:a16="http://schemas.microsoft.com/office/drawing/2014/main" id="{C4815F97-45FD-D787-09EF-E884FDA22B58}"/>
              </a:ext>
            </a:extLst>
          </p:cNvPr>
          <p:cNvSpPr>
            <a:spLocks noGrp="1"/>
          </p:cNvSpPr>
          <p:nvPr>
            <p:ph type="body" sz="quarter" idx="58" hasCustomPrompt="1"/>
          </p:nvPr>
        </p:nvSpPr>
        <p:spPr>
          <a:xfrm>
            <a:off x="5387048" y="3784599"/>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65" name="Text Placeholder 16">
            <a:extLst>
              <a:ext uri="{FF2B5EF4-FFF2-40B4-BE49-F238E27FC236}">
                <a16:creationId xmlns:a16="http://schemas.microsoft.com/office/drawing/2014/main" id="{B08963BE-324B-EE1B-4BAE-E266F3D3E8BC}"/>
              </a:ext>
            </a:extLst>
          </p:cNvPr>
          <p:cNvSpPr>
            <a:spLocks noGrp="1"/>
          </p:cNvSpPr>
          <p:nvPr>
            <p:ph type="body" sz="quarter" idx="59" hasCustomPrompt="1"/>
          </p:nvPr>
        </p:nvSpPr>
        <p:spPr>
          <a:xfrm>
            <a:off x="5387048" y="4001831"/>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name.surname@hfw.com</a:t>
            </a:r>
            <a:endParaRPr lang="en-US" dirty="0"/>
          </a:p>
        </p:txBody>
      </p:sp>
      <p:sp>
        <p:nvSpPr>
          <p:cNvPr id="66" name="TextBox 65">
            <a:extLst>
              <a:ext uri="{FF2B5EF4-FFF2-40B4-BE49-F238E27FC236}">
                <a16:creationId xmlns:a16="http://schemas.microsoft.com/office/drawing/2014/main" id="{B8EA8497-707A-BFCE-D177-DCAE44128DA4}"/>
              </a:ext>
            </a:extLst>
          </p:cNvPr>
          <p:cNvSpPr txBox="1"/>
          <p:nvPr userDrawn="1"/>
        </p:nvSpPr>
        <p:spPr>
          <a:xfrm flipH="1">
            <a:off x="5212884" y="3784599"/>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67" name="TextBox 66">
            <a:extLst>
              <a:ext uri="{FF2B5EF4-FFF2-40B4-BE49-F238E27FC236}">
                <a16:creationId xmlns:a16="http://schemas.microsoft.com/office/drawing/2014/main" id="{703B5A1F-E858-57EE-A432-CD67331D325E}"/>
              </a:ext>
            </a:extLst>
          </p:cNvPr>
          <p:cNvSpPr txBox="1"/>
          <p:nvPr userDrawn="1"/>
        </p:nvSpPr>
        <p:spPr>
          <a:xfrm flipH="1">
            <a:off x="5212884" y="4001831"/>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E</a:t>
            </a:r>
          </a:p>
        </p:txBody>
      </p:sp>
      <p:sp>
        <p:nvSpPr>
          <p:cNvPr id="68" name="Picture Placeholder 14">
            <a:extLst>
              <a:ext uri="{FF2B5EF4-FFF2-40B4-BE49-F238E27FC236}">
                <a16:creationId xmlns:a16="http://schemas.microsoft.com/office/drawing/2014/main" id="{B34AE539-959F-5EE2-CF82-BB5C91C20FDC}"/>
              </a:ext>
            </a:extLst>
          </p:cNvPr>
          <p:cNvSpPr>
            <a:spLocks noGrp="1"/>
          </p:cNvSpPr>
          <p:nvPr>
            <p:ph type="pic" sz="quarter" idx="60" hasCustomPrompt="1"/>
          </p:nvPr>
        </p:nvSpPr>
        <p:spPr>
          <a:xfrm>
            <a:off x="516891" y="3327399"/>
            <a:ext cx="876299" cy="876299"/>
          </a:xfrm>
          <a:solidFill>
            <a:schemeClr val="bg1"/>
          </a:solidFill>
        </p:spPr>
        <p:txBody>
          <a:bodyPr anchor="ctr">
            <a:normAutofit/>
          </a:bodyPr>
          <a:lstStyle>
            <a:lvl1pPr algn="ctr">
              <a:defRPr sz="1000">
                <a:latin typeface="+mn-lt"/>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GB" dirty="0"/>
              <a:t>Picture</a:t>
            </a:r>
          </a:p>
        </p:txBody>
      </p:sp>
      <p:sp>
        <p:nvSpPr>
          <p:cNvPr id="69" name="Text Placeholder 16">
            <a:extLst>
              <a:ext uri="{FF2B5EF4-FFF2-40B4-BE49-F238E27FC236}">
                <a16:creationId xmlns:a16="http://schemas.microsoft.com/office/drawing/2014/main" id="{2DE182B2-3EC5-FF8A-8250-C13C24346AA9}"/>
              </a:ext>
            </a:extLst>
          </p:cNvPr>
          <p:cNvSpPr>
            <a:spLocks noGrp="1"/>
          </p:cNvSpPr>
          <p:nvPr>
            <p:ph type="body" sz="quarter" idx="61" hasCustomPrompt="1"/>
          </p:nvPr>
        </p:nvSpPr>
        <p:spPr>
          <a:xfrm>
            <a:off x="1492805" y="3567367"/>
            <a:ext cx="2543172"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US" dirty="0"/>
              <a:t>Position, Location</a:t>
            </a:r>
          </a:p>
        </p:txBody>
      </p:sp>
      <p:sp>
        <p:nvSpPr>
          <p:cNvPr id="70" name="Text Placeholder 16">
            <a:extLst>
              <a:ext uri="{FF2B5EF4-FFF2-40B4-BE49-F238E27FC236}">
                <a16:creationId xmlns:a16="http://schemas.microsoft.com/office/drawing/2014/main" id="{5221C9C2-AF4E-4D0D-8410-AA29ED2F0196}"/>
              </a:ext>
            </a:extLst>
          </p:cNvPr>
          <p:cNvSpPr>
            <a:spLocks noGrp="1"/>
          </p:cNvSpPr>
          <p:nvPr>
            <p:ph type="body" sz="quarter" idx="62" hasCustomPrompt="1"/>
          </p:nvPr>
        </p:nvSpPr>
        <p:spPr>
          <a:xfrm>
            <a:off x="1492805" y="3350197"/>
            <a:ext cx="2543172" cy="169277"/>
          </a:xfrm>
        </p:spPr>
        <p:txBody>
          <a:bodyPr tIns="0" bIns="0">
            <a:noAutofit/>
          </a:bodyPr>
          <a:lstStyle>
            <a:lvl1pPr algn="l">
              <a:lnSpc>
                <a:spcPct val="100000"/>
              </a:lnSpc>
              <a:spcBef>
                <a:spcPts val="0"/>
              </a:spcBef>
              <a:spcAft>
                <a:spcPts val="0"/>
              </a:spcAft>
              <a:defRPr sz="1100" cap="all" baseline="0">
                <a:solidFill>
                  <a:schemeClr val="tx2"/>
                </a:solidFill>
                <a:latin typeface="+mj-lt"/>
              </a:defRPr>
            </a:lvl1pPr>
            <a:lvl2pPr algn="l">
              <a:lnSpc>
                <a:spcPct val="100000"/>
              </a:lnSpc>
              <a:spcBef>
                <a:spcPts val="200"/>
              </a:spcBef>
              <a:spcAft>
                <a:spcPts val="200"/>
              </a:spcAft>
              <a:defRPr sz="1100">
                <a:solidFill>
                  <a:schemeClr val="tx1"/>
                </a:solidFill>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0"/>
            <a:r>
              <a:rPr lang="en-US" dirty="0"/>
              <a:t>NAME SURNAME</a:t>
            </a:r>
          </a:p>
        </p:txBody>
      </p:sp>
      <p:sp>
        <p:nvSpPr>
          <p:cNvPr id="71" name="Text Placeholder 16">
            <a:extLst>
              <a:ext uri="{FF2B5EF4-FFF2-40B4-BE49-F238E27FC236}">
                <a16:creationId xmlns:a16="http://schemas.microsoft.com/office/drawing/2014/main" id="{EF8EE7FE-1431-E0E4-AF24-A7E25E4F0EFC}"/>
              </a:ext>
            </a:extLst>
          </p:cNvPr>
          <p:cNvSpPr>
            <a:spLocks noGrp="1"/>
          </p:cNvSpPr>
          <p:nvPr>
            <p:ph type="body" sz="quarter" idx="63" hasCustomPrompt="1"/>
          </p:nvPr>
        </p:nvSpPr>
        <p:spPr>
          <a:xfrm>
            <a:off x="1668488" y="3784599"/>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72" name="Text Placeholder 16">
            <a:extLst>
              <a:ext uri="{FF2B5EF4-FFF2-40B4-BE49-F238E27FC236}">
                <a16:creationId xmlns:a16="http://schemas.microsoft.com/office/drawing/2014/main" id="{FF08729D-A09C-E532-5CD7-E7FA26C7CF05}"/>
              </a:ext>
            </a:extLst>
          </p:cNvPr>
          <p:cNvSpPr>
            <a:spLocks noGrp="1"/>
          </p:cNvSpPr>
          <p:nvPr>
            <p:ph type="body" sz="quarter" idx="64" hasCustomPrompt="1"/>
          </p:nvPr>
        </p:nvSpPr>
        <p:spPr>
          <a:xfrm>
            <a:off x="1668488" y="4001831"/>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name.surname@hfw.com</a:t>
            </a:r>
            <a:endParaRPr lang="en-US" dirty="0"/>
          </a:p>
        </p:txBody>
      </p:sp>
      <p:sp>
        <p:nvSpPr>
          <p:cNvPr id="73" name="TextBox 72">
            <a:extLst>
              <a:ext uri="{FF2B5EF4-FFF2-40B4-BE49-F238E27FC236}">
                <a16:creationId xmlns:a16="http://schemas.microsoft.com/office/drawing/2014/main" id="{F019190F-D136-35C9-6EED-E318D13243EC}"/>
              </a:ext>
            </a:extLst>
          </p:cNvPr>
          <p:cNvSpPr txBox="1"/>
          <p:nvPr userDrawn="1"/>
        </p:nvSpPr>
        <p:spPr>
          <a:xfrm flipH="1">
            <a:off x="1494324" y="3784599"/>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74" name="TextBox 73">
            <a:extLst>
              <a:ext uri="{FF2B5EF4-FFF2-40B4-BE49-F238E27FC236}">
                <a16:creationId xmlns:a16="http://schemas.microsoft.com/office/drawing/2014/main" id="{C74D3179-288F-B1EE-3446-2018351B7AE5}"/>
              </a:ext>
            </a:extLst>
          </p:cNvPr>
          <p:cNvSpPr txBox="1"/>
          <p:nvPr userDrawn="1"/>
        </p:nvSpPr>
        <p:spPr>
          <a:xfrm flipH="1">
            <a:off x="1494324" y="4001831"/>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E</a:t>
            </a:r>
          </a:p>
        </p:txBody>
      </p:sp>
      <p:sp>
        <p:nvSpPr>
          <p:cNvPr id="3" name="TextBox 4">
            <a:extLst>
              <a:ext uri="{FF2B5EF4-FFF2-40B4-BE49-F238E27FC236}">
                <a16:creationId xmlns:a16="http://schemas.microsoft.com/office/drawing/2014/main" id="{534E18B7-C9A6-2BC0-7B84-D6E0B1893B0C}"/>
              </a:ext>
            </a:extLst>
          </p:cNvPr>
          <p:cNvSpPr txBox="1"/>
          <p:nvPr userDrawn="1"/>
        </p:nvSpPr>
        <p:spPr>
          <a:xfrm>
            <a:off x="12346713" y="109538"/>
            <a:ext cx="2253207" cy="498085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INSERTING IMAGES:</a:t>
            </a:r>
          </a:p>
          <a:p>
            <a:pPr marL="179388" indent="-179388">
              <a:spcBef>
                <a:spcPts val="200"/>
              </a:spcBef>
              <a:spcAft>
                <a:spcPts val="200"/>
              </a:spcAft>
              <a:buFont typeface="+mj-lt"/>
              <a:buAutoNum type="arabicPeriod"/>
            </a:pPr>
            <a:r>
              <a:rPr lang="en-US" sz="900" dirty="0">
                <a:solidFill>
                  <a:schemeClr val="tx1"/>
                </a:solidFill>
                <a:latin typeface="+mn-lt"/>
              </a:rPr>
              <a:t>Simply click the image placeholder and select your image.</a:t>
            </a:r>
          </a:p>
          <a:p>
            <a:pPr marL="179388" indent="-179388">
              <a:spcBef>
                <a:spcPts val="200"/>
              </a:spcBef>
              <a:spcAft>
                <a:spcPts val="200"/>
              </a:spcAft>
              <a:buFont typeface="+mj-lt"/>
              <a:buAutoNum type="arabicPeriod"/>
            </a:pPr>
            <a:r>
              <a:rPr lang="en-US" sz="900" dirty="0">
                <a:solidFill>
                  <a:schemeClr val="tx1"/>
                </a:solidFill>
                <a:latin typeface="+mn-lt"/>
              </a:rPr>
              <a:t>Once your image is inserted into the shape it may be distorted. (Stretched or Squashed)</a:t>
            </a:r>
          </a:p>
          <a:p>
            <a:pPr marL="179388" indent="-179388">
              <a:spcBef>
                <a:spcPts val="200"/>
              </a:spcBef>
              <a:spcAft>
                <a:spcPts val="200"/>
              </a:spcAft>
              <a:buFont typeface="+mj-lt"/>
              <a:buAutoNum type="arabicPeriod"/>
            </a:pPr>
            <a:endParaRPr lang="en-US" sz="900" dirty="0">
              <a:solidFill>
                <a:schemeClr val="tx1"/>
              </a:solidFill>
              <a:latin typeface="+mn-lt"/>
            </a:endParaRPr>
          </a:p>
          <a:p>
            <a:pPr>
              <a:spcBef>
                <a:spcPts val="200"/>
              </a:spcBef>
              <a:spcAft>
                <a:spcPts val="200"/>
              </a:spcAft>
            </a:pPr>
            <a:r>
              <a:rPr lang="en-US" sz="900" b="1" dirty="0">
                <a:solidFill>
                  <a:schemeClr val="tx1"/>
                </a:solidFill>
                <a:latin typeface="+mn-lt"/>
              </a:rPr>
              <a:t>To fix this:</a:t>
            </a:r>
          </a:p>
          <a:p>
            <a:pPr marL="179388" indent="-179388">
              <a:spcBef>
                <a:spcPts val="200"/>
              </a:spcBef>
              <a:spcAft>
                <a:spcPts val="200"/>
              </a:spcAft>
              <a:buFont typeface="+mj-lt"/>
              <a:buAutoNum type="arabicPeriod"/>
            </a:pPr>
            <a:r>
              <a:rPr lang="en-US" sz="900" dirty="0">
                <a:solidFill>
                  <a:schemeClr val="tx1"/>
                </a:solidFill>
                <a:latin typeface="+mn-lt"/>
              </a:rPr>
              <a:t>Click on the image and from the top menu under </a:t>
            </a:r>
            <a:r>
              <a:rPr lang="en-US" sz="900" b="1" dirty="0">
                <a:solidFill>
                  <a:schemeClr val="tx1"/>
                </a:solidFill>
                <a:latin typeface="+mn-lt"/>
              </a:rPr>
              <a:t>PICTURE FORMAT </a:t>
            </a:r>
            <a:r>
              <a:rPr lang="en-US" sz="900" dirty="0">
                <a:solidFill>
                  <a:schemeClr val="tx1"/>
                </a:solidFill>
                <a:latin typeface="+mn-lt"/>
              </a:rPr>
              <a:t>select the </a:t>
            </a:r>
            <a:r>
              <a:rPr lang="en-US" sz="900" b="1" dirty="0">
                <a:solidFill>
                  <a:schemeClr val="tx1"/>
                </a:solidFill>
                <a:latin typeface="+mn-lt"/>
              </a:rPr>
              <a:t>CROP</a:t>
            </a:r>
            <a:r>
              <a:rPr lang="en-US" sz="900" dirty="0">
                <a:solidFill>
                  <a:schemeClr val="tx1"/>
                </a:solidFill>
                <a:latin typeface="+mn-lt"/>
              </a:rPr>
              <a:t> on the right and from the drop down menu select </a:t>
            </a:r>
            <a:r>
              <a:rPr lang="en-US" sz="900" b="1" kern="1200" dirty="0">
                <a:solidFill>
                  <a:schemeClr val="tx1"/>
                </a:solidFill>
                <a:latin typeface="+mn-lt"/>
                <a:ea typeface="+mn-ea"/>
                <a:cs typeface="+mn-cs"/>
              </a:rPr>
              <a:t>FILL</a:t>
            </a:r>
          </a:p>
          <a:p>
            <a:pPr marL="179388" indent="-179388">
              <a:spcBef>
                <a:spcPts val="200"/>
              </a:spcBef>
              <a:spcAft>
                <a:spcPts val="200"/>
              </a:spcAft>
              <a:buFont typeface="+mj-lt"/>
              <a:buAutoNum type="arabicPeriod"/>
            </a:pPr>
            <a:r>
              <a:rPr lang="en-US" sz="900" b="0" kern="1200" dirty="0">
                <a:solidFill>
                  <a:schemeClr val="tx1"/>
                </a:solidFill>
                <a:latin typeface="+mn-lt"/>
                <a:ea typeface="+mn-ea"/>
                <a:cs typeface="+mn-cs"/>
              </a:rPr>
              <a:t>From here you can move the image within the shape for best visual appearance</a:t>
            </a:r>
          </a:p>
          <a:p>
            <a:pPr marL="179388" indent="-179388">
              <a:spcBef>
                <a:spcPts val="200"/>
              </a:spcBef>
              <a:spcAft>
                <a:spcPts val="200"/>
              </a:spcAft>
              <a:buFont typeface="+mj-lt"/>
              <a:buAutoNum type="arabicPeriod"/>
            </a:pPr>
            <a:endParaRPr lang="en-US" sz="900" b="0" i="0" kern="1200" dirty="0">
              <a:solidFill>
                <a:schemeClr val="tx1"/>
              </a:solidFill>
              <a:latin typeface="+mn-lt"/>
              <a:ea typeface="+mn-ea"/>
              <a:cs typeface="+mn-cs"/>
            </a:endParaRPr>
          </a:p>
          <a:p>
            <a:pPr marL="0" marR="0" lvl="0" indent="0" algn="l" defTabSz="914400" rtl="0" eaLnBrk="1" fontAlgn="auto" latinLnBrk="0" hangingPunct="1">
              <a:lnSpc>
                <a:spcPct val="100000"/>
              </a:lnSpc>
              <a:spcBef>
                <a:spcPts val="200"/>
              </a:spcBef>
              <a:spcAft>
                <a:spcPts val="200"/>
              </a:spcAft>
              <a:buClrTx/>
              <a:buSzTx/>
              <a:buFont typeface="+mj-lt"/>
              <a:buNone/>
              <a:tabLst/>
              <a:defRPr/>
            </a:pPr>
            <a:r>
              <a:rPr lang="en-GB" sz="1000" b="1" i="0" dirty="0">
                <a:effectLst/>
                <a:latin typeface="Arial" panose="020B0604020202020204" pitchFamily="34" charset="0"/>
                <a:ea typeface="Calibri" panose="020F0502020204030204" pitchFamily="34" charset="0"/>
              </a:rPr>
              <a:t>When inserting staff photos, </a:t>
            </a:r>
            <a:r>
              <a:rPr lang="en-GB" sz="1000" i="0" dirty="0">
                <a:effectLst/>
                <a:latin typeface="Arial" panose="020B0604020202020204" pitchFamily="34" charset="0"/>
                <a:ea typeface="Calibri" panose="020F0502020204030204" pitchFamily="34" charset="0"/>
              </a:rPr>
              <a:t>please use the same method as suggested above. To ensure you are using staff photos that are optimised for use in this Pitch Template, please insert them from the “Staff Photos 40x40 BW” folder, located in the Staff photos section of the HFW Pitch Template folder.</a:t>
            </a:r>
            <a:endParaRPr lang="en-GB" sz="1000" i="0" dirty="0">
              <a:effectLst/>
              <a:latin typeface="Calibri" panose="020F0502020204030204" pitchFamily="34" charset="0"/>
              <a:ea typeface="Calibri" panose="020F0502020204030204" pitchFamily="34" charset="0"/>
            </a:endParaRPr>
          </a:p>
          <a:p>
            <a:pPr marL="179388" indent="-179388">
              <a:spcBef>
                <a:spcPts val="200"/>
              </a:spcBef>
              <a:spcAft>
                <a:spcPts val="200"/>
              </a:spcAft>
              <a:buFont typeface="+mj-lt"/>
              <a:buAutoNum type="arabicPeriod"/>
            </a:pPr>
            <a:endParaRPr lang="en-US" sz="900" b="0" kern="1200" dirty="0">
              <a:solidFill>
                <a:schemeClr val="tx1"/>
              </a:solidFill>
              <a:latin typeface="+mn-lt"/>
              <a:ea typeface="+mn-ea"/>
              <a:cs typeface="+mn-cs"/>
            </a:endParaRPr>
          </a:p>
          <a:p>
            <a:pPr marL="179388" indent="-179388">
              <a:spcBef>
                <a:spcPts val="200"/>
              </a:spcBef>
              <a:spcAft>
                <a:spcPts val="200"/>
              </a:spcAft>
              <a:buFont typeface="+mj-lt"/>
              <a:buAutoNum type="arabicPeriod"/>
            </a:pPr>
            <a:endParaRPr lang="en-US" sz="900" b="0" kern="1200" dirty="0">
              <a:solidFill>
                <a:schemeClr val="tx1"/>
              </a:solidFill>
              <a:latin typeface="+mn-lt"/>
              <a:ea typeface="+mn-ea"/>
              <a:cs typeface="+mn-cs"/>
            </a:endParaRPr>
          </a:p>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SAMPLE CONTACT LAYOUT</a:t>
            </a:r>
          </a:p>
        </p:txBody>
      </p:sp>
      <p:grpSp>
        <p:nvGrpSpPr>
          <p:cNvPr id="4" name="Group 3">
            <a:extLst>
              <a:ext uri="{FF2B5EF4-FFF2-40B4-BE49-F238E27FC236}">
                <a16:creationId xmlns:a16="http://schemas.microsoft.com/office/drawing/2014/main" id="{E09CC6B7-401C-8EC6-91AF-251983043908}"/>
              </a:ext>
            </a:extLst>
          </p:cNvPr>
          <p:cNvGrpSpPr/>
          <p:nvPr userDrawn="1"/>
        </p:nvGrpSpPr>
        <p:grpSpPr>
          <a:xfrm>
            <a:off x="12437199" y="5138030"/>
            <a:ext cx="2813913" cy="819975"/>
            <a:chOff x="12399099" y="4230487"/>
            <a:chExt cx="2813913" cy="819975"/>
          </a:xfrm>
        </p:grpSpPr>
        <p:sp>
          <p:nvSpPr>
            <p:cNvPr id="7" name="TextBox 6">
              <a:extLst>
                <a:ext uri="{FF2B5EF4-FFF2-40B4-BE49-F238E27FC236}">
                  <a16:creationId xmlns:a16="http://schemas.microsoft.com/office/drawing/2014/main" id="{2B635795-3F77-E401-F643-F36EC8620F6B}"/>
                </a:ext>
              </a:extLst>
            </p:cNvPr>
            <p:cNvSpPr txBox="1"/>
            <p:nvPr userDrawn="1"/>
          </p:nvSpPr>
          <p:spPr>
            <a:xfrm flipH="1">
              <a:off x="12573262" y="4663953"/>
              <a:ext cx="2639750"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grpSp>
          <p:nvGrpSpPr>
            <p:cNvPr id="8" name="Group 7">
              <a:extLst>
                <a:ext uri="{FF2B5EF4-FFF2-40B4-BE49-F238E27FC236}">
                  <a16:creationId xmlns:a16="http://schemas.microsoft.com/office/drawing/2014/main" id="{D05AEE41-C934-9076-0A3D-43A5BDA6C818}"/>
                </a:ext>
              </a:extLst>
            </p:cNvPr>
            <p:cNvGrpSpPr/>
            <p:nvPr userDrawn="1"/>
          </p:nvGrpSpPr>
          <p:grpSpPr>
            <a:xfrm>
              <a:off x="12399099" y="4230487"/>
              <a:ext cx="2326813" cy="819975"/>
              <a:chOff x="12399099" y="4230487"/>
              <a:chExt cx="2326813" cy="819975"/>
            </a:xfrm>
          </p:grpSpPr>
          <p:sp>
            <p:nvSpPr>
              <p:cNvPr id="10" name="TextBox 9">
                <a:extLst>
                  <a:ext uri="{FF2B5EF4-FFF2-40B4-BE49-F238E27FC236}">
                    <a16:creationId xmlns:a16="http://schemas.microsoft.com/office/drawing/2014/main" id="{83FDE780-4383-E93C-C14A-00FA251D2011}"/>
                  </a:ext>
                </a:extLst>
              </p:cNvPr>
              <p:cNvSpPr txBox="1"/>
              <p:nvPr userDrawn="1"/>
            </p:nvSpPr>
            <p:spPr>
              <a:xfrm flipH="1">
                <a:off x="12399100" y="4663953"/>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11" name="TextBox 10">
                <a:extLst>
                  <a:ext uri="{FF2B5EF4-FFF2-40B4-BE49-F238E27FC236}">
                    <a16:creationId xmlns:a16="http://schemas.microsoft.com/office/drawing/2014/main" id="{86D97389-5E3B-31D3-096E-0AC930554448}"/>
                  </a:ext>
                </a:extLst>
              </p:cNvPr>
              <p:cNvSpPr txBox="1"/>
              <p:nvPr userDrawn="1"/>
            </p:nvSpPr>
            <p:spPr>
              <a:xfrm flipH="1">
                <a:off x="12399100" y="4881185"/>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E</a:t>
                </a:r>
              </a:p>
            </p:txBody>
          </p:sp>
          <p:sp>
            <p:nvSpPr>
              <p:cNvPr id="12" name="TextBox 11">
                <a:extLst>
                  <a:ext uri="{FF2B5EF4-FFF2-40B4-BE49-F238E27FC236}">
                    <a16:creationId xmlns:a16="http://schemas.microsoft.com/office/drawing/2014/main" id="{A239CF88-C3CE-A2CD-49B2-54CC1A708067}"/>
                  </a:ext>
                </a:extLst>
              </p:cNvPr>
              <p:cNvSpPr txBox="1"/>
              <p:nvPr userDrawn="1"/>
            </p:nvSpPr>
            <p:spPr>
              <a:xfrm flipH="1">
                <a:off x="12573262" y="4881185"/>
                <a:ext cx="2152650"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name.surname@hfw.com</a:t>
                </a:r>
                <a:endParaRPr lang="en-US" dirty="0"/>
              </a:p>
            </p:txBody>
          </p:sp>
          <p:sp>
            <p:nvSpPr>
              <p:cNvPr id="13" name="TextBox 12">
                <a:extLst>
                  <a:ext uri="{FF2B5EF4-FFF2-40B4-BE49-F238E27FC236}">
                    <a16:creationId xmlns:a16="http://schemas.microsoft.com/office/drawing/2014/main" id="{F1BC9175-809E-890C-9998-91161A51717B}"/>
                  </a:ext>
                </a:extLst>
              </p:cNvPr>
              <p:cNvSpPr txBox="1"/>
              <p:nvPr userDrawn="1"/>
            </p:nvSpPr>
            <p:spPr>
              <a:xfrm flipH="1">
                <a:off x="12399099" y="4230487"/>
                <a:ext cx="1968833"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solidFill>
                      <a:schemeClr val="tx2"/>
                    </a:solidFill>
                    <a:latin typeface="+mj-lt"/>
                  </a:rPr>
                  <a:t>NAME SURNAME</a:t>
                </a:r>
              </a:p>
            </p:txBody>
          </p:sp>
          <p:sp>
            <p:nvSpPr>
              <p:cNvPr id="14" name="TextBox 13">
                <a:extLst>
                  <a:ext uri="{FF2B5EF4-FFF2-40B4-BE49-F238E27FC236}">
                    <a16:creationId xmlns:a16="http://schemas.microsoft.com/office/drawing/2014/main" id="{C6DDC749-B6C6-E051-A7C2-E9424DE18380}"/>
                  </a:ext>
                </a:extLst>
              </p:cNvPr>
              <p:cNvSpPr txBox="1"/>
              <p:nvPr userDrawn="1"/>
            </p:nvSpPr>
            <p:spPr>
              <a:xfrm flipH="1">
                <a:off x="12399099" y="4445785"/>
                <a:ext cx="1968833"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US" dirty="0"/>
                  <a:t>Position, Location</a:t>
                </a:r>
              </a:p>
            </p:txBody>
          </p:sp>
        </p:grpSp>
      </p:grpSp>
    </p:spTree>
    <p:extLst>
      <p:ext uri="{BB962C8B-B14F-4D97-AF65-F5344CB8AC3E}">
        <p14:creationId xmlns:p14="http://schemas.microsoft.com/office/powerpoint/2010/main" val="2098960028"/>
      </p:ext>
    </p:extLst>
  </p:cSld>
  <p:clrMapOvr>
    <a:masterClrMapping/>
  </p:clrMapOvr>
  <p:transition spd="med">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Key Contacts 4 &amp; Quote">
    <p:bg>
      <p:bgPr>
        <a:solidFill>
          <a:schemeClr val="bg2"/>
        </a:solidFill>
        <a:effectLst/>
      </p:bgPr>
    </p:bg>
    <p:spTree>
      <p:nvGrpSpPr>
        <p:cNvPr id="1" name=""/>
        <p:cNvGrpSpPr/>
        <p:nvPr/>
      </p:nvGrpSpPr>
      <p:grpSpPr>
        <a:xfrm>
          <a:off x="0" y="0"/>
          <a:ext cx="0" cy="0"/>
          <a:chOff x="0" y="0"/>
          <a:chExt cx="0" cy="0"/>
        </a:xfrm>
      </p:grpSpPr>
      <p:sp>
        <p:nvSpPr>
          <p:cNvPr id="9" name="Picture Placeholder 10">
            <a:extLst>
              <a:ext uri="{FF2B5EF4-FFF2-40B4-BE49-F238E27FC236}">
                <a16:creationId xmlns:a16="http://schemas.microsoft.com/office/drawing/2014/main" id="{957F7B8C-8896-F507-1133-31FF9F06D6DB}"/>
              </a:ext>
            </a:extLst>
          </p:cNvPr>
          <p:cNvSpPr>
            <a:spLocks noGrp="1"/>
          </p:cNvSpPr>
          <p:nvPr>
            <p:ph type="pic" sz="quarter" idx="13" hasCustomPrompt="1"/>
          </p:nvPr>
        </p:nvSpPr>
        <p:spPr>
          <a:xfrm>
            <a:off x="8126412" y="0"/>
            <a:ext cx="4065587" cy="6858000"/>
          </a:xfrm>
          <a:solidFill>
            <a:schemeClr val="tx1"/>
          </a:solidFill>
        </p:spPr>
        <p:txBody>
          <a:bodyPr vert="horz" lIns="0" tIns="45720" rIns="0" bIns="45720" rtlCol="0" anchor="ctr">
            <a:normAutofit/>
          </a:bodyPr>
          <a:lstStyle>
            <a:lvl1pPr algn="ctr">
              <a:defRPr lang="en-GB" sz="2800" b="0" dirty="0">
                <a:solidFill>
                  <a:schemeClr val="bg1"/>
                </a:solidFill>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US" dirty="0"/>
              <a:t>ADD RELATED </a:t>
            </a:r>
            <a:br>
              <a:rPr lang="en-US" dirty="0"/>
            </a:br>
            <a:r>
              <a:rPr lang="en-US" dirty="0"/>
              <a:t>IMAGE </a:t>
            </a:r>
            <a:br>
              <a:rPr lang="en-US" dirty="0"/>
            </a:br>
            <a:r>
              <a:rPr lang="en-US" dirty="0"/>
              <a:t>FROM HFW </a:t>
            </a:r>
            <a:br>
              <a:rPr lang="en-US" dirty="0"/>
            </a:br>
            <a:r>
              <a:rPr lang="en-US" dirty="0"/>
              <a:t>IMAGE LIBRARY</a:t>
            </a:r>
          </a:p>
        </p:txBody>
      </p:sp>
      <p:sp>
        <p:nvSpPr>
          <p:cNvPr id="2" name="Title 1"/>
          <p:cNvSpPr>
            <a:spLocks noGrp="1"/>
          </p:cNvSpPr>
          <p:nvPr>
            <p:ph type="title" hasCustomPrompt="1"/>
          </p:nvPr>
        </p:nvSpPr>
        <p:spPr>
          <a:xfrm>
            <a:off x="508000" y="454013"/>
            <a:ext cx="7459663" cy="663587"/>
          </a:xfrm>
        </p:spPr>
        <p:txBody>
          <a:bodyPr/>
          <a:lstStyle/>
          <a:p>
            <a:r>
              <a:rPr lang="en-US" dirty="0"/>
              <a:t>Key </a:t>
            </a:r>
            <a:r>
              <a:rPr lang="en-US" dirty="0" err="1"/>
              <a:t>contactS</a:t>
            </a:r>
            <a:endParaRPr lang="en-US" dirty="0"/>
          </a:p>
        </p:txBody>
      </p:sp>
      <p:sp>
        <p:nvSpPr>
          <p:cNvPr id="5" name="Footer Placeholder 4"/>
          <p:cNvSpPr>
            <a:spLocks noGrp="1"/>
          </p:cNvSpPr>
          <p:nvPr>
            <p:ph type="ftr" sz="quarter" idx="11"/>
          </p:nvPr>
        </p:nvSpPr>
        <p:spPr/>
        <p:txBody>
          <a:bodyPr/>
          <a:lstStyle/>
          <a:p>
            <a:r>
              <a:rPr lang="en-GB"/>
              <a:t>INSERT FOOTER HER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8CFE0557-AA98-4E6C-B0C3-581794696B68}" type="slidenum">
              <a:rPr lang="en-GB" smtClean="0"/>
              <a:pPr/>
              <a:t>‹#›</a:t>
            </a:fld>
            <a:endParaRPr lang="en-GB"/>
          </a:p>
        </p:txBody>
      </p:sp>
      <p:sp>
        <p:nvSpPr>
          <p:cNvPr id="13" name="Text Placeholder 12">
            <a:extLst>
              <a:ext uri="{FF2B5EF4-FFF2-40B4-BE49-F238E27FC236}">
                <a16:creationId xmlns:a16="http://schemas.microsoft.com/office/drawing/2014/main" id="{05E3BF04-5E70-3052-D53D-422912D5FF1E}"/>
              </a:ext>
            </a:extLst>
          </p:cNvPr>
          <p:cNvSpPr>
            <a:spLocks noGrp="1"/>
          </p:cNvSpPr>
          <p:nvPr>
            <p:ph type="body" sz="quarter" idx="34" hasCustomPrompt="1"/>
          </p:nvPr>
        </p:nvSpPr>
        <p:spPr>
          <a:xfrm>
            <a:off x="508000" y="5334846"/>
            <a:ext cx="7127876" cy="681779"/>
          </a:xfrm>
        </p:spPr>
        <p:txBody>
          <a:bodyPr vert="horz" lIns="0" tIns="45720" rIns="0" bIns="0" rtlCol="0" anchor="b" anchorCtr="0">
            <a:noAutofit/>
          </a:bodyPr>
          <a:lstStyle>
            <a:lvl1pPr marL="108000" indent="-108000">
              <a:lnSpc>
                <a:spcPct val="110000"/>
              </a:lnSpc>
              <a:spcBef>
                <a:spcPts val="0"/>
              </a:spcBef>
              <a:spcAft>
                <a:spcPts val="0"/>
              </a:spcAft>
              <a:defRPr lang="en-US" sz="2000" dirty="0">
                <a:solidFill>
                  <a:schemeClr val="accent2"/>
                </a:solidFill>
              </a:defRPr>
            </a:lvl1pPr>
            <a:lvl2pPr>
              <a:defRPr lang="en-US" sz="1400" dirty="0">
                <a:solidFill>
                  <a:schemeClr val="tx2"/>
                </a:solidFill>
                <a:latin typeface="+mj-lt"/>
              </a:defRPr>
            </a:lvl2pPr>
          </a:lstStyle>
          <a:p>
            <a:pPr marL="108000" lvl="0" indent="-108000">
              <a:lnSpc>
                <a:spcPct val="100000"/>
              </a:lnSpc>
              <a:spcBef>
                <a:spcPts val="200"/>
              </a:spcBef>
              <a:spcAft>
                <a:spcPts val="200"/>
              </a:spcAft>
            </a:pPr>
            <a:r>
              <a:rPr lang="en-US" dirty="0"/>
              <a:t>“Quote goes here.”</a:t>
            </a:r>
          </a:p>
        </p:txBody>
      </p:sp>
      <p:sp>
        <p:nvSpPr>
          <p:cNvPr id="14" name="Text Placeholder 7">
            <a:extLst>
              <a:ext uri="{FF2B5EF4-FFF2-40B4-BE49-F238E27FC236}">
                <a16:creationId xmlns:a16="http://schemas.microsoft.com/office/drawing/2014/main" id="{93F1B609-C175-92E7-B8D4-A0BE08083270}"/>
              </a:ext>
            </a:extLst>
          </p:cNvPr>
          <p:cNvSpPr>
            <a:spLocks noGrp="1"/>
          </p:cNvSpPr>
          <p:nvPr>
            <p:ph type="body" sz="quarter" idx="24" hasCustomPrompt="1"/>
          </p:nvPr>
        </p:nvSpPr>
        <p:spPr>
          <a:xfrm>
            <a:off x="508000" y="6047121"/>
            <a:ext cx="7127876" cy="215444"/>
          </a:xfrm>
        </p:spPr>
        <p:txBody>
          <a:bodyPr wrap="square" tIns="0" bIns="0" anchor="b" anchorCtr="0">
            <a:spAutoFit/>
          </a:bodyPr>
          <a:lstStyle>
            <a:lvl1pPr marL="108000">
              <a:lnSpc>
                <a:spcPct val="100000"/>
              </a:lnSpc>
              <a:defRPr sz="1400" cap="all" baseline="0">
                <a:solidFill>
                  <a:schemeClr val="tx2"/>
                </a:solidFill>
                <a:latin typeface="+mj-lt"/>
              </a:defRPr>
            </a:lvl1pPr>
            <a:lvl2pPr marL="108000">
              <a:lnSpc>
                <a:spcPct val="100000"/>
              </a:lnSpc>
              <a:defRPr sz="1400" cap="all" baseline="0">
                <a:solidFill>
                  <a:schemeClr val="tx2"/>
                </a:solidFill>
                <a:latin typeface="+mj-lt"/>
              </a:defRPr>
            </a:lvl2pPr>
            <a:lvl3pPr marL="108000">
              <a:lnSpc>
                <a:spcPct val="100000"/>
              </a:lnSpc>
              <a:defRPr sz="1400" cap="all" baseline="0">
                <a:solidFill>
                  <a:schemeClr val="tx2"/>
                </a:solidFill>
                <a:latin typeface="+mj-lt"/>
              </a:defRPr>
            </a:lvl3pPr>
            <a:lvl4pPr marL="108000">
              <a:lnSpc>
                <a:spcPct val="100000"/>
              </a:lnSpc>
              <a:defRPr sz="1400" cap="all" baseline="0">
                <a:solidFill>
                  <a:schemeClr val="tx2"/>
                </a:solidFill>
                <a:latin typeface="+mj-lt"/>
              </a:defRPr>
            </a:lvl4pPr>
            <a:lvl5pPr marL="108000">
              <a:lnSpc>
                <a:spcPct val="100000"/>
              </a:lnSpc>
              <a:defRPr sz="1400" cap="all" baseline="0">
                <a:solidFill>
                  <a:schemeClr val="tx2"/>
                </a:solidFill>
                <a:latin typeface="+mj-lt"/>
              </a:defRPr>
            </a:lvl5pPr>
          </a:lstStyle>
          <a:p>
            <a:pPr lvl="0"/>
            <a:r>
              <a:rPr lang="en-US" dirty="0"/>
              <a:t>quote author</a:t>
            </a:r>
            <a:endParaRPr lang="en-GB" dirty="0"/>
          </a:p>
        </p:txBody>
      </p:sp>
      <p:sp>
        <p:nvSpPr>
          <p:cNvPr id="29" name="Picture Placeholder 14">
            <a:extLst>
              <a:ext uri="{FF2B5EF4-FFF2-40B4-BE49-F238E27FC236}">
                <a16:creationId xmlns:a16="http://schemas.microsoft.com/office/drawing/2014/main" id="{17FF6D15-D720-69BF-3D16-D9C63EE56B4A}"/>
              </a:ext>
            </a:extLst>
          </p:cNvPr>
          <p:cNvSpPr>
            <a:spLocks noGrp="1"/>
          </p:cNvSpPr>
          <p:nvPr>
            <p:ph type="pic" sz="quarter" idx="35" hasCustomPrompt="1"/>
          </p:nvPr>
        </p:nvSpPr>
        <p:spPr>
          <a:xfrm>
            <a:off x="4235451" y="1298891"/>
            <a:ext cx="876299" cy="876299"/>
          </a:xfrm>
          <a:solidFill>
            <a:schemeClr val="bg1"/>
          </a:solidFill>
        </p:spPr>
        <p:txBody>
          <a:bodyPr anchor="ctr">
            <a:normAutofit/>
          </a:bodyPr>
          <a:lstStyle>
            <a:lvl1pPr algn="ctr">
              <a:defRPr sz="1000">
                <a:latin typeface="+mn-lt"/>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GB" dirty="0"/>
              <a:t>Picture</a:t>
            </a:r>
          </a:p>
        </p:txBody>
      </p:sp>
      <p:sp>
        <p:nvSpPr>
          <p:cNvPr id="30" name="Text Placeholder 16">
            <a:extLst>
              <a:ext uri="{FF2B5EF4-FFF2-40B4-BE49-F238E27FC236}">
                <a16:creationId xmlns:a16="http://schemas.microsoft.com/office/drawing/2014/main" id="{D9047389-F8CE-FBCE-9303-04A73E6E4184}"/>
              </a:ext>
            </a:extLst>
          </p:cNvPr>
          <p:cNvSpPr>
            <a:spLocks noGrp="1"/>
          </p:cNvSpPr>
          <p:nvPr>
            <p:ph type="body" sz="quarter" idx="36" hasCustomPrompt="1"/>
          </p:nvPr>
        </p:nvSpPr>
        <p:spPr>
          <a:xfrm>
            <a:off x="5211365" y="1538859"/>
            <a:ext cx="2543172"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US" dirty="0"/>
              <a:t>Position, Location</a:t>
            </a:r>
          </a:p>
        </p:txBody>
      </p:sp>
      <p:sp>
        <p:nvSpPr>
          <p:cNvPr id="31" name="Text Placeholder 16">
            <a:extLst>
              <a:ext uri="{FF2B5EF4-FFF2-40B4-BE49-F238E27FC236}">
                <a16:creationId xmlns:a16="http://schemas.microsoft.com/office/drawing/2014/main" id="{092FE7C7-3F5B-8E9E-0F9C-9D402960BFD2}"/>
              </a:ext>
            </a:extLst>
          </p:cNvPr>
          <p:cNvSpPr>
            <a:spLocks noGrp="1"/>
          </p:cNvSpPr>
          <p:nvPr>
            <p:ph type="body" sz="quarter" idx="37" hasCustomPrompt="1"/>
          </p:nvPr>
        </p:nvSpPr>
        <p:spPr>
          <a:xfrm>
            <a:off x="5211365" y="1321689"/>
            <a:ext cx="2543172" cy="169277"/>
          </a:xfrm>
        </p:spPr>
        <p:txBody>
          <a:bodyPr tIns="0" bIns="0">
            <a:noAutofit/>
          </a:bodyPr>
          <a:lstStyle>
            <a:lvl1pPr algn="l">
              <a:lnSpc>
                <a:spcPct val="100000"/>
              </a:lnSpc>
              <a:spcBef>
                <a:spcPts val="0"/>
              </a:spcBef>
              <a:spcAft>
                <a:spcPts val="0"/>
              </a:spcAft>
              <a:defRPr sz="1100" cap="all" baseline="0">
                <a:solidFill>
                  <a:schemeClr val="tx2"/>
                </a:solidFill>
                <a:latin typeface="+mj-lt"/>
              </a:defRPr>
            </a:lvl1pPr>
            <a:lvl2pPr algn="l">
              <a:lnSpc>
                <a:spcPct val="100000"/>
              </a:lnSpc>
              <a:spcBef>
                <a:spcPts val="200"/>
              </a:spcBef>
              <a:spcAft>
                <a:spcPts val="200"/>
              </a:spcAft>
              <a:defRPr sz="1100">
                <a:solidFill>
                  <a:schemeClr val="tx1"/>
                </a:solidFill>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0"/>
            <a:r>
              <a:rPr lang="en-US" dirty="0"/>
              <a:t>NAME SURNAME</a:t>
            </a:r>
          </a:p>
        </p:txBody>
      </p:sp>
      <p:sp>
        <p:nvSpPr>
          <p:cNvPr id="32" name="Text Placeholder 16">
            <a:extLst>
              <a:ext uri="{FF2B5EF4-FFF2-40B4-BE49-F238E27FC236}">
                <a16:creationId xmlns:a16="http://schemas.microsoft.com/office/drawing/2014/main" id="{D98FAD1A-C0DE-29DF-A49D-BB7FD917D32A}"/>
              </a:ext>
            </a:extLst>
          </p:cNvPr>
          <p:cNvSpPr>
            <a:spLocks noGrp="1"/>
          </p:cNvSpPr>
          <p:nvPr>
            <p:ph type="body" sz="quarter" idx="38" hasCustomPrompt="1"/>
          </p:nvPr>
        </p:nvSpPr>
        <p:spPr>
          <a:xfrm>
            <a:off x="5387048" y="1756091"/>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33" name="Text Placeholder 16">
            <a:extLst>
              <a:ext uri="{FF2B5EF4-FFF2-40B4-BE49-F238E27FC236}">
                <a16:creationId xmlns:a16="http://schemas.microsoft.com/office/drawing/2014/main" id="{C5C58895-4997-9E05-0E67-5BD353C35110}"/>
              </a:ext>
            </a:extLst>
          </p:cNvPr>
          <p:cNvSpPr>
            <a:spLocks noGrp="1"/>
          </p:cNvSpPr>
          <p:nvPr>
            <p:ph type="body" sz="quarter" idx="39" hasCustomPrompt="1"/>
          </p:nvPr>
        </p:nvSpPr>
        <p:spPr>
          <a:xfrm>
            <a:off x="5387048" y="1973323"/>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name.surname@hfw.com</a:t>
            </a:r>
            <a:endParaRPr lang="en-US" dirty="0"/>
          </a:p>
        </p:txBody>
      </p:sp>
      <p:sp>
        <p:nvSpPr>
          <p:cNvPr id="34" name="TextBox 33">
            <a:extLst>
              <a:ext uri="{FF2B5EF4-FFF2-40B4-BE49-F238E27FC236}">
                <a16:creationId xmlns:a16="http://schemas.microsoft.com/office/drawing/2014/main" id="{56DC8280-9034-AD67-FF3C-11AB9D13C3E4}"/>
              </a:ext>
            </a:extLst>
          </p:cNvPr>
          <p:cNvSpPr txBox="1"/>
          <p:nvPr userDrawn="1"/>
        </p:nvSpPr>
        <p:spPr>
          <a:xfrm flipH="1">
            <a:off x="5212884" y="1756091"/>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35" name="TextBox 34">
            <a:extLst>
              <a:ext uri="{FF2B5EF4-FFF2-40B4-BE49-F238E27FC236}">
                <a16:creationId xmlns:a16="http://schemas.microsoft.com/office/drawing/2014/main" id="{1C66D9FA-3CA1-1F63-E214-0B1E2868A266}"/>
              </a:ext>
            </a:extLst>
          </p:cNvPr>
          <p:cNvSpPr txBox="1"/>
          <p:nvPr userDrawn="1"/>
        </p:nvSpPr>
        <p:spPr>
          <a:xfrm flipH="1">
            <a:off x="5212884" y="1973323"/>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E</a:t>
            </a:r>
          </a:p>
        </p:txBody>
      </p:sp>
      <p:sp>
        <p:nvSpPr>
          <p:cNvPr id="36" name="Picture Placeholder 14">
            <a:extLst>
              <a:ext uri="{FF2B5EF4-FFF2-40B4-BE49-F238E27FC236}">
                <a16:creationId xmlns:a16="http://schemas.microsoft.com/office/drawing/2014/main" id="{B9C99512-C8C8-3C27-8AF9-9B6B5A196261}"/>
              </a:ext>
            </a:extLst>
          </p:cNvPr>
          <p:cNvSpPr>
            <a:spLocks noGrp="1"/>
          </p:cNvSpPr>
          <p:nvPr>
            <p:ph type="pic" sz="quarter" idx="40" hasCustomPrompt="1"/>
          </p:nvPr>
        </p:nvSpPr>
        <p:spPr>
          <a:xfrm>
            <a:off x="516891" y="1298891"/>
            <a:ext cx="876299" cy="876299"/>
          </a:xfrm>
          <a:solidFill>
            <a:schemeClr val="bg1"/>
          </a:solidFill>
        </p:spPr>
        <p:txBody>
          <a:bodyPr anchor="ctr">
            <a:normAutofit/>
          </a:bodyPr>
          <a:lstStyle>
            <a:lvl1pPr algn="ctr">
              <a:defRPr sz="1000">
                <a:latin typeface="+mn-lt"/>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GB" dirty="0"/>
              <a:t>Picture</a:t>
            </a:r>
          </a:p>
        </p:txBody>
      </p:sp>
      <p:sp>
        <p:nvSpPr>
          <p:cNvPr id="37" name="Text Placeholder 16">
            <a:extLst>
              <a:ext uri="{FF2B5EF4-FFF2-40B4-BE49-F238E27FC236}">
                <a16:creationId xmlns:a16="http://schemas.microsoft.com/office/drawing/2014/main" id="{58C69FC3-B245-6116-1442-09652FC4B6CF}"/>
              </a:ext>
            </a:extLst>
          </p:cNvPr>
          <p:cNvSpPr>
            <a:spLocks noGrp="1"/>
          </p:cNvSpPr>
          <p:nvPr>
            <p:ph type="body" sz="quarter" idx="41" hasCustomPrompt="1"/>
          </p:nvPr>
        </p:nvSpPr>
        <p:spPr>
          <a:xfrm>
            <a:off x="1492805" y="1538859"/>
            <a:ext cx="2543172"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US" dirty="0"/>
              <a:t>Position, Location</a:t>
            </a:r>
          </a:p>
        </p:txBody>
      </p:sp>
      <p:sp>
        <p:nvSpPr>
          <p:cNvPr id="38" name="Text Placeholder 16">
            <a:extLst>
              <a:ext uri="{FF2B5EF4-FFF2-40B4-BE49-F238E27FC236}">
                <a16:creationId xmlns:a16="http://schemas.microsoft.com/office/drawing/2014/main" id="{074DE568-A9C8-5C05-E045-0684ADDAAAAA}"/>
              </a:ext>
            </a:extLst>
          </p:cNvPr>
          <p:cNvSpPr>
            <a:spLocks noGrp="1"/>
          </p:cNvSpPr>
          <p:nvPr>
            <p:ph type="body" sz="quarter" idx="42" hasCustomPrompt="1"/>
          </p:nvPr>
        </p:nvSpPr>
        <p:spPr>
          <a:xfrm>
            <a:off x="1492805" y="1321689"/>
            <a:ext cx="2543172" cy="169277"/>
          </a:xfrm>
        </p:spPr>
        <p:txBody>
          <a:bodyPr tIns="0" bIns="0">
            <a:noAutofit/>
          </a:bodyPr>
          <a:lstStyle>
            <a:lvl1pPr algn="l">
              <a:lnSpc>
                <a:spcPct val="100000"/>
              </a:lnSpc>
              <a:spcBef>
                <a:spcPts val="0"/>
              </a:spcBef>
              <a:spcAft>
                <a:spcPts val="0"/>
              </a:spcAft>
              <a:defRPr sz="1100" cap="all" baseline="0">
                <a:solidFill>
                  <a:schemeClr val="tx2"/>
                </a:solidFill>
                <a:latin typeface="+mj-lt"/>
              </a:defRPr>
            </a:lvl1pPr>
            <a:lvl2pPr algn="l">
              <a:lnSpc>
                <a:spcPct val="100000"/>
              </a:lnSpc>
              <a:spcBef>
                <a:spcPts val="200"/>
              </a:spcBef>
              <a:spcAft>
                <a:spcPts val="200"/>
              </a:spcAft>
              <a:defRPr sz="1100">
                <a:solidFill>
                  <a:schemeClr val="tx1"/>
                </a:solidFill>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0"/>
            <a:r>
              <a:rPr lang="en-US" dirty="0"/>
              <a:t>NAME SURNAME</a:t>
            </a:r>
          </a:p>
        </p:txBody>
      </p:sp>
      <p:sp>
        <p:nvSpPr>
          <p:cNvPr id="39" name="Text Placeholder 16">
            <a:extLst>
              <a:ext uri="{FF2B5EF4-FFF2-40B4-BE49-F238E27FC236}">
                <a16:creationId xmlns:a16="http://schemas.microsoft.com/office/drawing/2014/main" id="{2A7733AC-AEED-1B5F-40AC-EA31578B4841}"/>
              </a:ext>
            </a:extLst>
          </p:cNvPr>
          <p:cNvSpPr>
            <a:spLocks noGrp="1"/>
          </p:cNvSpPr>
          <p:nvPr>
            <p:ph type="body" sz="quarter" idx="43" hasCustomPrompt="1"/>
          </p:nvPr>
        </p:nvSpPr>
        <p:spPr>
          <a:xfrm>
            <a:off x="1668488" y="1756091"/>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40" name="Text Placeholder 16">
            <a:extLst>
              <a:ext uri="{FF2B5EF4-FFF2-40B4-BE49-F238E27FC236}">
                <a16:creationId xmlns:a16="http://schemas.microsoft.com/office/drawing/2014/main" id="{E2D9B488-ECED-AE81-B86A-D2A0F5F2635D}"/>
              </a:ext>
            </a:extLst>
          </p:cNvPr>
          <p:cNvSpPr>
            <a:spLocks noGrp="1"/>
          </p:cNvSpPr>
          <p:nvPr>
            <p:ph type="body" sz="quarter" idx="44" hasCustomPrompt="1"/>
          </p:nvPr>
        </p:nvSpPr>
        <p:spPr>
          <a:xfrm>
            <a:off x="1668488" y="1973323"/>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name.surname@hfw.com</a:t>
            </a:r>
            <a:endParaRPr lang="en-US" dirty="0"/>
          </a:p>
        </p:txBody>
      </p:sp>
      <p:sp>
        <p:nvSpPr>
          <p:cNvPr id="41" name="TextBox 40">
            <a:extLst>
              <a:ext uri="{FF2B5EF4-FFF2-40B4-BE49-F238E27FC236}">
                <a16:creationId xmlns:a16="http://schemas.microsoft.com/office/drawing/2014/main" id="{75BAB06F-B0A0-A307-4B01-1141A1E0E37F}"/>
              </a:ext>
            </a:extLst>
          </p:cNvPr>
          <p:cNvSpPr txBox="1"/>
          <p:nvPr userDrawn="1"/>
        </p:nvSpPr>
        <p:spPr>
          <a:xfrm flipH="1">
            <a:off x="1494324" y="1756091"/>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42" name="TextBox 41">
            <a:extLst>
              <a:ext uri="{FF2B5EF4-FFF2-40B4-BE49-F238E27FC236}">
                <a16:creationId xmlns:a16="http://schemas.microsoft.com/office/drawing/2014/main" id="{244061C0-9CF4-2E5A-0DAD-EF93A164DD4C}"/>
              </a:ext>
            </a:extLst>
          </p:cNvPr>
          <p:cNvSpPr txBox="1"/>
          <p:nvPr userDrawn="1"/>
        </p:nvSpPr>
        <p:spPr>
          <a:xfrm flipH="1">
            <a:off x="1494324" y="1973323"/>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E</a:t>
            </a:r>
          </a:p>
        </p:txBody>
      </p:sp>
      <p:sp>
        <p:nvSpPr>
          <p:cNvPr id="43" name="Picture Placeholder 14">
            <a:extLst>
              <a:ext uri="{FF2B5EF4-FFF2-40B4-BE49-F238E27FC236}">
                <a16:creationId xmlns:a16="http://schemas.microsoft.com/office/drawing/2014/main" id="{2E0BC25B-F6B8-47DC-A1BF-EFCA0A934B2E}"/>
              </a:ext>
            </a:extLst>
          </p:cNvPr>
          <p:cNvSpPr>
            <a:spLocks noGrp="1"/>
          </p:cNvSpPr>
          <p:nvPr>
            <p:ph type="pic" sz="quarter" idx="45" hasCustomPrompt="1"/>
          </p:nvPr>
        </p:nvSpPr>
        <p:spPr>
          <a:xfrm>
            <a:off x="4235451" y="2319337"/>
            <a:ext cx="876299" cy="876299"/>
          </a:xfrm>
          <a:solidFill>
            <a:schemeClr val="bg1"/>
          </a:solidFill>
        </p:spPr>
        <p:txBody>
          <a:bodyPr anchor="ctr">
            <a:normAutofit/>
          </a:bodyPr>
          <a:lstStyle>
            <a:lvl1pPr algn="ctr">
              <a:defRPr sz="1000">
                <a:latin typeface="+mn-lt"/>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GB" dirty="0"/>
              <a:t>Picture</a:t>
            </a:r>
          </a:p>
        </p:txBody>
      </p:sp>
      <p:sp>
        <p:nvSpPr>
          <p:cNvPr id="44" name="Text Placeholder 16">
            <a:extLst>
              <a:ext uri="{FF2B5EF4-FFF2-40B4-BE49-F238E27FC236}">
                <a16:creationId xmlns:a16="http://schemas.microsoft.com/office/drawing/2014/main" id="{7D68F9B7-2123-D2C1-B6C7-0370EA19DF07}"/>
              </a:ext>
            </a:extLst>
          </p:cNvPr>
          <p:cNvSpPr>
            <a:spLocks noGrp="1"/>
          </p:cNvSpPr>
          <p:nvPr>
            <p:ph type="body" sz="quarter" idx="46" hasCustomPrompt="1"/>
          </p:nvPr>
        </p:nvSpPr>
        <p:spPr>
          <a:xfrm>
            <a:off x="5211365" y="2559305"/>
            <a:ext cx="2543172"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US" dirty="0"/>
              <a:t>Position, Location</a:t>
            </a:r>
          </a:p>
        </p:txBody>
      </p:sp>
      <p:sp>
        <p:nvSpPr>
          <p:cNvPr id="45" name="Text Placeholder 16">
            <a:extLst>
              <a:ext uri="{FF2B5EF4-FFF2-40B4-BE49-F238E27FC236}">
                <a16:creationId xmlns:a16="http://schemas.microsoft.com/office/drawing/2014/main" id="{7D673390-A712-D77E-4110-85D768FD496A}"/>
              </a:ext>
            </a:extLst>
          </p:cNvPr>
          <p:cNvSpPr>
            <a:spLocks noGrp="1"/>
          </p:cNvSpPr>
          <p:nvPr>
            <p:ph type="body" sz="quarter" idx="47" hasCustomPrompt="1"/>
          </p:nvPr>
        </p:nvSpPr>
        <p:spPr>
          <a:xfrm>
            <a:off x="5211365" y="2342135"/>
            <a:ext cx="2543172" cy="169277"/>
          </a:xfrm>
        </p:spPr>
        <p:txBody>
          <a:bodyPr tIns="0" bIns="0">
            <a:noAutofit/>
          </a:bodyPr>
          <a:lstStyle>
            <a:lvl1pPr algn="l">
              <a:lnSpc>
                <a:spcPct val="100000"/>
              </a:lnSpc>
              <a:spcBef>
                <a:spcPts val="0"/>
              </a:spcBef>
              <a:spcAft>
                <a:spcPts val="0"/>
              </a:spcAft>
              <a:defRPr sz="1100" cap="all" baseline="0">
                <a:solidFill>
                  <a:schemeClr val="tx2"/>
                </a:solidFill>
                <a:latin typeface="+mj-lt"/>
              </a:defRPr>
            </a:lvl1pPr>
            <a:lvl2pPr algn="l">
              <a:lnSpc>
                <a:spcPct val="100000"/>
              </a:lnSpc>
              <a:spcBef>
                <a:spcPts val="200"/>
              </a:spcBef>
              <a:spcAft>
                <a:spcPts val="200"/>
              </a:spcAft>
              <a:defRPr sz="1100">
                <a:solidFill>
                  <a:schemeClr val="tx1"/>
                </a:solidFill>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0"/>
            <a:r>
              <a:rPr lang="en-US" dirty="0"/>
              <a:t>NAME SURNAME</a:t>
            </a:r>
          </a:p>
        </p:txBody>
      </p:sp>
      <p:sp>
        <p:nvSpPr>
          <p:cNvPr id="46" name="Text Placeholder 16">
            <a:extLst>
              <a:ext uri="{FF2B5EF4-FFF2-40B4-BE49-F238E27FC236}">
                <a16:creationId xmlns:a16="http://schemas.microsoft.com/office/drawing/2014/main" id="{16345E27-D0D7-2806-8F5D-D2C30EC3654C}"/>
              </a:ext>
            </a:extLst>
          </p:cNvPr>
          <p:cNvSpPr>
            <a:spLocks noGrp="1"/>
          </p:cNvSpPr>
          <p:nvPr>
            <p:ph type="body" sz="quarter" idx="48" hasCustomPrompt="1"/>
          </p:nvPr>
        </p:nvSpPr>
        <p:spPr>
          <a:xfrm>
            <a:off x="5387048" y="2776537"/>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47" name="Text Placeholder 16">
            <a:extLst>
              <a:ext uri="{FF2B5EF4-FFF2-40B4-BE49-F238E27FC236}">
                <a16:creationId xmlns:a16="http://schemas.microsoft.com/office/drawing/2014/main" id="{80CA41A7-3C9D-DD69-8A06-A84215378EFC}"/>
              </a:ext>
            </a:extLst>
          </p:cNvPr>
          <p:cNvSpPr>
            <a:spLocks noGrp="1"/>
          </p:cNvSpPr>
          <p:nvPr>
            <p:ph type="body" sz="quarter" idx="49" hasCustomPrompt="1"/>
          </p:nvPr>
        </p:nvSpPr>
        <p:spPr>
          <a:xfrm>
            <a:off x="5387048" y="2993769"/>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name.surname@hfw.com</a:t>
            </a:r>
            <a:endParaRPr lang="en-US" dirty="0"/>
          </a:p>
        </p:txBody>
      </p:sp>
      <p:sp>
        <p:nvSpPr>
          <p:cNvPr id="48" name="TextBox 47">
            <a:extLst>
              <a:ext uri="{FF2B5EF4-FFF2-40B4-BE49-F238E27FC236}">
                <a16:creationId xmlns:a16="http://schemas.microsoft.com/office/drawing/2014/main" id="{18443D3A-EF2A-522A-DD0C-01B8AD916D94}"/>
              </a:ext>
            </a:extLst>
          </p:cNvPr>
          <p:cNvSpPr txBox="1"/>
          <p:nvPr userDrawn="1"/>
        </p:nvSpPr>
        <p:spPr>
          <a:xfrm flipH="1">
            <a:off x="5212884" y="2776537"/>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49" name="TextBox 48">
            <a:extLst>
              <a:ext uri="{FF2B5EF4-FFF2-40B4-BE49-F238E27FC236}">
                <a16:creationId xmlns:a16="http://schemas.microsoft.com/office/drawing/2014/main" id="{4E417F35-A14F-23E8-DABD-2B541DF82529}"/>
              </a:ext>
            </a:extLst>
          </p:cNvPr>
          <p:cNvSpPr txBox="1"/>
          <p:nvPr userDrawn="1"/>
        </p:nvSpPr>
        <p:spPr>
          <a:xfrm flipH="1">
            <a:off x="5212884" y="2993769"/>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E</a:t>
            </a:r>
          </a:p>
        </p:txBody>
      </p:sp>
      <p:sp>
        <p:nvSpPr>
          <p:cNvPr id="50" name="Picture Placeholder 14">
            <a:extLst>
              <a:ext uri="{FF2B5EF4-FFF2-40B4-BE49-F238E27FC236}">
                <a16:creationId xmlns:a16="http://schemas.microsoft.com/office/drawing/2014/main" id="{CAC6651C-82C8-A2F2-0696-71A4B9A53C5A}"/>
              </a:ext>
            </a:extLst>
          </p:cNvPr>
          <p:cNvSpPr>
            <a:spLocks noGrp="1"/>
          </p:cNvSpPr>
          <p:nvPr>
            <p:ph type="pic" sz="quarter" idx="50" hasCustomPrompt="1"/>
          </p:nvPr>
        </p:nvSpPr>
        <p:spPr>
          <a:xfrm>
            <a:off x="516891" y="2319337"/>
            <a:ext cx="876299" cy="876299"/>
          </a:xfrm>
          <a:solidFill>
            <a:schemeClr val="bg1"/>
          </a:solidFill>
        </p:spPr>
        <p:txBody>
          <a:bodyPr anchor="ctr">
            <a:normAutofit/>
          </a:bodyPr>
          <a:lstStyle>
            <a:lvl1pPr algn="ctr">
              <a:defRPr sz="1000">
                <a:latin typeface="+mn-lt"/>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GB" dirty="0"/>
              <a:t>Picture</a:t>
            </a:r>
          </a:p>
        </p:txBody>
      </p:sp>
      <p:sp>
        <p:nvSpPr>
          <p:cNvPr id="51" name="Text Placeholder 16">
            <a:extLst>
              <a:ext uri="{FF2B5EF4-FFF2-40B4-BE49-F238E27FC236}">
                <a16:creationId xmlns:a16="http://schemas.microsoft.com/office/drawing/2014/main" id="{FAD7FF78-3063-BB80-6AFC-3A5D7A02F368}"/>
              </a:ext>
            </a:extLst>
          </p:cNvPr>
          <p:cNvSpPr>
            <a:spLocks noGrp="1"/>
          </p:cNvSpPr>
          <p:nvPr>
            <p:ph type="body" sz="quarter" idx="51" hasCustomPrompt="1"/>
          </p:nvPr>
        </p:nvSpPr>
        <p:spPr>
          <a:xfrm>
            <a:off x="1492805" y="2559305"/>
            <a:ext cx="2543172"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US" dirty="0"/>
              <a:t>Position, Location</a:t>
            </a:r>
          </a:p>
        </p:txBody>
      </p:sp>
      <p:sp>
        <p:nvSpPr>
          <p:cNvPr id="52" name="Text Placeholder 16">
            <a:extLst>
              <a:ext uri="{FF2B5EF4-FFF2-40B4-BE49-F238E27FC236}">
                <a16:creationId xmlns:a16="http://schemas.microsoft.com/office/drawing/2014/main" id="{2A3EA119-A73E-5192-8329-1141825D20FE}"/>
              </a:ext>
            </a:extLst>
          </p:cNvPr>
          <p:cNvSpPr>
            <a:spLocks noGrp="1"/>
          </p:cNvSpPr>
          <p:nvPr>
            <p:ph type="body" sz="quarter" idx="52" hasCustomPrompt="1"/>
          </p:nvPr>
        </p:nvSpPr>
        <p:spPr>
          <a:xfrm>
            <a:off x="1492805" y="2342135"/>
            <a:ext cx="2543172" cy="169277"/>
          </a:xfrm>
        </p:spPr>
        <p:txBody>
          <a:bodyPr tIns="0" bIns="0">
            <a:noAutofit/>
          </a:bodyPr>
          <a:lstStyle>
            <a:lvl1pPr algn="l">
              <a:lnSpc>
                <a:spcPct val="100000"/>
              </a:lnSpc>
              <a:spcBef>
                <a:spcPts val="0"/>
              </a:spcBef>
              <a:spcAft>
                <a:spcPts val="0"/>
              </a:spcAft>
              <a:defRPr sz="1100" cap="all" baseline="0">
                <a:solidFill>
                  <a:schemeClr val="tx2"/>
                </a:solidFill>
                <a:latin typeface="+mj-lt"/>
              </a:defRPr>
            </a:lvl1pPr>
            <a:lvl2pPr algn="l">
              <a:lnSpc>
                <a:spcPct val="100000"/>
              </a:lnSpc>
              <a:spcBef>
                <a:spcPts val="200"/>
              </a:spcBef>
              <a:spcAft>
                <a:spcPts val="200"/>
              </a:spcAft>
              <a:defRPr sz="1100">
                <a:solidFill>
                  <a:schemeClr val="tx1"/>
                </a:solidFill>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0"/>
            <a:r>
              <a:rPr lang="en-US" dirty="0"/>
              <a:t>NAME SURNAME</a:t>
            </a:r>
          </a:p>
        </p:txBody>
      </p:sp>
      <p:sp>
        <p:nvSpPr>
          <p:cNvPr id="53" name="Text Placeholder 16">
            <a:extLst>
              <a:ext uri="{FF2B5EF4-FFF2-40B4-BE49-F238E27FC236}">
                <a16:creationId xmlns:a16="http://schemas.microsoft.com/office/drawing/2014/main" id="{7C6ADCCA-8324-E1A3-F2A9-D37543C8F141}"/>
              </a:ext>
            </a:extLst>
          </p:cNvPr>
          <p:cNvSpPr>
            <a:spLocks noGrp="1"/>
          </p:cNvSpPr>
          <p:nvPr>
            <p:ph type="body" sz="quarter" idx="53" hasCustomPrompt="1"/>
          </p:nvPr>
        </p:nvSpPr>
        <p:spPr>
          <a:xfrm>
            <a:off x="1668488" y="2776537"/>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54" name="Text Placeholder 16">
            <a:extLst>
              <a:ext uri="{FF2B5EF4-FFF2-40B4-BE49-F238E27FC236}">
                <a16:creationId xmlns:a16="http://schemas.microsoft.com/office/drawing/2014/main" id="{BE48A086-D3DD-3EA2-8239-4ED8BE761955}"/>
              </a:ext>
            </a:extLst>
          </p:cNvPr>
          <p:cNvSpPr>
            <a:spLocks noGrp="1"/>
          </p:cNvSpPr>
          <p:nvPr>
            <p:ph type="body" sz="quarter" idx="54" hasCustomPrompt="1"/>
          </p:nvPr>
        </p:nvSpPr>
        <p:spPr>
          <a:xfrm>
            <a:off x="1668488" y="2993769"/>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name.surname@hfw.com</a:t>
            </a:r>
            <a:endParaRPr lang="en-US" dirty="0"/>
          </a:p>
        </p:txBody>
      </p:sp>
      <p:sp>
        <p:nvSpPr>
          <p:cNvPr id="55" name="TextBox 54">
            <a:extLst>
              <a:ext uri="{FF2B5EF4-FFF2-40B4-BE49-F238E27FC236}">
                <a16:creationId xmlns:a16="http://schemas.microsoft.com/office/drawing/2014/main" id="{85C78290-7E57-1710-6ED2-74D257D9C241}"/>
              </a:ext>
            </a:extLst>
          </p:cNvPr>
          <p:cNvSpPr txBox="1"/>
          <p:nvPr userDrawn="1"/>
        </p:nvSpPr>
        <p:spPr>
          <a:xfrm flipH="1">
            <a:off x="1494324" y="2776537"/>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56" name="TextBox 55">
            <a:extLst>
              <a:ext uri="{FF2B5EF4-FFF2-40B4-BE49-F238E27FC236}">
                <a16:creationId xmlns:a16="http://schemas.microsoft.com/office/drawing/2014/main" id="{73314C5E-F718-E6F4-CE04-015186ABA8ED}"/>
              </a:ext>
            </a:extLst>
          </p:cNvPr>
          <p:cNvSpPr txBox="1"/>
          <p:nvPr userDrawn="1"/>
        </p:nvSpPr>
        <p:spPr>
          <a:xfrm flipH="1">
            <a:off x="1494324" y="2993769"/>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E</a:t>
            </a:r>
          </a:p>
        </p:txBody>
      </p:sp>
      <p:sp>
        <p:nvSpPr>
          <p:cNvPr id="3" name="TextBox 4">
            <a:extLst>
              <a:ext uri="{FF2B5EF4-FFF2-40B4-BE49-F238E27FC236}">
                <a16:creationId xmlns:a16="http://schemas.microsoft.com/office/drawing/2014/main" id="{AEDE7E81-9865-1EDD-BC9D-D12BB0BBFDC7}"/>
              </a:ext>
            </a:extLst>
          </p:cNvPr>
          <p:cNvSpPr txBox="1"/>
          <p:nvPr userDrawn="1"/>
        </p:nvSpPr>
        <p:spPr>
          <a:xfrm>
            <a:off x="12346713" y="109538"/>
            <a:ext cx="2253207" cy="498085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INSERTING IMAGES:</a:t>
            </a:r>
          </a:p>
          <a:p>
            <a:pPr marL="179388" indent="-179388">
              <a:spcBef>
                <a:spcPts val="200"/>
              </a:spcBef>
              <a:spcAft>
                <a:spcPts val="200"/>
              </a:spcAft>
              <a:buFont typeface="+mj-lt"/>
              <a:buAutoNum type="arabicPeriod"/>
            </a:pPr>
            <a:r>
              <a:rPr lang="en-US" sz="900" dirty="0">
                <a:solidFill>
                  <a:schemeClr val="tx1"/>
                </a:solidFill>
                <a:latin typeface="+mn-lt"/>
              </a:rPr>
              <a:t>Simply click the image placeholder and select your image.</a:t>
            </a:r>
          </a:p>
          <a:p>
            <a:pPr marL="179388" indent="-179388">
              <a:spcBef>
                <a:spcPts val="200"/>
              </a:spcBef>
              <a:spcAft>
                <a:spcPts val="200"/>
              </a:spcAft>
              <a:buFont typeface="+mj-lt"/>
              <a:buAutoNum type="arabicPeriod"/>
            </a:pPr>
            <a:r>
              <a:rPr lang="en-US" sz="900" dirty="0">
                <a:solidFill>
                  <a:schemeClr val="tx1"/>
                </a:solidFill>
                <a:latin typeface="+mn-lt"/>
              </a:rPr>
              <a:t>Once your image is inserted into the shape it may be distorted. (Stretched or Squashed)</a:t>
            </a:r>
          </a:p>
          <a:p>
            <a:pPr marL="179388" indent="-179388">
              <a:spcBef>
                <a:spcPts val="200"/>
              </a:spcBef>
              <a:spcAft>
                <a:spcPts val="200"/>
              </a:spcAft>
              <a:buFont typeface="+mj-lt"/>
              <a:buAutoNum type="arabicPeriod"/>
            </a:pPr>
            <a:endParaRPr lang="en-US" sz="900" dirty="0">
              <a:solidFill>
                <a:schemeClr val="tx1"/>
              </a:solidFill>
              <a:latin typeface="+mn-lt"/>
            </a:endParaRPr>
          </a:p>
          <a:p>
            <a:pPr>
              <a:spcBef>
                <a:spcPts val="200"/>
              </a:spcBef>
              <a:spcAft>
                <a:spcPts val="200"/>
              </a:spcAft>
            </a:pPr>
            <a:r>
              <a:rPr lang="en-US" sz="900" b="1" dirty="0">
                <a:solidFill>
                  <a:schemeClr val="tx1"/>
                </a:solidFill>
                <a:latin typeface="+mn-lt"/>
              </a:rPr>
              <a:t>To fix this:</a:t>
            </a:r>
          </a:p>
          <a:p>
            <a:pPr marL="179388" indent="-179388">
              <a:spcBef>
                <a:spcPts val="200"/>
              </a:spcBef>
              <a:spcAft>
                <a:spcPts val="200"/>
              </a:spcAft>
              <a:buFont typeface="+mj-lt"/>
              <a:buAutoNum type="arabicPeriod"/>
            </a:pPr>
            <a:r>
              <a:rPr lang="en-US" sz="900" dirty="0">
                <a:solidFill>
                  <a:schemeClr val="tx1"/>
                </a:solidFill>
                <a:latin typeface="+mn-lt"/>
              </a:rPr>
              <a:t>Click on the image and from the top menu under </a:t>
            </a:r>
            <a:r>
              <a:rPr lang="en-US" sz="900" b="1" dirty="0">
                <a:solidFill>
                  <a:schemeClr val="tx1"/>
                </a:solidFill>
                <a:latin typeface="+mn-lt"/>
              </a:rPr>
              <a:t>PICTURE FORMAT </a:t>
            </a:r>
            <a:r>
              <a:rPr lang="en-US" sz="900" dirty="0">
                <a:solidFill>
                  <a:schemeClr val="tx1"/>
                </a:solidFill>
                <a:latin typeface="+mn-lt"/>
              </a:rPr>
              <a:t>select the </a:t>
            </a:r>
            <a:r>
              <a:rPr lang="en-US" sz="900" b="1" dirty="0">
                <a:solidFill>
                  <a:schemeClr val="tx1"/>
                </a:solidFill>
                <a:latin typeface="+mn-lt"/>
              </a:rPr>
              <a:t>CROP</a:t>
            </a:r>
            <a:r>
              <a:rPr lang="en-US" sz="900" dirty="0">
                <a:solidFill>
                  <a:schemeClr val="tx1"/>
                </a:solidFill>
                <a:latin typeface="+mn-lt"/>
              </a:rPr>
              <a:t> on the right and from the drop down menu select </a:t>
            </a:r>
            <a:r>
              <a:rPr lang="en-US" sz="900" b="1" kern="1200" dirty="0">
                <a:solidFill>
                  <a:schemeClr val="tx1"/>
                </a:solidFill>
                <a:latin typeface="+mn-lt"/>
                <a:ea typeface="+mn-ea"/>
                <a:cs typeface="+mn-cs"/>
              </a:rPr>
              <a:t>FILL</a:t>
            </a:r>
          </a:p>
          <a:p>
            <a:pPr marL="179388" indent="-179388">
              <a:spcBef>
                <a:spcPts val="200"/>
              </a:spcBef>
              <a:spcAft>
                <a:spcPts val="200"/>
              </a:spcAft>
              <a:buFont typeface="+mj-lt"/>
              <a:buAutoNum type="arabicPeriod"/>
            </a:pPr>
            <a:r>
              <a:rPr lang="en-US" sz="900" b="0" kern="1200" dirty="0">
                <a:solidFill>
                  <a:schemeClr val="tx1"/>
                </a:solidFill>
                <a:latin typeface="+mn-lt"/>
                <a:ea typeface="+mn-ea"/>
                <a:cs typeface="+mn-cs"/>
              </a:rPr>
              <a:t>From here you can move the image within the shape for best visual appearance</a:t>
            </a:r>
          </a:p>
          <a:p>
            <a:pPr marL="179388" indent="-179388">
              <a:spcBef>
                <a:spcPts val="200"/>
              </a:spcBef>
              <a:spcAft>
                <a:spcPts val="200"/>
              </a:spcAft>
              <a:buFont typeface="+mj-lt"/>
              <a:buAutoNum type="arabicPeriod"/>
            </a:pPr>
            <a:endParaRPr lang="en-US" sz="900" b="0" i="0" kern="1200" dirty="0">
              <a:solidFill>
                <a:schemeClr val="tx1"/>
              </a:solidFill>
              <a:latin typeface="+mn-lt"/>
              <a:ea typeface="+mn-ea"/>
              <a:cs typeface="+mn-cs"/>
            </a:endParaRPr>
          </a:p>
          <a:p>
            <a:pPr marL="0" marR="0" lvl="0" indent="0" algn="l" defTabSz="914400" rtl="0" eaLnBrk="1" fontAlgn="auto" latinLnBrk="0" hangingPunct="1">
              <a:lnSpc>
                <a:spcPct val="100000"/>
              </a:lnSpc>
              <a:spcBef>
                <a:spcPts val="200"/>
              </a:spcBef>
              <a:spcAft>
                <a:spcPts val="200"/>
              </a:spcAft>
              <a:buClrTx/>
              <a:buSzTx/>
              <a:buFont typeface="+mj-lt"/>
              <a:buNone/>
              <a:tabLst/>
              <a:defRPr/>
            </a:pPr>
            <a:r>
              <a:rPr lang="en-GB" sz="1000" b="1" i="0" dirty="0">
                <a:effectLst/>
                <a:latin typeface="Arial" panose="020B0604020202020204" pitchFamily="34" charset="0"/>
                <a:ea typeface="Calibri" panose="020F0502020204030204" pitchFamily="34" charset="0"/>
              </a:rPr>
              <a:t>When inserting staff photos, </a:t>
            </a:r>
            <a:r>
              <a:rPr lang="en-GB" sz="1000" i="0" dirty="0">
                <a:effectLst/>
                <a:latin typeface="Arial" panose="020B0604020202020204" pitchFamily="34" charset="0"/>
                <a:ea typeface="Calibri" panose="020F0502020204030204" pitchFamily="34" charset="0"/>
              </a:rPr>
              <a:t>please use the same method as suggested above. To ensure you are using staff photos that are optimised for use in this Pitch Template, please insert them from the “Staff Photos 40x40 BW” folder, located in the Staff photos section of the HFW Pitch Template folder.</a:t>
            </a:r>
            <a:endParaRPr lang="en-GB" sz="1000" i="0" dirty="0">
              <a:effectLst/>
              <a:latin typeface="Calibri" panose="020F0502020204030204" pitchFamily="34" charset="0"/>
              <a:ea typeface="Calibri" panose="020F0502020204030204" pitchFamily="34" charset="0"/>
            </a:endParaRPr>
          </a:p>
          <a:p>
            <a:pPr marL="179388" indent="-179388">
              <a:spcBef>
                <a:spcPts val="200"/>
              </a:spcBef>
              <a:spcAft>
                <a:spcPts val="200"/>
              </a:spcAft>
              <a:buFont typeface="+mj-lt"/>
              <a:buAutoNum type="arabicPeriod"/>
            </a:pPr>
            <a:endParaRPr lang="en-US" sz="900" b="0" kern="1200" dirty="0">
              <a:solidFill>
                <a:schemeClr val="tx1"/>
              </a:solidFill>
              <a:latin typeface="+mn-lt"/>
              <a:ea typeface="+mn-ea"/>
              <a:cs typeface="+mn-cs"/>
            </a:endParaRPr>
          </a:p>
          <a:p>
            <a:pPr marL="179388" indent="-179388">
              <a:spcBef>
                <a:spcPts val="200"/>
              </a:spcBef>
              <a:spcAft>
                <a:spcPts val="200"/>
              </a:spcAft>
              <a:buFont typeface="+mj-lt"/>
              <a:buAutoNum type="arabicPeriod"/>
            </a:pPr>
            <a:endParaRPr lang="en-US" sz="900" b="0" kern="1200" dirty="0">
              <a:solidFill>
                <a:schemeClr val="tx1"/>
              </a:solidFill>
              <a:latin typeface="+mn-lt"/>
              <a:ea typeface="+mn-ea"/>
              <a:cs typeface="+mn-cs"/>
            </a:endParaRPr>
          </a:p>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SAMPLE CONTACT LAYOUT</a:t>
            </a:r>
          </a:p>
        </p:txBody>
      </p:sp>
      <p:grpSp>
        <p:nvGrpSpPr>
          <p:cNvPr id="4" name="Group 3">
            <a:extLst>
              <a:ext uri="{FF2B5EF4-FFF2-40B4-BE49-F238E27FC236}">
                <a16:creationId xmlns:a16="http://schemas.microsoft.com/office/drawing/2014/main" id="{030BB784-73CE-9D84-B581-F66D671670C1}"/>
              </a:ext>
            </a:extLst>
          </p:cNvPr>
          <p:cNvGrpSpPr/>
          <p:nvPr userDrawn="1"/>
        </p:nvGrpSpPr>
        <p:grpSpPr>
          <a:xfrm>
            <a:off x="12437199" y="5138030"/>
            <a:ext cx="2813913" cy="819975"/>
            <a:chOff x="12399099" y="4230487"/>
            <a:chExt cx="2813913" cy="819975"/>
          </a:xfrm>
        </p:grpSpPr>
        <p:sp>
          <p:nvSpPr>
            <p:cNvPr id="7" name="TextBox 6">
              <a:extLst>
                <a:ext uri="{FF2B5EF4-FFF2-40B4-BE49-F238E27FC236}">
                  <a16:creationId xmlns:a16="http://schemas.microsoft.com/office/drawing/2014/main" id="{D515BE8D-C1E8-00FC-423A-AD05A819A577}"/>
                </a:ext>
              </a:extLst>
            </p:cNvPr>
            <p:cNvSpPr txBox="1"/>
            <p:nvPr userDrawn="1"/>
          </p:nvSpPr>
          <p:spPr>
            <a:xfrm flipH="1">
              <a:off x="12573262" y="4663953"/>
              <a:ext cx="2639750"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grpSp>
          <p:nvGrpSpPr>
            <p:cNvPr id="8" name="Group 7">
              <a:extLst>
                <a:ext uri="{FF2B5EF4-FFF2-40B4-BE49-F238E27FC236}">
                  <a16:creationId xmlns:a16="http://schemas.microsoft.com/office/drawing/2014/main" id="{FE76A35F-857A-EB1E-91FE-AE2B4908738E}"/>
                </a:ext>
              </a:extLst>
            </p:cNvPr>
            <p:cNvGrpSpPr/>
            <p:nvPr userDrawn="1"/>
          </p:nvGrpSpPr>
          <p:grpSpPr>
            <a:xfrm>
              <a:off x="12399099" y="4230487"/>
              <a:ext cx="2326813" cy="819975"/>
              <a:chOff x="12399099" y="4230487"/>
              <a:chExt cx="2326813" cy="819975"/>
            </a:xfrm>
          </p:grpSpPr>
          <p:sp>
            <p:nvSpPr>
              <p:cNvPr id="10" name="TextBox 9">
                <a:extLst>
                  <a:ext uri="{FF2B5EF4-FFF2-40B4-BE49-F238E27FC236}">
                    <a16:creationId xmlns:a16="http://schemas.microsoft.com/office/drawing/2014/main" id="{1478353D-5F46-0C64-BA59-40579021A8F3}"/>
                  </a:ext>
                </a:extLst>
              </p:cNvPr>
              <p:cNvSpPr txBox="1"/>
              <p:nvPr userDrawn="1"/>
            </p:nvSpPr>
            <p:spPr>
              <a:xfrm flipH="1">
                <a:off x="12399100" y="4663953"/>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11" name="TextBox 10">
                <a:extLst>
                  <a:ext uri="{FF2B5EF4-FFF2-40B4-BE49-F238E27FC236}">
                    <a16:creationId xmlns:a16="http://schemas.microsoft.com/office/drawing/2014/main" id="{DB8DA1D6-C036-FAC7-6A7A-75310072F8D4}"/>
                  </a:ext>
                </a:extLst>
              </p:cNvPr>
              <p:cNvSpPr txBox="1"/>
              <p:nvPr userDrawn="1"/>
            </p:nvSpPr>
            <p:spPr>
              <a:xfrm flipH="1">
                <a:off x="12399100" y="4881185"/>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E</a:t>
                </a:r>
              </a:p>
            </p:txBody>
          </p:sp>
          <p:sp>
            <p:nvSpPr>
              <p:cNvPr id="12" name="TextBox 11">
                <a:extLst>
                  <a:ext uri="{FF2B5EF4-FFF2-40B4-BE49-F238E27FC236}">
                    <a16:creationId xmlns:a16="http://schemas.microsoft.com/office/drawing/2014/main" id="{E8BB659E-8D7A-E65E-9FE0-449EEFFC971D}"/>
                  </a:ext>
                </a:extLst>
              </p:cNvPr>
              <p:cNvSpPr txBox="1"/>
              <p:nvPr userDrawn="1"/>
            </p:nvSpPr>
            <p:spPr>
              <a:xfrm flipH="1">
                <a:off x="12573262" y="4881185"/>
                <a:ext cx="2152650"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name.surname@hfw.com</a:t>
                </a:r>
                <a:endParaRPr lang="en-US" dirty="0"/>
              </a:p>
            </p:txBody>
          </p:sp>
          <p:sp>
            <p:nvSpPr>
              <p:cNvPr id="18" name="TextBox 17">
                <a:extLst>
                  <a:ext uri="{FF2B5EF4-FFF2-40B4-BE49-F238E27FC236}">
                    <a16:creationId xmlns:a16="http://schemas.microsoft.com/office/drawing/2014/main" id="{B0B84CA5-DCAE-1699-EEC9-B56B9AC1601C}"/>
                  </a:ext>
                </a:extLst>
              </p:cNvPr>
              <p:cNvSpPr txBox="1"/>
              <p:nvPr userDrawn="1"/>
            </p:nvSpPr>
            <p:spPr>
              <a:xfrm flipH="1">
                <a:off x="12399099" y="4230487"/>
                <a:ext cx="1968833"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solidFill>
                      <a:schemeClr val="tx2"/>
                    </a:solidFill>
                    <a:latin typeface="+mj-lt"/>
                  </a:rPr>
                  <a:t>NAME SURNAME</a:t>
                </a:r>
              </a:p>
            </p:txBody>
          </p:sp>
          <p:sp>
            <p:nvSpPr>
              <p:cNvPr id="19" name="TextBox 18">
                <a:extLst>
                  <a:ext uri="{FF2B5EF4-FFF2-40B4-BE49-F238E27FC236}">
                    <a16:creationId xmlns:a16="http://schemas.microsoft.com/office/drawing/2014/main" id="{C423E0A2-E8D3-1EC8-BF38-EAC1C84DDEDA}"/>
                  </a:ext>
                </a:extLst>
              </p:cNvPr>
              <p:cNvSpPr txBox="1"/>
              <p:nvPr userDrawn="1"/>
            </p:nvSpPr>
            <p:spPr>
              <a:xfrm flipH="1">
                <a:off x="12399099" y="4445785"/>
                <a:ext cx="1968833"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US" dirty="0"/>
                  <a:t>Position, Location</a:t>
                </a:r>
              </a:p>
            </p:txBody>
          </p:sp>
        </p:grpSp>
      </p:grpSp>
    </p:spTree>
    <p:extLst>
      <p:ext uri="{BB962C8B-B14F-4D97-AF65-F5344CB8AC3E}">
        <p14:creationId xmlns:p14="http://schemas.microsoft.com/office/powerpoint/2010/main" val="2375408233"/>
      </p:ext>
    </p:extLst>
  </p:cSld>
  <p:clrMapOvr>
    <a:masterClrMapping/>
  </p:clrMapOvr>
  <p:transition spd="med">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Key Contacts 2 &amp; Quote">
    <p:bg>
      <p:bgPr>
        <a:solidFill>
          <a:schemeClr val="bg2"/>
        </a:solidFill>
        <a:effectLst/>
      </p:bgPr>
    </p:bg>
    <p:spTree>
      <p:nvGrpSpPr>
        <p:cNvPr id="1" name=""/>
        <p:cNvGrpSpPr/>
        <p:nvPr/>
      </p:nvGrpSpPr>
      <p:grpSpPr>
        <a:xfrm>
          <a:off x="0" y="0"/>
          <a:ext cx="0" cy="0"/>
          <a:chOff x="0" y="0"/>
          <a:chExt cx="0" cy="0"/>
        </a:xfrm>
      </p:grpSpPr>
      <p:sp>
        <p:nvSpPr>
          <p:cNvPr id="9" name="Picture Placeholder 10">
            <a:extLst>
              <a:ext uri="{FF2B5EF4-FFF2-40B4-BE49-F238E27FC236}">
                <a16:creationId xmlns:a16="http://schemas.microsoft.com/office/drawing/2014/main" id="{957F7B8C-8896-F507-1133-31FF9F06D6DB}"/>
              </a:ext>
            </a:extLst>
          </p:cNvPr>
          <p:cNvSpPr>
            <a:spLocks noGrp="1"/>
          </p:cNvSpPr>
          <p:nvPr>
            <p:ph type="pic" sz="quarter" idx="13" hasCustomPrompt="1"/>
          </p:nvPr>
        </p:nvSpPr>
        <p:spPr>
          <a:xfrm>
            <a:off x="8126412" y="0"/>
            <a:ext cx="4065587" cy="6858000"/>
          </a:xfrm>
          <a:solidFill>
            <a:schemeClr val="tx1"/>
          </a:solidFill>
        </p:spPr>
        <p:txBody>
          <a:bodyPr vert="horz" lIns="0" tIns="45720" rIns="0" bIns="45720" rtlCol="0" anchor="ctr">
            <a:normAutofit/>
          </a:bodyPr>
          <a:lstStyle>
            <a:lvl1pPr algn="ctr">
              <a:defRPr lang="en-GB" sz="2800" b="0" dirty="0">
                <a:solidFill>
                  <a:schemeClr val="bg1"/>
                </a:solidFill>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US" dirty="0"/>
              <a:t>ADD RELATED </a:t>
            </a:r>
            <a:br>
              <a:rPr lang="en-US" dirty="0"/>
            </a:br>
            <a:r>
              <a:rPr lang="en-US" dirty="0"/>
              <a:t>IMAGE </a:t>
            </a:r>
            <a:br>
              <a:rPr lang="en-US" dirty="0"/>
            </a:br>
            <a:r>
              <a:rPr lang="en-US" dirty="0"/>
              <a:t>FROM HFW </a:t>
            </a:r>
            <a:br>
              <a:rPr lang="en-US" dirty="0"/>
            </a:br>
            <a:r>
              <a:rPr lang="en-US" dirty="0"/>
              <a:t>IMAGE LIBRARY</a:t>
            </a:r>
          </a:p>
        </p:txBody>
      </p:sp>
      <p:sp>
        <p:nvSpPr>
          <p:cNvPr id="2" name="Title 1"/>
          <p:cNvSpPr>
            <a:spLocks noGrp="1"/>
          </p:cNvSpPr>
          <p:nvPr>
            <p:ph type="title" hasCustomPrompt="1"/>
          </p:nvPr>
        </p:nvSpPr>
        <p:spPr>
          <a:xfrm>
            <a:off x="508000" y="454013"/>
            <a:ext cx="7459663" cy="663587"/>
          </a:xfrm>
        </p:spPr>
        <p:txBody>
          <a:bodyPr/>
          <a:lstStyle>
            <a:lvl1pPr>
              <a:defRPr/>
            </a:lvl1pPr>
          </a:lstStyle>
          <a:p>
            <a:r>
              <a:rPr lang="en-US" dirty="0"/>
              <a:t>Key </a:t>
            </a:r>
            <a:r>
              <a:rPr lang="en-US" dirty="0" err="1"/>
              <a:t>contactS</a:t>
            </a:r>
            <a:endParaRPr lang="en-US" dirty="0"/>
          </a:p>
        </p:txBody>
      </p:sp>
      <p:sp>
        <p:nvSpPr>
          <p:cNvPr id="5" name="Footer Placeholder 4"/>
          <p:cNvSpPr>
            <a:spLocks noGrp="1"/>
          </p:cNvSpPr>
          <p:nvPr>
            <p:ph type="ftr" sz="quarter" idx="11"/>
          </p:nvPr>
        </p:nvSpPr>
        <p:spPr/>
        <p:txBody>
          <a:bodyPr/>
          <a:lstStyle/>
          <a:p>
            <a:r>
              <a:rPr lang="en-GB"/>
              <a:t>INSERT FOOTER HER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8CFE0557-AA98-4E6C-B0C3-581794696B68}" type="slidenum">
              <a:rPr lang="en-GB" smtClean="0"/>
              <a:pPr/>
              <a:t>‹#›</a:t>
            </a:fld>
            <a:endParaRPr lang="en-GB"/>
          </a:p>
        </p:txBody>
      </p:sp>
      <p:sp>
        <p:nvSpPr>
          <p:cNvPr id="7" name="Content Placeholder 2">
            <a:extLst>
              <a:ext uri="{FF2B5EF4-FFF2-40B4-BE49-F238E27FC236}">
                <a16:creationId xmlns:a16="http://schemas.microsoft.com/office/drawing/2014/main" id="{6A078DCC-43B1-8D23-0AA3-05E731BDE2C0}"/>
              </a:ext>
            </a:extLst>
          </p:cNvPr>
          <p:cNvSpPr>
            <a:spLocks noGrp="1"/>
          </p:cNvSpPr>
          <p:nvPr>
            <p:ph idx="21" hasCustomPrompt="1"/>
          </p:nvPr>
        </p:nvSpPr>
        <p:spPr>
          <a:xfrm>
            <a:off x="504826" y="2315934"/>
            <a:ext cx="3403599" cy="2874138"/>
          </a:xfrm>
        </p:spPr>
        <p:txBody>
          <a:bodyPr vert="horz" lIns="0" tIns="45720" rIns="0" bIns="4572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12" name="Content Placeholder 2">
            <a:extLst>
              <a:ext uri="{FF2B5EF4-FFF2-40B4-BE49-F238E27FC236}">
                <a16:creationId xmlns:a16="http://schemas.microsoft.com/office/drawing/2014/main" id="{44E07C73-29FB-D898-A303-EE530927EF1D}"/>
              </a:ext>
            </a:extLst>
          </p:cNvPr>
          <p:cNvSpPr>
            <a:spLocks noGrp="1"/>
          </p:cNvSpPr>
          <p:nvPr>
            <p:ph idx="22" hasCustomPrompt="1"/>
          </p:nvPr>
        </p:nvSpPr>
        <p:spPr>
          <a:xfrm>
            <a:off x="4238626" y="2315934"/>
            <a:ext cx="3403599" cy="2874138"/>
          </a:xfrm>
        </p:spPr>
        <p:txBody>
          <a:bodyPr vert="horz" lIns="0" tIns="45720" rIns="0" bIns="4572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13" name="Text Placeholder 12">
            <a:extLst>
              <a:ext uri="{FF2B5EF4-FFF2-40B4-BE49-F238E27FC236}">
                <a16:creationId xmlns:a16="http://schemas.microsoft.com/office/drawing/2014/main" id="{5B93EE01-800D-0028-C9B0-B20815E33555}"/>
              </a:ext>
            </a:extLst>
          </p:cNvPr>
          <p:cNvSpPr>
            <a:spLocks noGrp="1"/>
          </p:cNvSpPr>
          <p:nvPr>
            <p:ph type="body" sz="quarter" idx="34" hasCustomPrompt="1"/>
          </p:nvPr>
        </p:nvSpPr>
        <p:spPr>
          <a:xfrm>
            <a:off x="508000" y="5334846"/>
            <a:ext cx="7127876" cy="681779"/>
          </a:xfrm>
        </p:spPr>
        <p:txBody>
          <a:bodyPr vert="horz" lIns="0" tIns="45720" rIns="0" bIns="0" rtlCol="0" anchor="b" anchorCtr="0">
            <a:noAutofit/>
          </a:bodyPr>
          <a:lstStyle>
            <a:lvl1pPr marL="108000" indent="-108000">
              <a:lnSpc>
                <a:spcPct val="110000"/>
              </a:lnSpc>
              <a:spcBef>
                <a:spcPts val="0"/>
              </a:spcBef>
              <a:spcAft>
                <a:spcPts val="0"/>
              </a:spcAft>
              <a:defRPr lang="en-US" sz="2000" dirty="0">
                <a:solidFill>
                  <a:schemeClr val="accent2"/>
                </a:solidFill>
              </a:defRPr>
            </a:lvl1pPr>
            <a:lvl2pPr>
              <a:defRPr lang="en-US" sz="1400" dirty="0">
                <a:solidFill>
                  <a:schemeClr val="tx2"/>
                </a:solidFill>
                <a:latin typeface="+mj-lt"/>
              </a:defRPr>
            </a:lvl2pPr>
          </a:lstStyle>
          <a:p>
            <a:pPr marL="108000" lvl="0" indent="-108000">
              <a:lnSpc>
                <a:spcPct val="100000"/>
              </a:lnSpc>
              <a:spcBef>
                <a:spcPts val="200"/>
              </a:spcBef>
              <a:spcAft>
                <a:spcPts val="200"/>
              </a:spcAft>
            </a:pPr>
            <a:r>
              <a:rPr lang="en-US" dirty="0"/>
              <a:t>“Quote goes here.”</a:t>
            </a:r>
          </a:p>
        </p:txBody>
      </p:sp>
      <p:sp>
        <p:nvSpPr>
          <p:cNvPr id="14" name="Text Placeholder 7">
            <a:extLst>
              <a:ext uri="{FF2B5EF4-FFF2-40B4-BE49-F238E27FC236}">
                <a16:creationId xmlns:a16="http://schemas.microsoft.com/office/drawing/2014/main" id="{50163123-3A62-135D-F620-22C8EB6C0938}"/>
              </a:ext>
            </a:extLst>
          </p:cNvPr>
          <p:cNvSpPr>
            <a:spLocks noGrp="1"/>
          </p:cNvSpPr>
          <p:nvPr>
            <p:ph type="body" sz="quarter" idx="24" hasCustomPrompt="1"/>
          </p:nvPr>
        </p:nvSpPr>
        <p:spPr>
          <a:xfrm>
            <a:off x="508000" y="6047121"/>
            <a:ext cx="7127876" cy="215444"/>
          </a:xfrm>
        </p:spPr>
        <p:txBody>
          <a:bodyPr wrap="square" tIns="0" bIns="0" anchor="b" anchorCtr="0">
            <a:spAutoFit/>
          </a:bodyPr>
          <a:lstStyle>
            <a:lvl1pPr marL="108000">
              <a:lnSpc>
                <a:spcPct val="100000"/>
              </a:lnSpc>
              <a:defRPr sz="1400" cap="all" baseline="0">
                <a:solidFill>
                  <a:schemeClr val="tx2"/>
                </a:solidFill>
                <a:latin typeface="+mj-lt"/>
              </a:defRPr>
            </a:lvl1pPr>
            <a:lvl2pPr marL="108000">
              <a:lnSpc>
                <a:spcPct val="100000"/>
              </a:lnSpc>
              <a:defRPr sz="1400" cap="all" baseline="0">
                <a:solidFill>
                  <a:schemeClr val="tx2"/>
                </a:solidFill>
                <a:latin typeface="+mj-lt"/>
              </a:defRPr>
            </a:lvl2pPr>
            <a:lvl3pPr marL="108000">
              <a:lnSpc>
                <a:spcPct val="100000"/>
              </a:lnSpc>
              <a:defRPr sz="1400" cap="all" baseline="0">
                <a:solidFill>
                  <a:schemeClr val="tx2"/>
                </a:solidFill>
                <a:latin typeface="+mj-lt"/>
              </a:defRPr>
            </a:lvl3pPr>
            <a:lvl4pPr marL="108000">
              <a:lnSpc>
                <a:spcPct val="100000"/>
              </a:lnSpc>
              <a:defRPr sz="1400" cap="all" baseline="0">
                <a:solidFill>
                  <a:schemeClr val="tx2"/>
                </a:solidFill>
                <a:latin typeface="+mj-lt"/>
              </a:defRPr>
            </a:lvl4pPr>
            <a:lvl5pPr marL="108000">
              <a:lnSpc>
                <a:spcPct val="100000"/>
              </a:lnSpc>
              <a:defRPr sz="1400" cap="all" baseline="0">
                <a:solidFill>
                  <a:schemeClr val="tx2"/>
                </a:solidFill>
                <a:latin typeface="+mj-lt"/>
              </a:defRPr>
            </a:lvl5pPr>
          </a:lstStyle>
          <a:p>
            <a:pPr lvl="0"/>
            <a:r>
              <a:rPr lang="en-US" dirty="0"/>
              <a:t>quote author</a:t>
            </a:r>
            <a:endParaRPr lang="en-GB" dirty="0"/>
          </a:p>
        </p:txBody>
      </p:sp>
      <p:sp>
        <p:nvSpPr>
          <p:cNvPr id="26" name="Picture Placeholder 14">
            <a:extLst>
              <a:ext uri="{FF2B5EF4-FFF2-40B4-BE49-F238E27FC236}">
                <a16:creationId xmlns:a16="http://schemas.microsoft.com/office/drawing/2014/main" id="{327AE98A-18F9-446F-844C-2DAA30DEAFB0}"/>
              </a:ext>
            </a:extLst>
          </p:cNvPr>
          <p:cNvSpPr>
            <a:spLocks noGrp="1"/>
          </p:cNvSpPr>
          <p:nvPr>
            <p:ph type="pic" sz="quarter" idx="35" hasCustomPrompt="1"/>
          </p:nvPr>
        </p:nvSpPr>
        <p:spPr>
          <a:xfrm>
            <a:off x="4235451" y="1298891"/>
            <a:ext cx="876299" cy="876299"/>
          </a:xfrm>
          <a:solidFill>
            <a:schemeClr val="bg1"/>
          </a:solidFill>
        </p:spPr>
        <p:txBody>
          <a:bodyPr anchor="ctr">
            <a:normAutofit/>
          </a:bodyPr>
          <a:lstStyle>
            <a:lvl1pPr algn="ctr">
              <a:defRPr sz="1000">
                <a:latin typeface="+mn-lt"/>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GB" dirty="0"/>
              <a:t>Picture</a:t>
            </a:r>
          </a:p>
        </p:txBody>
      </p:sp>
      <p:sp>
        <p:nvSpPr>
          <p:cNvPr id="27" name="Text Placeholder 16">
            <a:extLst>
              <a:ext uri="{FF2B5EF4-FFF2-40B4-BE49-F238E27FC236}">
                <a16:creationId xmlns:a16="http://schemas.microsoft.com/office/drawing/2014/main" id="{046D2B2F-86F6-59BC-2C7E-5AC1EEE12BB7}"/>
              </a:ext>
            </a:extLst>
          </p:cNvPr>
          <p:cNvSpPr>
            <a:spLocks noGrp="1"/>
          </p:cNvSpPr>
          <p:nvPr>
            <p:ph type="body" sz="quarter" idx="36" hasCustomPrompt="1"/>
          </p:nvPr>
        </p:nvSpPr>
        <p:spPr>
          <a:xfrm>
            <a:off x="5211365" y="1538859"/>
            <a:ext cx="2543172"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US" dirty="0"/>
              <a:t>Position, Location</a:t>
            </a:r>
          </a:p>
        </p:txBody>
      </p:sp>
      <p:sp>
        <p:nvSpPr>
          <p:cNvPr id="29" name="Text Placeholder 16">
            <a:extLst>
              <a:ext uri="{FF2B5EF4-FFF2-40B4-BE49-F238E27FC236}">
                <a16:creationId xmlns:a16="http://schemas.microsoft.com/office/drawing/2014/main" id="{D74E72F2-AC5C-525C-AE97-7494E77C12DF}"/>
              </a:ext>
            </a:extLst>
          </p:cNvPr>
          <p:cNvSpPr>
            <a:spLocks noGrp="1"/>
          </p:cNvSpPr>
          <p:nvPr>
            <p:ph type="body" sz="quarter" idx="37" hasCustomPrompt="1"/>
          </p:nvPr>
        </p:nvSpPr>
        <p:spPr>
          <a:xfrm>
            <a:off x="5211365" y="1321689"/>
            <a:ext cx="2543172" cy="169277"/>
          </a:xfrm>
        </p:spPr>
        <p:txBody>
          <a:bodyPr tIns="0" bIns="0">
            <a:noAutofit/>
          </a:bodyPr>
          <a:lstStyle>
            <a:lvl1pPr algn="l">
              <a:lnSpc>
                <a:spcPct val="100000"/>
              </a:lnSpc>
              <a:spcBef>
                <a:spcPts val="0"/>
              </a:spcBef>
              <a:spcAft>
                <a:spcPts val="0"/>
              </a:spcAft>
              <a:defRPr sz="1100" cap="all" baseline="0">
                <a:solidFill>
                  <a:schemeClr val="tx2"/>
                </a:solidFill>
                <a:latin typeface="+mj-lt"/>
              </a:defRPr>
            </a:lvl1pPr>
            <a:lvl2pPr algn="l">
              <a:lnSpc>
                <a:spcPct val="100000"/>
              </a:lnSpc>
              <a:spcBef>
                <a:spcPts val="200"/>
              </a:spcBef>
              <a:spcAft>
                <a:spcPts val="200"/>
              </a:spcAft>
              <a:defRPr sz="1100">
                <a:solidFill>
                  <a:schemeClr val="tx1"/>
                </a:solidFill>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0"/>
            <a:r>
              <a:rPr lang="en-US" dirty="0"/>
              <a:t>NAME SURNAME</a:t>
            </a:r>
          </a:p>
        </p:txBody>
      </p:sp>
      <p:sp>
        <p:nvSpPr>
          <p:cNvPr id="30" name="Text Placeholder 16">
            <a:extLst>
              <a:ext uri="{FF2B5EF4-FFF2-40B4-BE49-F238E27FC236}">
                <a16:creationId xmlns:a16="http://schemas.microsoft.com/office/drawing/2014/main" id="{9DE53AC3-7017-8FB7-BCFA-EC650073215D}"/>
              </a:ext>
            </a:extLst>
          </p:cNvPr>
          <p:cNvSpPr>
            <a:spLocks noGrp="1"/>
          </p:cNvSpPr>
          <p:nvPr>
            <p:ph type="body" sz="quarter" idx="38" hasCustomPrompt="1"/>
          </p:nvPr>
        </p:nvSpPr>
        <p:spPr>
          <a:xfrm>
            <a:off x="5387048" y="1756091"/>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31" name="Text Placeholder 16">
            <a:extLst>
              <a:ext uri="{FF2B5EF4-FFF2-40B4-BE49-F238E27FC236}">
                <a16:creationId xmlns:a16="http://schemas.microsoft.com/office/drawing/2014/main" id="{B25EEBA5-68B6-FED7-7260-066EC76C3B9B}"/>
              </a:ext>
            </a:extLst>
          </p:cNvPr>
          <p:cNvSpPr>
            <a:spLocks noGrp="1"/>
          </p:cNvSpPr>
          <p:nvPr>
            <p:ph type="body" sz="quarter" idx="39" hasCustomPrompt="1"/>
          </p:nvPr>
        </p:nvSpPr>
        <p:spPr>
          <a:xfrm>
            <a:off x="5387048" y="1973323"/>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name.surname@hfw.com</a:t>
            </a:r>
            <a:endParaRPr lang="en-US" dirty="0"/>
          </a:p>
        </p:txBody>
      </p:sp>
      <p:sp>
        <p:nvSpPr>
          <p:cNvPr id="32" name="TextBox 31">
            <a:extLst>
              <a:ext uri="{FF2B5EF4-FFF2-40B4-BE49-F238E27FC236}">
                <a16:creationId xmlns:a16="http://schemas.microsoft.com/office/drawing/2014/main" id="{096203A0-27A7-6AD5-8774-AF78571FCC4C}"/>
              </a:ext>
            </a:extLst>
          </p:cNvPr>
          <p:cNvSpPr txBox="1"/>
          <p:nvPr userDrawn="1"/>
        </p:nvSpPr>
        <p:spPr>
          <a:xfrm flipH="1">
            <a:off x="5212884" y="1756091"/>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33" name="TextBox 32">
            <a:extLst>
              <a:ext uri="{FF2B5EF4-FFF2-40B4-BE49-F238E27FC236}">
                <a16:creationId xmlns:a16="http://schemas.microsoft.com/office/drawing/2014/main" id="{EDAEBD87-9CB7-F7D4-2E6B-AAC8AE2BC4D4}"/>
              </a:ext>
            </a:extLst>
          </p:cNvPr>
          <p:cNvSpPr txBox="1"/>
          <p:nvPr userDrawn="1"/>
        </p:nvSpPr>
        <p:spPr>
          <a:xfrm flipH="1">
            <a:off x="5212884" y="1973323"/>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E</a:t>
            </a:r>
          </a:p>
        </p:txBody>
      </p:sp>
      <p:sp>
        <p:nvSpPr>
          <p:cNvPr id="34" name="Picture Placeholder 14">
            <a:extLst>
              <a:ext uri="{FF2B5EF4-FFF2-40B4-BE49-F238E27FC236}">
                <a16:creationId xmlns:a16="http://schemas.microsoft.com/office/drawing/2014/main" id="{966D93E6-9AA5-87F2-109B-A52F6034F5A9}"/>
              </a:ext>
            </a:extLst>
          </p:cNvPr>
          <p:cNvSpPr>
            <a:spLocks noGrp="1"/>
          </p:cNvSpPr>
          <p:nvPr>
            <p:ph type="pic" sz="quarter" idx="40" hasCustomPrompt="1"/>
          </p:nvPr>
        </p:nvSpPr>
        <p:spPr>
          <a:xfrm>
            <a:off x="516891" y="1298891"/>
            <a:ext cx="876299" cy="876299"/>
          </a:xfrm>
          <a:solidFill>
            <a:schemeClr val="bg1"/>
          </a:solidFill>
        </p:spPr>
        <p:txBody>
          <a:bodyPr anchor="ctr">
            <a:normAutofit/>
          </a:bodyPr>
          <a:lstStyle>
            <a:lvl1pPr algn="ctr">
              <a:defRPr sz="1000">
                <a:latin typeface="+mn-lt"/>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GB" dirty="0"/>
              <a:t>Picture</a:t>
            </a:r>
          </a:p>
        </p:txBody>
      </p:sp>
      <p:sp>
        <p:nvSpPr>
          <p:cNvPr id="35" name="Text Placeholder 16">
            <a:extLst>
              <a:ext uri="{FF2B5EF4-FFF2-40B4-BE49-F238E27FC236}">
                <a16:creationId xmlns:a16="http://schemas.microsoft.com/office/drawing/2014/main" id="{7A6CA8BE-7F8F-2109-5E3D-7AE9F03008C6}"/>
              </a:ext>
            </a:extLst>
          </p:cNvPr>
          <p:cNvSpPr>
            <a:spLocks noGrp="1"/>
          </p:cNvSpPr>
          <p:nvPr>
            <p:ph type="body" sz="quarter" idx="41" hasCustomPrompt="1"/>
          </p:nvPr>
        </p:nvSpPr>
        <p:spPr>
          <a:xfrm>
            <a:off x="1492805" y="1538859"/>
            <a:ext cx="2543172"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US" dirty="0"/>
              <a:t>Position, Location</a:t>
            </a:r>
          </a:p>
        </p:txBody>
      </p:sp>
      <p:sp>
        <p:nvSpPr>
          <p:cNvPr id="36" name="Text Placeholder 16">
            <a:extLst>
              <a:ext uri="{FF2B5EF4-FFF2-40B4-BE49-F238E27FC236}">
                <a16:creationId xmlns:a16="http://schemas.microsoft.com/office/drawing/2014/main" id="{701F9EE0-A51A-BA65-DE8F-AA3E19DB19EA}"/>
              </a:ext>
            </a:extLst>
          </p:cNvPr>
          <p:cNvSpPr>
            <a:spLocks noGrp="1"/>
          </p:cNvSpPr>
          <p:nvPr>
            <p:ph type="body" sz="quarter" idx="42" hasCustomPrompt="1"/>
          </p:nvPr>
        </p:nvSpPr>
        <p:spPr>
          <a:xfrm>
            <a:off x="1492805" y="1321689"/>
            <a:ext cx="2543172" cy="169277"/>
          </a:xfrm>
        </p:spPr>
        <p:txBody>
          <a:bodyPr tIns="0" bIns="0">
            <a:noAutofit/>
          </a:bodyPr>
          <a:lstStyle>
            <a:lvl1pPr algn="l">
              <a:lnSpc>
                <a:spcPct val="100000"/>
              </a:lnSpc>
              <a:spcBef>
                <a:spcPts val="0"/>
              </a:spcBef>
              <a:spcAft>
                <a:spcPts val="0"/>
              </a:spcAft>
              <a:defRPr sz="1100" cap="all" baseline="0">
                <a:solidFill>
                  <a:schemeClr val="tx2"/>
                </a:solidFill>
                <a:latin typeface="+mj-lt"/>
              </a:defRPr>
            </a:lvl1pPr>
            <a:lvl2pPr algn="l">
              <a:lnSpc>
                <a:spcPct val="100000"/>
              </a:lnSpc>
              <a:spcBef>
                <a:spcPts val="200"/>
              </a:spcBef>
              <a:spcAft>
                <a:spcPts val="200"/>
              </a:spcAft>
              <a:defRPr sz="1100">
                <a:solidFill>
                  <a:schemeClr val="tx1"/>
                </a:solidFill>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0"/>
            <a:r>
              <a:rPr lang="en-US" dirty="0"/>
              <a:t>NAME SURNAME</a:t>
            </a:r>
          </a:p>
        </p:txBody>
      </p:sp>
      <p:sp>
        <p:nvSpPr>
          <p:cNvPr id="37" name="Text Placeholder 16">
            <a:extLst>
              <a:ext uri="{FF2B5EF4-FFF2-40B4-BE49-F238E27FC236}">
                <a16:creationId xmlns:a16="http://schemas.microsoft.com/office/drawing/2014/main" id="{FE4EAC6E-C485-A9CA-2067-7E57CAFA398A}"/>
              </a:ext>
            </a:extLst>
          </p:cNvPr>
          <p:cNvSpPr>
            <a:spLocks noGrp="1"/>
          </p:cNvSpPr>
          <p:nvPr>
            <p:ph type="body" sz="quarter" idx="43" hasCustomPrompt="1"/>
          </p:nvPr>
        </p:nvSpPr>
        <p:spPr>
          <a:xfrm>
            <a:off x="1668488" y="1756091"/>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38" name="Text Placeholder 16">
            <a:extLst>
              <a:ext uri="{FF2B5EF4-FFF2-40B4-BE49-F238E27FC236}">
                <a16:creationId xmlns:a16="http://schemas.microsoft.com/office/drawing/2014/main" id="{7FE23975-477D-B2BB-1EA2-6082193CE8B7}"/>
              </a:ext>
            </a:extLst>
          </p:cNvPr>
          <p:cNvSpPr>
            <a:spLocks noGrp="1"/>
          </p:cNvSpPr>
          <p:nvPr>
            <p:ph type="body" sz="quarter" idx="44" hasCustomPrompt="1"/>
          </p:nvPr>
        </p:nvSpPr>
        <p:spPr>
          <a:xfrm>
            <a:off x="1668488" y="1973323"/>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name.surname@hfw.com</a:t>
            </a:r>
            <a:endParaRPr lang="en-US" dirty="0"/>
          </a:p>
        </p:txBody>
      </p:sp>
      <p:sp>
        <p:nvSpPr>
          <p:cNvPr id="39" name="TextBox 38">
            <a:extLst>
              <a:ext uri="{FF2B5EF4-FFF2-40B4-BE49-F238E27FC236}">
                <a16:creationId xmlns:a16="http://schemas.microsoft.com/office/drawing/2014/main" id="{C6E53A73-95D7-7689-C9CB-8529F63843BF}"/>
              </a:ext>
            </a:extLst>
          </p:cNvPr>
          <p:cNvSpPr txBox="1"/>
          <p:nvPr userDrawn="1"/>
        </p:nvSpPr>
        <p:spPr>
          <a:xfrm flipH="1">
            <a:off x="1494324" y="1756091"/>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40" name="TextBox 39">
            <a:extLst>
              <a:ext uri="{FF2B5EF4-FFF2-40B4-BE49-F238E27FC236}">
                <a16:creationId xmlns:a16="http://schemas.microsoft.com/office/drawing/2014/main" id="{C53E79FC-1631-B2FF-83A7-1E81922626E5}"/>
              </a:ext>
            </a:extLst>
          </p:cNvPr>
          <p:cNvSpPr txBox="1"/>
          <p:nvPr userDrawn="1"/>
        </p:nvSpPr>
        <p:spPr>
          <a:xfrm flipH="1">
            <a:off x="1494324" y="1973323"/>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E</a:t>
            </a:r>
          </a:p>
        </p:txBody>
      </p:sp>
      <p:sp>
        <p:nvSpPr>
          <p:cNvPr id="3" name="TextBox 4">
            <a:extLst>
              <a:ext uri="{FF2B5EF4-FFF2-40B4-BE49-F238E27FC236}">
                <a16:creationId xmlns:a16="http://schemas.microsoft.com/office/drawing/2014/main" id="{05C15AD3-B5E0-9952-D026-1F6413214B0B}"/>
              </a:ext>
            </a:extLst>
          </p:cNvPr>
          <p:cNvSpPr txBox="1"/>
          <p:nvPr userDrawn="1"/>
        </p:nvSpPr>
        <p:spPr>
          <a:xfrm>
            <a:off x="12346713" y="109538"/>
            <a:ext cx="2253207" cy="498085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INSERTING IMAGES:</a:t>
            </a:r>
          </a:p>
          <a:p>
            <a:pPr marL="179388" indent="-179388">
              <a:spcBef>
                <a:spcPts val="200"/>
              </a:spcBef>
              <a:spcAft>
                <a:spcPts val="200"/>
              </a:spcAft>
              <a:buFont typeface="+mj-lt"/>
              <a:buAutoNum type="arabicPeriod"/>
            </a:pPr>
            <a:r>
              <a:rPr lang="en-US" sz="900" dirty="0">
                <a:solidFill>
                  <a:schemeClr val="tx1"/>
                </a:solidFill>
                <a:latin typeface="+mn-lt"/>
              </a:rPr>
              <a:t>Simply click the image placeholder and select your image.</a:t>
            </a:r>
          </a:p>
          <a:p>
            <a:pPr marL="179388" indent="-179388">
              <a:spcBef>
                <a:spcPts val="200"/>
              </a:spcBef>
              <a:spcAft>
                <a:spcPts val="200"/>
              </a:spcAft>
              <a:buFont typeface="+mj-lt"/>
              <a:buAutoNum type="arabicPeriod"/>
            </a:pPr>
            <a:r>
              <a:rPr lang="en-US" sz="900" dirty="0">
                <a:solidFill>
                  <a:schemeClr val="tx1"/>
                </a:solidFill>
                <a:latin typeface="+mn-lt"/>
              </a:rPr>
              <a:t>Once your image is inserted into the shape it may be distorted. (Stretched or Squashed)</a:t>
            </a:r>
          </a:p>
          <a:p>
            <a:pPr marL="179388" indent="-179388">
              <a:spcBef>
                <a:spcPts val="200"/>
              </a:spcBef>
              <a:spcAft>
                <a:spcPts val="200"/>
              </a:spcAft>
              <a:buFont typeface="+mj-lt"/>
              <a:buAutoNum type="arabicPeriod"/>
            </a:pPr>
            <a:endParaRPr lang="en-US" sz="900" dirty="0">
              <a:solidFill>
                <a:schemeClr val="tx1"/>
              </a:solidFill>
              <a:latin typeface="+mn-lt"/>
            </a:endParaRPr>
          </a:p>
          <a:p>
            <a:pPr>
              <a:spcBef>
                <a:spcPts val="200"/>
              </a:spcBef>
              <a:spcAft>
                <a:spcPts val="200"/>
              </a:spcAft>
            </a:pPr>
            <a:r>
              <a:rPr lang="en-US" sz="900" b="1" dirty="0">
                <a:solidFill>
                  <a:schemeClr val="tx1"/>
                </a:solidFill>
                <a:latin typeface="+mn-lt"/>
              </a:rPr>
              <a:t>To fix this:</a:t>
            </a:r>
          </a:p>
          <a:p>
            <a:pPr marL="179388" indent="-179388">
              <a:spcBef>
                <a:spcPts val="200"/>
              </a:spcBef>
              <a:spcAft>
                <a:spcPts val="200"/>
              </a:spcAft>
              <a:buFont typeface="+mj-lt"/>
              <a:buAutoNum type="arabicPeriod"/>
            </a:pPr>
            <a:r>
              <a:rPr lang="en-US" sz="900" dirty="0">
                <a:solidFill>
                  <a:schemeClr val="tx1"/>
                </a:solidFill>
                <a:latin typeface="+mn-lt"/>
              </a:rPr>
              <a:t>Click on the image and from the top menu under </a:t>
            </a:r>
            <a:r>
              <a:rPr lang="en-US" sz="900" b="1" dirty="0">
                <a:solidFill>
                  <a:schemeClr val="tx1"/>
                </a:solidFill>
                <a:latin typeface="+mn-lt"/>
              </a:rPr>
              <a:t>PICTURE FORMAT </a:t>
            </a:r>
            <a:r>
              <a:rPr lang="en-US" sz="900" dirty="0">
                <a:solidFill>
                  <a:schemeClr val="tx1"/>
                </a:solidFill>
                <a:latin typeface="+mn-lt"/>
              </a:rPr>
              <a:t>select the </a:t>
            </a:r>
            <a:r>
              <a:rPr lang="en-US" sz="900" b="1" dirty="0">
                <a:solidFill>
                  <a:schemeClr val="tx1"/>
                </a:solidFill>
                <a:latin typeface="+mn-lt"/>
              </a:rPr>
              <a:t>CROP</a:t>
            </a:r>
            <a:r>
              <a:rPr lang="en-US" sz="900" dirty="0">
                <a:solidFill>
                  <a:schemeClr val="tx1"/>
                </a:solidFill>
                <a:latin typeface="+mn-lt"/>
              </a:rPr>
              <a:t> on the right and from the drop down menu select </a:t>
            </a:r>
            <a:r>
              <a:rPr lang="en-US" sz="900" b="1" kern="1200" dirty="0">
                <a:solidFill>
                  <a:schemeClr val="tx1"/>
                </a:solidFill>
                <a:latin typeface="+mn-lt"/>
                <a:ea typeface="+mn-ea"/>
                <a:cs typeface="+mn-cs"/>
              </a:rPr>
              <a:t>FILL</a:t>
            </a:r>
          </a:p>
          <a:p>
            <a:pPr marL="179388" indent="-179388">
              <a:spcBef>
                <a:spcPts val="200"/>
              </a:spcBef>
              <a:spcAft>
                <a:spcPts val="200"/>
              </a:spcAft>
              <a:buFont typeface="+mj-lt"/>
              <a:buAutoNum type="arabicPeriod"/>
            </a:pPr>
            <a:r>
              <a:rPr lang="en-US" sz="900" b="0" kern="1200" dirty="0">
                <a:solidFill>
                  <a:schemeClr val="tx1"/>
                </a:solidFill>
                <a:latin typeface="+mn-lt"/>
                <a:ea typeface="+mn-ea"/>
                <a:cs typeface="+mn-cs"/>
              </a:rPr>
              <a:t>From here you can move the image within the shape for best visual appearance</a:t>
            </a:r>
          </a:p>
          <a:p>
            <a:pPr marL="179388" indent="-179388">
              <a:spcBef>
                <a:spcPts val="200"/>
              </a:spcBef>
              <a:spcAft>
                <a:spcPts val="200"/>
              </a:spcAft>
              <a:buFont typeface="+mj-lt"/>
              <a:buAutoNum type="arabicPeriod"/>
            </a:pPr>
            <a:endParaRPr lang="en-US" sz="900" b="0" i="0" kern="1200" dirty="0">
              <a:solidFill>
                <a:schemeClr val="tx1"/>
              </a:solidFill>
              <a:latin typeface="+mn-lt"/>
              <a:ea typeface="+mn-ea"/>
              <a:cs typeface="+mn-cs"/>
            </a:endParaRPr>
          </a:p>
          <a:p>
            <a:pPr marL="0" marR="0" lvl="0" indent="0" algn="l" defTabSz="914400" rtl="0" eaLnBrk="1" fontAlgn="auto" latinLnBrk="0" hangingPunct="1">
              <a:lnSpc>
                <a:spcPct val="100000"/>
              </a:lnSpc>
              <a:spcBef>
                <a:spcPts val="200"/>
              </a:spcBef>
              <a:spcAft>
                <a:spcPts val="200"/>
              </a:spcAft>
              <a:buClrTx/>
              <a:buSzTx/>
              <a:buFont typeface="+mj-lt"/>
              <a:buNone/>
              <a:tabLst/>
              <a:defRPr/>
            </a:pPr>
            <a:r>
              <a:rPr lang="en-GB" sz="1000" b="1" i="0" dirty="0">
                <a:effectLst/>
                <a:latin typeface="Arial" panose="020B0604020202020204" pitchFamily="34" charset="0"/>
                <a:ea typeface="Calibri" panose="020F0502020204030204" pitchFamily="34" charset="0"/>
              </a:rPr>
              <a:t>When inserting staff photos, </a:t>
            </a:r>
            <a:r>
              <a:rPr lang="en-GB" sz="1000" i="0" dirty="0">
                <a:effectLst/>
                <a:latin typeface="Arial" panose="020B0604020202020204" pitchFamily="34" charset="0"/>
                <a:ea typeface="Calibri" panose="020F0502020204030204" pitchFamily="34" charset="0"/>
              </a:rPr>
              <a:t>please use the same method as suggested above. To ensure you are using staff photos that are optimised for use in this Pitch Template, please insert them from the “Staff Photos 40x40 BW” folder, located in the Staff photos section of the HFW Pitch Template folder.</a:t>
            </a:r>
            <a:endParaRPr lang="en-GB" sz="1000" i="0" dirty="0">
              <a:effectLst/>
              <a:latin typeface="Calibri" panose="020F0502020204030204" pitchFamily="34" charset="0"/>
              <a:ea typeface="Calibri" panose="020F0502020204030204" pitchFamily="34" charset="0"/>
            </a:endParaRPr>
          </a:p>
          <a:p>
            <a:pPr marL="179388" indent="-179388">
              <a:spcBef>
                <a:spcPts val="200"/>
              </a:spcBef>
              <a:spcAft>
                <a:spcPts val="200"/>
              </a:spcAft>
              <a:buFont typeface="+mj-lt"/>
              <a:buAutoNum type="arabicPeriod"/>
            </a:pPr>
            <a:endParaRPr lang="en-US" sz="900" b="0" kern="1200" dirty="0">
              <a:solidFill>
                <a:schemeClr val="tx1"/>
              </a:solidFill>
              <a:latin typeface="+mn-lt"/>
              <a:ea typeface="+mn-ea"/>
              <a:cs typeface="+mn-cs"/>
            </a:endParaRPr>
          </a:p>
          <a:p>
            <a:pPr marL="179388" indent="-179388">
              <a:spcBef>
                <a:spcPts val="200"/>
              </a:spcBef>
              <a:spcAft>
                <a:spcPts val="200"/>
              </a:spcAft>
              <a:buFont typeface="+mj-lt"/>
              <a:buAutoNum type="arabicPeriod"/>
            </a:pPr>
            <a:endParaRPr lang="en-US" sz="900" b="0" kern="1200" dirty="0">
              <a:solidFill>
                <a:schemeClr val="tx1"/>
              </a:solidFill>
              <a:latin typeface="+mn-lt"/>
              <a:ea typeface="+mn-ea"/>
              <a:cs typeface="+mn-cs"/>
            </a:endParaRPr>
          </a:p>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SAMPLE CONTACT LAYOUT</a:t>
            </a:r>
          </a:p>
        </p:txBody>
      </p:sp>
      <p:grpSp>
        <p:nvGrpSpPr>
          <p:cNvPr id="4" name="Group 3">
            <a:extLst>
              <a:ext uri="{FF2B5EF4-FFF2-40B4-BE49-F238E27FC236}">
                <a16:creationId xmlns:a16="http://schemas.microsoft.com/office/drawing/2014/main" id="{DBF14DDD-8351-B2F6-89CA-20DD59E47522}"/>
              </a:ext>
            </a:extLst>
          </p:cNvPr>
          <p:cNvGrpSpPr/>
          <p:nvPr userDrawn="1"/>
        </p:nvGrpSpPr>
        <p:grpSpPr>
          <a:xfrm>
            <a:off x="12437199" y="5138030"/>
            <a:ext cx="2813913" cy="819975"/>
            <a:chOff x="12399099" y="4230487"/>
            <a:chExt cx="2813913" cy="819975"/>
          </a:xfrm>
        </p:grpSpPr>
        <p:sp>
          <p:nvSpPr>
            <p:cNvPr id="8" name="TextBox 7">
              <a:extLst>
                <a:ext uri="{FF2B5EF4-FFF2-40B4-BE49-F238E27FC236}">
                  <a16:creationId xmlns:a16="http://schemas.microsoft.com/office/drawing/2014/main" id="{B1D570C4-47FB-43CC-3417-559FCF4EA0F5}"/>
                </a:ext>
              </a:extLst>
            </p:cNvPr>
            <p:cNvSpPr txBox="1"/>
            <p:nvPr userDrawn="1"/>
          </p:nvSpPr>
          <p:spPr>
            <a:xfrm flipH="1">
              <a:off x="12573262" y="4663953"/>
              <a:ext cx="2639750"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grpSp>
          <p:nvGrpSpPr>
            <p:cNvPr id="10" name="Group 9">
              <a:extLst>
                <a:ext uri="{FF2B5EF4-FFF2-40B4-BE49-F238E27FC236}">
                  <a16:creationId xmlns:a16="http://schemas.microsoft.com/office/drawing/2014/main" id="{B8792914-78AE-45E5-723E-86E373390FBA}"/>
                </a:ext>
              </a:extLst>
            </p:cNvPr>
            <p:cNvGrpSpPr/>
            <p:nvPr userDrawn="1"/>
          </p:nvGrpSpPr>
          <p:grpSpPr>
            <a:xfrm>
              <a:off x="12399099" y="4230487"/>
              <a:ext cx="2326813" cy="819975"/>
              <a:chOff x="12399099" y="4230487"/>
              <a:chExt cx="2326813" cy="819975"/>
            </a:xfrm>
          </p:grpSpPr>
          <p:sp>
            <p:nvSpPr>
              <p:cNvPr id="11" name="TextBox 10">
                <a:extLst>
                  <a:ext uri="{FF2B5EF4-FFF2-40B4-BE49-F238E27FC236}">
                    <a16:creationId xmlns:a16="http://schemas.microsoft.com/office/drawing/2014/main" id="{FCE1696F-FC2B-101F-F013-24FD5C9D084A}"/>
                  </a:ext>
                </a:extLst>
              </p:cNvPr>
              <p:cNvSpPr txBox="1"/>
              <p:nvPr userDrawn="1"/>
            </p:nvSpPr>
            <p:spPr>
              <a:xfrm flipH="1">
                <a:off x="12399100" y="4663953"/>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18" name="TextBox 17">
                <a:extLst>
                  <a:ext uri="{FF2B5EF4-FFF2-40B4-BE49-F238E27FC236}">
                    <a16:creationId xmlns:a16="http://schemas.microsoft.com/office/drawing/2014/main" id="{2276B011-FA83-D901-AF67-CBB579EFA141}"/>
                  </a:ext>
                </a:extLst>
              </p:cNvPr>
              <p:cNvSpPr txBox="1"/>
              <p:nvPr userDrawn="1"/>
            </p:nvSpPr>
            <p:spPr>
              <a:xfrm flipH="1">
                <a:off x="12399100" y="4881185"/>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E</a:t>
                </a:r>
              </a:p>
            </p:txBody>
          </p:sp>
          <p:sp>
            <p:nvSpPr>
              <p:cNvPr id="19" name="TextBox 18">
                <a:extLst>
                  <a:ext uri="{FF2B5EF4-FFF2-40B4-BE49-F238E27FC236}">
                    <a16:creationId xmlns:a16="http://schemas.microsoft.com/office/drawing/2014/main" id="{60BB907B-C867-5BC9-D254-9521432A8CB0}"/>
                  </a:ext>
                </a:extLst>
              </p:cNvPr>
              <p:cNvSpPr txBox="1"/>
              <p:nvPr userDrawn="1"/>
            </p:nvSpPr>
            <p:spPr>
              <a:xfrm flipH="1">
                <a:off x="12573262" y="4881185"/>
                <a:ext cx="2152650"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name.surname@hfw.com</a:t>
                </a:r>
                <a:endParaRPr lang="en-US" dirty="0"/>
              </a:p>
            </p:txBody>
          </p:sp>
          <p:sp>
            <p:nvSpPr>
              <p:cNvPr id="28" name="TextBox 27">
                <a:extLst>
                  <a:ext uri="{FF2B5EF4-FFF2-40B4-BE49-F238E27FC236}">
                    <a16:creationId xmlns:a16="http://schemas.microsoft.com/office/drawing/2014/main" id="{62489BB1-4A22-3668-D60A-36FD76D4C8E0}"/>
                  </a:ext>
                </a:extLst>
              </p:cNvPr>
              <p:cNvSpPr txBox="1"/>
              <p:nvPr userDrawn="1"/>
            </p:nvSpPr>
            <p:spPr>
              <a:xfrm flipH="1">
                <a:off x="12399099" y="4230487"/>
                <a:ext cx="1968833"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solidFill>
                      <a:schemeClr val="tx2"/>
                    </a:solidFill>
                    <a:latin typeface="+mj-lt"/>
                  </a:rPr>
                  <a:t>NAME SURNAME</a:t>
                </a:r>
              </a:p>
            </p:txBody>
          </p:sp>
          <p:sp>
            <p:nvSpPr>
              <p:cNvPr id="41" name="TextBox 40">
                <a:extLst>
                  <a:ext uri="{FF2B5EF4-FFF2-40B4-BE49-F238E27FC236}">
                    <a16:creationId xmlns:a16="http://schemas.microsoft.com/office/drawing/2014/main" id="{AD8B4216-4669-39C4-B412-368313082707}"/>
                  </a:ext>
                </a:extLst>
              </p:cNvPr>
              <p:cNvSpPr txBox="1"/>
              <p:nvPr userDrawn="1"/>
            </p:nvSpPr>
            <p:spPr>
              <a:xfrm flipH="1">
                <a:off x="12399099" y="4445785"/>
                <a:ext cx="1968833"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US" dirty="0"/>
                  <a:t>Position, Location</a:t>
                </a:r>
              </a:p>
            </p:txBody>
          </p:sp>
        </p:grpSp>
      </p:grpSp>
    </p:spTree>
    <p:extLst>
      <p:ext uri="{BB962C8B-B14F-4D97-AF65-F5344CB8AC3E}">
        <p14:creationId xmlns:p14="http://schemas.microsoft.com/office/powerpoint/2010/main" val="3770009692"/>
      </p:ext>
    </p:extLst>
  </p:cSld>
  <p:clrMapOvr>
    <a:masterClrMapping/>
  </p:clrMapOvr>
  <p:transition spd="med">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Key Contacts 1 &amp; Quote">
    <p:bg>
      <p:bgPr>
        <a:solidFill>
          <a:schemeClr val="bg2"/>
        </a:solidFill>
        <a:effectLst/>
      </p:bgPr>
    </p:bg>
    <p:spTree>
      <p:nvGrpSpPr>
        <p:cNvPr id="1" name=""/>
        <p:cNvGrpSpPr/>
        <p:nvPr/>
      </p:nvGrpSpPr>
      <p:grpSpPr>
        <a:xfrm>
          <a:off x="0" y="0"/>
          <a:ext cx="0" cy="0"/>
          <a:chOff x="0" y="0"/>
          <a:chExt cx="0" cy="0"/>
        </a:xfrm>
      </p:grpSpPr>
      <p:sp>
        <p:nvSpPr>
          <p:cNvPr id="9" name="Picture Placeholder 10">
            <a:extLst>
              <a:ext uri="{FF2B5EF4-FFF2-40B4-BE49-F238E27FC236}">
                <a16:creationId xmlns:a16="http://schemas.microsoft.com/office/drawing/2014/main" id="{957F7B8C-8896-F507-1133-31FF9F06D6DB}"/>
              </a:ext>
            </a:extLst>
          </p:cNvPr>
          <p:cNvSpPr>
            <a:spLocks noGrp="1"/>
          </p:cNvSpPr>
          <p:nvPr>
            <p:ph type="pic" sz="quarter" idx="13" hasCustomPrompt="1"/>
          </p:nvPr>
        </p:nvSpPr>
        <p:spPr>
          <a:xfrm>
            <a:off x="8126412" y="0"/>
            <a:ext cx="4065587" cy="6858000"/>
          </a:xfrm>
          <a:solidFill>
            <a:schemeClr val="tx1"/>
          </a:solidFill>
        </p:spPr>
        <p:txBody>
          <a:bodyPr vert="horz" lIns="0" tIns="45720" rIns="0" bIns="45720" rtlCol="0" anchor="ctr">
            <a:normAutofit/>
          </a:bodyPr>
          <a:lstStyle>
            <a:lvl1pPr algn="ctr">
              <a:defRPr lang="en-GB" sz="2800" b="0" dirty="0">
                <a:solidFill>
                  <a:schemeClr val="bg1"/>
                </a:solidFill>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US" dirty="0"/>
              <a:t>ADD RELATED </a:t>
            </a:r>
            <a:br>
              <a:rPr lang="en-US" dirty="0"/>
            </a:br>
            <a:r>
              <a:rPr lang="en-US" dirty="0"/>
              <a:t>IMAGE </a:t>
            </a:r>
            <a:br>
              <a:rPr lang="en-US" dirty="0"/>
            </a:br>
            <a:r>
              <a:rPr lang="en-US" dirty="0"/>
              <a:t>FROM HFW </a:t>
            </a:r>
            <a:br>
              <a:rPr lang="en-US" dirty="0"/>
            </a:br>
            <a:r>
              <a:rPr lang="en-US" dirty="0"/>
              <a:t>IMAGE LIBRARY</a:t>
            </a:r>
          </a:p>
        </p:txBody>
      </p:sp>
      <p:sp>
        <p:nvSpPr>
          <p:cNvPr id="2" name="Title 1"/>
          <p:cNvSpPr>
            <a:spLocks noGrp="1"/>
          </p:cNvSpPr>
          <p:nvPr>
            <p:ph type="title" hasCustomPrompt="1"/>
          </p:nvPr>
        </p:nvSpPr>
        <p:spPr>
          <a:xfrm>
            <a:off x="508000" y="454013"/>
            <a:ext cx="7459663" cy="663587"/>
          </a:xfrm>
        </p:spPr>
        <p:txBody>
          <a:bodyPr/>
          <a:lstStyle/>
          <a:p>
            <a:r>
              <a:rPr lang="en-US" dirty="0"/>
              <a:t>Key contact</a:t>
            </a:r>
          </a:p>
        </p:txBody>
      </p:sp>
      <p:sp>
        <p:nvSpPr>
          <p:cNvPr id="5" name="Footer Placeholder 4"/>
          <p:cNvSpPr>
            <a:spLocks noGrp="1"/>
          </p:cNvSpPr>
          <p:nvPr>
            <p:ph type="ftr" sz="quarter" idx="11"/>
          </p:nvPr>
        </p:nvSpPr>
        <p:spPr/>
        <p:txBody>
          <a:bodyPr/>
          <a:lstStyle/>
          <a:p>
            <a:r>
              <a:rPr lang="en-GB"/>
              <a:t>INSERT FOOTER HER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8CFE0557-AA98-4E6C-B0C3-581794696B68}" type="slidenum">
              <a:rPr lang="en-GB" smtClean="0"/>
              <a:pPr/>
              <a:t>‹#›</a:t>
            </a:fld>
            <a:endParaRPr lang="en-GB"/>
          </a:p>
        </p:txBody>
      </p:sp>
      <p:sp>
        <p:nvSpPr>
          <p:cNvPr id="7" name="Content Placeholder 2">
            <a:extLst>
              <a:ext uri="{FF2B5EF4-FFF2-40B4-BE49-F238E27FC236}">
                <a16:creationId xmlns:a16="http://schemas.microsoft.com/office/drawing/2014/main" id="{6A078DCC-43B1-8D23-0AA3-05E731BDE2C0}"/>
              </a:ext>
            </a:extLst>
          </p:cNvPr>
          <p:cNvSpPr>
            <a:spLocks noGrp="1"/>
          </p:cNvSpPr>
          <p:nvPr>
            <p:ph idx="21" hasCustomPrompt="1"/>
          </p:nvPr>
        </p:nvSpPr>
        <p:spPr>
          <a:xfrm>
            <a:off x="504826" y="2315934"/>
            <a:ext cx="3403599" cy="2874138"/>
          </a:xfrm>
        </p:spPr>
        <p:txBody>
          <a:bodyPr vert="horz" lIns="0" tIns="45720" rIns="0" bIns="4572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12" name="Content Placeholder 2">
            <a:extLst>
              <a:ext uri="{FF2B5EF4-FFF2-40B4-BE49-F238E27FC236}">
                <a16:creationId xmlns:a16="http://schemas.microsoft.com/office/drawing/2014/main" id="{44E07C73-29FB-D898-A303-EE530927EF1D}"/>
              </a:ext>
            </a:extLst>
          </p:cNvPr>
          <p:cNvSpPr>
            <a:spLocks noGrp="1"/>
          </p:cNvSpPr>
          <p:nvPr>
            <p:ph idx="22" hasCustomPrompt="1"/>
          </p:nvPr>
        </p:nvSpPr>
        <p:spPr>
          <a:xfrm>
            <a:off x="4238626" y="2315934"/>
            <a:ext cx="3403599" cy="2874138"/>
          </a:xfrm>
        </p:spPr>
        <p:txBody>
          <a:bodyPr vert="horz" lIns="0" tIns="45720" rIns="0" bIns="4572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13" name="Text Placeholder 12">
            <a:extLst>
              <a:ext uri="{FF2B5EF4-FFF2-40B4-BE49-F238E27FC236}">
                <a16:creationId xmlns:a16="http://schemas.microsoft.com/office/drawing/2014/main" id="{06BC5A3C-D0D2-2084-9DD2-280E112D4DF9}"/>
              </a:ext>
            </a:extLst>
          </p:cNvPr>
          <p:cNvSpPr>
            <a:spLocks noGrp="1"/>
          </p:cNvSpPr>
          <p:nvPr>
            <p:ph type="body" sz="quarter" idx="34" hasCustomPrompt="1"/>
          </p:nvPr>
        </p:nvSpPr>
        <p:spPr>
          <a:xfrm>
            <a:off x="508000" y="5334846"/>
            <a:ext cx="7127876" cy="681779"/>
          </a:xfrm>
        </p:spPr>
        <p:txBody>
          <a:bodyPr vert="horz" lIns="0" tIns="45720" rIns="0" bIns="0" rtlCol="0" anchor="b" anchorCtr="0">
            <a:noAutofit/>
          </a:bodyPr>
          <a:lstStyle>
            <a:lvl1pPr marL="108000" indent="-108000">
              <a:lnSpc>
                <a:spcPct val="110000"/>
              </a:lnSpc>
              <a:spcBef>
                <a:spcPts val="0"/>
              </a:spcBef>
              <a:spcAft>
                <a:spcPts val="0"/>
              </a:spcAft>
              <a:defRPr lang="en-US" sz="2000" dirty="0">
                <a:solidFill>
                  <a:schemeClr val="accent2"/>
                </a:solidFill>
              </a:defRPr>
            </a:lvl1pPr>
            <a:lvl2pPr>
              <a:defRPr lang="en-US" sz="1400" dirty="0">
                <a:solidFill>
                  <a:schemeClr val="tx2"/>
                </a:solidFill>
                <a:latin typeface="+mj-lt"/>
              </a:defRPr>
            </a:lvl2pPr>
          </a:lstStyle>
          <a:p>
            <a:pPr marL="108000" lvl="0" indent="-108000">
              <a:lnSpc>
                <a:spcPct val="100000"/>
              </a:lnSpc>
              <a:spcBef>
                <a:spcPts val="200"/>
              </a:spcBef>
              <a:spcAft>
                <a:spcPts val="200"/>
              </a:spcAft>
            </a:pPr>
            <a:r>
              <a:rPr lang="en-US" dirty="0"/>
              <a:t>“Quote goes here.”</a:t>
            </a:r>
          </a:p>
        </p:txBody>
      </p:sp>
      <p:sp>
        <p:nvSpPr>
          <p:cNvPr id="14" name="Text Placeholder 7">
            <a:extLst>
              <a:ext uri="{FF2B5EF4-FFF2-40B4-BE49-F238E27FC236}">
                <a16:creationId xmlns:a16="http://schemas.microsoft.com/office/drawing/2014/main" id="{A443A848-8D32-1A80-9CC8-75D08845B45A}"/>
              </a:ext>
            </a:extLst>
          </p:cNvPr>
          <p:cNvSpPr>
            <a:spLocks noGrp="1"/>
          </p:cNvSpPr>
          <p:nvPr>
            <p:ph type="body" sz="quarter" idx="24" hasCustomPrompt="1"/>
          </p:nvPr>
        </p:nvSpPr>
        <p:spPr>
          <a:xfrm>
            <a:off x="508000" y="6047121"/>
            <a:ext cx="7127876" cy="215444"/>
          </a:xfrm>
        </p:spPr>
        <p:txBody>
          <a:bodyPr wrap="square" tIns="0" bIns="0" anchor="b" anchorCtr="0">
            <a:spAutoFit/>
          </a:bodyPr>
          <a:lstStyle>
            <a:lvl1pPr marL="108000">
              <a:lnSpc>
                <a:spcPct val="100000"/>
              </a:lnSpc>
              <a:defRPr sz="1400" cap="all" baseline="0">
                <a:solidFill>
                  <a:schemeClr val="tx2"/>
                </a:solidFill>
                <a:latin typeface="+mj-lt"/>
              </a:defRPr>
            </a:lvl1pPr>
            <a:lvl2pPr marL="108000">
              <a:lnSpc>
                <a:spcPct val="100000"/>
              </a:lnSpc>
              <a:defRPr sz="1400" cap="all" baseline="0">
                <a:solidFill>
                  <a:schemeClr val="tx2"/>
                </a:solidFill>
                <a:latin typeface="+mj-lt"/>
              </a:defRPr>
            </a:lvl2pPr>
            <a:lvl3pPr marL="108000">
              <a:lnSpc>
                <a:spcPct val="100000"/>
              </a:lnSpc>
              <a:defRPr sz="1400" cap="all" baseline="0">
                <a:solidFill>
                  <a:schemeClr val="tx2"/>
                </a:solidFill>
                <a:latin typeface="+mj-lt"/>
              </a:defRPr>
            </a:lvl3pPr>
            <a:lvl4pPr marL="108000">
              <a:lnSpc>
                <a:spcPct val="100000"/>
              </a:lnSpc>
              <a:defRPr sz="1400" cap="all" baseline="0">
                <a:solidFill>
                  <a:schemeClr val="tx2"/>
                </a:solidFill>
                <a:latin typeface="+mj-lt"/>
              </a:defRPr>
            </a:lvl4pPr>
            <a:lvl5pPr marL="108000">
              <a:lnSpc>
                <a:spcPct val="100000"/>
              </a:lnSpc>
              <a:defRPr sz="1400" cap="all" baseline="0">
                <a:solidFill>
                  <a:schemeClr val="tx2"/>
                </a:solidFill>
                <a:latin typeface="+mj-lt"/>
              </a:defRPr>
            </a:lvl5pPr>
          </a:lstStyle>
          <a:p>
            <a:pPr lvl="0"/>
            <a:r>
              <a:rPr lang="en-US" dirty="0"/>
              <a:t>quote author</a:t>
            </a:r>
            <a:endParaRPr lang="en-GB" dirty="0"/>
          </a:p>
        </p:txBody>
      </p:sp>
      <p:sp>
        <p:nvSpPr>
          <p:cNvPr id="24" name="Picture Placeholder 14">
            <a:extLst>
              <a:ext uri="{FF2B5EF4-FFF2-40B4-BE49-F238E27FC236}">
                <a16:creationId xmlns:a16="http://schemas.microsoft.com/office/drawing/2014/main" id="{855CB8FD-EED8-96D6-CD9D-E04490CD2465}"/>
              </a:ext>
            </a:extLst>
          </p:cNvPr>
          <p:cNvSpPr>
            <a:spLocks noGrp="1"/>
          </p:cNvSpPr>
          <p:nvPr>
            <p:ph type="pic" sz="quarter" idx="40" hasCustomPrompt="1"/>
          </p:nvPr>
        </p:nvSpPr>
        <p:spPr>
          <a:xfrm>
            <a:off x="516891" y="1298891"/>
            <a:ext cx="876299" cy="876299"/>
          </a:xfrm>
          <a:solidFill>
            <a:schemeClr val="bg1"/>
          </a:solidFill>
        </p:spPr>
        <p:txBody>
          <a:bodyPr anchor="ctr">
            <a:normAutofit/>
          </a:bodyPr>
          <a:lstStyle>
            <a:lvl1pPr algn="ctr">
              <a:defRPr sz="1000">
                <a:latin typeface="+mn-lt"/>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GB" dirty="0"/>
              <a:t>Picture</a:t>
            </a:r>
          </a:p>
        </p:txBody>
      </p:sp>
      <p:sp>
        <p:nvSpPr>
          <p:cNvPr id="25" name="Text Placeholder 16">
            <a:extLst>
              <a:ext uri="{FF2B5EF4-FFF2-40B4-BE49-F238E27FC236}">
                <a16:creationId xmlns:a16="http://schemas.microsoft.com/office/drawing/2014/main" id="{E14F3E14-0135-DEA8-3411-1FE3092F2FE1}"/>
              </a:ext>
            </a:extLst>
          </p:cNvPr>
          <p:cNvSpPr>
            <a:spLocks noGrp="1"/>
          </p:cNvSpPr>
          <p:nvPr>
            <p:ph type="body" sz="quarter" idx="41" hasCustomPrompt="1"/>
          </p:nvPr>
        </p:nvSpPr>
        <p:spPr>
          <a:xfrm>
            <a:off x="1492805" y="1538859"/>
            <a:ext cx="2543172"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US" dirty="0"/>
              <a:t>Position, Location</a:t>
            </a:r>
          </a:p>
        </p:txBody>
      </p:sp>
      <p:sp>
        <p:nvSpPr>
          <p:cNvPr id="26" name="Text Placeholder 16">
            <a:extLst>
              <a:ext uri="{FF2B5EF4-FFF2-40B4-BE49-F238E27FC236}">
                <a16:creationId xmlns:a16="http://schemas.microsoft.com/office/drawing/2014/main" id="{1CD0329F-18A2-A31D-426B-11D4CFBC07A2}"/>
              </a:ext>
            </a:extLst>
          </p:cNvPr>
          <p:cNvSpPr>
            <a:spLocks noGrp="1"/>
          </p:cNvSpPr>
          <p:nvPr>
            <p:ph type="body" sz="quarter" idx="42" hasCustomPrompt="1"/>
          </p:nvPr>
        </p:nvSpPr>
        <p:spPr>
          <a:xfrm>
            <a:off x="1492805" y="1321689"/>
            <a:ext cx="2543172" cy="169277"/>
          </a:xfrm>
        </p:spPr>
        <p:txBody>
          <a:bodyPr tIns="0" bIns="0">
            <a:noAutofit/>
          </a:bodyPr>
          <a:lstStyle>
            <a:lvl1pPr algn="l">
              <a:lnSpc>
                <a:spcPct val="100000"/>
              </a:lnSpc>
              <a:spcBef>
                <a:spcPts val="0"/>
              </a:spcBef>
              <a:spcAft>
                <a:spcPts val="0"/>
              </a:spcAft>
              <a:defRPr sz="1100" cap="all" baseline="0">
                <a:solidFill>
                  <a:schemeClr val="tx2"/>
                </a:solidFill>
                <a:latin typeface="+mj-lt"/>
              </a:defRPr>
            </a:lvl1pPr>
            <a:lvl2pPr algn="l">
              <a:lnSpc>
                <a:spcPct val="100000"/>
              </a:lnSpc>
              <a:spcBef>
                <a:spcPts val="200"/>
              </a:spcBef>
              <a:spcAft>
                <a:spcPts val="200"/>
              </a:spcAft>
              <a:defRPr sz="1100">
                <a:solidFill>
                  <a:schemeClr val="tx1"/>
                </a:solidFill>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0"/>
            <a:r>
              <a:rPr lang="en-US" dirty="0"/>
              <a:t>NAME SURNAME</a:t>
            </a:r>
          </a:p>
        </p:txBody>
      </p:sp>
      <p:sp>
        <p:nvSpPr>
          <p:cNvPr id="27" name="Text Placeholder 16">
            <a:extLst>
              <a:ext uri="{FF2B5EF4-FFF2-40B4-BE49-F238E27FC236}">
                <a16:creationId xmlns:a16="http://schemas.microsoft.com/office/drawing/2014/main" id="{72106B29-BF34-0C10-F758-ADEB1D49F578}"/>
              </a:ext>
            </a:extLst>
          </p:cNvPr>
          <p:cNvSpPr>
            <a:spLocks noGrp="1"/>
          </p:cNvSpPr>
          <p:nvPr>
            <p:ph type="body" sz="quarter" idx="43" hasCustomPrompt="1"/>
          </p:nvPr>
        </p:nvSpPr>
        <p:spPr>
          <a:xfrm>
            <a:off x="1668488" y="1756091"/>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29" name="Text Placeholder 16">
            <a:extLst>
              <a:ext uri="{FF2B5EF4-FFF2-40B4-BE49-F238E27FC236}">
                <a16:creationId xmlns:a16="http://schemas.microsoft.com/office/drawing/2014/main" id="{05B19718-7BFF-58DA-EF52-F5C8FEDACA2B}"/>
              </a:ext>
            </a:extLst>
          </p:cNvPr>
          <p:cNvSpPr>
            <a:spLocks noGrp="1"/>
          </p:cNvSpPr>
          <p:nvPr>
            <p:ph type="body" sz="quarter" idx="44" hasCustomPrompt="1"/>
          </p:nvPr>
        </p:nvSpPr>
        <p:spPr>
          <a:xfrm>
            <a:off x="1668488" y="1973323"/>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name.surname@hfw.com</a:t>
            </a:r>
            <a:endParaRPr lang="en-US" dirty="0"/>
          </a:p>
        </p:txBody>
      </p:sp>
      <p:sp>
        <p:nvSpPr>
          <p:cNvPr id="30" name="TextBox 29">
            <a:extLst>
              <a:ext uri="{FF2B5EF4-FFF2-40B4-BE49-F238E27FC236}">
                <a16:creationId xmlns:a16="http://schemas.microsoft.com/office/drawing/2014/main" id="{C7A9E955-E882-DA97-D523-AB9CBA416110}"/>
              </a:ext>
            </a:extLst>
          </p:cNvPr>
          <p:cNvSpPr txBox="1"/>
          <p:nvPr userDrawn="1"/>
        </p:nvSpPr>
        <p:spPr>
          <a:xfrm flipH="1">
            <a:off x="1494324" y="1756091"/>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31" name="TextBox 30">
            <a:extLst>
              <a:ext uri="{FF2B5EF4-FFF2-40B4-BE49-F238E27FC236}">
                <a16:creationId xmlns:a16="http://schemas.microsoft.com/office/drawing/2014/main" id="{3B2D9B78-9D16-A4CE-B2EB-0335480DC486}"/>
              </a:ext>
            </a:extLst>
          </p:cNvPr>
          <p:cNvSpPr txBox="1"/>
          <p:nvPr userDrawn="1"/>
        </p:nvSpPr>
        <p:spPr>
          <a:xfrm flipH="1">
            <a:off x="1494324" y="1973323"/>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E</a:t>
            </a:r>
          </a:p>
        </p:txBody>
      </p:sp>
      <p:sp>
        <p:nvSpPr>
          <p:cNvPr id="3" name="TextBox 4">
            <a:extLst>
              <a:ext uri="{FF2B5EF4-FFF2-40B4-BE49-F238E27FC236}">
                <a16:creationId xmlns:a16="http://schemas.microsoft.com/office/drawing/2014/main" id="{AE8DF657-12CC-15E0-9977-B80660F2D6BA}"/>
              </a:ext>
            </a:extLst>
          </p:cNvPr>
          <p:cNvSpPr txBox="1"/>
          <p:nvPr userDrawn="1"/>
        </p:nvSpPr>
        <p:spPr>
          <a:xfrm>
            <a:off x="12346713" y="109538"/>
            <a:ext cx="2253207" cy="498085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INSERTING IMAGES:</a:t>
            </a:r>
          </a:p>
          <a:p>
            <a:pPr marL="179388" indent="-179388">
              <a:spcBef>
                <a:spcPts val="200"/>
              </a:spcBef>
              <a:spcAft>
                <a:spcPts val="200"/>
              </a:spcAft>
              <a:buFont typeface="+mj-lt"/>
              <a:buAutoNum type="arabicPeriod"/>
            </a:pPr>
            <a:r>
              <a:rPr lang="en-US" sz="900" dirty="0">
                <a:solidFill>
                  <a:schemeClr val="tx1"/>
                </a:solidFill>
                <a:latin typeface="+mn-lt"/>
              </a:rPr>
              <a:t>Simply click the image placeholder and select your image.</a:t>
            </a:r>
          </a:p>
          <a:p>
            <a:pPr marL="179388" indent="-179388">
              <a:spcBef>
                <a:spcPts val="200"/>
              </a:spcBef>
              <a:spcAft>
                <a:spcPts val="200"/>
              </a:spcAft>
              <a:buFont typeface="+mj-lt"/>
              <a:buAutoNum type="arabicPeriod"/>
            </a:pPr>
            <a:r>
              <a:rPr lang="en-US" sz="900" dirty="0">
                <a:solidFill>
                  <a:schemeClr val="tx1"/>
                </a:solidFill>
                <a:latin typeface="+mn-lt"/>
              </a:rPr>
              <a:t>Once your image is inserted into the shape it may be distorted. (Stretched or Squashed)</a:t>
            </a:r>
          </a:p>
          <a:p>
            <a:pPr marL="179388" indent="-179388">
              <a:spcBef>
                <a:spcPts val="200"/>
              </a:spcBef>
              <a:spcAft>
                <a:spcPts val="200"/>
              </a:spcAft>
              <a:buFont typeface="+mj-lt"/>
              <a:buAutoNum type="arabicPeriod"/>
            </a:pPr>
            <a:endParaRPr lang="en-US" sz="900" dirty="0">
              <a:solidFill>
                <a:schemeClr val="tx1"/>
              </a:solidFill>
              <a:latin typeface="+mn-lt"/>
            </a:endParaRPr>
          </a:p>
          <a:p>
            <a:pPr>
              <a:spcBef>
                <a:spcPts val="200"/>
              </a:spcBef>
              <a:spcAft>
                <a:spcPts val="200"/>
              </a:spcAft>
            </a:pPr>
            <a:r>
              <a:rPr lang="en-US" sz="900" b="1" dirty="0">
                <a:solidFill>
                  <a:schemeClr val="tx1"/>
                </a:solidFill>
                <a:latin typeface="+mn-lt"/>
              </a:rPr>
              <a:t>To fix this:</a:t>
            </a:r>
          </a:p>
          <a:p>
            <a:pPr marL="179388" indent="-179388">
              <a:spcBef>
                <a:spcPts val="200"/>
              </a:spcBef>
              <a:spcAft>
                <a:spcPts val="200"/>
              </a:spcAft>
              <a:buFont typeface="+mj-lt"/>
              <a:buAutoNum type="arabicPeriod"/>
            </a:pPr>
            <a:r>
              <a:rPr lang="en-US" sz="900" dirty="0">
                <a:solidFill>
                  <a:schemeClr val="tx1"/>
                </a:solidFill>
                <a:latin typeface="+mn-lt"/>
              </a:rPr>
              <a:t>Click on the image and from the top menu under </a:t>
            </a:r>
            <a:r>
              <a:rPr lang="en-US" sz="900" b="1" dirty="0">
                <a:solidFill>
                  <a:schemeClr val="tx1"/>
                </a:solidFill>
                <a:latin typeface="+mn-lt"/>
              </a:rPr>
              <a:t>PICTURE FORMAT </a:t>
            </a:r>
            <a:r>
              <a:rPr lang="en-US" sz="900" dirty="0">
                <a:solidFill>
                  <a:schemeClr val="tx1"/>
                </a:solidFill>
                <a:latin typeface="+mn-lt"/>
              </a:rPr>
              <a:t>select the </a:t>
            </a:r>
            <a:r>
              <a:rPr lang="en-US" sz="900" b="1" dirty="0">
                <a:solidFill>
                  <a:schemeClr val="tx1"/>
                </a:solidFill>
                <a:latin typeface="+mn-lt"/>
              </a:rPr>
              <a:t>CROP</a:t>
            </a:r>
            <a:r>
              <a:rPr lang="en-US" sz="900" dirty="0">
                <a:solidFill>
                  <a:schemeClr val="tx1"/>
                </a:solidFill>
                <a:latin typeface="+mn-lt"/>
              </a:rPr>
              <a:t> on the right and from the drop down menu select </a:t>
            </a:r>
            <a:r>
              <a:rPr lang="en-US" sz="900" b="1" kern="1200" dirty="0">
                <a:solidFill>
                  <a:schemeClr val="tx1"/>
                </a:solidFill>
                <a:latin typeface="+mn-lt"/>
                <a:ea typeface="+mn-ea"/>
                <a:cs typeface="+mn-cs"/>
              </a:rPr>
              <a:t>FILL</a:t>
            </a:r>
          </a:p>
          <a:p>
            <a:pPr marL="179388" indent="-179388">
              <a:spcBef>
                <a:spcPts val="200"/>
              </a:spcBef>
              <a:spcAft>
                <a:spcPts val="200"/>
              </a:spcAft>
              <a:buFont typeface="+mj-lt"/>
              <a:buAutoNum type="arabicPeriod"/>
            </a:pPr>
            <a:r>
              <a:rPr lang="en-US" sz="900" b="0" kern="1200" dirty="0">
                <a:solidFill>
                  <a:schemeClr val="tx1"/>
                </a:solidFill>
                <a:latin typeface="+mn-lt"/>
                <a:ea typeface="+mn-ea"/>
                <a:cs typeface="+mn-cs"/>
              </a:rPr>
              <a:t>From here you can move the image within the shape for best visual appearance</a:t>
            </a:r>
          </a:p>
          <a:p>
            <a:pPr marL="179388" indent="-179388">
              <a:spcBef>
                <a:spcPts val="200"/>
              </a:spcBef>
              <a:spcAft>
                <a:spcPts val="200"/>
              </a:spcAft>
              <a:buFont typeface="+mj-lt"/>
              <a:buAutoNum type="arabicPeriod"/>
            </a:pPr>
            <a:endParaRPr lang="en-US" sz="900" b="0" i="0" kern="1200" dirty="0">
              <a:solidFill>
                <a:schemeClr val="tx1"/>
              </a:solidFill>
              <a:latin typeface="+mn-lt"/>
              <a:ea typeface="+mn-ea"/>
              <a:cs typeface="+mn-cs"/>
            </a:endParaRPr>
          </a:p>
          <a:p>
            <a:pPr marL="0" marR="0" lvl="0" indent="0" algn="l" defTabSz="914400" rtl="0" eaLnBrk="1" fontAlgn="auto" latinLnBrk="0" hangingPunct="1">
              <a:lnSpc>
                <a:spcPct val="100000"/>
              </a:lnSpc>
              <a:spcBef>
                <a:spcPts val="200"/>
              </a:spcBef>
              <a:spcAft>
                <a:spcPts val="200"/>
              </a:spcAft>
              <a:buClrTx/>
              <a:buSzTx/>
              <a:buFont typeface="+mj-lt"/>
              <a:buNone/>
              <a:tabLst/>
              <a:defRPr/>
            </a:pPr>
            <a:r>
              <a:rPr lang="en-GB" sz="1000" b="1" i="0" dirty="0">
                <a:effectLst/>
                <a:latin typeface="Arial" panose="020B0604020202020204" pitchFamily="34" charset="0"/>
                <a:ea typeface="Calibri" panose="020F0502020204030204" pitchFamily="34" charset="0"/>
              </a:rPr>
              <a:t>When inserting staff photos, </a:t>
            </a:r>
            <a:r>
              <a:rPr lang="en-GB" sz="1000" i="0" dirty="0">
                <a:effectLst/>
                <a:latin typeface="Arial" panose="020B0604020202020204" pitchFamily="34" charset="0"/>
                <a:ea typeface="Calibri" panose="020F0502020204030204" pitchFamily="34" charset="0"/>
              </a:rPr>
              <a:t>please use the same method as suggested above. To ensure you are using staff photos that are optimised for use in this Pitch Template, please insert them from the “Staff Photos 40x40 BW” folder, located in the Staff photos section of the HFW Pitch Template folder.</a:t>
            </a:r>
            <a:endParaRPr lang="en-GB" sz="1000" i="0" dirty="0">
              <a:effectLst/>
              <a:latin typeface="Calibri" panose="020F0502020204030204" pitchFamily="34" charset="0"/>
              <a:ea typeface="Calibri" panose="020F0502020204030204" pitchFamily="34" charset="0"/>
            </a:endParaRPr>
          </a:p>
          <a:p>
            <a:pPr marL="179388" indent="-179388">
              <a:spcBef>
                <a:spcPts val="200"/>
              </a:spcBef>
              <a:spcAft>
                <a:spcPts val="200"/>
              </a:spcAft>
              <a:buFont typeface="+mj-lt"/>
              <a:buAutoNum type="arabicPeriod"/>
            </a:pPr>
            <a:endParaRPr lang="en-US" sz="900" b="0" kern="1200" dirty="0">
              <a:solidFill>
                <a:schemeClr val="tx1"/>
              </a:solidFill>
              <a:latin typeface="+mn-lt"/>
              <a:ea typeface="+mn-ea"/>
              <a:cs typeface="+mn-cs"/>
            </a:endParaRPr>
          </a:p>
          <a:p>
            <a:pPr marL="179388" indent="-179388">
              <a:spcBef>
                <a:spcPts val="200"/>
              </a:spcBef>
              <a:spcAft>
                <a:spcPts val="200"/>
              </a:spcAft>
              <a:buFont typeface="+mj-lt"/>
              <a:buAutoNum type="arabicPeriod"/>
            </a:pPr>
            <a:endParaRPr lang="en-US" sz="900" b="0" kern="1200" dirty="0">
              <a:solidFill>
                <a:schemeClr val="tx1"/>
              </a:solidFill>
              <a:latin typeface="+mn-lt"/>
              <a:ea typeface="+mn-ea"/>
              <a:cs typeface="+mn-cs"/>
            </a:endParaRPr>
          </a:p>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SAMPLE CONTACT LAYOUT</a:t>
            </a:r>
          </a:p>
        </p:txBody>
      </p:sp>
      <p:grpSp>
        <p:nvGrpSpPr>
          <p:cNvPr id="4" name="Group 3">
            <a:extLst>
              <a:ext uri="{FF2B5EF4-FFF2-40B4-BE49-F238E27FC236}">
                <a16:creationId xmlns:a16="http://schemas.microsoft.com/office/drawing/2014/main" id="{2F3BE283-3B92-563E-A743-597A5C156CA4}"/>
              </a:ext>
            </a:extLst>
          </p:cNvPr>
          <p:cNvGrpSpPr/>
          <p:nvPr userDrawn="1"/>
        </p:nvGrpSpPr>
        <p:grpSpPr>
          <a:xfrm>
            <a:off x="12437199" y="5138030"/>
            <a:ext cx="2813913" cy="819975"/>
            <a:chOff x="12399099" y="4230487"/>
            <a:chExt cx="2813913" cy="819975"/>
          </a:xfrm>
        </p:grpSpPr>
        <p:sp>
          <p:nvSpPr>
            <p:cNvPr id="8" name="TextBox 7">
              <a:extLst>
                <a:ext uri="{FF2B5EF4-FFF2-40B4-BE49-F238E27FC236}">
                  <a16:creationId xmlns:a16="http://schemas.microsoft.com/office/drawing/2014/main" id="{C8C7B7DD-6D0C-315C-A08E-74C40237B3D8}"/>
                </a:ext>
              </a:extLst>
            </p:cNvPr>
            <p:cNvSpPr txBox="1"/>
            <p:nvPr userDrawn="1"/>
          </p:nvSpPr>
          <p:spPr>
            <a:xfrm flipH="1">
              <a:off x="12573262" y="4663953"/>
              <a:ext cx="2639750"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grpSp>
          <p:nvGrpSpPr>
            <p:cNvPr id="10" name="Group 9">
              <a:extLst>
                <a:ext uri="{FF2B5EF4-FFF2-40B4-BE49-F238E27FC236}">
                  <a16:creationId xmlns:a16="http://schemas.microsoft.com/office/drawing/2014/main" id="{78A2293A-1913-76C0-D851-3D5EC7A62009}"/>
                </a:ext>
              </a:extLst>
            </p:cNvPr>
            <p:cNvGrpSpPr/>
            <p:nvPr userDrawn="1"/>
          </p:nvGrpSpPr>
          <p:grpSpPr>
            <a:xfrm>
              <a:off x="12399099" y="4230487"/>
              <a:ext cx="2326813" cy="819975"/>
              <a:chOff x="12399099" y="4230487"/>
              <a:chExt cx="2326813" cy="819975"/>
            </a:xfrm>
          </p:grpSpPr>
          <p:sp>
            <p:nvSpPr>
              <p:cNvPr id="11" name="TextBox 10">
                <a:extLst>
                  <a:ext uri="{FF2B5EF4-FFF2-40B4-BE49-F238E27FC236}">
                    <a16:creationId xmlns:a16="http://schemas.microsoft.com/office/drawing/2014/main" id="{F3CB0B0E-758B-1961-6AF7-C3D947808D51}"/>
                  </a:ext>
                </a:extLst>
              </p:cNvPr>
              <p:cNvSpPr txBox="1"/>
              <p:nvPr userDrawn="1"/>
            </p:nvSpPr>
            <p:spPr>
              <a:xfrm flipH="1">
                <a:off x="12399100" y="4663953"/>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28" name="TextBox 27">
                <a:extLst>
                  <a:ext uri="{FF2B5EF4-FFF2-40B4-BE49-F238E27FC236}">
                    <a16:creationId xmlns:a16="http://schemas.microsoft.com/office/drawing/2014/main" id="{C0E876FD-75A9-BAE7-8311-A7B4118A09A7}"/>
                  </a:ext>
                </a:extLst>
              </p:cNvPr>
              <p:cNvSpPr txBox="1"/>
              <p:nvPr userDrawn="1"/>
            </p:nvSpPr>
            <p:spPr>
              <a:xfrm flipH="1">
                <a:off x="12399100" y="4881185"/>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E</a:t>
                </a:r>
              </a:p>
            </p:txBody>
          </p:sp>
          <p:sp>
            <p:nvSpPr>
              <p:cNvPr id="32" name="TextBox 31">
                <a:extLst>
                  <a:ext uri="{FF2B5EF4-FFF2-40B4-BE49-F238E27FC236}">
                    <a16:creationId xmlns:a16="http://schemas.microsoft.com/office/drawing/2014/main" id="{ABC9559D-8CD4-548B-956A-EA44BD1DC5C6}"/>
                  </a:ext>
                </a:extLst>
              </p:cNvPr>
              <p:cNvSpPr txBox="1"/>
              <p:nvPr userDrawn="1"/>
            </p:nvSpPr>
            <p:spPr>
              <a:xfrm flipH="1">
                <a:off x="12573262" y="4881185"/>
                <a:ext cx="2152650"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name.surname@hfw.com</a:t>
                </a:r>
                <a:endParaRPr lang="en-US" dirty="0"/>
              </a:p>
            </p:txBody>
          </p:sp>
          <p:sp>
            <p:nvSpPr>
              <p:cNvPr id="33" name="TextBox 32">
                <a:extLst>
                  <a:ext uri="{FF2B5EF4-FFF2-40B4-BE49-F238E27FC236}">
                    <a16:creationId xmlns:a16="http://schemas.microsoft.com/office/drawing/2014/main" id="{18E3B791-7E54-3818-18D3-0004FAAAF9EE}"/>
                  </a:ext>
                </a:extLst>
              </p:cNvPr>
              <p:cNvSpPr txBox="1"/>
              <p:nvPr userDrawn="1"/>
            </p:nvSpPr>
            <p:spPr>
              <a:xfrm flipH="1">
                <a:off x="12399099" y="4230487"/>
                <a:ext cx="1968833"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solidFill>
                      <a:schemeClr val="tx2"/>
                    </a:solidFill>
                    <a:latin typeface="+mj-lt"/>
                  </a:rPr>
                  <a:t>NAME SURNAME</a:t>
                </a:r>
              </a:p>
            </p:txBody>
          </p:sp>
          <p:sp>
            <p:nvSpPr>
              <p:cNvPr id="34" name="TextBox 33">
                <a:extLst>
                  <a:ext uri="{FF2B5EF4-FFF2-40B4-BE49-F238E27FC236}">
                    <a16:creationId xmlns:a16="http://schemas.microsoft.com/office/drawing/2014/main" id="{EC099238-34C5-D997-49D7-9886D809F8E5}"/>
                  </a:ext>
                </a:extLst>
              </p:cNvPr>
              <p:cNvSpPr txBox="1"/>
              <p:nvPr userDrawn="1"/>
            </p:nvSpPr>
            <p:spPr>
              <a:xfrm flipH="1">
                <a:off x="12399099" y="4445785"/>
                <a:ext cx="1968833"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US" dirty="0"/>
                  <a:t>Position, Location</a:t>
                </a:r>
              </a:p>
            </p:txBody>
          </p:sp>
        </p:grpSp>
      </p:grpSp>
    </p:spTree>
    <p:extLst>
      <p:ext uri="{BB962C8B-B14F-4D97-AF65-F5344CB8AC3E}">
        <p14:creationId xmlns:p14="http://schemas.microsoft.com/office/powerpoint/2010/main" val="1684059336"/>
      </p:ext>
    </p:extLst>
  </p:cSld>
  <p:clrMapOvr>
    <a:masterClrMapping/>
  </p:clrMapOvr>
  <p:transition spd="med">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Key Contacts 1 &amp; Bullets">
    <p:bg>
      <p:bgPr>
        <a:solidFill>
          <a:schemeClr val="bg2"/>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BAEBD445-A1FC-2982-56FD-02AAAC44A523}"/>
              </a:ext>
            </a:extLst>
          </p:cNvPr>
          <p:cNvSpPr/>
          <p:nvPr userDrawn="1"/>
        </p:nvSpPr>
        <p:spPr>
          <a:xfrm>
            <a:off x="8126413" y="0"/>
            <a:ext cx="4065587"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hasCustomPrompt="1"/>
          </p:nvPr>
        </p:nvSpPr>
        <p:spPr>
          <a:xfrm>
            <a:off x="508000" y="454013"/>
            <a:ext cx="7459663" cy="663587"/>
          </a:xfrm>
        </p:spPr>
        <p:txBody>
          <a:bodyPr/>
          <a:lstStyle>
            <a:lvl1pPr>
              <a:defRPr/>
            </a:lvl1pPr>
          </a:lstStyle>
          <a:p>
            <a:r>
              <a:rPr lang="en-US" dirty="0"/>
              <a:t>Key contact</a:t>
            </a:r>
          </a:p>
        </p:txBody>
      </p:sp>
      <p:sp>
        <p:nvSpPr>
          <p:cNvPr id="5" name="Footer Placeholder 4"/>
          <p:cNvSpPr>
            <a:spLocks noGrp="1"/>
          </p:cNvSpPr>
          <p:nvPr>
            <p:ph type="ftr" sz="quarter" idx="11"/>
          </p:nvPr>
        </p:nvSpPr>
        <p:spPr/>
        <p:txBody>
          <a:bodyPr/>
          <a:lstStyle/>
          <a:p>
            <a:r>
              <a:rPr lang="en-GB"/>
              <a:t>INSERT FOOTER HERE</a:t>
            </a:r>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8CFE0557-AA98-4E6C-B0C3-581794696B68}" type="slidenum">
              <a:rPr lang="en-GB" smtClean="0"/>
              <a:pPr/>
              <a:t>‹#›</a:t>
            </a:fld>
            <a:endParaRPr lang="en-GB"/>
          </a:p>
        </p:txBody>
      </p:sp>
      <p:sp>
        <p:nvSpPr>
          <p:cNvPr id="7" name="Content Placeholder 2">
            <a:extLst>
              <a:ext uri="{FF2B5EF4-FFF2-40B4-BE49-F238E27FC236}">
                <a16:creationId xmlns:a16="http://schemas.microsoft.com/office/drawing/2014/main" id="{6A078DCC-43B1-8D23-0AA3-05E731BDE2C0}"/>
              </a:ext>
            </a:extLst>
          </p:cNvPr>
          <p:cNvSpPr>
            <a:spLocks noGrp="1"/>
          </p:cNvSpPr>
          <p:nvPr>
            <p:ph idx="21" hasCustomPrompt="1"/>
          </p:nvPr>
        </p:nvSpPr>
        <p:spPr>
          <a:xfrm>
            <a:off x="504826" y="2315934"/>
            <a:ext cx="3403599" cy="2874138"/>
          </a:xfrm>
        </p:spPr>
        <p:txBody>
          <a:bodyPr vert="horz" lIns="0" tIns="45720" rIns="0" bIns="4572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12" name="Content Placeholder 2">
            <a:extLst>
              <a:ext uri="{FF2B5EF4-FFF2-40B4-BE49-F238E27FC236}">
                <a16:creationId xmlns:a16="http://schemas.microsoft.com/office/drawing/2014/main" id="{44E07C73-29FB-D898-A303-EE530927EF1D}"/>
              </a:ext>
            </a:extLst>
          </p:cNvPr>
          <p:cNvSpPr>
            <a:spLocks noGrp="1"/>
          </p:cNvSpPr>
          <p:nvPr>
            <p:ph idx="22" hasCustomPrompt="1"/>
          </p:nvPr>
        </p:nvSpPr>
        <p:spPr>
          <a:xfrm>
            <a:off x="4238626" y="2315934"/>
            <a:ext cx="3403599" cy="2874138"/>
          </a:xfrm>
        </p:spPr>
        <p:txBody>
          <a:bodyPr vert="horz" lIns="0" tIns="45720" rIns="0" bIns="4572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14" name="Text Placeholder 12">
            <a:extLst>
              <a:ext uri="{FF2B5EF4-FFF2-40B4-BE49-F238E27FC236}">
                <a16:creationId xmlns:a16="http://schemas.microsoft.com/office/drawing/2014/main" id="{C476BCA0-8C8E-A7CB-4F10-078CCA835BFE}"/>
              </a:ext>
            </a:extLst>
          </p:cNvPr>
          <p:cNvSpPr>
            <a:spLocks noGrp="1"/>
          </p:cNvSpPr>
          <p:nvPr>
            <p:ph type="body" sz="quarter" idx="34" hasCustomPrompt="1"/>
          </p:nvPr>
        </p:nvSpPr>
        <p:spPr>
          <a:xfrm>
            <a:off x="508000" y="5334846"/>
            <a:ext cx="7127876" cy="681779"/>
          </a:xfrm>
        </p:spPr>
        <p:txBody>
          <a:bodyPr vert="horz" lIns="0" tIns="45720" rIns="0" bIns="0" rtlCol="0" anchor="b" anchorCtr="0">
            <a:noAutofit/>
          </a:bodyPr>
          <a:lstStyle>
            <a:lvl1pPr marL="108000" indent="-108000">
              <a:lnSpc>
                <a:spcPct val="110000"/>
              </a:lnSpc>
              <a:spcBef>
                <a:spcPts val="0"/>
              </a:spcBef>
              <a:spcAft>
                <a:spcPts val="0"/>
              </a:spcAft>
              <a:defRPr lang="en-US" sz="2000" dirty="0">
                <a:solidFill>
                  <a:schemeClr val="accent2"/>
                </a:solidFill>
              </a:defRPr>
            </a:lvl1pPr>
            <a:lvl2pPr>
              <a:defRPr lang="en-US" sz="1400" dirty="0">
                <a:solidFill>
                  <a:schemeClr val="tx2"/>
                </a:solidFill>
                <a:latin typeface="+mj-lt"/>
              </a:defRPr>
            </a:lvl2pPr>
          </a:lstStyle>
          <a:p>
            <a:pPr marL="108000" lvl="0" indent="-108000">
              <a:lnSpc>
                <a:spcPct val="100000"/>
              </a:lnSpc>
              <a:spcBef>
                <a:spcPts val="200"/>
              </a:spcBef>
              <a:spcAft>
                <a:spcPts val="200"/>
              </a:spcAft>
            </a:pPr>
            <a:r>
              <a:rPr lang="en-US" dirty="0"/>
              <a:t>“Quote goes here.”</a:t>
            </a:r>
          </a:p>
        </p:txBody>
      </p:sp>
      <p:sp>
        <p:nvSpPr>
          <p:cNvPr id="15" name="Text Placeholder 7">
            <a:extLst>
              <a:ext uri="{FF2B5EF4-FFF2-40B4-BE49-F238E27FC236}">
                <a16:creationId xmlns:a16="http://schemas.microsoft.com/office/drawing/2014/main" id="{C55AA05B-151A-5173-D185-EDFA2BA16A2F}"/>
              </a:ext>
            </a:extLst>
          </p:cNvPr>
          <p:cNvSpPr>
            <a:spLocks noGrp="1"/>
          </p:cNvSpPr>
          <p:nvPr>
            <p:ph type="body" sz="quarter" idx="24" hasCustomPrompt="1"/>
          </p:nvPr>
        </p:nvSpPr>
        <p:spPr>
          <a:xfrm>
            <a:off x="508000" y="6047121"/>
            <a:ext cx="7127876" cy="215444"/>
          </a:xfrm>
        </p:spPr>
        <p:txBody>
          <a:bodyPr wrap="square" tIns="0" bIns="0" anchor="b" anchorCtr="0">
            <a:spAutoFit/>
          </a:bodyPr>
          <a:lstStyle>
            <a:lvl1pPr marL="108000">
              <a:lnSpc>
                <a:spcPct val="100000"/>
              </a:lnSpc>
              <a:defRPr sz="1400" cap="all" baseline="0">
                <a:solidFill>
                  <a:schemeClr val="tx2"/>
                </a:solidFill>
                <a:latin typeface="+mj-lt"/>
              </a:defRPr>
            </a:lvl1pPr>
            <a:lvl2pPr marL="108000">
              <a:lnSpc>
                <a:spcPct val="100000"/>
              </a:lnSpc>
              <a:defRPr sz="1400" cap="all" baseline="0">
                <a:solidFill>
                  <a:schemeClr val="tx2"/>
                </a:solidFill>
                <a:latin typeface="+mj-lt"/>
              </a:defRPr>
            </a:lvl2pPr>
            <a:lvl3pPr marL="108000">
              <a:lnSpc>
                <a:spcPct val="100000"/>
              </a:lnSpc>
              <a:defRPr sz="1400" cap="all" baseline="0">
                <a:solidFill>
                  <a:schemeClr val="tx2"/>
                </a:solidFill>
                <a:latin typeface="+mj-lt"/>
              </a:defRPr>
            </a:lvl3pPr>
            <a:lvl4pPr marL="108000">
              <a:lnSpc>
                <a:spcPct val="100000"/>
              </a:lnSpc>
              <a:defRPr sz="1400" cap="all" baseline="0">
                <a:solidFill>
                  <a:schemeClr val="tx2"/>
                </a:solidFill>
                <a:latin typeface="+mj-lt"/>
              </a:defRPr>
            </a:lvl4pPr>
            <a:lvl5pPr marL="108000">
              <a:lnSpc>
                <a:spcPct val="100000"/>
              </a:lnSpc>
              <a:defRPr sz="1400" cap="all" baseline="0">
                <a:solidFill>
                  <a:schemeClr val="tx2"/>
                </a:solidFill>
                <a:latin typeface="+mj-lt"/>
              </a:defRPr>
            </a:lvl5pPr>
          </a:lstStyle>
          <a:p>
            <a:pPr lvl="0"/>
            <a:r>
              <a:rPr lang="en-US" dirty="0"/>
              <a:t>quote author</a:t>
            </a:r>
            <a:endParaRPr lang="en-GB" dirty="0"/>
          </a:p>
        </p:txBody>
      </p:sp>
      <p:sp>
        <p:nvSpPr>
          <p:cNvPr id="25" name="Picture Placeholder 14">
            <a:extLst>
              <a:ext uri="{FF2B5EF4-FFF2-40B4-BE49-F238E27FC236}">
                <a16:creationId xmlns:a16="http://schemas.microsoft.com/office/drawing/2014/main" id="{FF2D5E29-3EF6-743F-8351-C2EB434BAEBA}"/>
              </a:ext>
            </a:extLst>
          </p:cNvPr>
          <p:cNvSpPr>
            <a:spLocks noGrp="1"/>
          </p:cNvSpPr>
          <p:nvPr>
            <p:ph type="pic" sz="quarter" idx="40" hasCustomPrompt="1"/>
          </p:nvPr>
        </p:nvSpPr>
        <p:spPr>
          <a:xfrm>
            <a:off x="516891" y="1298891"/>
            <a:ext cx="876299" cy="876299"/>
          </a:xfrm>
          <a:solidFill>
            <a:schemeClr val="bg1"/>
          </a:solidFill>
        </p:spPr>
        <p:txBody>
          <a:bodyPr anchor="ctr">
            <a:normAutofit/>
          </a:bodyPr>
          <a:lstStyle>
            <a:lvl1pPr algn="ctr">
              <a:defRPr sz="1000">
                <a:latin typeface="+mn-lt"/>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GB" dirty="0"/>
              <a:t>Picture</a:t>
            </a:r>
          </a:p>
        </p:txBody>
      </p:sp>
      <p:sp>
        <p:nvSpPr>
          <p:cNvPr id="26" name="Text Placeholder 16">
            <a:extLst>
              <a:ext uri="{FF2B5EF4-FFF2-40B4-BE49-F238E27FC236}">
                <a16:creationId xmlns:a16="http://schemas.microsoft.com/office/drawing/2014/main" id="{69D3C6DD-0294-C68D-A718-4498003298CA}"/>
              </a:ext>
            </a:extLst>
          </p:cNvPr>
          <p:cNvSpPr>
            <a:spLocks noGrp="1"/>
          </p:cNvSpPr>
          <p:nvPr>
            <p:ph type="body" sz="quarter" idx="41" hasCustomPrompt="1"/>
          </p:nvPr>
        </p:nvSpPr>
        <p:spPr>
          <a:xfrm>
            <a:off x="1492805" y="1538859"/>
            <a:ext cx="2543172"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US" dirty="0"/>
              <a:t>Position, Location</a:t>
            </a:r>
          </a:p>
        </p:txBody>
      </p:sp>
      <p:sp>
        <p:nvSpPr>
          <p:cNvPr id="27" name="Text Placeholder 16">
            <a:extLst>
              <a:ext uri="{FF2B5EF4-FFF2-40B4-BE49-F238E27FC236}">
                <a16:creationId xmlns:a16="http://schemas.microsoft.com/office/drawing/2014/main" id="{31585877-4B56-C5A8-9A65-B7D2E67B7B25}"/>
              </a:ext>
            </a:extLst>
          </p:cNvPr>
          <p:cNvSpPr>
            <a:spLocks noGrp="1"/>
          </p:cNvSpPr>
          <p:nvPr>
            <p:ph type="body" sz="quarter" idx="42" hasCustomPrompt="1"/>
          </p:nvPr>
        </p:nvSpPr>
        <p:spPr>
          <a:xfrm>
            <a:off x="1492805" y="1321689"/>
            <a:ext cx="2543172" cy="169277"/>
          </a:xfrm>
        </p:spPr>
        <p:txBody>
          <a:bodyPr tIns="0" bIns="0">
            <a:noAutofit/>
          </a:bodyPr>
          <a:lstStyle>
            <a:lvl1pPr algn="l">
              <a:lnSpc>
                <a:spcPct val="100000"/>
              </a:lnSpc>
              <a:spcBef>
                <a:spcPts val="0"/>
              </a:spcBef>
              <a:spcAft>
                <a:spcPts val="0"/>
              </a:spcAft>
              <a:defRPr sz="1100" cap="all" baseline="0">
                <a:solidFill>
                  <a:schemeClr val="tx2"/>
                </a:solidFill>
                <a:latin typeface="+mj-lt"/>
              </a:defRPr>
            </a:lvl1pPr>
            <a:lvl2pPr algn="l">
              <a:lnSpc>
                <a:spcPct val="100000"/>
              </a:lnSpc>
              <a:spcBef>
                <a:spcPts val="200"/>
              </a:spcBef>
              <a:spcAft>
                <a:spcPts val="200"/>
              </a:spcAft>
              <a:defRPr sz="1100">
                <a:solidFill>
                  <a:schemeClr val="tx1"/>
                </a:solidFill>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0"/>
            <a:r>
              <a:rPr lang="en-US" dirty="0"/>
              <a:t>NAME SURNAME</a:t>
            </a:r>
          </a:p>
        </p:txBody>
      </p:sp>
      <p:sp>
        <p:nvSpPr>
          <p:cNvPr id="29" name="Text Placeholder 16">
            <a:extLst>
              <a:ext uri="{FF2B5EF4-FFF2-40B4-BE49-F238E27FC236}">
                <a16:creationId xmlns:a16="http://schemas.microsoft.com/office/drawing/2014/main" id="{9509F098-0BB1-EDFD-C053-10B2C0DAF418}"/>
              </a:ext>
            </a:extLst>
          </p:cNvPr>
          <p:cNvSpPr>
            <a:spLocks noGrp="1"/>
          </p:cNvSpPr>
          <p:nvPr>
            <p:ph type="body" sz="quarter" idx="43" hasCustomPrompt="1"/>
          </p:nvPr>
        </p:nvSpPr>
        <p:spPr>
          <a:xfrm>
            <a:off x="1668488" y="1756091"/>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30" name="Text Placeholder 16">
            <a:extLst>
              <a:ext uri="{FF2B5EF4-FFF2-40B4-BE49-F238E27FC236}">
                <a16:creationId xmlns:a16="http://schemas.microsoft.com/office/drawing/2014/main" id="{2863FF7E-DEC7-3134-F3E6-0308C70D6D46}"/>
              </a:ext>
            </a:extLst>
          </p:cNvPr>
          <p:cNvSpPr>
            <a:spLocks noGrp="1"/>
          </p:cNvSpPr>
          <p:nvPr>
            <p:ph type="body" sz="quarter" idx="44" hasCustomPrompt="1"/>
          </p:nvPr>
        </p:nvSpPr>
        <p:spPr>
          <a:xfrm>
            <a:off x="1668488" y="1973323"/>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name.surname@hfw.com</a:t>
            </a:r>
            <a:endParaRPr lang="en-US" dirty="0"/>
          </a:p>
        </p:txBody>
      </p:sp>
      <p:sp>
        <p:nvSpPr>
          <p:cNvPr id="31" name="TextBox 30">
            <a:extLst>
              <a:ext uri="{FF2B5EF4-FFF2-40B4-BE49-F238E27FC236}">
                <a16:creationId xmlns:a16="http://schemas.microsoft.com/office/drawing/2014/main" id="{1217B7C6-8D46-136A-FE1C-B56A12D95CE8}"/>
              </a:ext>
            </a:extLst>
          </p:cNvPr>
          <p:cNvSpPr txBox="1"/>
          <p:nvPr userDrawn="1"/>
        </p:nvSpPr>
        <p:spPr>
          <a:xfrm flipH="1">
            <a:off x="1494324" y="1756091"/>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32" name="TextBox 31">
            <a:extLst>
              <a:ext uri="{FF2B5EF4-FFF2-40B4-BE49-F238E27FC236}">
                <a16:creationId xmlns:a16="http://schemas.microsoft.com/office/drawing/2014/main" id="{7973B918-54D4-25DA-112C-C262AD4E9D95}"/>
              </a:ext>
            </a:extLst>
          </p:cNvPr>
          <p:cNvSpPr txBox="1"/>
          <p:nvPr userDrawn="1"/>
        </p:nvSpPr>
        <p:spPr>
          <a:xfrm flipH="1">
            <a:off x="1494324" y="1973323"/>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E</a:t>
            </a:r>
          </a:p>
        </p:txBody>
      </p:sp>
      <p:sp>
        <p:nvSpPr>
          <p:cNvPr id="35" name="Content Placeholder 2">
            <a:extLst>
              <a:ext uri="{FF2B5EF4-FFF2-40B4-BE49-F238E27FC236}">
                <a16:creationId xmlns:a16="http://schemas.microsoft.com/office/drawing/2014/main" id="{0139114B-C5ED-1D76-F4AD-D8B268385D59}"/>
              </a:ext>
            </a:extLst>
          </p:cNvPr>
          <p:cNvSpPr>
            <a:spLocks noGrp="1"/>
          </p:cNvSpPr>
          <p:nvPr>
            <p:ph idx="45" hasCustomPrompt="1"/>
          </p:nvPr>
        </p:nvSpPr>
        <p:spPr>
          <a:xfrm>
            <a:off x="8737600" y="2262294"/>
            <a:ext cx="2963863" cy="3957531"/>
          </a:xfrm>
        </p:spPr>
        <p:txBody>
          <a:bodyPr vert="horz" lIns="0" tIns="45720" rIns="0" bIns="45720" rtlCol="0">
            <a:normAutofit/>
          </a:bodyPr>
          <a:lstStyle>
            <a:lvl1pPr algn="l" defTabSz="914400" rtl="0" eaLnBrk="1" latinLnBrk="0" hangingPunct="1">
              <a:lnSpc>
                <a:spcPct val="130000"/>
              </a:lnSpc>
              <a:spcBef>
                <a:spcPts val="300"/>
              </a:spcBef>
              <a:spcAft>
                <a:spcPts val="300"/>
              </a:spcAft>
              <a:buFont typeface="Arial" panose="020B0604020202020204" pitchFamily="34" charset="0"/>
              <a:defRPr lang="en-US" sz="1100" kern="1200" dirty="0">
                <a:solidFill>
                  <a:schemeClr val="tx1"/>
                </a:solidFill>
                <a:latin typeface="+mn-lt"/>
                <a:ea typeface="+mn-ea"/>
                <a:cs typeface="+mn-cs"/>
              </a:defRPr>
            </a:lvl1pPr>
            <a:lvl2pPr>
              <a:defRPr lang="en-US" dirty="0"/>
            </a:lvl2pPr>
            <a:lvl3pPr>
              <a:defRPr lang="en-US" dirty="0"/>
            </a:lvl3pPr>
            <a:lvl4pPr>
              <a:defRPr lang="en-US" dirty="0"/>
            </a:lvl4pPr>
            <a:lvl5pPr>
              <a:defRPr lang="en-US" dirty="0"/>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36" name="Content Placeholder 2">
            <a:extLst>
              <a:ext uri="{FF2B5EF4-FFF2-40B4-BE49-F238E27FC236}">
                <a16:creationId xmlns:a16="http://schemas.microsoft.com/office/drawing/2014/main" id="{128F6B8C-E257-E495-58ED-A215FF48DEA5}"/>
              </a:ext>
            </a:extLst>
          </p:cNvPr>
          <p:cNvSpPr>
            <a:spLocks noGrp="1"/>
          </p:cNvSpPr>
          <p:nvPr>
            <p:ph idx="1" hasCustomPrompt="1"/>
          </p:nvPr>
        </p:nvSpPr>
        <p:spPr>
          <a:xfrm>
            <a:off x="8737600" y="1896533"/>
            <a:ext cx="2946399" cy="365761"/>
          </a:xfrm>
        </p:spPr>
        <p:txBody>
          <a:bodyPr/>
          <a:lstStyle>
            <a:lvl1pPr>
              <a:defRPr cap="all" baseline="0"/>
            </a:lvl1pPr>
          </a:lstStyle>
          <a:p>
            <a:pPr lvl="0"/>
            <a:r>
              <a:rPr lang="en-US" dirty="0"/>
              <a:t>subhead</a:t>
            </a:r>
          </a:p>
        </p:txBody>
      </p:sp>
      <p:sp>
        <p:nvSpPr>
          <p:cNvPr id="3" name="TextBox 4">
            <a:extLst>
              <a:ext uri="{FF2B5EF4-FFF2-40B4-BE49-F238E27FC236}">
                <a16:creationId xmlns:a16="http://schemas.microsoft.com/office/drawing/2014/main" id="{DF43F6F4-EE25-DFF6-C9A4-CE521582B069}"/>
              </a:ext>
            </a:extLst>
          </p:cNvPr>
          <p:cNvSpPr txBox="1"/>
          <p:nvPr userDrawn="1"/>
        </p:nvSpPr>
        <p:spPr>
          <a:xfrm>
            <a:off x="12346713" y="109538"/>
            <a:ext cx="2253207" cy="498085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INSERTING IMAGES:</a:t>
            </a:r>
          </a:p>
          <a:p>
            <a:pPr marL="179388" indent="-179388">
              <a:spcBef>
                <a:spcPts val="200"/>
              </a:spcBef>
              <a:spcAft>
                <a:spcPts val="200"/>
              </a:spcAft>
              <a:buFont typeface="+mj-lt"/>
              <a:buAutoNum type="arabicPeriod"/>
            </a:pPr>
            <a:r>
              <a:rPr lang="en-US" sz="900" dirty="0">
                <a:solidFill>
                  <a:schemeClr val="tx1"/>
                </a:solidFill>
                <a:latin typeface="+mn-lt"/>
              </a:rPr>
              <a:t>Simply click the image placeholder and select your image.</a:t>
            </a:r>
          </a:p>
          <a:p>
            <a:pPr marL="179388" indent="-179388">
              <a:spcBef>
                <a:spcPts val="200"/>
              </a:spcBef>
              <a:spcAft>
                <a:spcPts val="200"/>
              </a:spcAft>
              <a:buFont typeface="+mj-lt"/>
              <a:buAutoNum type="arabicPeriod"/>
            </a:pPr>
            <a:r>
              <a:rPr lang="en-US" sz="900" dirty="0">
                <a:solidFill>
                  <a:schemeClr val="tx1"/>
                </a:solidFill>
                <a:latin typeface="+mn-lt"/>
              </a:rPr>
              <a:t>Once your image is inserted into the shape it may be distorted. (Stretched or Squashed)</a:t>
            </a:r>
          </a:p>
          <a:p>
            <a:pPr marL="179388" indent="-179388">
              <a:spcBef>
                <a:spcPts val="200"/>
              </a:spcBef>
              <a:spcAft>
                <a:spcPts val="200"/>
              </a:spcAft>
              <a:buFont typeface="+mj-lt"/>
              <a:buAutoNum type="arabicPeriod"/>
            </a:pPr>
            <a:endParaRPr lang="en-US" sz="900" dirty="0">
              <a:solidFill>
                <a:schemeClr val="tx1"/>
              </a:solidFill>
              <a:latin typeface="+mn-lt"/>
            </a:endParaRPr>
          </a:p>
          <a:p>
            <a:pPr>
              <a:spcBef>
                <a:spcPts val="200"/>
              </a:spcBef>
              <a:spcAft>
                <a:spcPts val="200"/>
              </a:spcAft>
            </a:pPr>
            <a:r>
              <a:rPr lang="en-US" sz="900" b="1" dirty="0">
                <a:solidFill>
                  <a:schemeClr val="tx1"/>
                </a:solidFill>
                <a:latin typeface="+mn-lt"/>
              </a:rPr>
              <a:t>To fix this:</a:t>
            </a:r>
          </a:p>
          <a:p>
            <a:pPr marL="179388" indent="-179388">
              <a:spcBef>
                <a:spcPts val="200"/>
              </a:spcBef>
              <a:spcAft>
                <a:spcPts val="200"/>
              </a:spcAft>
              <a:buFont typeface="+mj-lt"/>
              <a:buAutoNum type="arabicPeriod"/>
            </a:pPr>
            <a:r>
              <a:rPr lang="en-US" sz="900" dirty="0">
                <a:solidFill>
                  <a:schemeClr val="tx1"/>
                </a:solidFill>
                <a:latin typeface="+mn-lt"/>
              </a:rPr>
              <a:t>Click on the image and from the top menu under </a:t>
            </a:r>
            <a:r>
              <a:rPr lang="en-US" sz="900" b="1" dirty="0">
                <a:solidFill>
                  <a:schemeClr val="tx1"/>
                </a:solidFill>
                <a:latin typeface="+mn-lt"/>
              </a:rPr>
              <a:t>PICTURE FORMAT </a:t>
            </a:r>
            <a:r>
              <a:rPr lang="en-US" sz="900" dirty="0">
                <a:solidFill>
                  <a:schemeClr val="tx1"/>
                </a:solidFill>
                <a:latin typeface="+mn-lt"/>
              </a:rPr>
              <a:t>select the </a:t>
            </a:r>
            <a:r>
              <a:rPr lang="en-US" sz="900" b="1" dirty="0">
                <a:solidFill>
                  <a:schemeClr val="tx1"/>
                </a:solidFill>
                <a:latin typeface="+mn-lt"/>
              </a:rPr>
              <a:t>CROP</a:t>
            </a:r>
            <a:r>
              <a:rPr lang="en-US" sz="900" dirty="0">
                <a:solidFill>
                  <a:schemeClr val="tx1"/>
                </a:solidFill>
                <a:latin typeface="+mn-lt"/>
              </a:rPr>
              <a:t> on the right and from the drop down menu select </a:t>
            </a:r>
            <a:r>
              <a:rPr lang="en-US" sz="900" b="1" kern="1200" dirty="0">
                <a:solidFill>
                  <a:schemeClr val="tx1"/>
                </a:solidFill>
                <a:latin typeface="+mn-lt"/>
                <a:ea typeface="+mn-ea"/>
                <a:cs typeface="+mn-cs"/>
              </a:rPr>
              <a:t>FILL</a:t>
            </a:r>
          </a:p>
          <a:p>
            <a:pPr marL="179388" indent="-179388">
              <a:spcBef>
                <a:spcPts val="200"/>
              </a:spcBef>
              <a:spcAft>
                <a:spcPts val="200"/>
              </a:spcAft>
              <a:buFont typeface="+mj-lt"/>
              <a:buAutoNum type="arabicPeriod"/>
            </a:pPr>
            <a:r>
              <a:rPr lang="en-US" sz="900" b="0" kern="1200" dirty="0">
                <a:solidFill>
                  <a:schemeClr val="tx1"/>
                </a:solidFill>
                <a:latin typeface="+mn-lt"/>
                <a:ea typeface="+mn-ea"/>
                <a:cs typeface="+mn-cs"/>
              </a:rPr>
              <a:t>From here you can move the image within the shape for best visual appearance</a:t>
            </a:r>
          </a:p>
          <a:p>
            <a:pPr marL="179388" indent="-179388">
              <a:spcBef>
                <a:spcPts val="200"/>
              </a:spcBef>
              <a:spcAft>
                <a:spcPts val="200"/>
              </a:spcAft>
              <a:buFont typeface="+mj-lt"/>
              <a:buAutoNum type="arabicPeriod"/>
            </a:pPr>
            <a:endParaRPr lang="en-US" sz="900" b="0" i="0" kern="1200" dirty="0">
              <a:solidFill>
                <a:schemeClr val="tx1"/>
              </a:solidFill>
              <a:latin typeface="+mn-lt"/>
              <a:ea typeface="+mn-ea"/>
              <a:cs typeface="+mn-cs"/>
            </a:endParaRPr>
          </a:p>
          <a:p>
            <a:pPr marL="0" marR="0" lvl="0" indent="0" algn="l" defTabSz="914400" rtl="0" eaLnBrk="1" fontAlgn="auto" latinLnBrk="0" hangingPunct="1">
              <a:lnSpc>
                <a:spcPct val="100000"/>
              </a:lnSpc>
              <a:spcBef>
                <a:spcPts val="200"/>
              </a:spcBef>
              <a:spcAft>
                <a:spcPts val="200"/>
              </a:spcAft>
              <a:buClrTx/>
              <a:buSzTx/>
              <a:buFont typeface="+mj-lt"/>
              <a:buNone/>
              <a:tabLst/>
              <a:defRPr/>
            </a:pPr>
            <a:r>
              <a:rPr lang="en-GB" sz="1000" b="1" i="0" dirty="0">
                <a:effectLst/>
                <a:latin typeface="Arial" panose="020B0604020202020204" pitchFamily="34" charset="0"/>
                <a:ea typeface="Calibri" panose="020F0502020204030204" pitchFamily="34" charset="0"/>
              </a:rPr>
              <a:t>When inserting staff photos, </a:t>
            </a:r>
            <a:r>
              <a:rPr lang="en-GB" sz="1000" i="0" dirty="0">
                <a:effectLst/>
                <a:latin typeface="Arial" panose="020B0604020202020204" pitchFamily="34" charset="0"/>
                <a:ea typeface="Calibri" panose="020F0502020204030204" pitchFamily="34" charset="0"/>
              </a:rPr>
              <a:t>please use the same method as suggested above. To ensure you are using staff photos that are optimised for use in this Pitch Template, please insert them from the “Staff Photos 40x40 BW” folder, located in the Staff photos section of the HFW Pitch Template folder.</a:t>
            </a:r>
            <a:endParaRPr lang="en-GB" sz="1000" i="0" dirty="0">
              <a:effectLst/>
              <a:latin typeface="Calibri" panose="020F0502020204030204" pitchFamily="34" charset="0"/>
              <a:ea typeface="Calibri" panose="020F0502020204030204" pitchFamily="34" charset="0"/>
            </a:endParaRPr>
          </a:p>
          <a:p>
            <a:pPr marL="179388" indent="-179388">
              <a:spcBef>
                <a:spcPts val="200"/>
              </a:spcBef>
              <a:spcAft>
                <a:spcPts val="200"/>
              </a:spcAft>
              <a:buFont typeface="+mj-lt"/>
              <a:buAutoNum type="arabicPeriod"/>
            </a:pPr>
            <a:endParaRPr lang="en-US" sz="900" b="0" kern="1200" dirty="0">
              <a:solidFill>
                <a:schemeClr val="tx1"/>
              </a:solidFill>
              <a:latin typeface="+mn-lt"/>
              <a:ea typeface="+mn-ea"/>
              <a:cs typeface="+mn-cs"/>
            </a:endParaRPr>
          </a:p>
          <a:p>
            <a:pPr marL="179388" indent="-179388">
              <a:spcBef>
                <a:spcPts val="200"/>
              </a:spcBef>
              <a:spcAft>
                <a:spcPts val="200"/>
              </a:spcAft>
              <a:buFont typeface="+mj-lt"/>
              <a:buAutoNum type="arabicPeriod"/>
            </a:pPr>
            <a:endParaRPr lang="en-US" sz="900" b="0" kern="1200" dirty="0">
              <a:solidFill>
                <a:schemeClr val="tx1"/>
              </a:solidFill>
              <a:latin typeface="+mn-lt"/>
              <a:ea typeface="+mn-ea"/>
              <a:cs typeface="+mn-cs"/>
            </a:endParaRPr>
          </a:p>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SAMPLE CONTACT LAYOUT</a:t>
            </a:r>
          </a:p>
        </p:txBody>
      </p:sp>
      <p:grpSp>
        <p:nvGrpSpPr>
          <p:cNvPr id="4" name="Group 3">
            <a:extLst>
              <a:ext uri="{FF2B5EF4-FFF2-40B4-BE49-F238E27FC236}">
                <a16:creationId xmlns:a16="http://schemas.microsoft.com/office/drawing/2014/main" id="{2DE5B171-C3D7-8844-AE37-BD8630C61F2B}"/>
              </a:ext>
            </a:extLst>
          </p:cNvPr>
          <p:cNvGrpSpPr/>
          <p:nvPr userDrawn="1"/>
        </p:nvGrpSpPr>
        <p:grpSpPr>
          <a:xfrm>
            <a:off x="12437199" y="5138030"/>
            <a:ext cx="2813913" cy="819975"/>
            <a:chOff x="12399099" y="4230487"/>
            <a:chExt cx="2813913" cy="819975"/>
          </a:xfrm>
        </p:grpSpPr>
        <p:sp>
          <p:nvSpPr>
            <p:cNvPr id="8" name="TextBox 7">
              <a:extLst>
                <a:ext uri="{FF2B5EF4-FFF2-40B4-BE49-F238E27FC236}">
                  <a16:creationId xmlns:a16="http://schemas.microsoft.com/office/drawing/2014/main" id="{D48B7D76-D757-A890-E888-D4A444CC5557}"/>
                </a:ext>
              </a:extLst>
            </p:cNvPr>
            <p:cNvSpPr txBox="1"/>
            <p:nvPr userDrawn="1"/>
          </p:nvSpPr>
          <p:spPr>
            <a:xfrm flipH="1">
              <a:off x="12573262" y="4663953"/>
              <a:ext cx="2639750"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grpSp>
          <p:nvGrpSpPr>
            <p:cNvPr id="9" name="Group 8">
              <a:extLst>
                <a:ext uri="{FF2B5EF4-FFF2-40B4-BE49-F238E27FC236}">
                  <a16:creationId xmlns:a16="http://schemas.microsoft.com/office/drawing/2014/main" id="{D11F9462-4D1C-A0FC-EED4-C8FFC52808BC}"/>
                </a:ext>
              </a:extLst>
            </p:cNvPr>
            <p:cNvGrpSpPr/>
            <p:nvPr userDrawn="1"/>
          </p:nvGrpSpPr>
          <p:grpSpPr>
            <a:xfrm>
              <a:off x="12399099" y="4230487"/>
              <a:ext cx="2326813" cy="819975"/>
              <a:chOff x="12399099" y="4230487"/>
              <a:chExt cx="2326813" cy="819975"/>
            </a:xfrm>
          </p:grpSpPr>
          <p:sp>
            <p:nvSpPr>
              <p:cNvPr id="11" name="TextBox 10">
                <a:extLst>
                  <a:ext uri="{FF2B5EF4-FFF2-40B4-BE49-F238E27FC236}">
                    <a16:creationId xmlns:a16="http://schemas.microsoft.com/office/drawing/2014/main" id="{B876CB73-2368-CD6F-5EC7-80B002EDADDB}"/>
                  </a:ext>
                </a:extLst>
              </p:cNvPr>
              <p:cNvSpPr txBox="1"/>
              <p:nvPr userDrawn="1"/>
            </p:nvSpPr>
            <p:spPr>
              <a:xfrm flipH="1">
                <a:off x="12399100" y="4663953"/>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13" name="TextBox 12">
                <a:extLst>
                  <a:ext uri="{FF2B5EF4-FFF2-40B4-BE49-F238E27FC236}">
                    <a16:creationId xmlns:a16="http://schemas.microsoft.com/office/drawing/2014/main" id="{4E4F7BD2-6E59-D1C6-BA2A-D44D6E66B45A}"/>
                  </a:ext>
                </a:extLst>
              </p:cNvPr>
              <p:cNvSpPr txBox="1"/>
              <p:nvPr userDrawn="1"/>
            </p:nvSpPr>
            <p:spPr>
              <a:xfrm flipH="1">
                <a:off x="12399100" y="4881185"/>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E</a:t>
                </a:r>
              </a:p>
            </p:txBody>
          </p:sp>
          <p:sp>
            <p:nvSpPr>
              <p:cNvPr id="28" name="TextBox 27">
                <a:extLst>
                  <a:ext uri="{FF2B5EF4-FFF2-40B4-BE49-F238E27FC236}">
                    <a16:creationId xmlns:a16="http://schemas.microsoft.com/office/drawing/2014/main" id="{791C7757-0CF8-28B4-B83C-147D68393AFA}"/>
                  </a:ext>
                </a:extLst>
              </p:cNvPr>
              <p:cNvSpPr txBox="1"/>
              <p:nvPr userDrawn="1"/>
            </p:nvSpPr>
            <p:spPr>
              <a:xfrm flipH="1">
                <a:off x="12573262" y="4881185"/>
                <a:ext cx="2152650"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name.surname@hfw.com</a:t>
                </a:r>
                <a:endParaRPr lang="en-US" dirty="0"/>
              </a:p>
            </p:txBody>
          </p:sp>
          <p:sp>
            <p:nvSpPr>
              <p:cNvPr id="33" name="TextBox 32">
                <a:extLst>
                  <a:ext uri="{FF2B5EF4-FFF2-40B4-BE49-F238E27FC236}">
                    <a16:creationId xmlns:a16="http://schemas.microsoft.com/office/drawing/2014/main" id="{A32B81BC-0A6C-680B-DBE1-DADB1BC1EE11}"/>
                  </a:ext>
                </a:extLst>
              </p:cNvPr>
              <p:cNvSpPr txBox="1"/>
              <p:nvPr userDrawn="1"/>
            </p:nvSpPr>
            <p:spPr>
              <a:xfrm flipH="1">
                <a:off x="12399099" y="4230487"/>
                <a:ext cx="1968833"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solidFill>
                      <a:schemeClr val="tx2"/>
                    </a:solidFill>
                    <a:latin typeface="+mj-lt"/>
                  </a:rPr>
                  <a:t>NAME SURNAME</a:t>
                </a:r>
              </a:p>
            </p:txBody>
          </p:sp>
          <p:sp>
            <p:nvSpPr>
              <p:cNvPr id="34" name="TextBox 33">
                <a:extLst>
                  <a:ext uri="{FF2B5EF4-FFF2-40B4-BE49-F238E27FC236}">
                    <a16:creationId xmlns:a16="http://schemas.microsoft.com/office/drawing/2014/main" id="{586C850D-D9D8-4AFF-116C-84FC9854F177}"/>
                  </a:ext>
                </a:extLst>
              </p:cNvPr>
              <p:cNvSpPr txBox="1"/>
              <p:nvPr userDrawn="1"/>
            </p:nvSpPr>
            <p:spPr>
              <a:xfrm flipH="1">
                <a:off x="12399099" y="4445785"/>
                <a:ext cx="1968833"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US" dirty="0"/>
                  <a:t>Position, Location</a:t>
                </a:r>
              </a:p>
            </p:txBody>
          </p:sp>
        </p:grpSp>
      </p:grpSp>
    </p:spTree>
    <p:extLst>
      <p:ext uri="{BB962C8B-B14F-4D97-AF65-F5344CB8AC3E}">
        <p14:creationId xmlns:p14="http://schemas.microsoft.com/office/powerpoint/2010/main" val="2090627234"/>
      </p:ext>
    </p:extLst>
  </p:cSld>
  <p:clrMapOvr>
    <a:masterClrMapping/>
  </p:clrMapOvr>
  <p:transition spd="med">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Our clients 16">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55B7257C-81BD-24F5-493D-8618B2A2FF2E}"/>
              </a:ext>
            </a:extLst>
          </p:cNvPr>
          <p:cNvSpPr/>
          <p:nvPr userDrawn="1"/>
        </p:nvSpPr>
        <p:spPr>
          <a:xfrm>
            <a:off x="507999" y="1353458"/>
            <a:ext cx="2480731" cy="1041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Rectangle 26">
            <a:extLst>
              <a:ext uri="{FF2B5EF4-FFF2-40B4-BE49-F238E27FC236}">
                <a16:creationId xmlns:a16="http://schemas.microsoft.com/office/drawing/2014/main" id="{61E59E7D-C43D-F88B-85DB-787A34FE5927}"/>
              </a:ext>
            </a:extLst>
          </p:cNvPr>
          <p:cNvSpPr/>
          <p:nvPr userDrawn="1"/>
        </p:nvSpPr>
        <p:spPr>
          <a:xfrm>
            <a:off x="3411013" y="1353458"/>
            <a:ext cx="2480731" cy="1041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 name="Rectangle 27">
            <a:extLst>
              <a:ext uri="{FF2B5EF4-FFF2-40B4-BE49-F238E27FC236}">
                <a16:creationId xmlns:a16="http://schemas.microsoft.com/office/drawing/2014/main" id="{4EC25F8A-F785-F893-36B8-F65A15F0652A}"/>
              </a:ext>
            </a:extLst>
          </p:cNvPr>
          <p:cNvSpPr/>
          <p:nvPr userDrawn="1"/>
        </p:nvSpPr>
        <p:spPr>
          <a:xfrm>
            <a:off x="6314027" y="1353458"/>
            <a:ext cx="2480731" cy="1041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 name="Rectangle 28">
            <a:extLst>
              <a:ext uri="{FF2B5EF4-FFF2-40B4-BE49-F238E27FC236}">
                <a16:creationId xmlns:a16="http://schemas.microsoft.com/office/drawing/2014/main" id="{B57DAA0A-DBE8-FD04-8DDE-55F63481B3B9}"/>
              </a:ext>
            </a:extLst>
          </p:cNvPr>
          <p:cNvSpPr/>
          <p:nvPr userDrawn="1"/>
        </p:nvSpPr>
        <p:spPr>
          <a:xfrm>
            <a:off x="9197003" y="1353458"/>
            <a:ext cx="2480731" cy="1041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a:extLst>
              <a:ext uri="{FF2B5EF4-FFF2-40B4-BE49-F238E27FC236}">
                <a16:creationId xmlns:a16="http://schemas.microsoft.com/office/drawing/2014/main" id="{051BE49C-BA91-D0CC-8983-C9C252C6A0AE}"/>
              </a:ext>
            </a:extLst>
          </p:cNvPr>
          <p:cNvSpPr>
            <a:spLocks noGrp="1"/>
          </p:cNvSpPr>
          <p:nvPr>
            <p:ph sz="quarter" idx="148" hasCustomPrompt="1"/>
          </p:nvPr>
        </p:nvSpPr>
        <p:spPr>
          <a:xfrm>
            <a:off x="507469" y="1353458"/>
            <a:ext cx="2481263" cy="1041400"/>
          </a:xfrm>
          <a:noFill/>
          <a:ln>
            <a:noFill/>
          </a:ln>
        </p:spPr>
        <p:txBody>
          <a:bodyPr vert="horz" lIns="0" tIns="45720" rIns="0" bIns="45720" rtlCol="0" anchor="ctr">
            <a:noAutofit/>
          </a:bodyPr>
          <a:lstStyle>
            <a:lvl1pPr algn="ctr">
              <a:defRPr lang="en-US" sz="1200" smtClean="0">
                <a:solidFill>
                  <a:schemeClr val="tx1"/>
                </a:solidFill>
                <a:latin typeface="+mn-lt"/>
              </a:defRPr>
            </a:lvl1pPr>
            <a:lvl2pPr>
              <a:defRPr lang="en-US" smtClean="0"/>
            </a:lvl2pPr>
            <a:lvl3pPr>
              <a:defRPr lang="en-US" smtClean="0"/>
            </a:lvl3pPr>
            <a:lvl4pPr>
              <a:defRPr lang="en-US" smtClean="0"/>
            </a:lvl4pPr>
            <a:lvl5pPr>
              <a:defRPr lang="en-GB"/>
            </a:lvl5pPr>
          </a:lstStyle>
          <a:p>
            <a:r>
              <a:rPr lang="en-GB" dirty="0"/>
              <a:t>Client logo/name here</a:t>
            </a:r>
          </a:p>
        </p:txBody>
      </p:sp>
      <p:sp>
        <p:nvSpPr>
          <p:cNvPr id="4" name="Content Placeholder 2">
            <a:extLst>
              <a:ext uri="{FF2B5EF4-FFF2-40B4-BE49-F238E27FC236}">
                <a16:creationId xmlns:a16="http://schemas.microsoft.com/office/drawing/2014/main" id="{BEFB47F1-8F7B-0269-44A3-8616B54364D3}"/>
              </a:ext>
            </a:extLst>
          </p:cNvPr>
          <p:cNvSpPr>
            <a:spLocks noGrp="1"/>
          </p:cNvSpPr>
          <p:nvPr>
            <p:ph sz="quarter" idx="149" hasCustomPrompt="1"/>
          </p:nvPr>
        </p:nvSpPr>
        <p:spPr>
          <a:xfrm>
            <a:off x="3405539" y="1353458"/>
            <a:ext cx="2481263" cy="1041400"/>
          </a:xfrm>
          <a:noFill/>
          <a:ln>
            <a:noFill/>
          </a:ln>
        </p:spPr>
        <p:txBody>
          <a:bodyPr vert="horz" lIns="0" tIns="45720" rIns="0" bIns="45720" rtlCol="0" anchor="ctr">
            <a:normAutofit/>
          </a:bodyPr>
          <a:lstStyle>
            <a:lvl1pPr algn="ctr">
              <a:defRPr lang="en-US" sz="1200" smtClean="0">
                <a:solidFill>
                  <a:schemeClr val="tx1"/>
                </a:solidFill>
                <a:latin typeface="+mn-lt"/>
              </a:defRPr>
            </a:lvl1pPr>
            <a:lvl2pPr>
              <a:defRPr lang="en-US" smtClean="0"/>
            </a:lvl2pPr>
            <a:lvl3pPr>
              <a:defRPr lang="en-US" smtClean="0"/>
            </a:lvl3pPr>
            <a:lvl4pPr>
              <a:defRPr lang="en-US" smtClean="0"/>
            </a:lvl4pPr>
            <a:lvl5pPr>
              <a:defRPr lang="en-GB"/>
            </a:lvl5pPr>
          </a:lstStyle>
          <a:p>
            <a:r>
              <a:rPr lang="en-GB" dirty="0"/>
              <a:t>Client logo/name here</a:t>
            </a:r>
          </a:p>
        </p:txBody>
      </p:sp>
      <p:sp>
        <p:nvSpPr>
          <p:cNvPr id="5" name="Content Placeholder 2">
            <a:extLst>
              <a:ext uri="{FF2B5EF4-FFF2-40B4-BE49-F238E27FC236}">
                <a16:creationId xmlns:a16="http://schemas.microsoft.com/office/drawing/2014/main" id="{9F18694F-3B06-5C32-1B51-0F999026AE6C}"/>
              </a:ext>
            </a:extLst>
          </p:cNvPr>
          <p:cNvSpPr>
            <a:spLocks noGrp="1"/>
          </p:cNvSpPr>
          <p:nvPr>
            <p:ph sz="quarter" idx="150" hasCustomPrompt="1"/>
          </p:nvPr>
        </p:nvSpPr>
        <p:spPr>
          <a:xfrm>
            <a:off x="6303609" y="1353458"/>
            <a:ext cx="2481263" cy="1041400"/>
          </a:xfrm>
          <a:noFill/>
          <a:ln>
            <a:noFill/>
          </a:ln>
        </p:spPr>
        <p:txBody>
          <a:bodyPr vert="horz" lIns="0" tIns="45720" rIns="0" bIns="45720" rtlCol="0" anchor="ctr">
            <a:normAutofit/>
          </a:bodyPr>
          <a:lstStyle>
            <a:lvl1pPr algn="ctr">
              <a:defRPr lang="en-US" sz="1200" smtClean="0">
                <a:solidFill>
                  <a:schemeClr val="tx1"/>
                </a:solidFill>
                <a:latin typeface="+mn-lt"/>
              </a:defRPr>
            </a:lvl1pPr>
            <a:lvl2pPr>
              <a:defRPr lang="en-US" smtClean="0"/>
            </a:lvl2pPr>
            <a:lvl3pPr>
              <a:defRPr lang="en-US" smtClean="0"/>
            </a:lvl3pPr>
            <a:lvl4pPr>
              <a:defRPr lang="en-US" smtClean="0"/>
            </a:lvl4pPr>
            <a:lvl5pPr>
              <a:defRPr lang="en-GB"/>
            </a:lvl5pPr>
          </a:lstStyle>
          <a:p>
            <a:r>
              <a:rPr lang="en-GB" dirty="0"/>
              <a:t>Client logo/name here</a:t>
            </a:r>
          </a:p>
        </p:txBody>
      </p:sp>
      <p:sp>
        <p:nvSpPr>
          <p:cNvPr id="6" name="Content Placeholder 2">
            <a:extLst>
              <a:ext uri="{FF2B5EF4-FFF2-40B4-BE49-F238E27FC236}">
                <a16:creationId xmlns:a16="http://schemas.microsoft.com/office/drawing/2014/main" id="{57968F3A-064E-30B5-267F-6A4951D36B41}"/>
              </a:ext>
            </a:extLst>
          </p:cNvPr>
          <p:cNvSpPr>
            <a:spLocks noGrp="1"/>
          </p:cNvSpPr>
          <p:nvPr>
            <p:ph sz="quarter" idx="151" hasCustomPrompt="1"/>
          </p:nvPr>
        </p:nvSpPr>
        <p:spPr>
          <a:xfrm>
            <a:off x="9201150" y="1353458"/>
            <a:ext cx="2481263" cy="1041400"/>
          </a:xfrm>
          <a:noFill/>
          <a:ln>
            <a:noFill/>
          </a:ln>
        </p:spPr>
        <p:txBody>
          <a:bodyPr vert="horz" lIns="0" tIns="45720" rIns="0" bIns="45720" rtlCol="0" anchor="ctr">
            <a:normAutofit/>
          </a:bodyPr>
          <a:lstStyle>
            <a:lvl1pPr algn="ctr">
              <a:defRPr lang="en-US" sz="1200" smtClean="0">
                <a:solidFill>
                  <a:schemeClr val="tx1"/>
                </a:solidFill>
                <a:latin typeface="+mn-lt"/>
              </a:defRPr>
            </a:lvl1pPr>
            <a:lvl2pPr>
              <a:defRPr lang="en-US" smtClean="0"/>
            </a:lvl2pPr>
            <a:lvl3pPr>
              <a:defRPr lang="en-US" smtClean="0"/>
            </a:lvl3pPr>
            <a:lvl4pPr>
              <a:defRPr lang="en-US" smtClean="0"/>
            </a:lvl4pPr>
            <a:lvl5pPr>
              <a:defRPr lang="en-GB"/>
            </a:lvl5pPr>
          </a:lstStyle>
          <a:p>
            <a:r>
              <a:rPr lang="en-GB" dirty="0"/>
              <a:t>Client logo/name here</a:t>
            </a:r>
          </a:p>
        </p:txBody>
      </p:sp>
      <p:sp>
        <p:nvSpPr>
          <p:cNvPr id="62" name="Rectangle 61">
            <a:extLst>
              <a:ext uri="{FF2B5EF4-FFF2-40B4-BE49-F238E27FC236}">
                <a16:creationId xmlns:a16="http://schemas.microsoft.com/office/drawing/2014/main" id="{50C47AE2-387B-61AE-D3A3-60D0C52C1A62}"/>
              </a:ext>
            </a:extLst>
          </p:cNvPr>
          <p:cNvSpPr/>
          <p:nvPr userDrawn="1"/>
        </p:nvSpPr>
        <p:spPr>
          <a:xfrm>
            <a:off x="12352867" y="0"/>
            <a:ext cx="1947333" cy="201506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b="1" i="0" dirty="0">
                <a:solidFill>
                  <a:schemeClr val="bg1"/>
                </a:solidFill>
                <a:effectLst/>
                <a:latin typeface="+mn-lt"/>
                <a:ea typeface="Calibri" panose="020F0502020204030204" pitchFamily="34" charset="0"/>
              </a:rPr>
              <a:t>NOTE:</a:t>
            </a:r>
          </a:p>
          <a:p>
            <a:r>
              <a:rPr lang="en-GB" sz="1200" i="1" dirty="0">
                <a:solidFill>
                  <a:schemeClr val="bg1"/>
                </a:solidFill>
                <a:effectLst/>
                <a:latin typeface="+mn-lt"/>
                <a:ea typeface="Calibri" panose="020F0502020204030204" pitchFamily="34" charset="0"/>
              </a:rPr>
              <a:t>You may only include a client logo if the client has provided express written permission to use it, and has shared a logo file (jpeg or </a:t>
            </a:r>
            <a:r>
              <a:rPr lang="en-GB" sz="1200" i="1" dirty="0" err="1">
                <a:solidFill>
                  <a:schemeClr val="bg1"/>
                </a:solidFill>
                <a:effectLst/>
                <a:latin typeface="+mn-lt"/>
                <a:ea typeface="Calibri" panose="020F0502020204030204" pitchFamily="34" charset="0"/>
              </a:rPr>
              <a:t>png</a:t>
            </a:r>
            <a:r>
              <a:rPr lang="en-GB" sz="1200" i="1" dirty="0">
                <a:solidFill>
                  <a:schemeClr val="bg1"/>
                </a:solidFill>
                <a:effectLst/>
                <a:latin typeface="+mn-lt"/>
                <a:ea typeface="Calibri" panose="020F0502020204030204" pitchFamily="34" charset="0"/>
              </a:rPr>
              <a:t>) for your use.</a:t>
            </a:r>
            <a:endParaRPr lang="en-GB" sz="1200" dirty="0">
              <a:solidFill>
                <a:schemeClr val="bg1"/>
              </a:solidFill>
              <a:effectLst/>
              <a:latin typeface="+mn-lt"/>
              <a:ea typeface="Calibri" panose="020F0502020204030204" pitchFamily="34" charset="0"/>
            </a:endParaRPr>
          </a:p>
        </p:txBody>
      </p:sp>
      <p:sp>
        <p:nvSpPr>
          <p:cNvPr id="63" name="TextBox 4">
            <a:extLst>
              <a:ext uri="{FF2B5EF4-FFF2-40B4-BE49-F238E27FC236}">
                <a16:creationId xmlns:a16="http://schemas.microsoft.com/office/drawing/2014/main" id="{8998C1AB-2423-5EDD-45B3-D10355DDC98F}"/>
              </a:ext>
            </a:extLst>
          </p:cNvPr>
          <p:cNvSpPr txBox="1"/>
          <p:nvPr userDrawn="1"/>
        </p:nvSpPr>
        <p:spPr>
          <a:xfrm>
            <a:off x="12346713" y="2175601"/>
            <a:ext cx="1934437" cy="31700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INSERTING IMAGES:</a:t>
            </a:r>
          </a:p>
          <a:p>
            <a:pPr marL="179388" indent="-179388">
              <a:spcBef>
                <a:spcPts val="200"/>
              </a:spcBef>
              <a:spcAft>
                <a:spcPts val="200"/>
              </a:spcAft>
              <a:buFont typeface="+mj-lt"/>
              <a:buAutoNum type="arabicPeriod"/>
            </a:pPr>
            <a:r>
              <a:rPr lang="en-US" sz="900" dirty="0">
                <a:solidFill>
                  <a:schemeClr val="tx1"/>
                </a:solidFill>
                <a:latin typeface="+mn-lt"/>
              </a:rPr>
              <a:t>Simply click the image placeholder and select your image.</a:t>
            </a:r>
          </a:p>
          <a:p>
            <a:pPr marL="179388" indent="-179388">
              <a:spcBef>
                <a:spcPts val="200"/>
              </a:spcBef>
              <a:spcAft>
                <a:spcPts val="200"/>
              </a:spcAft>
              <a:buFont typeface="+mj-lt"/>
              <a:buAutoNum type="arabicPeriod"/>
            </a:pPr>
            <a:r>
              <a:rPr lang="en-US" sz="900" dirty="0">
                <a:solidFill>
                  <a:schemeClr val="tx1"/>
                </a:solidFill>
                <a:latin typeface="+mn-lt"/>
              </a:rPr>
              <a:t>Once your image is inserted into the shape it may be distorted. (Stretched or Squashed)</a:t>
            </a:r>
          </a:p>
          <a:p>
            <a:pPr marL="179388" indent="-179388">
              <a:spcBef>
                <a:spcPts val="200"/>
              </a:spcBef>
              <a:spcAft>
                <a:spcPts val="200"/>
              </a:spcAft>
              <a:buFont typeface="+mj-lt"/>
              <a:buAutoNum type="arabicPeriod"/>
            </a:pPr>
            <a:endParaRPr lang="en-US" sz="900" dirty="0">
              <a:solidFill>
                <a:schemeClr val="tx1"/>
              </a:solidFill>
              <a:latin typeface="+mn-lt"/>
            </a:endParaRPr>
          </a:p>
          <a:p>
            <a:pPr>
              <a:spcBef>
                <a:spcPts val="200"/>
              </a:spcBef>
              <a:spcAft>
                <a:spcPts val="200"/>
              </a:spcAft>
            </a:pPr>
            <a:r>
              <a:rPr lang="en-US" sz="900" b="1" dirty="0">
                <a:solidFill>
                  <a:schemeClr val="tx1"/>
                </a:solidFill>
                <a:latin typeface="+mn-lt"/>
              </a:rPr>
              <a:t>To fix this:</a:t>
            </a:r>
          </a:p>
          <a:p>
            <a:pPr marL="179388" indent="-179388">
              <a:spcBef>
                <a:spcPts val="200"/>
              </a:spcBef>
              <a:spcAft>
                <a:spcPts val="200"/>
              </a:spcAft>
              <a:buFont typeface="+mj-lt"/>
              <a:buAutoNum type="arabicPeriod"/>
            </a:pPr>
            <a:r>
              <a:rPr lang="en-US" sz="900" dirty="0">
                <a:solidFill>
                  <a:schemeClr val="tx1"/>
                </a:solidFill>
                <a:latin typeface="+mn-lt"/>
              </a:rPr>
              <a:t>Click on the image and from the top menu under </a:t>
            </a:r>
            <a:r>
              <a:rPr lang="en-US" sz="900" b="1" dirty="0">
                <a:solidFill>
                  <a:schemeClr val="tx1"/>
                </a:solidFill>
                <a:latin typeface="+mn-lt"/>
              </a:rPr>
              <a:t>PICTURE FORMAT </a:t>
            </a:r>
            <a:r>
              <a:rPr lang="en-US" sz="900" dirty="0">
                <a:solidFill>
                  <a:schemeClr val="tx1"/>
                </a:solidFill>
                <a:latin typeface="+mn-lt"/>
              </a:rPr>
              <a:t>select the </a:t>
            </a:r>
            <a:r>
              <a:rPr lang="en-US" sz="900" b="1" dirty="0">
                <a:solidFill>
                  <a:schemeClr val="tx1"/>
                </a:solidFill>
                <a:latin typeface="+mn-lt"/>
              </a:rPr>
              <a:t>CROP</a:t>
            </a:r>
            <a:r>
              <a:rPr lang="en-US" sz="900" dirty="0">
                <a:solidFill>
                  <a:schemeClr val="tx1"/>
                </a:solidFill>
                <a:latin typeface="+mn-lt"/>
              </a:rPr>
              <a:t> on the right and from the drop down menu select </a:t>
            </a:r>
            <a:r>
              <a:rPr lang="en-US" sz="900" b="1" kern="1200" dirty="0">
                <a:solidFill>
                  <a:schemeClr val="tx1"/>
                </a:solidFill>
                <a:latin typeface="+mn-lt"/>
                <a:ea typeface="+mn-ea"/>
                <a:cs typeface="+mn-cs"/>
              </a:rPr>
              <a:t>FILL</a:t>
            </a:r>
          </a:p>
          <a:p>
            <a:pPr marL="179388" indent="-179388">
              <a:spcBef>
                <a:spcPts val="200"/>
              </a:spcBef>
              <a:spcAft>
                <a:spcPts val="200"/>
              </a:spcAft>
              <a:buFont typeface="+mj-lt"/>
              <a:buAutoNum type="arabicPeriod"/>
            </a:pPr>
            <a:r>
              <a:rPr lang="en-US" sz="900" b="0" kern="1200" dirty="0">
                <a:solidFill>
                  <a:schemeClr val="tx1"/>
                </a:solidFill>
                <a:latin typeface="+mn-lt"/>
                <a:ea typeface="+mn-ea"/>
                <a:cs typeface="+mn-cs"/>
              </a:rPr>
              <a:t>From here you can move the image within the shape for best visual appearance</a:t>
            </a:r>
          </a:p>
        </p:txBody>
      </p:sp>
      <p:sp>
        <p:nvSpPr>
          <p:cNvPr id="8" name="Footer Placeholder 7">
            <a:extLst>
              <a:ext uri="{FF2B5EF4-FFF2-40B4-BE49-F238E27FC236}">
                <a16:creationId xmlns:a16="http://schemas.microsoft.com/office/drawing/2014/main" id="{5F2C014C-2E86-9EBE-83B3-07B621469C1B}"/>
              </a:ext>
            </a:extLst>
          </p:cNvPr>
          <p:cNvSpPr>
            <a:spLocks noGrp="1"/>
          </p:cNvSpPr>
          <p:nvPr>
            <p:ph type="ftr" sz="quarter" idx="131"/>
          </p:nvPr>
        </p:nvSpPr>
        <p:spPr/>
        <p:txBody>
          <a:bodyPr/>
          <a:lstStyle/>
          <a:p>
            <a:r>
              <a:rPr lang="en-GB"/>
              <a:t>INSERT FOOTER HERE</a:t>
            </a:r>
            <a:endParaRPr lang="en-GB" dirty="0"/>
          </a:p>
        </p:txBody>
      </p:sp>
      <p:sp>
        <p:nvSpPr>
          <p:cNvPr id="9" name="Slide Number Placeholder 8">
            <a:extLst>
              <a:ext uri="{FF2B5EF4-FFF2-40B4-BE49-F238E27FC236}">
                <a16:creationId xmlns:a16="http://schemas.microsoft.com/office/drawing/2014/main" id="{E288C039-9693-AAFE-89A8-74C7AB4BF41D}"/>
              </a:ext>
            </a:extLst>
          </p:cNvPr>
          <p:cNvSpPr>
            <a:spLocks noGrp="1"/>
          </p:cNvSpPr>
          <p:nvPr>
            <p:ph type="sldNum" sz="quarter" idx="132"/>
          </p:nvPr>
        </p:nvSpPr>
        <p:spPr/>
        <p:txBody>
          <a:bodyPr/>
          <a:lstStyle/>
          <a:p>
            <a:fld id="{8CFE0557-AA98-4E6C-B0C3-581794696B68}" type="slidenum">
              <a:rPr lang="en-GB" smtClean="0"/>
              <a:pPr/>
              <a:t>‹#›</a:t>
            </a:fld>
            <a:endParaRPr lang="en-GB" dirty="0"/>
          </a:p>
        </p:txBody>
      </p:sp>
      <p:sp>
        <p:nvSpPr>
          <p:cNvPr id="10" name="Title 9">
            <a:extLst>
              <a:ext uri="{FF2B5EF4-FFF2-40B4-BE49-F238E27FC236}">
                <a16:creationId xmlns:a16="http://schemas.microsoft.com/office/drawing/2014/main" id="{19D430C3-1416-1FA5-14BA-386BBA8CF454}"/>
              </a:ext>
            </a:extLst>
          </p:cNvPr>
          <p:cNvSpPr>
            <a:spLocks noGrp="1"/>
          </p:cNvSpPr>
          <p:nvPr>
            <p:ph type="title" hasCustomPrompt="1"/>
          </p:nvPr>
        </p:nvSpPr>
        <p:spPr>
          <a:xfrm>
            <a:off x="508000" y="454013"/>
            <a:ext cx="11174413" cy="805609"/>
          </a:xfrm>
        </p:spPr>
        <p:txBody>
          <a:bodyPr/>
          <a:lstStyle/>
          <a:p>
            <a:r>
              <a:rPr lang="en-US" dirty="0"/>
              <a:t>TITLE: subtitle</a:t>
            </a:r>
            <a:endParaRPr lang="en-GB" dirty="0"/>
          </a:p>
        </p:txBody>
      </p:sp>
      <p:sp>
        <p:nvSpPr>
          <p:cNvPr id="30" name="Rectangle 29">
            <a:extLst>
              <a:ext uri="{FF2B5EF4-FFF2-40B4-BE49-F238E27FC236}">
                <a16:creationId xmlns:a16="http://schemas.microsoft.com/office/drawing/2014/main" id="{49FF4BF2-BE91-71A0-46EF-D87C1A35B2BD}"/>
              </a:ext>
            </a:extLst>
          </p:cNvPr>
          <p:cNvSpPr/>
          <p:nvPr userDrawn="1"/>
        </p:nvSpPr>
        <p:spPr>
          <a:xfrm>
            <a:off x="507999" y="2627028"/>
            <a:ext cx="2480731" cy="1041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Rectangle 30">
            <a:extLst>
              <a:ext uri="{FF2B5EF4-FFF2-40B4-BE49-F238E27FC236}">
                <a16:creationId xmlns:a16="http://schemas.microsoft.com/office/drawing/2014/main" id="{807D7AEA-9AFE-53A1-570E-2F5BC4CA4D51}"/>
              </a:ext>
            </a:extLst>
          </p:cNvPr>
          <p:cNvSpPr/>
          <p:nvPr userDrawn="1"/>
        </p:nvSpPr>
        <p:spPr>
          <a:xfrm>
            <a:off x="3411013" y="2627028"/>
            <a:ext cx="2480731" cy="1041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2" name="Rectangle 31">
            <a:extLst>
              <a:ext uri="{FF2B5EF4-FFF2-40B4-BE49-F238E27FC236}">
                <a16:creationId xmlns:a16="http://schemas.microsoft.com/office/drawing/2014/main" id="{211C30CB-5FA7-51A1-BBA4-7D2D2A9729DD}"/>
              </a:ext>
            </a:extLst>
          </p:cNvPr>
          <p:cNvSpPr/>
          <p:nvPr userDrawn="1"/>
        </p:nvSpPr>
        <p:spPr>
          <a:xfrm>
            <a:off x="6314027" y="2627028"/>
            <a:ext cx="2480731" cy="1041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 name="Rectangle 32">
            <a:extLst>
              <a:ext uri="{FF2B5EF4-FFF2-40B4-BE49-F238E27FC236}">
                <a16:creationId xmlns:a16="http://schemas.microsoft.com/office/drawing/2014/main" id="{89E8B0D8-2F55-D3AB-EF1A-6EAF370F7A47}"/>
              </a:ext>
            </a:extLst>
          </p:cNvPr>
          <p:cNvSpPr/>
          <p:nvPr userDrawn="1"/>
        </p:nvSpPr>
        <p:spPr>
          <a:xfrm>
            <a:off x="9197003" y="2627028"/>
            <a:ext cx="2480731" cy="1041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 name="Content Placeholder 2">
            <a:extLst>
              <a:ext uri="{FF2B5EF4-FFF2-40B4-BE49-F238E27FC236}">
                <a16:creationId xmlns:a16="http://schemas.microsoft.com/office/drawing/2014/main" id="{C26B53E5-8DE7-1440-8B02-6832D3E72B1E}"/>
              </a:ext>
            </a:extLst>
          </p:cNvPr>
          <p:cNvSpPr>
            <a:spLocks noGrp="1"/>
          </p:cNvSpPr>
          <p:nvPr>
            <p:ph sz="quarter" idx="152" hasCustomPrompt="1"/>
          </p:nvPr>
        </p:nvSpPr>
        <p:spPr>
          <a:xfrm>
            <a:off x="507469" y="2627028"/>
            <a:ext cx="2481263" cy="1041400"/>
          </a:xfrm>
          <a:noFill/>
          <a:ln>
            <a:noFill/>
          </a:ln>
        </p:spPr>
        <p:txBody>
          <a:bodyPr vert="horz" lIns="0" tIns="45720" rIns="0" bIns="45720" rtlCol="0" anchor="ctr">
            <a:noAutofit/>
          </a:bodyPr>
          <a:lstStyle>
            <a:lvl1pPr algn="ctr">
              <a:defRPr lang="en-US" sz="1200" smtClean="0">
                <a:solidFill>
                  <a:schemeClr val="tx1"/>
                </a:solidFill>
                <a:latin typeface="+mn-lt"/>
              </a:defRPr>
            </a:lvl1pPr>
            <a:lvl2pPr>
              <a:defRPr lang="en-US" smtClean="0"/>
            </a:lvl2pPr>
            <a:lvl3pPr>
              <a:defRPr lang="en-US" smtClean="0"/>
            </a:lvl3pPr>
            <a:lvl4pPr>
              <a:defRPr lang="en-US" smtClean="0"/>
            </a:lvl4pPr>
            <a:lvl5pPr>
              <a:defRPr lang="en-GB"/>
            </a:lvl5pPr>
          </a:lstStyle>
          <a:p>
            <a:r>
              <a:rPr lang="en-GB" dirty="0"/>
              <a:t>Client logo/name here</a:t>
            </a:r>
          </a:p>
        </p:txBody>
      </p:sp>
      <p:sp>
        <p:nvSpPr>
          <p:cNvPr id="35" name="Content Placeholder 2">
            <a:extLst>
              <a:ext uri="{FF2B5EF4-FFF2-40B4-BE49-F238E27FC236}">
                <a16:creationId xmlns:a16="http://schemas.microsoft.com/office/drawing/2014/main" id="{F081111F-5D38-0D65-3A50-75A0C04B69EC}"/>
              </a:ext>
            </a:extLst>
          </p:cNvPr>
          <p:cNvSpPr>
            <a:spLocks noGrp="1"/>
          </p:cNvSpPr>
          <p:nvPr>
            <p:ph sz="quarter" idx="153" hasCustomPrompt="1"/>
          </p:nvPr>
        </p:nvSpPr>
        <p:spPr>
          <a:xfrm>
            <a:off x="3405539" y="2627028"/>
            <a:ext cx="2481263" cy="1041400"/>
          </a:xfrm>
          <a:noFill/>
          <a:ln>
            <a:noFill/>
          </a:ln>
        </p:spPr>
        <p:txBody>
          <a:bodyPr vert="horz" lIns="0" tIns="45720" rIns="0" bIns="45720" rtlCol="0" anchor="ctr">
            <a:normAutofit/>
          </a:bodyPr>
          <a:lstStyle>
            <a:lvl1pPr algn="ctr">
              <a:defRPr lang="en-US" sz="1200" smtClean="0">
                <a:solidFill>
                  <a:schemeClr val="tx1"/>
                </a:solidFill>
                <a:latin typeface="+mn-lt"/>
              </a:defRPr>
            </a:lvl1pPr>
            <a:lvl2pPr>
              <a:defRPr lang="en-US" smtClean="0"/>
            </a:lvl2pPr>
            <a:lvl3pPr>
              <a:defRPr lang="en-US" smtClean="0"/>
            </a:lvl3pPr>
            <a:lvl4pPr>
              <a:defRPr lang="en-US" smtClean="0"/>
            </a:lvl4pPr>
            <a:lvl5pPr>
              <a:defRPr lang="en-GB"/>
            </a:lvl5pPr>
          </a:lstStyle>
          <a:p>
            <a:r>
              <a:rPr lang="en-GB" dirty="0"/>
              <a:t>Client logo/name here</a:t>
            </a:r>
          </a:p>
        </p:txBody>
      </p:sp>
      <p:sp>
        <p:nvSpPr>
          <p:cNvPr id="36" name="Content Placeholder 2">
            <a:extLst>
              <a:ext uri="{FF2B5EF4-FFF2-40B4-BE49-F238E27FC236}">
                <a16:creationId xmlns:a16="http://schemas.microsoft.com/office/drawing/2014/main" id="{FFAD5005-0C6D-42B5-109F-FFDD9C550AF7}"/>
              </a:ext>
            </a:extLst>
          </p:cNvPr>
          <p:cNvSpPr>
            <a:spLocks noGrp="1"/>
          </p:cNvSpPr>
          <p:nvPr>
            <p:ph sz="quarter" idx="154" hasCustomPrompt="1"/>
          </p:nvPr>
        </p:nvSpPr>
        <p:spPr>
          <a:xfrm>
            <a:off x="6303609" y="2627028"/>
            <a:ext cx="2481263" cy="1041400"/>
          </a:xfrm>
          <a:noFill/>
          <a:ln>
            <a:noFill/>
          </a:ln>
        </p:spPr>
        <p:txBody>
          <a:bodyPr vert="horz" lIns="0" tIns="45720" rIns="0" bIns="45720" rtlCol="0" anchor="ctr">
            <a:normAutofit/>
          </a:bodyPr>
          <a:lstStyle>
            <a:lvl1pPr algn="ctr">
              <a:defRPr lang="en-US" sz="1200" smtClean="0">
                <a:solidFill>
                  <a:schemeClr val="tx1"/>
                </a:solidFill>
                <a:latin typeface="+mn-lt"/>
              </a:defRPr>
            </a:lvl1pPr>
            <a:lvl2pPr>
              <a:defRPr lang="en-US" smtClean="0"/>
            </a:lvl2pPr>
            <a:lvl3pPr>
              <a:defRPr lang="en-US" smtClean="0"/>
            </a:lvl3pPr>
            <a:lvl4pPr>
              <a:defRPr lang="en-US" smtClean="0"/>
            </a:lvl4pPr>
            <a:lvl5pPr>
              <a:defRPr lang="en-GB"/>
            </a:lvl5pPr>
          </a:lstStyle>
          <a:p>
            <a:r>
              <a:rPr lang="en-GB" dirty="0"/>
              <a:t>Client logo/name here</a:t>
            </a:r>
          </a:p>
        </p:txBody>
      </p:sp>
      <p:sp>
        <p:nvSpPr>
          <p:cNvPr id="37" name="Content Placeholder 2">
            <a:extLst>
              <a:ext uri="{FF2B5EF4-FFF2-40B4-BE49-F238E27FC236}">
                <a16:creationId xmlns:a16="http://schemas.microsoft.com/office/drawing/2014/main" id="{40A809AF-93E3-F63F-E9F0-775460D0B2C9}"/>
              </a:ext>
            </a:extLst>
          </p:cNvPr>
          <p:cNvSpPr>
            <a:spLocks noGrp="1"/>
          </p:cNvSpPr>
          <p:nvPr>
            <p:ph sz="quarter" idx="155" hasCustomPrompt="1"/>
          </p:nvPr>
        </p:nvSpPr>
        <p:spPr>
          <a:xfrm>
            <a:off x="9201150" y="2627028"/>
            <a:ext cx="2481263" cy="1041400"/>
          </a:xfrm>
          <a:noFill/>
          <a:ln>
            <a:noFill/>
          </a:ln>
        </p:spPr>
        <p:txBody>
          <a:bodyPr vert="horz" lIns="0" tIns="45720" rIns="0" bIns="45720" rtlCol="0" anchor="ctr">
            <a:normAutofit/>
          </a:bodyPr>
          <a:lstStyle>
            <a:lvl1pPr algn="ctr">
              <a:defRPr lang="en-US" sz="1200" smtClean="0">
                <a:solidFill>
                  <a:schemeClr val="tx1"/>
                </a:solidFill>
                <a:latin typeface="+mn-lt"/>
              </a:defRPr>
            </a:lvl1pPr>
            <a:lvl2pPr>
              <a:defRPr lang="en-US" smtClean="0"/>
            </a:lvl2pPr>
            <a:lvl3pPr>
              <a:defRPr lang="en-US" smtClean="0"/>
            </a:lvl3pPr>
            <a:lvl4pPr>
              <a:defRPr lang="en-US" smtClean="0"/>
            </a:lvl4pPr>
            <a:lvl5pPr>
              <a:defRPr lang="en-GB"/>
            </a:lvl5pPr>
          </a:lstStyle>
          <a:p>
            <a:r>
              <a:rPr lang="en-GB" dirty="0"/>
              <a:t>Client logo/name here</a:t>
            </a:r>
          </a:p>
        </p:txBody>
      </p:sp>
      <p:sp>
        <p:nvSpPr>
          <p:cNvPr id="38" name="Rectangle 37">
            <a:extLst>
              <a:ext uri="{FF2B5EF4-FFF2-40B4-BE49-F238E27FC236}">
                <a16:creationId xmlns:a16="http://schemas.microsoft.com/office/drawing/2014/main" id="{303E42CA-7EDD-F7A8-3CA3-237281642E5C}"/>
              </a:ext>
            </a:extLst>
          </p:cNvPr>
          <p:cNvSpPr/>
          <p:nvPr userDrawn="1"/>
        </p:nvSpPr>
        <p:spPr>
          <a:xfrm>
            <a:off x="507999" y="3900598"/>
            <a:ext cx="2480731" cy="1041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9" name="Rectangle 38">
            <a:extLst>
              <a:ext uri="{FF2B5EF4-FFF2-40B4-BE49-F238E27FC236}">
                <a16:creationId xmlns:a16="http://schemas.microsoft.com/office/drawing/2014/main" id="{A78466DB-D9DC-3EF0-89CA-7A2C3A0175BF}"/>
              </a:ext>
            </a:extLst>
          </p:cNvPr>
          <p:cNvSpPr/>
          <p:nvPr userDrawn="1"/>
        </p:nvSpPr>
        <p:spPr>
          <a:xfrm>
            <a:off x="3411013" y="3900598"/>
            <a:ext cx="2480731" cy="1041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0" name="Rectangle 39">
            <a:extLst>
              <a:ext uri="{FF2B5EF4-FFF2-40B4-BE49-F238E27FC236}">
                <a16:creationId xmlns:a16="http://schemas.microsoft.com/office/drawing/2014/main" id="{2C51D75C-91E3-F308-4541-497332CF0806}"/>
              </a:ext>
            </a:extLst>
          </p:cNvPr>
          <p:cNvSpPr/>
          <p:nvPr userDrawn="1"/>
        </p:nvSpPr>
        <p:spPr>
          <a:xfrm>
            <a:off x="6314027" y="3900598"/>
            <a:ext cx="2480731" cy="1041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1" name="Rectangle 40">
            <a:extLst>
              <a:ext uri="{FF2B5EF4-FFF2-40B4-BE49-F238E27FC236}">
                <a16:creationId xmlns:a16="http://schemas.microsoft.com/office/drawing/2014/main" id="{C7718DAE-2084-D7FF-EE02-07F7BC032ED0}"/>
              </a:ext>
            </a:extLst>
          </p:cNvPr>
          <p:cNvSpPr/>
          <p:nvPr userDrawn="1"/>
        </p:nvSpPr>
        <p:spPr>
          <a:xfrm>
            <a:off x="9197003" y="3900598"/>
            <a:ext cx="2480731" cy="1041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2" name="Content Placeholder 2">
            <a:extLst>
              <a:ext uri="{FF2B5EF4-FFF2-40B4-BE49-F238E27FC236}">
                <a16:creationId xmlns:a16="http://schemas.microsoft.com/office/drawing/2014/main" id="{634DD80E-2FAC-B006-AB7F-913A31FC4443}"/>
              </a:ext>
            </a:extLst>
          </p:cNvPr>
          <p:cNvSpPr>
            <a:spLocks noGrp="1"/>
          </p:cNvSpPr>
          <p:nvPr>
            <p:ph sz="quarter" idx="156" hasCustomPrompt="1"/>
          </p:nvPr>
        </p:nvSpPr>
        <p:spPr>
          <a:xfrm>
            <a:off x="507469" y="3900598"/>
            <a:ext cx="2481263" cy="1041400"/>
          </a:xfrm>
          <a:noFill/>
          <a:ln>
            <a:noFill/>
          </a:ln>
        </p:spPr>
        <p:txBody>
          <a:bodyPr vert="horz" lIns="0" tIns="45720" rIns="0" bIns="45720" rtlCol="0" anchor="ctr">
            <a:noAutofit/>
          </a:bodyPr>
          <a:lstStyle>
            <a:lvl1pPr algn="ctr">
              <a:defRPr lang="en-US" sz="1200" smtClean="0">
                <a:solidFill>
                  <a:schemeClr val="tx1"/>
                </a:solidFill>
                <a:latin typeface="+mn-lt"/>
              </a:defRPr>
            </a:lvl1pPr>
            <a:lvl2pPr>
              <a:defRPr lang="en-US" smtClean="0"/>
            </a:lvl2pPr>
            <a:lvl3pPr>
              <a:defRPr lang="en-US" smtClean="0"/>
            </a:lvl3pPr>
            <a:lvl4pPr>
              <a:defRPr lang="en-US" smtClean="0"/>
            </a:lvl4pPr>
            <a:lvl5pPr>
              <a:defRPr lang="en-GB"/>
            </a:lvl5pPr>
          </a:lstStyle>
          <a:p>
            <a:r>
              <a:rPr lang="en-GB" dirty="0"/>
              <a:t>Client logo/name here</a:t>
            </a:r>
          </a:p>
        </p:txBody>
      </p:sp>
      <p:sp>
        <p:nvSpPr>
          <p:cNvPr id="43" name="Content Placeholder 2">
            <a:extLst>
              <a:ext uri="{FF2B5EF4-FFF2-40B4-BE49-F238E27FC236}">
                <a16:creationId xmlns:a16="http://schemas.microsoft.com/office/drawing/2014/main" id="{008F0742-BA6A-A293-5767-0051C4D5EFD2}"/>
              </a:ext>
            </a:extLst>
          </p:cNvPr>
          <p:cNvSpPr>
            <a:spLocks noGrp="1"/>
          </p:cNvSpPr>
          <p:nvPr>
            <p:ph sz="quarter" idx="157" hasCustomPrompt="1"/>
          </p:nvPr>
        </p:nvSpPr>
        <p:spPr>
          <a:xfrm>
            <a:off x="3405539" y="3900598"/>
            <a:ext cx="2481263" cy="1041400"/>
          </a:xfrm>
          <a:noFill/>
          <a:ln>
            <a:noFill/>
          </a:ln>
        </p:spPr>
        <p:txBody>
          <a:bodyPr vert="horz" lIns="0" tIns="45720" rIns="0" bIns="45720" rtlCol="0" anchor="ctr">
            <a:normAutofit/>
          </a:bodyPr>
          <a:lstStyle>
            <a:lvl1pPr algn="ctr">
              <a:defRPr lang="en-US" sz="1200" smtClean="0">
                <a:solidFill>
                  <a:schemeClr val="tx1"/>
                </a:solidFill>
                <a:latin typeface="+mn-lt"/>
              </a:defRPr>
            </a:lvl1pPr>
            <a:lvl2pPr>
              <a:defRPr lang="en-US" smtClean="0"/>
            </a:lvl2pPr>
            <a:lvl3pPr>
              <a:defRPr lang="en-US" smtClean="0"/>
            </a:lvl3pPr>
            <a:lvl4pPr>
              <a:defRPr lang="en-US" smtClean="0"/>
            </a:lvl4pPr>
            <a:lvl5pPr>
              <a:defRPr lang="en-GB"/>
            </a:lvl5pPr>
          </a:lstStyle>
          <a:p>
            <a:r>
              <a:rPr lang="en-GB" dirty="0"/>
              <a:t>Client logo/name here</a:t>
            </a:r>
          </a:p>
        </p:txBody>
      </p:sp>
      <p:sp>
        <p:nvSpPr>
          <p:cNvPr id="44" name="Content Placeholder 2">
            <a:extLst>
              <a:ext uri="{FF2B5EF4-FFF2-40B4-BE49-F238E27FC236}">
                <a16:creationId xmlns:a16="http://schemas.microsoft.com/office/drawing/2014/main" id="{28347B7E-4546-BB4C-F3EF-C729FB36736A}"/>
              </a:ext>
            </a:extLst>
          </p:cNvPr>
          <p:cNvSpPr>
            <a:spLocks noGrp="1"/>
          </p:cNvSpPr>
          <p:nvPr>
            <p:ph sz="quarter" idx="158" hasCustomPrompt="1"/>
          </p:nvPr>
        </p:nvSpPr>
        <p:spPr>
          <a:xfrm>
            <a:off x="6303609" y="3900598"/>
            <a:ext cx="2481263" cy="1041400"/>
          </a:xfrm>
          <a:noFill/>
          <a:ln>
            <a:noFill/>
          </a:ln>
        </p:spPr>
        <p:txBody>
          <a:bodyPr vert="horz" lIns="0" tIns="45720" rIns="0" bIns="45720" rtlCol="0" anchor="ctr">
            <a:normAutofit/>
          </a:bodyPr>
          <a:lstStyle>
            <a:lvl1pPr algn="ctr">
              <a:defRPr lang="en-US" sz="1200" smtClean="0">
                <a:solidFill>
                  <a:schemeClr val="tx1"/>
                </a:solidFill>
                <a:latin typeface="+mn-lt"/>
              </a:defRPr>
            </a:lvl1pPr>
            <a:lvl2pPr>
              <a:defRPr lang="en-US" smtClean="0"/>
            </a:lvl2pPr>
            <a:lvl3pPr>
              <a:defRPr lang="en-US" smtClean="0"/>
            </a:lvl3pPr>
            <a:lvl4pPr>
              <a:defRPr lang="en-US" smtClean="0"/>
            </a:lvl4pPr>
            <a:lvl5pPr>
              <a:defRPr lang="en-GB"/>
            </a:lvl5pPr>
          </a:lstStyle>
          <a:p>
            <a:r>
              <a:rPr lang="en-GB" dirty="0"/>
              <a:t>Client logo/name here</a:t>
            </a:r>
          </a:p>
        </p:txBody>
      </p:sp>
      <p:sp>
        <p:nvSpPr>
          <p:cNvPr id="45" name="Content Placeholder 2">
            <a:extLst>
              <a:ext uri="{FF2B5EF4-FFF2-40B4-BE49-F238E27FC236}">
                <a16:creationId xmlns:a16="http://schemas.microsoft.com/office/drawing/2014/main" id="{294D6B3C-A881-B7CB-74DB-0B5EAF78DE07}"/>
              </a:ext>
            </a:extLst>
          </p:cNvPr>
          <p:cNvSpPr>
            <a:spLocks noGrp="1"/>
          </p:cNvSpPr>
          <p:nvPr>
            <p:ph sz="quarter" idx="159" hasCustomPrompt="1"/>
          </p:nvPr>
        </p:nvSpPr>
        <p:spPr>
          <a:xfrm>
            <a:off x="9201150" y="3900598"/>
            <a:ext cx="2481263" cy="1041400"/>
          </a:xfrm>
          <a:noFill/>
          <a:ln>
            <a:noFill/>
          </a:ln>
        </p:spPr>
        <p:txBody>
          <a:bodyPr vert="horz" lIns="0" tIns="45720" rIns="0" bIns="45720" rtlCol="0" anchor="ctr">
            <a:normAutofit/>
          </a:bodyPr>
          <a:lstStyle>
            <a:lvl1pPr algn="ctr">
              <a:defRPr lang="en-US" sz="1200" smtClean="0">
                <a:solidFill>
                  <a:schemeClr val="tx1"/>
                </a:solidFill>
                <a:latin typeface="+mn-lt"/>
              </a:defRPr>
            </a:lvl1pPr>
            <a:lvl2pPr>
              <a:defRPr lang="en-US" smtClean="0"/>
            </a:lvl2pPr>
            <a:lvl3pPr>
              <a:defRPr lang="en-US" smtClean="0"/>
            </a:lvl3pPr>
            <a:lvl4pPr>
              <a:defRPr lang="en-US" smtClean="0"/>
            </a:lvl4pPr>
            <a:lvl5pPr>
              <a:defRPr lang="en-GB"/>
            </a:lvl5pPr>
          </a:lstStyle>
          <a:p>
            <a:r>
              <a:rPr lang="en-GB" dirty="0"/>
              <a:t>Client logo/name here</a:t>
            </a:r>
          </a:p>
        </p:txBody>
      </p:sp>
      <p:sp>
        <p:nvSpPr>
          <p:cNvPr id="46" name="Rectangle 45">
            <a:extLst>
              <a:ext uri="{FF2B5EF4-FFF2-40B4-BE49-F238E27FC236}">
                <a16:creationId xmlns:a16="http://schemas.microsoft.com/office/drawing/2014/main" id="{57D12892-1521-334C-B65D-99E96299FA5A}"/>
              </a:ext>
            </a:extLst>
          </p:cNvPr>
          <p:cNvSpPr/>
          <p:nvPr userDrawn="1"/>
        </p:nvSpPr>
        <p:spPr>
          <a:xfrm>
            <a:off x="507999" y="5174168"/>
            <a:ext cx="2480731" cy="1041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7" name="Rectangle 46">
            <a:extLst>
              <a:ext uri="{FF2B5EF4-FFF2-40B4-BE49-F238E27FC236}">
                <a16:creationId xmlns:a16="http://schemas.microsoft.com/office/drawing/2014/main" id="{3F6E9E5C-4583-4877-E182-85999D08EAC7}"/>
              </a:ext>
            </a:extLst>
          </p:cNvPr>
          <p:cNvSpPr/>
          <p:nvPr userDrawn="1"/>
        </p:nvSpPr>
        <p:spPr>
          <a:xfrm>
            <a:off x="3411013" y="5174168"/>
            <a:ext cx="2480731" cy="1041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8" name="Rectangle 47">
            <a:extLst>
              <a:ext uri="{FF2B5EF4-FFF2-40B4-BE49-F238E27FC236}">
                <a16:creationId xmlns:a16="http://schemas.microsoft.com/office/drawing/2014/main" id="{526A6C3E-A73D-A7B9-6655-59BA5FB4770B}"/>
              </a:ext>
            </a:extLst>
          </p:cNvPr>
          <p:cNvSpPr/>
          <p:nvPr userDrawn="1"/>
        </p:nvSpPr>
        <p:spPr>
          <a:xfrm>
            <a:off x="6314027" y="5174168"/>
            <a:ext cx="2480731" cy="1041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9" name="Rectangle 48">
            <a:extLst>
              <a:ext uri="{FF2B5EF4-FFF2-40B4-BE49-F238E27FC236}">
                <a16:creationId xmlns:a16="http://schemas.microsoft.com/office/drawing/2014/main" id="{8ED39DA1-E4B2-A3A5-5E4E-F63EBBE35427}"/>
              </a:ext>
            </a:extLst>
          </p:cNvPr>
          <p:cNvSpPr/>
          <p:nvPr userDrawn="1"/>
        </p:nvSpPr>
        <p:spPr>
          <a:xfrm>
            <a:off x="9197003" y="5174168"/>
            <a:ext cx="2480731" cy="1041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0" name="Content Placeholder 2">
            <a:extLst>
              <a:ext uri="{FF2B5EF4-FFF2-40B4-BE49-F238E27FC236}">
                <a16:creationId xmlns:a16="http://schemas.microsoft.com/office/drawing/2014/main" id="{4C82AACB-3E22-BD05-A7BE-4F40BAD3642E}"/>
              </a:ext>
            </a:extLst>
          </p:cNvPr>
          <p:cNvSpPr>
            <a:spLocks noGrp="1"/>
          </p:cNvSpPr>
          <p:nvPr>
            <p:ph sz="quarter" idx="160" hasCustomPrompt="1"/>
          </p:nvPr>
        </p:nvSpPr>
        <p:spPr>
          <a:xfrm>
            <a:off x="507469" y="5174168"/>
            <a:ext cx="2481263" cy="1041400"/>
          </a:xfrm>
          <a:noFill/>
          <a:ln>
            <a:noFill/>
          </a:ln>
        </p:spPr>
        <p:txBody>
          <a:bodyPr vert="horz" lIns="0" tIns="45720" rIns="0" bIns="45720" rtlCol="0" anchor="ctr">
            <a:noAutofit/>
          </a:bodyPr>
          <a:lstStyle>
            <a:lvl1pPr algn="ctr">
              <a:defRPr lang="en-US" sz="1200" smtClean="0">
                <a:solidFill>
                  <a:schemeClr val="tx1"/>
                </a:solidFill>
                <a:latin typeface="+mn-lt"/>
              </a:defRPr>
            </a:lvl1pPr>
            <a:lvl2pPr>
              <a:defRPr lang="en-US" smtClean="0"/>
            </a:lvl2pPr>
            <a:lvl3pPr>
              <a:defRPr lang="en-US" smtClean="0"/>
            </a:lvl3pPr>
            <a:lvl4pPr>
              <a:defRPr lang="en-US" smtClean="0"/>
            </a:lvl4pPr>
            <a:lvl5pPr>
              <a:defRPr lang="en-GB"/>
            </a:lvl5pPr>
          </a:lstStyle>
          <a:p>
            <a:r>
              <a:rPr lang="en-GB" dirty="0"/>
              <a:t>Client logo/name here</a:t>
            </a:r>
          </a:p>
        </p:txBody>
      </p:sp>
      <p:sp>
        <p:nvSpPr>
          <p:cNvPr id="51" name="Content Placeholder 2">
            <a:extLst>
              <a:ext uri="{FF2B5EF4-FFF2-40B4-BE49-F238E27FC236}">
                <a16:creationId xmlns:a16="http://schemas.microsoft.com/office/drawing/2014/main" id="{0BD3AA71-EF7B-F12F-4DEE-E93618BE23C7}"/>
              </a:ext>
            </a:extLst>
          </p:cNvPr>
          <p:cNvSpPr>
            <a:spLocks noGrp="1"/>
          </p:cNvSpPr>
          <p:nvPr>
            <p:ph sz="quarter" idx="161" hasCustomPrompt="1"/>
          </p:nvPr>
        </p:nvSpPr>
        <p:spPr>
          <a:xfrm>
            <a:off x="3405539" y="5174168"/>
            <a:ext cx="2481263" cy="1041400"/>
          </a:xfrm>
          <a:noFill/>
          <a:ln>
            <a:noFill/>
          </a:ln>
        </p:spPr>
        <p:txBody>
          <a:bodyPr vert="horz" lIns="0" tIns="45720" rIns="0" bIns="45720" rtlCol="0" anchor="ctr">
            <a:normAutofit/>
          </a:bodyPr>
          <a:lstStyle>
            <a:lvl1pPr algn="ctr">
              <a:defRPr lang="en-US" sz="1200" smtClean="0">
                <a:solidFill>
                  <a:schemeClr val="tx1"/>
                </a:solidFill>
                <a:latin typeface="+mn-lt"/>
              </a:defRPr>
            </a:lvl1pPr>
            <a:lvl2pPr>
              <a:defRPr lang="en-US" smtClean="0"/>
            </a:lvl2pPr>
            <a:lvl3pPr>
              <a:defRPr lang="en-US" smtClean="0"/>
            </a:lvl3pPr>
            <a:lvl4pPr>
              <a:defRPr lang="en-US" smtClean="0"/>
            </a:lvl4pPr>
            <a:lvl5pPr>
              <a:defRPr lang="en-GB"/>
            </a:lvl5pPr>
          </a:lstStyle>
          <a:p>
            <a:r>
              <a:rPr lang="en-GB" dirty="0"/>
              <a:t>Client logo/name here</a:t>
            </a:r>
          </a:p>
        </p:txBody>
      </p:sp>
      <p:sp>
        <p:nvSpPr>
          <p:cNvPr id="52" name="Content Placeholder 2">
            <a:extLst>
              <a:ext uri="{FF2B5EF4-FFF2-40B4-BE49-F238E27FC236}">
                <a16:creationId xmlns:a16="http://schemas.microsoft.com/office/drawing/2014/main" id="{A5D23CCE-0BD8-E60E-2CBC-8EE94156DB65}"/>
              </a:ext>
            </a:extLst>
          </p:cNvPr>
          <p:cNvSpPr>
            <a:spLocks noGrp="1"/>
          </p:cNvSpPr>
          <p:nvPr>
            <p:ph sz="quarter" idx="162" hasCustomPrompt="1"/>
          </p:nvPr>
        </p:nvSpPr>
        <p:spPr>
          <a:xfrm>
            <a:off x="6303609" y="5174168"/>
            <a:ext cx="2481263" cy="1041400"/>
          </a:xfrm>
          <a:noFill/>
          <a:ln>
            <a:noFill/>
          </a:ln>
        </p:spPr>
        <p:txBody>
          <a:bodyPr vert="horz" lIns="0" tIns="45720" rIns="0" bIns="45720" rtlCol="0" anchor="ctr">
            <a:normAutofit/>
          </a:bodyPr>
          <a:lstStyle>
            <a:lvl1pPr algn="ctr">
              <a:defRPr lang="en-US" sz="1200" smtClean="0">
                <a:solidFill>
                  <a:schemeClr val="tx1"/>
                </a:solidFill>
                <a:latin typeface="+mn-lt"/>
              </a:defRPr>
            </a:lvl1pPr>
            <a:lvl2pPr>
              <a:defRPr lang="en-US" smtClean="0"/>
            </a:lvl2pPr>
            <a:lvl3pPr>
              <a:defRPr lang="en-US" smtClean="0"/>
            </a:lvl3pPr>
            <a:lvl4pPr>
              <a:defRPr lang="en-US" smtClean="0"/>
            </a:lvl4pPr>
            <a:lvl5pPr>
              <a:defRPr lang="en-GB"/>
            </a:lvl5pPr>
          </a:lstStyle>
          <a:p>
            <a:r>
              <a:rPr lang="en-GB" dirty="0"/>
              <a:t>Client logo/name here</a:t>
            </a:r>
          </a:p>
        </p:txBody>
      </p:sp>
      <p:sp>
        <p:nvSpPr>
          <p:cNvPr id="53" name="Content Placeholder 2">
            <a:extLst>
              <a:ext uri="{FF2B5EF4-FFF2-40B4-BE49-F238E27FC236}">
                <a16:creationId xmlns:a16="http://schemas.microsoft.com/office/drawing/2014/main" id="{122984EE-B09B-99C4-D068-2FD9FFD743E5}"/>
              </a:ext>
            </a:extLst>
          </p:cNvPr>
          <p:cNvSpPr>
            <a:spLocks noGrp="1"/>
          </p:cNvSpPr>
          <p:nvPr>
            <p:ph sz="quarter" idx="163" hasCustomPrompt="1"/>
          </p:nvPr>
        </p:nvSpPr>
        <p:spPr>
          <a:xfrm>
            <a:off x="9201150" y="5174168"/>
            <a:ext cx="2481263" cy="1041400"/>
          </a:xfrm>
          <a:noFill/>
          <a:ln>
            <a:noFill/>
          </a:ln>
        </p:spPr>
        <p:txBody>
          <a:bodyPr vert="horz" lIns="0" tIns="45720" rIns="0" bIns="45720" rtlCol="0" anchor="ctr">
            <a:normAutofit/>
          </a:bodyPr>
          <a:lstStyle>
            <a:lvl1pPr algn="ctr">
              <a:defRPr lang="en-US" sz="1200" smtClean="0">
                <a:solidFill>
                  <a:schemeClr val="tx1"/>
                </a:solidFill>
                <a:latin typeface="+mn-lt"/>
              </a:defRPr>
            </a:lvl1pPr>
            <a:lvl2pPr>
              <a:defRPr lang="en-US" smtClean="0"/>
            </a:lvl2pPr>
            <a:lvl3pPr>
              <a:defRPr lang="en-US" smtClean="0"/>
            </a:lvl3pPr>
            <a:lvl4pPr>
              <a:defRPr lang="en-US" smtClean="0"/>
            </a:lvl4pPr>
            <a:lvl5pPr>
              <a:defRPr lang="en-GB"/>
            </a:lvl5pPr>
          </a:lstStyle>
          <a:p>
            <a:r>
              <a:rPr lang="en-GB" dirty="0"/>
              <a:t>Client logo/name here</a:t>
            </a:r>
          </a:p>
        </p:txBody>
      </p:sp>
    </p:spTree>
    <p:extLst>
      <p:ext uri="{BB962C8B-B14F-4D97-AF65-F5344CB8AC3E}">
        <p14:creationId xmlns:p14="http://schemas.microsoft.com/office/powerpoint/2010/main" val="887187485"/>
      </p:ext>
    </p:extLst>
  </p:cSld>
  <p:clrMapOvr>
    <a:masterClrMapping/>
  </p:clrMapOvr>
  <p:transition spd="med">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Our clients 12">
    <p:spTree>
      <p:nvGrpSpPr>
        <p:cNvPr id="1" name=""/>
        <p:cNvGrpSpPr/>
        <p:nvPr/>
      </p:nvGrpSpPr>
      <p:grpSpPr>
        <a:xfrm>
          <a:off x="0" y="0"/>
          <a:ext cx="0" cy="0"/>
          <a:chOff x="0" y="0"/>
          <a:chExt cx="0" cy="0"/>
        </a:xfrm>
      </p:grpSpPr>
      <p:sp>
        <p:nvSpPr>
          <p:cNvPr id="62" name="Rectangle 61">
            <a:extLst>
              <a:ext uri="{FF2B5EF4-FFF2-40B4-BE49-F238E27FC236}">
                <a16:creationId xmlns:a16="http://schemas.microsoft.com/office/drawing/2014/main" id="{50C47AE2-387B-61AE-D3A3-60D0C52C1A62}"/>
              </a:ext>
            </a:extLst>
          </p:cNvPr>
          <p:cNvSpPr/>
          <p:nvPr userDrawn="1"/>
        </p:nvSpPr>
        <p:spPr>
          <a:xfrm>
            <a:off x="12352867" y="0"/>
            <a:ext cx="1947333" cy="201506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b="1" i="0" dirty="0">
                <a:solidFill>
                  <a:schemeClr val="bg1"/>
                </a:solidFill>
                <a:effectLst/>
                <a:latin typeface="+mn-lt"/>
                <a:ea typeface="Calibri" panose="020F0502020204030204" pitchFamily="34" charset="0"/>
              </a:rPr>
              <a:t>NOTE:</a:t>
            </a:r>
          </a:p>
          <a:p>
            <a:r>
              <a:rPr lang="en-GB" sz="1200" i="1" dirty="0">
                <a:solidFill>
                  <a:schemeClr val="bg1"/>
                </a:solidFill>
                <a:effectLst/>
                <a:latin typeface="+mn-lt"/>
                <a:ea typeface="Calibri" panose="020F0502020204030204" pitchFamily="34" charset="0"/>
              </a:rPr>
              <a:t>You may only include a client logo if the client has provided express written permission to use it, and has shared a logo file (jpeg or </a:t>
            </a:r>
            <a:r>
              <a:rPr lang="en-GB" sz="1200" i="1" dirty="0" err="1">
                <a:solidFill>
                  <a:schemeClr val="bg1"/>
                </a:solidFill>
                <a:effectLst/>
                <a:latin typeface="+mn-lt"/>
                <a:ea typeface="Calibri" panose="020F0502020204030204" pitchFamily="34" charset="0"/>
              </a:rPr>
              <a:t>png</a:t>
            </a:r>
            <a:r>
              <a:rPr lang="en-GB" sz="1200" i="1" dirty="0">
                <a:solidFill>
                  <a:schemeClr val="bg1"/>
                </a:solidFill>
                <a:effectLst/>
                <a:latin typeface="+mn-lt"/>
                <a:ea typeface="Calibri" panose="020F0502020204030204" pitchFamily="34" charset="0"/>
              </a:rPr>
              <a:t>) for your use.</a:t>
            </a:r>
            <a:endParaRPr lang="en-GB" sz="1200" dirty="0">
              <a:solidFill>
                <a:schemeClr val="bg1"/>
              </a:solidFill>
              <a:effectLst/>
              <a:latin typeface="+mn-lt"/>
              <a:ea typeface="Calibri" panose="020F0502020204030204" pitchFamily="34" charset="0"/>
            </a:endParaRPr>
          </a:p>
        </p:txBody>
      </p:sp>
      <p:sp>
        <p:nvSpPr>
          <p:cNvPr id="63" name="TextBox 4">
            <a:extLst>
              <a:ext uri="{FF2B5EF4-FFF2-40B4-BE49-F238E27FC236}">
                <a16:creationId xmlns:a16="http://schemas.microsoft.com/office/drawing/2014/main" id="{8998C1AB-2423-5EDD-45B3-D10355DDC98F}"/>
              </a:ext>
            </a:extLst>
          </p:cNvPr>
          <p:cNvSpPr txBox="1"/>
          <p:nvPr userDrawn="1"/>
        </p:nvSpPr>
        <p:spPr>
          <a:xfrm>
            <a:off x="12346713" y="2175601"/>
            <a:ext cx="1934437" cy="31700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INSERTING IMAGES:</a:t>
            </a:r>
          </a:p>
          <a:p>
            <a:pPr marL="179388" indent="-179388">
              <a:spcBef>
                <a:spcPts val="200"/>
              </a:spcBef>
              <a:spcAft>
                <a:spcPts val="200"/>
              </a:spcAft>
              <a:buFont typeface="+mj-lt"/>
              <a:buAutoNum type="arabicPeriod"/>
            </a:pPr>
            <a:r>
              <a:rPr lang="en-US" sz="900" dirty="0">
                <a:solidFill>
                  <a:schemeClr val="tx1"/>
                </a:solidFill>
                <a:latin typeface="+mn-lt"/>
              </a:rPr>
              <a:t>Simply click the image placeholder and select your image.</a:t>
            </a:r>
          </a:p>
          <a:p>
            <a:pPr marL="179388" indent="-179388">
              <a:spcBef>
                <a:spcPts val="200"/>
              </a:spcBef>
              <a:spcAft>
                <a:spcPts val="200"/>
              </a:spcAft>
              <a:buFont typeface="+mj-lt"/>
              <a:buAutoNum type="arabicPeriod"/>
            </a:pPr>
            <a:r>
              <a:rPr lang="en-US" sz="900" dirty="0">
                <a:solidFill>
                  <a:schemeClr val="tx1"/>
                </a:solidFill>
                <a:latin typeface="+mn-lt"/>
              </a:rPr>
              <a:t>Once your image is inserted into the shape it may be distorted. (Stretched or Squashed)</a:t>
            </a:r>
          </a:p>
          <a:p>
            <a:pPr marL="179388" indent="-179388">
              <a:spcBef>
                <a:spcPts val="200"/>
              </a:spcBef>
              <a:spcAft>
                <a:spcPts val="200"/>
              </a:spcAft>
              <a:buFont typeface="+mj-lt"/>
              <a:buAutoNum type="arabicPeriod"/>
            </a:pPr>
            <a:endParaRPr lang="en-US" sz="900" dirty="0">
              <a:solidFill>
                <a:schemeClr val="tx1"/>
              </a:solidFill>
              <a:latin typeface="+mn-lt"/>
            </a:endParaRPr>
          </a:p>
          <a:p>
            <a:pPr>
              <a:spcBef>
                <a:spcPts val="200"/>
              </a:spcBef>
              <a:spcAft>
                <a:spcPts val="200"/>
              </a:spcAft>
            </a:pPr>
            <a:r>
              <a:rPr lang="en-US" sz="900" b="1" dirty="0">
                <a:solidFill>
                  <a:schemeClr val="tx1"/>
                </a:solidFill>
                <a:latin typeface="+mn-lt"/>
              </a:rPr>
              <a:t>To fix this:</a:t>
            </a:r>
          </a:p>
          <a:p>
            <a:pPr marL="179388" indent="-179388">
              <a:spcBef>
                <a:spcPts val="200"/>
              </a:spcBef>
              <a:spcAft>
                <a:spcPts val="200"/>
              </a:spcAft>
              <a:buFont typeface="+mj-lt"/>
              <a:buAutoNum type="arabicPeriod"/>
            </a:pPr>
            <a:r>
              <a:rPr lang="en-US" sz="900" dirty="0">
                <a:solidFill>
                  <a:schemeClr val="tx1"/>
                </a:solidFill>
                <a:latin typeface="+mn-lt"/>
              </a:rPr>
              <a:t>Click on the image and from the top menu under </a:t>
            </a:r>
            <a:r>
              <a:rPr lang="en-US" sz="900" b="1" dirty="0">
                <a:solidFill>
                  <a:schemeClr val="tx1"/>
                </a:solidFill>
                <a:latin typeface="+mn-lt"/>
              </a:rPr>
              <a:t>PICTURE FORMAT </a:t>
            </a:r>
            <a:r>
              <a:rPr lang="en-US" sz="900" dirty="0">
                <a:solidFill>
                  <a:schemeClr val="tx1"/>
                </a:solidFill>
                <a:latin typeface="+mn-lt"/>
              </a:rPr>
              <a:t>select the </a:t>
            </a:r>
            <a:r>
              <a:rPr lang="en-US" sz="900" b="1" dirty="0">
                <a:solidFill>
                  <a:schemeClr val="tx1"/>
                </a:solidFill>
                <a:latin typeface="+mn-lt"/>
              </a:rPr>
              <a:t>CROP</a:t>
            </a:r>
            <a:r>
              <a:rPr lang="en-US" sz="900" dirty="0">
                <a:solidFill>
                  <a:schemeClr val="tx1"/>
                </a:solidFill>
                <a:latin typeface="+mn-lt"/>
              </a:rPr>
              <a:t> on the right and from the drop down menu select </a:t>
            </a:r>
            <a:r>
              <a:rPr lang="en-US" sz="900" b="1" kern="1200" dirty="0">
                <a:solidFill>
                  <a:schemeClr val="tx1"/>
                </a:solidFill>
                <a:latin typeface="+mn-lt"/>
                <a:ea typeface="+mn-ea"/>
                <a:cs typeface="+mn-cs"/>
              </a:rPr>
              <a:t>FILL</a:t>
            </a:r>
          </a:p>
          <a:p>
            <a:pPr marL="179388" indent="-179388">
              <a:spcBef>
                <a:spcPts val="200"/>
              </a:spcBef>
              <a:spcAft>
                <a:spcPts val="200"/>
              </a:spcAft>
              <a:buFont typeface="+mj-lt"/>
              <a:buAutoNum type="arabicPeriod"/>
            </a:pPr>
            <a:r>
              <a:rPr lang="en-US" sz="900" b="0" kern="1200" dirty="0">
                <a:solidFill>
                  <a:schemeClr val="tx1"/>
                </a:solidFill>
                <a:latin typeface="+mn-lt"/>
                <a:ea typeface="+mn-ea"/>
                <a:cs typeface="+mn-cs"/>
              </a:rPr>
              <a:t>From here you can move the image within the shape for best visual appearance</a:t>
            </a:r>
          </a:p>
        </p:txBody>
      </p:sp>
      <p:sp>
        <p:nvSpPr>
          <p:cNvPr id="8" name="Footer Placeholder 7">
            <a:extLst>
              <a:ext uri="{FF2B5EF4-FFF2-40B4-BE49-F238E27FC236}">
                <a16:creationId xmlns:a16="http://schemas.microsoft.com/office/drawing/2014/main" id="{5F2C014C-2E86-9EBE-83B3-07B621469C1B}"/>
              </a:ext>
            </a:extLst>
          </p:cNvPr>
          <p:cNvSpPr>
            <a:spLocks noGrp="1"/>
          </p:cNvSpPr>
          <p:nvPr>
            <p:ph type="ftr" sz="quarter" idx="131"/>
          </p:nvPr>
        </p:nvSpPr>
        <p:spPr/>
        <p:txBody>
          <a:bodyPr/>
          <a:lstStyle/>
          <a:p>
            <a:r>
              <a:rPr lang="en-GB"/>
              <a:t>INSERT FOOTER HERE</a:t>
            </a:r>
            <a:endParaRPr lang="en-GB" dirty="0"/>
          </a:p>
        </p:txBody>
      </p:sp>
      <p:sp>
        <p:nvSpPr>
          <p:cNvPr id="9" name="Slide Number Placeholder 8">
            <a:extLst>
              <a:ext uri="{FF2B5EF4-FFF2-40B4-BE49-F238E27FC236}">
                <a16:creationId xmlns:a16="http://schemas.microsoft.com/office/drawing/2014/main" id="{E288C039-9693-AAFE-89A8-74C7AB4BF41D}"/>
              </a:ext>
            </a:extLst>
          </p:cNvPr>
          <p:cNvSpPr>
            <a:spLocks noGrp="1"/>
          </p:cNvSpPr>
          <p:nvPr>
            <p:ph type="sldNum" sz="quarter" idx="132"/>
          </p:nvPr>
        </p:nvSpPr>
        <p:spPr/>
        <p:txBody>
          <a:bodyPr/>
          <a:lstStyle/>
          <a:p>
            <a:fld id="{8CFE0557-AA98-4E6C-B0C3-581794696B68}" type="slidenum">
              <a:rPr lang="en-GB" smtClean="0"/>
              <a:pPr/>
              <a:t>‹#›</a:t>
            </a:fld>
            <a:endParaRPr lang="en-GB" dirty="0"/>
          </a:p>
        </p:txBody>
      </p:sp>
      <p:sp>
        <p:nvSpPr>
          <p:cNvPr id="10" name="Title 9">
            <a:extLst>
              <a:ext uri="{FF2B5EF4-FFF2-40B4-BE49-F238E27FC236}">
                <a16:creationId xmlns:a16="http://schemas.microsoft.com/office/drawing/2014/main" id="{19D430C3-1416-1FA5-14BA-386BBA8CF454}"/>
              </a:ext>
            </a:extLst>
          </p:cNvPr>
          <p:cNvSpPr>
            <a:spLocks noGrp="1"/>
          </p:cNvSpPr>
          <p:nvPr>
            <p:ph type="title" hasCustomPrompt="1"/>
          </p:nvPr>
        </p:nvSpPr>
        <p:spPr>
          <a:xfrm>
            <a:off x="508000" y="454013"/>
            <a:ext cx="11174413" cy="805609"/>
          </a:xfrm>
        </p:spPr>
        <p:txBody>
          <a:bodyPr/>
          <a:lstStyle/>
          <a:p>
            <a:r>
              <a:rPr lang="en-US" dirty="0"/>
              <a:t>TITLE: subtitle</a:t>
            </a:r>
            <a:endParaRPr lang="en-GB" dirty="0"/>
          </a:p>
        </p:txBody>
      </p:sp>
      <p:sp>
        <p:nvSpPr>
          <p:cNvPr id="20" name="Rectangle 19">
            <a:extLst>
              <a:ext uri="{FF2B5EF4-FFF2-40B4-BE49-F238E27FC236}">
                <a16:creationId xmlns:a16="http://schemas.microsoft.com/office/drawing/2014/main" id="{41285D44-678B-8C0A-A98B-957CBF904A16}"/>
              </a:ext>
            </a:extLst>
          </p:cNvPr>
          <p:cNvSpPr/>
          <p:nvPr userDrawn="1"/>
        </p:nvSpPr>
        <p:spPr>
          <a:xfrm>
            <a:off x="507999" y="1353458"/>
            <a:ext cx="2480731" cy="131889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Rectangle 20">
            <a:extLst>
              <a:ext uri="{FF2B5EF4-FFF2-40B4-BE49-F238E27FC236}">
                <a16:creationId xmlns:a16="http://schemas.microsoft.com/office/drawing/2014/main" id="{AD298F5A-4BB9-10B2-7261-5D3C5BF3CEC0}"/>
              </a:ext>
            </a:extLst>
          </p:cNvPr>
          <p:cNvSpPr/>
          <p:nvPr userDrawn="1"/>
        </p:nvSpPr>
        <p:spPr>
          <a:xfrm>
            <a:off x="3411013" y="1353458"/>
            <a:ext cx="2480731" cy="131889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extLst>
              <a:ext uri="{FF2B5EF4-FFF2-40B4-BE49-F238E27FC236}">
                <a16:creationId xmlns:a16="http://schemas.microsoft.com/office/drawing/2014/main" id="{D9F345D4-5273-210A-2FD6-9CD63C9C5688}"/>
              </a:ext>
            </a:extLst>
          </p:cNvPr>
          <p:cNvSpPr/>
          <p:nvPr userDrawn="1"/>
        </p:nvSpPr>
        <p:spPr>
          <a:xfrm>
            <a:off x="6314027" y="1353458"/>
            <a:ext cx="2480731" cy="131889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Rectangle 22">
            <a:extLst>
              <a:ext uri="{FF2B5EF4-FFF2-40B4-BE49-F238E27FC236}">
                <a16:creationId xmlns:a16="http://schemas.microsoft.com/office/drawing/2014/main" id="{45998C67-56C5-A99E-849B-A72D26753FDF}"/>
              </a:ext>
            </a:extLst>
          </p:cNvPr>
          <p:cNvSpPr/>
          <p:nvPr userDrawn="1"/>
        </p:nvSpPr>
        <p:spPr>
          <a:xfrm>
            <a:off x="9197003" y="1353458"/>
            <a:ext cx="2480731" cy="131889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Content Placeholder 2">
            <a:extLst>
              <a:ext uri="{FF2B5EF4-FFF2-40B4-BE49-F238E27FC236}">
                <a16:creationId xmlns:a16="http://schemas.microsoft.com/office/drawing/2014/main" id="{A2978767-DCBE-B1BF-9A16-BA2711F95213}"/>
              </a:ext>
            </a:extLst>
          </p:cNvPr>
          <p:cNvSpPr>
            <a:spLocks noGrp="1"/>
          </p:cNvSpPr>
          <p:nvPr>
            <p:ph sz="quarter" idx="148" hasCustomPrompt="1"/>
          </p:nvPr>
        </p:nvSpPr>
        <p:spPr>
          <a:xfrm>
            <a:off x="507469" y="1353458"/>
            <a:ext cx="2481263" cy="1318896"/>
          </a:xfrm>
          <a:noFill/>
          <a:ln>
            <a:noFill/>
          </a:ln>
        </p:spPr>
        <p:txBody>
          <a:bodyPr vert="horz" lIns="0" tIns="45720" rIns="0" bIns="45720" rtlCol="0" anchor="ctr">
            <a:noAutofit/>
          </a:bodyPr>
          <a:lstStyle>
            <a:lvl1pPr algn="ctr">
              <a:defRPr lang="en-US" sz="1200" smtClean="0">
                <a:solidFill>
                  <a:schemeClr val="tx1"/>
                </a:solidFill>
                <a:latin typeface="+mn-lt"/>
              </a:defRPr>
            </a:lvl1pPr>
            <a:lvl2pPr>
              <a:defRPr lang="en-US" smtClean="0"/>
            </a:lvl2pPr>
            <a:lvl3pPr>
              <a:defRPr lang="en-US" smtClean="0"/>
            </a:lvl3pPr>
            <a:lvl4pPr>
              <a:defRPr lang="en-US" smtClean="0"/>
            </a:lvl4pPr>
            <a:lvl5pPr>
              <a:defRPr lang="en-GB"/>
            </a:lvl5pPr>
          </a:lstStyle>
          <a:p>
            <a:r>
              <a:rPr lang="en-GB" dirty="0"/>
              <a:t>Client logo/name here</a:t>
            </a:r>
          </a:p>
        </p:txBody>
      </p:sp>
      <p:sp>
        <p:nvSpPr>
          <p:cNvPr id="25" name="Content Placeholder 2">
            <a:extLst>
              <a:ext uri="{FF2B5EF4-FFF2-40B4-BE49-F238E27FC236}">
                <a16:creationId xmlns:a16="http://schemas.microsoft.com/office/drawing/2014/main" id="{BE25EAA3-E79D-6982-477C-1704D2649968}"/>
              </a:ext>
            </a:extLst>
          </p:cNvPr>
          <p:cNvSpPr>
            <a:spLocks noGrp="1"/>
          </p:cNvSpPr>
          <p:nvPr>
            <p:ph sz="quarter" idx="149" hasCustomPrompt="1"/>
          </p:nvPr>
        </p:nvSpPr>
        <p:spPr>
          <a:xfrm>
            <a:off x="3405539" y="1353458"/>
            <a:ext cx="2481263" cy="1318896"/>
          </a:xfrm>
          <a:noFill/>
          <a:ln>
            <a:noFill/>
          </a:ln>
        </p:spPr>
        <p:txBody>
          <a:bodyPr vert="horz" lIns="0" tIns="45720" rIns="0" bIns="45720" rtlCol="0" anchor="ctr">
            <a:normAutofit/>
          </a:bodyPr>
          <a:lstStyle>
            <a:lvl1pPr algn="ctr">
              <a:defRPr lang="en-US" sz="1200" smtClean="0">
                <a:solidFill>
                  <a:schemeClr val="tx1"/>
                </a:solidFill>
                <a:latin typeface="+mn-lt"/>
              </a:defRPr>
            </a:lvl1pPr>
            <a:lvl2pPr>
              <a:defRPr lang="en-US" smtClean="0"/>
            </a:lvl2pPr>
            <a:lvl3pPr>
              <a:defRPr lang="en-US" smtClean="0"/>
            </a:lvl3pPr>
            <a:lvl4pPr>
              <a:defRPr lang="en-US" smtClean="0"/>
            </a:lvl4pPr>
            <a:lvl5pPr>
              <a:defRPr lang="en-GB"/>
            </a:lvl5pPr>
          </a:lstStyle>
          <a:p>
            <a:r>
              <a:rPr lang="en-GB" dirty="0"/>
              <a:t>Client logo/name here</a:t>
            </a:r>
          </a:p>
        </p:txBody>
      </p:sp>
      <p:sp>
        <p:nvSpPr>
          <p:cNvPr id="26" name="Content Placeholder 2">
            <a:extLst>
              <a:ext uri="{FF2B5EF4-FFF2-40B4-BE49-F238E27FC236}">
                <a16:creationId xmlns:a16="http://schemas.microsoft.com/office/drawing/2014/main" id="{E747F742-D17B-14C6-9B24-65E802CA8A17}"/>
              </a:ext>
            </a:extLst>
          </p:cNvPr>
          <p:cNvSpPr>
            <a:spLocks noGrp="1"/>
          </p:cNvSpPr>
          <p:nvPr>
            <p:ph sz="quarter" idx="150" hasCustomPrompt="1"/>
          </p:nvPr>
        </p:nvSpPr>
        <p:spPr>
          <a:xfrm>
            <a:off x="6303609" y="1353458"/>
            <a:ext cx="2481263" cy="1318896"/>
          </a:xfrm>
          <a:noFill/>
          <a:ln>
            <a:noFill/>
          </a:ln>
        </p:spPr>
        <p:txBody>
          <a:bodyPr vert="horz" lIns="0" tIns="45720" rIns="0" bIns="45720" rtlCol="0" anchor="ctr">
            <a:normAutofit/>
          </a:bodyPr>
          <a:lstStyle>
            <a:lvl1pPr algn="ctr">
              <a:defRPr lang="en-US" sz="1200" smtClean="0">
                <a:solidFill>
                  <a:schemeClr val="tx1"/>
                </a:solidFill>
                <a:latin typeface="+mn-lt"/>
              </a:defRPr>
            </a:lvl1pPr>
            <a:lvl2pPr>
              <a:defRPr lang="en-US" smtClean="0"/>
            </a:lvl2pPr>
            <a:lvl3pPr>
              <a:defRPr lang="en-US" smtClean="0"/>
            </a:lvl3pPr>
            <a:lvl4pPr>
              <a:defRPr lang="en-US" smtClean="0"/>
            </a:lvl4pPr>
            <a:lvl5pPr>
              <a:defRPr lang="en-GB"/>
            </a:lvl5pPr>
          </a:lstStyle>
          <a:p>
            <a:r>
              <a:rPr lang="en-GB" dirty="0"/>
              <a:t>Client logo/name here</a:t>
            </a:r>
          </a:p>
        </p:txBody>
      </p:sp>
      <p:sp>
        <p:nvSpPr>
          <p:cNvPr id="27" name="Content Placeholder 2">
            <a:extLst>
              <a:ext uri="{FF2B5EF4-FFF2-40B4-BE49-F238E27FC236}">
                <a16:creationId xmlns:a16="http://schemas.microsoft.com/office/drawing/2014/main" id="{703BF9B8-5B91-9C20-83D6-52669EF8C11E}"/>
              </a:ext>
            </a:extLst>
          </p:cNvPr>
          <p:cNvSpPr>
            <a:spLocks noGrp="1"/>
          </p:cNvSpPr>
          <p:nvPr>
            <p:ph sz="quarter" idx="151" hasCustomPrompt="1"/>
          </p:nvPr>
        </p:nvSpPr>
        <p:spPr>
          <a:xfrm>
            <a:off x="9201150" y="1353458"/>
            <a:ext cx="2481263" cy="1318896"/>
          </a:xfrm>
          <a:noFill/>
          <a:ln>
            <a:noFill/>
          </a:ln>
        </p:spPr>
        <p:txBody>
          <a:bodyPr vert="horz" lIns="0" tIns="45720" rIns="0" bIns="45720" rtlCol="0" anchor="ctr">
            <a:normAutofit/>
          </a:bodyPr>
          <a:lstStyle>
            <a:lvl1pPr algn="ctr">
              <a:defRPr lang="en-US" sz="1200" smtClean="0">
                <a:solidFill>
                  <a:schemeClr val="tx1"/>
                </a:solidFill>
                <a:latin typeface="+mn-lt"/>
              </a:defRPr>
            </a:lvl1pPr>
            <a:lvl2pPr>
              <a:defRPr lang="en-US" smtClean="0"/>
            </a:lvl2pPr>
            <a:lvl3pPr>
              <a:defRPr lang="en-US" smtClean="0"/>
            </a:lvl3pPr>
            <a:lvl4pPr>
              <a:defRPr lang="en-US" smtClean="0"/>
            </a:lvl4pPr>
            <a:lvl5pPr>
              <a:defRPr lang="en-GB"/>
            </a:lvl5pPr>
          </a:lstStyle>
          <a:p>
            <a:r>
              <a:rPr lang="en-GB" dirty="0"/>
              <a:t>Client logo/name here</a:t>
            </a:r>
          </a:p>
        </p:txBody>
      </p:sp>
      <p:sp>
        <p:nvSpPr>
          <p:cNvPr id="28" name="Rectangle 27">
            <a:extLst>
              <a:ext uri="{FF2B5EF4-FFF2-40B4-BE49-F238E27FC236}">
                <a16:creationId xmlns:a16="http://schemas.microsoft.com/office/drawing/2014/main" id="{0B3F4111-B97B-E000-72B9-6FF327DDD226}"/>
              </a:ext>
            </a:extLst>
          </p:cNvPr>
          <p:cNvSpPr/>
          <p:nvPr userDrawn="1"/>
        </p:nvSpPr>
        <p:spPr>
          <a:xfrm>
            <a:off x="507999" y="3127194"/>
            <a:ext cx="2480731" cy="131889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 name="Rectangle 28">
            <a:extLst>
              <a:ext uri="{FF2B5EF4-FFF2-40B4-BE49-F238E27FC236}">
                <a16:creationId xmlns:a16="http://schemas.microsoft.com/office/drawing/2014/main" id="{21B90D66-8DFF-611B-BDA6-8D4334B3105F}"/>
              </a:ext>
            </a:extLst>
          </p:cNvPr>
          <p:cNvSpPr/>
          <p:nvPr userDrawn="1"/>
        </p:nvSpPr>
        <p:spPr>
          <a:xfrm>
            <a:off x="3411013" y="3127194"/>
            <a:ext cx="2480731" cy="131889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Rectangle 29">
            <a:extLst>
              <a:ext uri="{FF2B5EF4-FFF2-40B4-BE49-F238E27FC236}">
                <a16:creationId xmlns:a16="http://schemas.microsoft.com/office/drawing/2014/main" id="{8E49AD91-A992-501B-6574-FE32D5594C98}"/>
              </a:ext>
            </a:extLst>
          </p:cNvPr>
          <p:cNvSpPr/>
          <p:nvPr userDrawn="1"/>
        </p:nvSpPr>
        <p:spPr>
          <a:xfrm>
            <a:off x="6314027" y="3127194"/>
            <a:ext cx="2480731" cy="131889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Rectangle 30">
            <a:extLst>
              <a:ext uri="{FF2B5EF4-FFF2-40B4-BE49-F238E27FC236}">
                <a16:creationId xmlns:a16="http://schemas.microsoft.com/office/drawing/2014/main" id="{EDCCCB51-8C8D-D6BD-1F54-BDF93B6CA103}"/>
              </a:ext>
            </a:extLst>
          </p:cNvPr>
          <p:cNvSpPr/>
          <p:nvPr userDrawn="1"/>
        </p:nvSpPr>
        <p:spPr>
          <a:xfrm>
            <a:off x="9197003" y="3127194"/>
            <a:ext cx="2480731" cy="131889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2" name="Content Placeholder 2">
            <a:extLst>
              <a:ext uri="{FF2B5EF4-FFF2-40B4-BE49-F238E27FC236}">
                <a16:creationId xmlns:a16="http://schemas.microsoft.com/office/drawing/2014/main" id="{B46915FA-F603-1837-A8D8-E84E3CD08836}"/>
              </a:ext>
            </a:extLst>
          </p:cNvPr>
          <p:cNvSpPr>
            <a:spLocks noGrp="1"/>
          </p:cNvSpPr>
          <p:nvPr>
            <p:ph sz="quarter" idx="152" hasCustomPrompt="1"/>
          </p:nvPr>
        </p:nvSpPr>
        <p:spPr>
          <a:xfrm>
            <a:off x="507469" y="3127194"/>
            <a:ext cx="2481263" cy="1318896"/>
          </a:xfrm>
          <a:noFill/>
          <a:ln>
            <a:noFill/>
          </a:ln>
        </p:spPr>
        <p:txBody>
          <a:bodyPr vert="horz" lIns="0" tIns="45720" rIns="0" bIns="45720" rtlCol="0" anchor="ctr">
            <a:noAutofit/>
          </a:bodyPr>
          <a:lstStyle>
            <a:lvl1pPr algn="ctr">
              <a:defRPr lang="en-US" sz="1200" smtClean="0">
                <a:solidFill>
                  <a:schemeClr val="tx1"/>
                </a:solidFill>
                <a:latin typeface="+mn-lt"/>
              </a:defRPr>
            </a:lvl1pPr>
            <a:lvl2pPr>
              <a:defRPr lang="en-US" smtClean="0"/>
            </a:lvl2pPr>
            <a:lvl3pPr>
              <a:defRPr lang="en-US" smtClean="0"/>
            </a:lvl3pPr>
            <a:lvl4pPr>
              <a:defRPr lang="en-US" smtClean="0"/>
            </a:lvl4pPr>
            <a:lvl5pPr>
              <a:defRPr lang="en-GB"/>
            </a:lvl5pPr>
          </a:lstStyle>
          <a:p>
            <a:r>
              <a:rPr lang="en-GB" dirty="0"/>
              <a:t>Client logo/name here</a:t>
            </a:r>
          </a:p>
        </p:txBody>
      </p:sp>
      <p:sp>
        <p:nvSpPr>
          <p:cNvPr id="33" name="Content Placeholder 2">
            <a:extLst>
              <a:ext uri="{FF2B5EF4-FFF2-40B4-BE49-F238E27FC236}">
                <a16:creationId xmlns:a16="http://schemas.microsoft.com/office/drawing/2014/main" id="{BC127DDB-3BF7-7B42-4BE6-7FEE088892D3}"/>
              </a:ext>
            </a:extLst>
          </p:cNvPr>
          <p:cNvSpPr>
            <a:spLocks noGrp="1"/>
          </p:cNvSpPr>
          <p:nvPr>
            <p:ph sz="quarter" idx="153" hasCustomPrompt="1"/>
          </p:nvPr>
        </p:nvSpPr>
        <p:spPr>
          <a:xfrm>
            <a:off x="3405539" y="3127194"/>
            <a:ext cx="2481263" cy="1318896"/>
          </a:xfrm>
          <a:noFill/>
          <a:ln>
            <a:noFill/>
          </a:ln>
        </p:spPr>
        <p:txBody>
          <a:bodyPr vert="horz" lIns="0" tIns="45720" rIns="0" bIns="45720" rtlCol="0" anchor="ctr">
            <a:normAutofit/>
          </a:bodyPr>
          <a:lstStyle>
            <a:lvl1pPr algn="ctr">
              <a:defRPr lang="en-US" sz="1200" smtClean="0">
                <a:solidFill>
                  <a:schemeClr val="tx1"/>
                </a:solidFill>
                <a:latin typeface="+mn-lt"/>
              </a:defRPr>
            </a:lvl1pPr>
            <a:lvl2pPr>
              <a:defRPr lang="en-US" smtClean="0"/>
            </a:lvl2pPr>
            <a:lvl3pPr>
              <a:defRPr lang="en-US" smtClean="0"/>
            </a:lvl3pPr>
            <a:lvl4pPr>
              <a:defRPr lang="en-US" smtClean="0"/>
            </a:lvl4pPr>
            <a:lvl5pPr>
              <a:defRPr lang="en-GB"/>
            </a:lvl5pPr>
          </a:lstStyle>
          <a:p>
            <a:r>
              <a:rPr lang="en-GB" dirty="0"/>
              <a:t>Client logo/name here</a:t>
            </a:r>
          </a:p>
        </p:txBody>
      </p:sp>
      <p:sp>
        <p:nvSpPr>
          <p:cNvPr id="34" name="Content Placeholder 2">
            <a:extLst>
              <a:ext uri="{FF2B5EF4-FFF2-40B4-BE49-F238E27FC236}">
                <a16:creationId xmlns:a16="http://schemas.microsoft.com/office/drawing/2014/main" id="{AED8C94F-BEF3-AA61-D244-E430C70BB662}"/>
              </a:ext>
            </a:extLst>
          </p:cNvPr>
          <p:cNvSpPr>
            <a:spLocks noGrp="1"/>
          </p:cNvSpPr>
          <p:nvPr>
            <p:ph sz="quarter" idx="154" hasCustomPrompt="1"/>
          </p:nvPr>
        </p:nvSpPr>
        <p:spPr>
          <a:xfrm>
            <a:off x="6303609" y="3127194"/>
            <a:ext cx="2481263" cy="1318896"/>
          </a:xfrm>
          <a:noFill/>
          <a:ln>
            <a:noFill/>
          </a:ln>
        </p:spPr>
        <p:txBody>
          <a:bodyPr vert="horz" lIns="0" tIns="45720" rIns="0" bIns="45720" rtlCol="0" anchor="ctr">
            <a:normAutofit/>
          </a:bodyPr>
          <a:lstStyle>
            <a:lvl1pPr algn="ctr">
              <a:defRPr lang="en-US" sz="1200" smtClean="0">
                <a:solidFill>
                  <a:schemeClr val="tx1"/>
                </a:solidFill>
                <a:latin typeface="+mn-lt"/>
              </a:defRPr>
            </a:lvl1pPr>
            <a:lvl2pPr>
              <a:defRPr lang="en-US" smtClean="0"/>
            </a:lvl2pPr>
            <a:lvl3pPr>
              <a:defRPr lang="en-US" smtClean="0"/>
            </a:lvl3pPr>
            <a:lvl4pPr>
              <a:defRPr lang="en-US" smtClean="0"/>
            </a:lvl4pPr>
            <a:lvl5pPr>
              <a:defRPr lang="en-GB"/>
            </a:lvl5pPr>
          </a:lstStyle>
          <a:p>
            <a:r>
              <a:rPr lang="en-GB" dirty="0"/>
              <a:t>Client logo/name here</a:t>
            </a:r>
          </a:p>
        </p:txBody>
      </p:sp>
      <p:sp>
        <p:nvSpPr>
          <p:cNvPr id="35" name="Content Placeholder 2">
            <a:extLst>
              <a:ext uri="{FF2B5EF4-FFF2-40B4-BE49-F238E27FC236}">
                <a16:creationId xmlns:a16="http://schemas.microsoft.com/office/drawing/2014/main" id="{46DC8A01-E674-E600-1511-A7A59861735C}"/>
              </a:ext>
            </a:extLst>
          </p:cNvPr>
          <p:cNvSpPr>
            <a:spLocks noGrp="1"/>
          </p:cNvSpPr>
          <p:nvPr>
            <p:ph sz="quarter" idx="155" hasCustomPrompt="1"/>
          </p:nvPr>
        </p:nvSpPr>
        <p:spPr>
          <a:xfrm>
            <a:off x="9201150" y="3127194"/>
            <a:ext cx="2481263" cy="1318896"/>
          </a:xfrm>
          <a:noFill/>
          <a:ln>
            <a:noFill/>
          </a:ln>
        </p:spPr>
        <p:txBody>
          <a:bodyPr vert="horz" lIns="0" tIns="45720" rIns="0" bIns="45720" rtlCol="0" anchor="ctr">
            <a:normAutofit/>
          </a:bodyPr>
          <a:lstStyle>
            <a:lvl1pPr algn="ctr">
              <a:defRPr lang="en-US" sz="1200" smtClean="0">
                <a:solidFill>
                  <a:schemeClr val="tx1"/>
                </a:solidFill>
                <a:latin typeface="+mn-lt"/>
              </a:defRPr>
            </a:lvl1pPr>
            <a:lvl2pPr>
              <a:defRPr lang="en-US" smtClean="0"/>
            </a:lvl2pPr>
            <a:lvl3pPr>
              <a:defRPr lang="en-US" smtClean="0"/>
            </a:lvl3pPr>
            <a:lvl4pPr>
              <a:defRPr lang="en-US" smtClean="0"/>
            </a:lvl4pPr>
            <a:lvl5pPr>
              <a:defRPr lang="en-GB"/>
            </a:lvl5pPr>
          </a:lstStyle>
          <a:p>
            <a:r>
              <a:rPr lang="en-GB" dirty="0"/>
              <a:t>Client logo/name here</a:t>
            </a:r>
          </a:p>
        </p:txBody>
      </p:sp>
      <p:sp>
        <p:nvSpPr>
          <p:cNvPr id="36" name="Rectangle 35">
            <a:extLst>
              <a:ext uri="{FF2B5EF4-FFF2-40B4-BE49-F238E27FC236}">
                <a16:creationId xmlns:a16="http://schemas.microsoft.com/office/drawing/2014/main" id="{350A2034-EA9F-9FFA-74E1-314EA9D8ECF0}"/>
              </a:ext>
            </a:extLst>
          </p:cNvPr>
          <p:cNvSpPr/>
          <p:nvPr userDrawn="1"/>
        </p:nvSpPr>
        <p:spPr>
          <a:xfrm>
            <a:off x="507999" y="4900929"/>
            <a:ext cx="2480731" cy="131889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 name="Rectangle 36">
            <a:extLst>
              <a:ext uri="{FF2B5EF4-FFF2-40B4-BE49-F238E27FC236}">
                <a16:creationId xmlns:a16="http://schemas.microsoft.com/office/drawing/2014/main" id="{C58E7443-AE7D-273E-EA31-49A492736D4E}"/>
              </a:ext>
            </a:extLst>
          </p:cNvPr>
          <p:cNvSpPr/>
          <p:nvPr userDrawn="1"/>
        </p:nvSpPr>
        <p:spPr>
          <a:xfrm>
            <a:off x="3411013" y="4900929"/>
            <a:ext cx="2480731" cy="131889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8" name="Rectangle 37">
            <a:extLst>
              <a:ext uri="{FF2B5EF4-FFF2-40B4-BE49-F238E27FC236}">
                <a16:creationId xmlns:a16="http://schemas.microsoft.com/office/drawing/2014/main" id="{332753F6-5382-B038-302A-DE9DC3B08ABA}"/>
              </a:ext>
            </a:extLst>
          </p:cNvPr>
          <p:cNvSpPr/>
          <p:nvPr userDrawn="1"/>
        </p:nvSpPr>
        <p:spPr>
          <a:xfrm>
            <a:off x="6314027" y="4900929"/>
            <a:ext cx="2480731" cy="131889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9" name="Rectangle 38">
            <a:extLst>
              <a:ext uri="{FF2B5EF4-FFF2-40B4-BE49-F238E27FC236}">
                <a16:creationId xmlns:a16="http://schemas.microsoft.com/office/drawing/2014/main" id="{844BC1AC-B887-78C8-EB7A-37B17E9E88D7}"/>
              </a:ext>
            </a:extLst>
          </p:cNvPr>
          <p:cNvSpPr/>
          <p:nvPr userDrawn="1"/>
        </p:nvSpPr>
        <p:spPr>
          <a:xfrm>
            <a:off x="9197003" y="4900929"/>
            <a:ext cx="2480731" cy="131889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0" name="Content Placeholder 2">
            <a:extLst>
              <a:ext uri="{FF2B5EF4-FFF2-40B4-BE49-F238E27FC236}">
                <a16:creationId xmlns:a16="http://schemas.microsoft.com/office/drawing/2014/main" id="{49E39342-940F-1D64-1F3B-BCC25AE87897}"/>
              </a:ext>
            </a:extLst>
          </p:cNvPr>
          <p:cNvSpPr>
            <a:spLocks noGrp="1"/>
          </p:cNvSpPr>
          <p:nvPr>
            <p:ph sz="quarter" idx="156" hasCustomPrompt="1"/>
          </p:nvPr>
        </p:nvSpPr>
        <p:spPr>
          <a:xfrm>
            <a:off x="507469" y="4900929"/>
            <a:ext cx="2481263" cy="1318896"/>
          </a:xfrm>
          <a:noFill/>
          <a:ln>
            <a:noFill/>
          </a:ln>
        </p:spPr>
        <p:txBody>
          <a:bodyPr vert="horz" lIns="0" tIns="45720" rIns="0" bIns="45720" rtlCol="0" anchor="ctr">
            <a:noAutofit/>
          </a:bodyPr>
          <a:lstStyle>
            <a:lvl1pPr algn="ctr">
              <a:defRPr lang="en-US" sz="1200" smtClean="0">
                <a:solidFill>
                  <a:schemeClr val="tx1"/>
                </a:solidFill>
                <a:latin typeface="+mn-lt"/>
              </a:defRPr>
            </a:lvl1pPr>
            <a:lvl2pPr>
              <a:defRPr lang="en-US" smtClean="0"/>
            </a:lvl2pPr>
            <a:lvl3pPr>
              <a:defRPr lang="en-US" smtClean="0"/>
            </a:lvl3pPr>
            <a:lvl4pPr>
              <a:defRPr lang="en-US" smtClean="0"/>
            </a:lvl4pPr>
            <a:lvl5pPr>
              <a:defRPr lang="en-GB"/>
            </a:lvl5pPr>
          </a:lstStyle>
          <a:p>
            <a:r>
              <a:rPr lang="en-GB" dirty="0"/>
              <a:t>Client logo/name here</a:t>
            </a:r>
          </a:p>
        </p:txBody>
      </p:sp>
      <p:sp>
        <p:nvSpPr>
          <p:cNvPr id="41" name="Content Placeholder 2">
            <a:extLst>
              <a:ext uri="{FF2B5EF4-FFF2-40B4-BE49-F238E27FC236}">
                <a16:creationId xmlns:a16="http://schemas.microsoft.com/office/drawing/2014/main" id="{75EF3357-7349-9E28-1290-00F8400E7192}"/>
              </a:ext>
            </a:extLst>
          </p:cNvPr>
          <p:cNvSpPr>
            <a:spLocks noGrp="1"/>
          </p:cNvSpPr>
          <p:nvPr>
            <p:ph sz="quarter" idx="157" hasCustomPrompt="1"/>
          </p:nvPr>
        </p:nvSpPr>
        <p:spPr>
          <a:xfrm>
            <a:off x="3405539" y="4900929"/>
            <a:ext cx="2481263" cy="1318896"/>
          </a:xfrm>
          <a:noFill/>
          <a:ln>
            <a:noFill/>
          </a:ln>
        </p:spPr>
        <p:txBody>
          <a:bodyPr vert="horz" lIns="0" tIns="45720" rIns="0" bIns="45720" rtlCol="0" anchor="ctr">
            <a:normAutofit/>
          </a:bodyPr>
          <a:lstStyle>
            <a:lvl1pPr algn="ctr">
              <a:defRPr lang="en-US" sz="1200" smtClean="0">
                <a:solidFill>
                  <a:schemeClr val="tx1"/>
                </a:solidFill>
                <a:latin typeface="+mn-lt"/>
              </a:defRPr>
            </a:lvl1pPr>
            <a:lvl2pPr>
              <a:defRPr lang="en-US" smtClean="0"/>
            </a:lvl2pPr>
            <a:lvl3pPr>
              <a:defRPr lang="en-US" smtClean="0"/>
            </a:lvl3pPr>
            <a:lvl4pPr>
              <a:defRPr lang="en-US" smtClean="0"/>
            </a:lvl4pPr>
            <a:lvl5pPr>
              <a:defRPr lang="en-GB"/>
            </a:lvl5pPr>
          </a:lstStyle>
          <a:p>
            <a:r>
              <a:rPr lang="en-GB" dirty="0"/>
              <a:t>Client logo/name here</a:t>
            </a:r>
          </a:p>
        </p:txBody>
      </p:sp>
      <p:sp>
        <p:nvSpPr>
          <p:cNvPr id="42" name="Content Placeholder 2">
            <a:extLst>
              <a:ext uri="{FF2B5EF4-FFF2-40B4-BE49-F238E27FC236}">
                <a16:creationId xmlns:a16="http://schemas.microsoft.com/office/drawing/2014/main" id="{17E4DFA4-6C98-ED59-592C-64BF536F0FC1}"/>
              </a:ext>
            </a:extLst>
          </p:cNvPr>
          <p:cNvSpPr>
            <a:spLocks noGrp="1"/>
          </p:cNvSpPr>
          <p:nvPr>
            <p:ph sz="quarter" idx="158" hasCustomPrompt="1"/>
          </p:nvPr>
        </p:nvSpPr>
        <p:spPr>
          <a:xfrm>
            <a:off x="6303609" y="4900929"/>
            <a:ext cx="2481263" cy="1318896"/>
          </a:xfrm>
          <a:noFill/>
          <a:ln>
            <a:noFill/>
          </a:ln>
        </p:spPr>
        <p:txBody>
          <a:bodyPr vert="horz" lIns="0" tIns="45720" rIns="0" bIns="45720" rtlCol="0" anchor="ctr">
            <a:normAutofit/>
          </a:bodyPr>
          <a:lstStyle>
            <a:lvl1pPr algn="ctr">
              <a:defRPr lang="en-US" sz="1200" smtClean="0">
                <a:solidFill>
                  <a:schemeClr val="tx1"/>
                </a:solidFill>
                <a:latin typeface="+mn-lt"/>
              </a:defRPr>
            </a:lvl1pPr>
            <a:lvl2pPr>
              <a:defRPr lang="en-US" smtClean="0"/>
            </a:lvl2pPr>
            <a:lvl3pPr>
              <a:defRPr lang="en-US" smtClean="0"/>
            </a:lvl3pPr>
            <a:lvl4pPr>
              <a:defRPr lang="en-US" smtClean="0"/>
            </a:lvl4pPr>
            <a:lvl5pPr>
              <a:defRPr lang="en-GB"/>
            </a:lvl5pPr>
          </a:lstStyle>
          <a:p>
            <a:r>
              <a:rPr lang="en-GB" dirty="0"/>
              <a:t>Client logo/name here</a:t>
            </a:r>
          </a:p>
        </p:txBody>
      </p:sp>
      <p:sp>
        <p:nvSpPr>
          <p:cNvPr id="43" name="Content Placeholder 2">
            <a:extLst>
              <a:ext uri="{FF2B5EF4-FFF2-40B4-BE49-F238E27FC236}">
                <a16:creationId xmlns:a16="http://schemas.microsoft.com/office/drawing/2014/main" id="{05F7C078-0A01-C064-5F15-6C6E3E824215}"/>
              </a:ext>
            </a:extLst>
          </p:cNvPr>
          <p:cNvSpPr>
            <a:spLocks noGrp="1"/>
          </p:cNvSpPr>
          <p:nvPr>
            <p:ph sz="quarter" idx="159" hasCustomPrompt="1"/>
          </p:nvPr>
        </p:nvSpPr>
        <p:spPr>
          <a:xfrm>
            <a:off x="9201150" y="4900929"/>
            <a:ext cx="2481263" cy="1318896"/>
          </a:xfrm>
          <a:noFill/>
          <a:ln>
            <a:noFill/>
          </a:ln>
        </p:spPr>
        <p:txBody>
          <a:bodyPr vert="horz" lIns="0" tIns="45720" rIns="0" bIns="45720" rtlCol="0" anchor="ctr">
            <a:normAutofit/>
          </a:bodyPr>
          <a:lstStyle>
            <a:lvl1pPr algn="ctr">
              <a:defRPr lang="en-US" sz="1200" smtClean="0">
                <a:solidFill>
                  <a:schemeClr val="tx1"/>
                </a:solidFill>
                <a:latin typeface="+mn-lt"/>
              </a:defRPr>
            </a:lvl1pPr>
            <a:lvl2pPr>
              <a:defRPr lang="en-US" smtClean="0"/>
            </a:lvl2pPr>
            <a:lvl3pPr>
              <a:defRPr lang="en-US" smtClean="0"/>
            </a:lvl3pPr>
            <a:lvl4pPr>
              <a:defRPr lang="en-US" smtClean="0"/>
            </a:lvl4pPr>
            <a:lvl5pPr>
              <a:defRPr lang="en-GB"/>
            </a:lvl5pPr>
          </a:lstStyle>
          <a:p>
            <a:r>
              <a:rPr lang="en-GB" dirty="0"/>
              <a:t>Client logo/name here</a:t>
            </a:r>
          </a:p>
        </p:txBody>
      </p:sp>
    </p:spTree>
    <p:extLst>
      <p:ext uri="{BB962C8B-B14F-4D97-AF65-F5344CB8AC3E}">
        <p14:creationId xmlns:p14="http://schemas.microsoft.com/office/powerpoint/2010/main" val="3166010051"/>
      </p:ext>
    </p:extLst>
  </p:cSld>
  <p:clrMapOvr>
    <a:masterClrMapping/>
  </p:clrMapOvr>
  <p:transition spd="med">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MMODITIES Boilerplate">
    <p:spTree>
      <p:nvGrpSpPr>
        <p:cNvPr id="1" name=""/>
        <p:cNvGrpSpPr/>
        <p:nvPr/>
      </p:nvGrpSpPr>
      <p:grpSpPr>
        <a:xfrm>
          <a:off x="0" y="0"/>
          <a:ext cx="0" cy="0"/>
          <a:chOff x="0" y="0"/>
          <a:chExt cx="0" cy="0"/>
        </a:xfrm>
      </p:grpSpPr>
      <p:pic>
        <p:nvPicPr>
          <p:cNvPr id="24" name="Graphic 23">
            <a:extLst>
              <a:ext uri="{FF2B5EF4-FFF2-40B4-BE49-F238E27FC236}">
                <a16:creationId xmlns:a16="http://schemas.microsoft.com/office/drawing/2014/main" id="{9A74914B-31F2-D8AD-513A-CCD9B509B752}"/>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66653"/>
          <a:stretch/>
        </p:blipFill>
        <p:spPr>
          <a:xfrm>
            <a:off x="8126412" y="0"/>
            <a:ext cx="4065587" cy="6858000"/>
          </a:xfrm>
          <a:prstGeom prst="rect">
            <a:avLst/>
          </a:prstGeom>
        </p:spPr>
      </p:pic>
      <p:sp>
        <p:nvSpPr>
          <p:cNvPr id="7" name="TextBox 6">
            <a:extLst>
              <a:ext uri="{FF2B5EF4-FFF2-40B4-BE49-F238E27FC236}">
                <a16:creationId xmlns:a16="http://schemas.microsoft.com/office/drawing/2014/main" id="{73D10B0A-F22D-7272-14D2-169122397CB5}"/>
              </a:ext>
            </a:extLst>
          </p:cNvPr>
          <p:cNvSpPr txBox="1"/>
          <p:nvPr userDrawn="1"/>
        </p:nvSpPr>
        <p:spPr>
          <a:xfrm>
            <a:off x="8839200" y="1123947"/>
            <a:ext cx="2843213" cy="1447800"/>
          </a:xfrm>
          <a:prstGeom prst="rect">
            <a:avLst/>
          </a:prstGeom>
        </p:spPr>
        <p:txBody>
          <a:bodyPr vert="horz" wrap="square" lIns="0" tIns="45720" rIns="0" bIns="45720" rtlCol="0">
            <a:normAutofit/>
          </a:bodyPr>
          <a:lstStyle/>
          <a:p>
            <a:pPr algn="l">
              <a:lnSpc>
                <a:spcPct val="80000"/>
              </a:lnSpc>
            </a:pPr>
            <a:r>
              <a:rPr lang="en-GB" sz="7200" dirty="0">
                <a:solidFill>
                  <a:schemeClr val="bg1"/>
                </a:solidFill>
                <a:latin typeface="+mj-lt"/>
              </a:rPr>
              <a:t>35+</a:t>
            </a:r>
          </a:p>
          <a:p>
            <a:pPr algn="l">
              <a:lnSpc>
                <a:spcPct val="80000"/>
              </a:lnSpc>
            </a:pPr>
            <a:r>
              <a:rPr lang="en-GB" sz="3200" dirty="0">
                <a:solidFill>
                  <a:schemeClr val="accent2"/>
                </a:solidFill>
                <a:latin typeface="+mn-lt"/>
              </a:rPr>
              <a:t>partners</a:t>
            </a:r>
            <a:endParaRPr lang="en-GB" sz="8000" kern="1200" dirty="0">
              <a:solidFill>
                <a:schemeClr val="accent2"/>
              </a:solidFill>
              <a:latin typeface="+mj-lt"/>
              <a:ea typeface="+mn-ea"/>
              <a:cs typeface="+mn-cs"/>
            </a:endParaRPr>
          </a:p>
        </p:txBody>
      </p:sp>
      <p:sp>
        <p:nvSpPr>
          <p:cNvPr id="11" name="TextBox 10">
            <a:extLst>
              <a:ext uri="{FF2B5EF4-FFF2-40B4-BE49-F238E27FC236}">
                <a16:creationId xmlns:a16="http://schemas.microsoft.com/office/drawing/2014/main" id="{67C871FE-B1B0-A638-ADC0-218F5F432E20}"/>
              </a:ext>
            </a:extLst>
          </p:cNvPr>
          <p:cNvSpPr txBox="1"/>
          <p:nvPr userDrawn="1"/>
        </p:nvSpPr>
        <p:spPr>
          <a:xfrm>
            <a:off x="8839200" y="2819215"/>
            <a:ext cx="2843213" cy="1447800"/>
          </a:xfrm>
          <a:prstGeom prst="rect">
            <a:avLst/>
          </a:prstGeom>
        </p:spPr>
        <p:txBody>
          <a:bodyPr vert="horz" wrap="square" lIns="0" tIns="45720" rIns="0" bIns="45720" rtlCol="0">
            <a:normAutofit/>
          </a:bodyPr>
          <a:lstStyle/>
          <a:p>
            <a:pPr algn="l">
              <a:lnSpc>
                <a:spcPct val="80000"/>
              </a:lnSpc>
            </a:pPr>
            <a:r>
              <a:rPr lang="en-GB" sz="7200" dirty="0">
                <a:solidFill>
                  <a:schemeClr val="bg1"/>
                </a:solidFill>
                <a:latin typeface="+mj-lt"/>
              </a:rPr>
              <a:t>110+</a:t>
            </a:r>
          </a:p>
          <a:p>
            <a:pPr algn="l">
              <a:lnSpc>
                <a:spcPct val="80000"/>
              </a:lnSpc>
            </a:pPr>
            <a:r>
              <a:rPr lang="en-GB" sz="3200" dirty="0">
                <a:solidFill>
                  <a:schemeClr val="accent2"/>
                </a:solidFill>
                <a:latin typeface="+mn-lt"/>
              </a:rPr>
              <a:t>lawyers</a:t>
            </a:r>
            <a:endParaRPr lang="en-GB" sz="8000" kern="1200" dirty="0">
              <a:solidFill>
                <a:schemeClr val="accent2"/>
              </a:solidFill>
              <a:latin typeface="+mj-lt"/>
              <a:ea typeface="+mn-ea"/>
              <a:cs typeface="+mn-cs"/>
            </a:endParaRPr>
          </a:p>
        </p:txBody>
      </p:sp>
      <p:sp>
        <p:nvSpPr>
          <p:cNvPr id="12" name="TextBox 11">
            <a:extLst>
              <a:ext uri="{FF2B5EF4-FFF2-40B4-BE49-F238E27FC236}">
                <a16:creationId xmlns:a16="http://schemas.microsoft.com/office/drawing/2014/main" id="{F11CE0C1-0666-DC6D-F362-A93308F22743}"/>
              </a:ext>
            </a:extLst>
          </p:cNvPr>
          <p:cNvSpPr txBox="1"/>
          <p:nvPr userDrawn="1"/>
        </p:nvSpPr>
        <p:spPr>
          <a:xfrm>
            <a:off x="8778240" y="4546753"/>
            <a:ext cx="2843213" cy="1775416"/>
          </a:xfrm>
          <a:prstGeom prst="rect">
            <a:avLst/>
          </a:prstGeom>
        </p:spPr>
        <p:txBody>
          <a:bodyPr vert="horz" wrap="square" lIns="0" tIns="45720" rIns="0" bIns="45720" rtlCol="0">
            <a:normAutofit/>
          </a:bodyPr>
          <a:lstStyle/>
          <a:p>
            <a:pPr marL="92075" indent="-92075" algn="l">
              <a:lnSpc>
                <a:spcPct val="100000"/>
              </a:lnSpc>
              <a:spcBef>
                <a:spcPts val="200"/>
              </a:spcBef>
              <a:spcAft>
                <a:spcPts val="200"/>
              </a:spcAft>
            </a:pPr>
            <a:r>
              <a:rPr lang="en-US" sz="1600" dirty="0">
                <a:solidFill>
                  <a:schemeClr val="bg1"/>
                </a:solidFill>
                <a:latin typeface="+mj-lt"/>
              </a:rPr>
              <a:t>“A long tradition of first-class service in this sector with enormous experience and knowledge.”</a:t>
            </a:r>
          </a:p>
          <a:p>
            <a:pPr marL="92075" indent="0" algn="l">
              <a:lnSpc>
                <a:spcPct val="100000"/>
              </a:lnSpc>
              <a:spcBef>
                <a:spcPts val="200"/>
              </a:spcBef>
              <a:spcAft>
                <a:spcPts val="200"/>
              </a:spcAft>
            </a:pPr>
            <a:r>
              <a:rPr lang="en-US" sz="1200" dirty="0">
                <a:solidFill>
                  <a:schemeClr val="accent2"/>
                </a:solidFill>
                <a:latin typeface="+mj-lt"/>
              </a:rPr>
              <a:t>COMMODITIES CLIENT</a:t>
            </a:r>
            <a:endParaRPr lang="en-GB" sz="1400" kern="1200" dirty="0">
              <a:solidFill>
                <a:schemeClr val="accent2"/>
              </a:solidFill>
              <a:latin typeface="+mj-lt"/>
              <a:ea typeface="+mn-ea"/>
              <a:cs typeface="+mn-cs"/>
            </a:endParaRPr>
          </a:p>
        </p:txBody>
      </p:sp>
      <p:sp>
        <p:nvSpPr>
          <p:cNvPr id="5" name="Footer Placeholder 4"/>
          <p:cNvSpPr>
            <a:spLocks noGrp="1"/>
          </p:cNvSpPr>
          <p:nvPr>
            <p:ph type="ftr" sz="quarter" idx="11"/>
          </p:nvPr>
        </p:nvSpPr>
        <p:spPr/>
        <p:txBody>
          <a:bodyPr/>
          <a:lstStyle/>
          <a:p>
            <a:r>
              <a:rPr lang="en-GB"/>
              <a:t>INSERT FOOTER HER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8CFE0557-AA98-4E6C-B0C3-581794696B68}" type="slidenum">
              <a:rPr lang="en-GB" smtClean="0"/>
              <a:pPr/>
              <a:t>‹#›</a:t>
            </a:fld>
            <a:endParaRPr lang="en-GB" dirty="0"/>
          </a:p>
        </p:txBody>
      </p:sp>
      <p:sp>
        <p:nvSpPr>
          <p:cNvPr id="23" name="Title 3">
            <a:extLst>
              <a:ext uri="{FF2B5EF4-FFF2-40B4-BE49-F238E27FC236}">
                <a16:creationId xmlns:a16="http://schemas.microsoft.com/office/drawing/2014/main" id="{8AB09B44-EDBF-17A6-8435-B2F4F07AB3F6}"/>
              </a:ext>
            </a:extLst>
          </p:cNvPr>
          <p:cNvSpPr txBox="1">
            <a:spLocks/>
          </p:cNvSpPr>
          <p:nvPr userDrawn="1"/>
        </p:nvSpPr>
        <p:spPr>
          <a:xfrm>
            <a:off x="508000" y="454014"/>
            <a:ext cx="7134225" cy="669934"/>
          </a:xfrm>
          <a:prstGeom prst="rect">
            <a:avLst/>
          </a:prstGeom>
        </p:spPr>
        <p:txBody>
          <a:bodyPr vert="horz" lIns="0" tIns="0" rIns="0" bIns="72000" rtlCol="0" anchor="t" anchorCtr="0">
            <a:noAutofit/>
          </a:bodyPr>
          <a:lstStyle>
            <a:lvl1pPr algn="l" defTabSz="914400" rtl="0" eaLnBrk="1" latinLnBrk="0" hangingPunct="1">
              <a:lnSpc>
                <a:spcPct val="90000"/>
              </a:lnSpc>
              <a:spcBef>
                <a:spcPct val="0"/>
              </a:spcBef>
              <a:buNone/>
              <a:defRPr sz="3200" kern="1200" cap="all" baseline="0">
                <a:solidFill>
                  <a:schemeClr val="tx2"/>
                </a:solidFill>
                <a:latin typeface="+mn-lt"/>
                <a:ea typeface="+mj-ea"/>
                <a:cs typeface="+mj-cs"/>
              </a:defRPr>
            </a:lvl1pPr>
          </a:lstStyle>
          <a:p>
            <a:r>
              <a:rPr lang="en-US" dirty="0"/>
              <a:t>COMMODITIES</a:t>
            </a:r>
            <a:endParaRPr lang="en-GB" dirty="0"/>
          </a:p>
        </p:txBody>
      </p:sp>
      <p:sp>
        <p:nvSpPr>
          <p:cNvPr id="25" name="TextBox 24">
            <a:extLst>
              <a:ext uri="{FF2B5EF4-FFF2-40B4-BE49-F238E27FC236}">
                <a16:creationId xmlns:a16="http://schemas.microsoft.com/office/drawing/2014/main" id="{A5EA36E1-4129-FEF6-9C2F-9D7197C7629D}"/>
              </a:ext>
            </a:extLst>
          </p:cNvPr>
          <p:cNvSpPr txBox="1"/>
          <p:nvPr userDrawn="1"/>
        </p:nvSpPr>
        <p:spPr>
          <a:xfrm>
            <a:off x="504826" y="1123946"/>
            <a:ext cx="7183961" cy="1027119"/>
          </a:xfrm>
          <a:prstGeom prst="rect">
            <a:avLst/>
          </a:prstGeom>
        </p:spPr>
        <p:txBody>
          <a:bodyPr vert="horz" wrap="square" lIns="0" tIns="45720" rIns="0" bIns="45720" rtlCol="0">
            <a:noAutofit/>
          </a:bodyPr>
          <a:lstStyle/>
          <a:p>
            <a:pPr marL="0" lvl="0" indent="0" algn="l" defTabSz="914400" rtl="0" eaLnBrk="1" latinLnBrk="0" hangingPunct="1">
              <a:lnSpc>
                <a:spcPct val="110000"/>
              </a:lnSpc>
              <a:spcBef>
                <a:spcPts val="300"/>
              </a:spcBef>
              <a:spcAft>
                <a:spcPts val="300"/>
              </a:spcAft>
              <a:buFont typeface="Arial" panose="020B0604020202020204" pitchFamily="34" charset="0"/>
              <a:buNone/>
            </a:pPr>
            <a:r>
              <a:rPr lang="en-US" sz="2000" kern="1200" dirty="0">
                <a:solidFill>
                  <a:schemeClr val="accent2"/>
                </a:solidFill>
                <a:latin typeface="+mj-lt"/>
                <a:ea typeface="+mn-ea"/>
                <a:cs typeface="+mn-cs"/>
              </a:rPr>
              <a:t>We have a market-leading team of specialist commodities and dispute resolution lawyers across our global network, including the major hubs of London, Paris, Geneva, Brussels, Dubai, Singapore, Hong Kong, Houston and Sydney.</a:t>
            </a:r>
          </a:p>
        </p:txBody>
      </p:sp>
      <p:sp>
        <p:nvSpPr>
          <p:cNvPr id="26" name="TextBox 25">
            <a:extLst>
              <a:ext uri="{FF2B5EF4-FFF2-40B4-BE49-F238E27FC236}">
                <a16:creationId xmlns:a16="http://schemas.microsoft.com/office/drawing/2014/main" id="{FDFD0AFD-8043-093A-16C9-665D20AE7490}"/>
              </a:ext>
            </a:extLst>
          </p:cNvPr>
          <p:cNvSpPr txBox="1"/>
          <p:nvPr userDrawn="1"/>
        </p:nvSpPr>
        <p:spPr>
          <a:xfrm>
            <a:off x="504826" y="2195825"/>
            <a:ext cx="3403599" cy="4022429"/>
          </a:xfrm>
          <a:prstGeom prst="rect">
            <a:avLst/>
          </a:prstGeom>
        </p:spPr>
        <p:txBody>
          <a:bodyPr vert="horz" lIns="0" tIns="45720" rIns="0" bIns="45720" rtlCol="0">
            <a:normAutofit/>
          </a:bodyPr>
          <a:lstStyle>
            <a:lvl1pPr indent="0" defTabSz="914400">
              <a:lnSpc>
                <a:spcPct val="130000"/>
              </a:lnSpc>
              <a:spcBef>
                <a:spcPts val="300"/>
              </a:spcBef>
              <a:spcAft>
                <a:spcPts val="300"/>
              </a:spcAft>
              <a:buFont typeface="Arial" panose="020B0604020202020204" pitchFamily="34" charset="0"/>
              <a:buNone/>
              <a:defRPr sz="1400">
                <a:solidFill>
                  <a:schemeClr val="tx2"/>
                </a:solidFill>
                <a:latin typeface="+mj-lt"/>
              </a:defRPr>
            </a:lvl1pPr>
            <a:lvl2pPr marL="0" lvl="1" indent="0" defTabSz="914400">
              <a:lnSpc>
                <a:spcPct val="130000"/>
              </a:lnSpc>
              <a:spcBef>
                <a:spcPts val="300"/>
              </a:spcBef>
              <a:spcAft>
                <a:spcPts val="300"/>
              </a:spcAft>
              <a:buFont typeface="Arial" panose="020B0604020202020204" pitchFamily="34" charset="0"/>
              <a:buNone/>
              <a:defRPr sz="1100"/>
            </a:lvl2pPr>
            <a:lvl3pPr marL="180975" indent="-180975" defTabSz="914400">
              <a:lnSpc>
                <a:spcPct val="130000"/>
              </a:lnSpc>
              <a:spcBef>
                <a:spcPts val="300"/>
              </a:spcBef>
              <a:spcAft>
                <a:spcPts val="300"/>
              </a:spcAft>
              <a:buClr>
                <a:schemeClr val="tx2"/>
              </a:buClr>
              <a:buSzPct val="105000"/>
              <a:buFont typeface="Arial" panose="020B0604020202020204" pitchFamily="34" charset="0"/>
              <a:buChar char="•"/>
              <a:defRPr sz="1100"/>
            </a:lvl3pPr>
            <a:lvl4pPr marL="539750" indent="-180975" defTabSz="914400">
              <a:lnSpc>
                <a:spcPct val="130000"/>
              </a:lnSpc>
              <a:spcBef>
                <a:spcPts val="300"/>
              </a:spcBef>
              <a:spcAft>
                <a:spcPts val="300"/>
              </a:spcAft>
              <a:buClr>
                <a:schemeClr val="tx2"/>
              </a:buClr>
              <a:buSzPct val="105000"/>
              <a:buFont typeface="Arial" panose="020B0604020202020204" pitchFamily="34" charset="0"/>
              <a:buChar char="•"/>
              <a:defRPr sz="1050"/>
            </a:lvl4pPr>
            <a:lvl5pPr marL="898525" indent="-180975" defTabSz="914400">
              <a:lnSpc>
                <a:spcPct val="130000"/>
              </a:lnSpc>
              <a:spcBef>
                <a:spcPts val="300"/>
              </a:spcBef>
              <a:spcAft>
                <a:spcPts val="300"/>
              </a:spcAft>
              <a:buClr>
                <a:schemeClr val="tx2"/>
              </a:buClr>
              <a:buSzPct val="105000"/>
              <a:buFont typeface="Arial" panose="020B0604020202020204" pitchFamily="34" charset="0"/>
              <a:buChar char="•"/>
              <a:defRPr sz="105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1"/>
            <a:endParaRPr lang="en-US" dirty="0"/>
          </a:p>
          <a:p>
            <a:pPr lvl="1"/>
            <a:endParaRPr lang="en-US" dirty="0"/>
          </a:p>
          <a:p>
            <a:pPr lvl="1"/>
            <a:endParaRPr lang="en-US" dirty="0"/>
          </a:p>
          <a:p>
            <a:pPr lvl="1"/>
            <a:r>
              <a:rPr lang="en-US" dirty="0"/>
              <a:t>We act across the full spectrum of the international sale of goods, including soft commodities, oil and gas, coal and steel, and non-ferrous and precious metals, and we also advise and represent clients in their related </a:t>
            </a:r>
            <a:r>
              <a:rPr lang="en-GB" dirty="0"/>
              <a:t>freight business.</a:t>
            </a:r>
          </a:p>
          <a:p>
            <a:pPr lvl="1"/>
            <a:r>
              <a:rPr lang="en-US" dirty="0"/>
              <a:t>Our focus is on assisting our clients to finance, develop and grow their businesses; to guard against risks; to help them to seek access to </a:t>
            </a:r>
            <a:br>
              <a:rPr lang="en-US" dirty="0"/>
            </a:br>
            <a:r>
              <a:rPr lang="en-US" dirty="0"/>
              <a:t>new markets; to deal with fast changing international regulations; and to assist them to </a:t>
            </a:r>
            <a:r>
              <a:rPr lang="en-GB" dirty="0"/>
              <a:t>resolve disputes.</a:t>
            </a:r>
          </a:p>
        </p:txBody>
      </p:sp>
      <p:sp>
        <p:nvSpPr>
          <p:cNvPr id="27" name="TextBox 26">
            <a:extLst>
              <a:ext uri="{FF2B5EF4-FFF2-40B4-BE49-F238E27FC236}">
                <a16:creationId xmlns:a16="http://schemas.microsoft.com/office/drawing/2014/main" id="{530F07B0-065E-C879-CBA7-03096D29DFC1}"/>
              </a:ext>
            </a:extLst>
          </p:cNvPr>
          <p:cNvSpPr txBox="1"/>
          <p:nvPr userDrawn="1"/>
        </p:nvSpPr>
        <p:spPr>
          <a:xfrm>
            <a:off x="4233546" y="2195825"/>
            <a:ext cx="3403599" cy="4022429"/>
          </a:xfrm>
          <a:prstGeom prst="rect">
            <a:avLst/>
          </a:prstGeom>
        </p:spPr>
        <p:txBody>
          <a:bodyPr vert="horz" lIns="0" tIns="45720" rIns="0" bIns="45720" rtlCol="0">
            <a:normAutofit/>
          </a:bodyPr>
          <a:lstStyle>
            <a:lvl1pPr indent="0" defTabSz="914400">
              <a:lnSpc>
                <a:spcPct val="130000"/>
              </a:lnSpc>
              <a:spcBef>
                <a:spcPts val="300"/>
              </a:spcBef>
              <a:spcAft>
                <a:spcPts val="300"/>
              </a:spcAft>
              <a:buFont typeface="Arial" panose="020B0604020202020204" pitchFamily="34" charset="0"/>
              <a:buNone/>
              <a:defRPr sz="1400">
                <a:solidFill>
                  <a:schemeClr val="tx2"/>
                </a:solidFill>
                <a:latin typeface="+mj-lt"/>
              </a:defRPr>
            </a:lvl1pPr>
            <a:lvl2pPr marL="0" lvl="1" indent="0" defTabSz="914400">
              <a:lnSpc>
                <a:spcPct val="130000"/>
              </a:lnSpc>
              <a:spcBef>
                <a:spcPts val="300"/>
              </a:spcBef>
              <a:spcAft>
                <a:spcPts val="300"/>
              </a:spcAft>
              <a:buFont typeface="Arial" panose="020B0604020202020204" pitchFamily="34" charset="0"/>
              <a:buNone/>
              <a:defRPr sz="1100"/>
            </a:lvl2pPr>
            <a:lvl3pPr marL="180975" indent="-180975" defTabSz="914400">
              <a:lnSpc>
                <a:spcPct val="130000"/>
              </a:lnSpc>
              <a:spcBef>
                <a:spcPts val="300"/>
              </a:spcBef>
              <a:spcAft>
                <a:spcPts val="300"/>
              </a:spcAft>
              <a:buClr>
                <a:schemeClr val="tx2"/>
              </a:buClr>
              <a:buSzPct val="105000"/>
              <a:buFont typeface="Arial" panose="020B0604020202020204" pitchFamily="34" charset="0"/>
              <a:buChar char="•"/>
              <a:defRPr sz="1100"/>
            </a:lvl3pPr>
            <a:lvl4pPr marL="539750" indent="-180975" defTabSz="914400">
              <a:lnSpc>
                <a:spcPct val="130000"/>
              </a:lnSpc>
              <a:spcBef>
                <a:spcPts val="300"/>
              </a:spcBef>
              <a:spcAft>
                <a:spcPts val="300"/>
              </a:spcAft>
              <a:buClr>
                <a:schemeClr val="tx2"/>
              </a:buClr>
              <a:buSzPct val="105000"/>
              <a:buFont typeface="Arial" panose="020B0604020202020204" pitchFamily="34" charset="0"/>
              <a:buChar char="•"/>
              <a:defRPr sz="1050"/>
            </a:lvl4pPr>
            <a:lvl5pPr marL="898525" indent="-180975" defTabSz="914400">
              <a:lnSpc>
                <a:spcPct val="130000"/>
              </a:lnSpc>
              <a:spcBef>
                <a:spcPts val="300"/>
              </a:spcBef>
              <a:spcAft>
                <a:spcPts val="300"/>
              </a:spcAft>
              <a:buClr>
                <a:schemeClr val="tx2"/>
              </a:buClr>
              <a:buSzPct val="105000"/>
              <a:buFont typeface="Arial" panose="020B0604020202020204" pitchFamily="34" charset="0"/>
              <a:buChar char="•"/>
              <a:defRPr sz="105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1"/>
            <a:endParaRPr lang="en-US" dirty="0"/>
          </a:p>
          <a:p>
            <a:pPr lvl="1"/>
            <a:endParaRPr lang="en-US" dirty="0"/>
          </a:p>
          <a:p>
            <a:pPr lvl="1"/>
            <a:endParaRPr lang="en-US" dirty="0"/>
          </a:p>
          <a:p>
            <a:pPr lvl="1"/>
            <a:r>
              <a:rPr lang="en-US" dirty="0"/>
              <a:t>Many of our lawyers have worked in the industry, giving us unrivalled experience and expertise, including secondments to the legal departments of traders and banks who are </a:t>
            </a:r>
            <a:r>
              <a:rPr lang="en-GB" dirty="0"/>
              <a:t>active in commodities.</a:t>
            </a:r>
          </a:p>
        </p:txBody>
      </p:sp>
    </p:spTree>
    <p:extLst>
      <p:ext uri="{BB962C8B-B14F-4D97-AF65-F5344CB8AC3E}">
        <p14:creationId xmlns:p14="http://schemas.microsoft.com/office/powerpoint/2010/main" val="2631581116"/>
      </p:ext>
    </p:extLst>
  </p:cSld>
  <p:clrMapOvr>
    <a:masterClrMapping/>
  </p:clrMapOvr>
  <p:transition spd="med">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9 Boxes">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507999" y="1735006"/>
            <a:ext cx="3400425" cy="1114520"/>
          </a:xfrm>
          <a:solidFill>
            <a:schemeClr val="bg2"/>
          </a:solidFill>
        </p:spPr>
        <p:txBody>
          <a:bodyPr vert="horz" lIns="108000" tIns="72000" rIns="72000" bIns="36000" numCol="1" spcCol="288000" rtlCol="0">
            <a:noAutofit/>
          </a:bodyPr>
          <a:lstStyle>
            <a:lvl1pPr>
              <a:lnSpc>
                <a:spcPct val="130000"/>
              </a:lnSpc>
              <a:spcBef>
                <a:spcPts val="200"/>
              </a:spcBef>
              <a:spcAft>
                <a:spcPts val="200"/>
              </a:spcAft>
              <a:defRPr lang="en-US" sz="1100" dirty="0" smtClean="0">
                <a:solidFill>
                  <a:schemeClr val="tx1"/>
                </a:solidFill>
                <a:latin typeface="+mn-lt"/>
              </a:defRPr>
            </a:lvl1pPr>
            <a:lvl2pPr marL="171450" indent="-171450">
              <a:lnSpc>
                <a:spcPct val="130000"/>
              </a:lnSpc>
              <a:spcBef>
                <a:spcPts val="200"/>
              </a:spcBef>
              <a:spcAft>
                <a:spcPts val="200"/>
              </a:spcAft>
              <a:buFont typeface="Arial" panose="020B0604020202020204" pitchFamily="34" charset="0"/>
              <a:buChar char="•"/>
              <a:defRPr lang="en-US" sz="1000" dirty="0"/>
            </a:lvl2pPr>
            <a:lvl3pPr marL="360363" indent="-182563">
              <a:lnSpc>
                <a:spcPct val="130000"/>
              </a:lnSpc>
              <a:spcBef>
                <a:spcPts val="200"/>
              </a:spcBef>
              <a:spcAft>
                <a:spcPts val="200"/>
              </a:spcAft>
              <a:defRPr lang="en-US" sz="1000" dirty="0"/>
            </a:lvl3pPr>
            <a:lvl4pPr>
              <a:defRPr lang="en-US" sz="1000" dirty="0"/>
            </a:lvl4pPr>
            <a:lvl5pPr>
              <a:defRPr lang="en-US" sz="1000" dirty="0"/>
            </a:lvl5pPr>
          </a:lstStyle>
          <a:p>
            <a:pPr lvl="0"/>
            <a:r>
              <a:rPr lang="en-US" dirty="0"/>
              <a:t>Click to edit master text styles</a:t>
            </a:r>
          </a:p>
          <a:p>
            <a:pPr lvl="1"/>
            <a:r>
              <a:rPr lang="en-US" dirty="0"/>
              <a:t>Second level</a:t>
            </a:r>
          </a:p>
          <a:p>
            <a:pPr lvl="2"/>
            <a:r>
              <a:rPr lang="en-US" dirty="0"/>
              <a:t>Third level</a:t>
            </a:r>
          </a:p>
        </p:txBody>
      </p:sp>
      <p:sp>
        <p:nvSpPr>
          <p:cNvPr id="5" name="Footer Placeholder 4"/>
          <p:cNvSpPr>
            <a:spLocks noGrp="1"/>
          </p:cNvSpPr>
          <p:nvPr>
            <p:ph type="ftr" sz="quarter" idx="11"/>
          </p:nvPr>
        </p:nvSpPr>
        <p:spPr/>
        <p:txBody>
          <a:bodyPr/>
          <a:lstStyle/>
          <a:p>
            <a:r>
              <a:rPr lang="en-GB"/>
              <a:t>INSERT FOOTER HERE</a:t>
            </a:r>
          </a:p>
        </p:txBody>
      </p:sp>
      <p:sp>
        <p:nvSpPr>
          <p:cNvPr id="6" name="Slide Number Placeholder 5"/>
          <p:cNvSpPr>
            <a:spLocks noGrp="1"/>
          </p:cNvSpPr>
          <p:nvPr>
            <p:ph type="sldNum" sz="quarter" idx="12"/>
          </p:nvPr>
        </p:nvSpPr>
        <p:spPr/>
        <p:txBody>
          <a:bodyPr/>
          <a:lstStyle/>
          <a:p>
            <a:fld id="{8CFE0557-AA98-4E6C-B0C3-581794696B68}" type="slidenum">
              <a:rPr lang="en-GB" smtClean="0"/>
              <a:t>‹#›</a:t>
            </a:fld>
            <a:endParaRPr lang="en-GB"/>
          </a:p>
        </p:txBody>
      </p:sp>
      <p:sp>
        <p:nvSpPr>
          <p:cNvPr id="7" name="Content Placeholder 2">
            <a:extLst>
              <a:ext uri="{FF2B5EF4-FFF2-40B4-BE49-F238E27FC236}">
                <a16:creationId xmlns:a16="http://schemas.microsoft.com/office/drawing/2014/main" id="{B0B00756-BEE2-1E4F-AA11-656D1916E332}"/>
              </a:ext>
            </a:extLst>
          </p:cNvPr>
          <p:cNvSpPr>
            <a:spLocks noGrp="1"/>
          </p:cNvSpPr>
          <p:nvPr>
            <p:ph idx="14" hasCustomPrompt="1"/>
          </p:nvPr>
        </p:nvSpPr>
        <p:spPr>
          <a:xfrm>
            <a:off x="507999" y="1411005"/>
            <a:ext cx="3400425" cy="324000"/>
          </a:xfrm>
          <a:solidFill>
            <a:schemeClr val="accent2"/>
          </a:solidFill>
        </p:spPr>
        <p:txBody>
          <a:bodyPr vert="horz" lIns="108000" tIns="45720" rIns="72000" bIns="45720" numCol="1" spcCol="216000" rtlCol="0" anchor="ctr" anchorCtr="0">
            <a:noAutofit/>
          </a:bodyPr>
          <a:lstStyle>
            <a:lvl1pPr>
              <a:defRPr lang="en-US" sz="1400" cap="all" baseline="0" dirty="0">
                <a:solidFill>
                  <a:schemeClr val="tx2"/>
                </a:solidFill>
              </a:defRPr>
            </a:lvl1pPr>
            <a:lvl2pPr>
              <a:defRPr lang="en-US" sz="900" dirty="0">
                <a:solidFill>
                  <a:schemeClr val="tx1"/>
                </a:solidFill>
              </a:defRPr>
            </a:lvl2pPr>
            <a:lvl3pPr>
              <a:defRPr lang="en-US" sz="800" dirty="0">
                <a:solidFill>
                  <a:schemeClr val="tx1"/>
                </a:solidFill>
              </a:defRPr>
            </a:lvl3pPr>
            <a:lvl4pPr>
              <a:defRPr lang="en-US" sz="700" dirty="0">
                <a:solidFill>
                  <a:schemeClr val="tx1"/>
                </a:solidFill>
              </a:defRPr>
            </a:lvl4pPr>
            <a:lvl5pPr>
              <a:defRPr lang="en-US" sz="700" dirty="0">
                <a:solidFill>
                  <a:schemeClr val="tx1"/>
                </a:solidFill>
              </a:defRPr>
            </a:lvl5pPr>
          </a:lstStyle>
          <a:p>
            <a:pPr lvl="0"/>
            <a:r>
              <a:rPr lang="en-US" dirty="0"/>
              <a:t>SUBHEAD</a:t>
            </a:r>
          </a:p>
        </p:txBody>
      </p:sp>
      <p:sp>
        <p:nvSpPr>
          <p:cNvPr id="4" name="Title 3">
            <a:extLst>
              <a:ext uri="{FF2B5EF4-FFF2-40B4-BE49-F238E27FC236}">
                <a16:creationId xmlns:a16="http://schemas.microsoft.com/office/drawing/2014/main" id="{6729F04B-D5C0-88EC-FA0F-B39A9EACF533}"/>
              </a:ext>
            </a:extLst>
          </p:cNvPr>
          <p:cNvSpPr>
            <a:spLocks noGrp="1"/>
          </p:cNvSpPr>
          <p:nvPr>
            <p:ph type="title" hasCustomPrompt="1"/>
          </p:nvPr>
        </p:nvSpPr>
        <p:spPr>
          <a:xfrm>
            <a:off x="508000" y="454014"/>
            <a:ext cx="11174413" cy="814806"/>
          </a:xfrm>
        </p:spPr>
        <p:txBody>
          <a:bodyPr/>
          <a:lstStyle/>
          <a:p>
            <a:r>
              <a:rPr lang="en-US" dirty="0"/>
              <a:t>TITLE: subtitle</a:t>
            </a:r>
            <a:endParaRPr lang="en-GB" dirty="0"/>
          </a:p>
        </p:txBody>
      </p:sp>
      <p:sp>
        <p:nvSpPr>
          <p:cNvPr id="11" name="Content Placeholder 2">
            <a:extLst>
              <a:ext uri="{FF2B5EF4-FFF2-40B4-BE49-F238E27FC236}">
                <a16:creationId xmlns:a16="http://schemas.microsoft.com/office/drawing/2014/main" id="{0CE1D013-BC17-F297-93DF-A3CE5AC5F6C5}"/>
              </a:ext>
            </a:extLst>
          </p:cNvPr>
          <p:cNvSpPr>
            <a:spLocks noGrp="1"/>
          </p:cNvSpPr>
          <p:nvPr>
            <p:ph idx="15" hasCustomPrompt="1"/>
          </p:nvPr>
        </p:nvSpPr>
        <p:spPr>
          <a:xfrm>
            <a:off x="4395788" y="1735006"/>
            <a:ext cx="3400425" cy="1114520"/>
          </a:xfrm>
          <a:solidFill>
            <a:schemeClr val="bg2"/>
          </a:solidFill>
        </p:spPr>
        <p:txBody>
          <a:bodyPr vert="horz" lIns="108000" tIns="72000" rIns="72000" bIns="36000" numCol="1" spcCol="288000" rtlCol="0">
            <a:noAutofit/>
          </a:bodyPr>
          <a:lstStyle>
            <a:lvl1pPr>
              <a:lnSpc>
                <a:spcPct val="130000"/>
              </a:lnSpc>
              <a:spcBef>
                <a:spcPts val="200"/>
              </a:spcBef>
              <a:spcAft>
                <a:spcPts val="200"/>
              </a:spcAft>
              <a:defRPr lang="en-US" sz="1100" dirty="0" smtClean="0">
                <a:solidFill>
                  <a:schemeClr val="tx1"/>
                </a:solidFill>
                <a:latin typeface="+mn-lt"/>
              </a:defRPr>
            </a:lvl1pPr>
            <a:lvl2pPr marL="171450" indent="-171450">
              <a:lnSpc>
                <a:spcPct val="130000"/>
              </a:lnSpc>
              <a:spcBef>
                <a:spcPts val="200"/>
              </a:spcBef>
              <a:spcAft>
                <a:spcPts val="200"/>
              </a:spcAft>
              <a:buFont typeface="Arial" panose="020B0604020202020204" pitchFamily="34" charset="0"/>
              <a:buChar char="•"/>
              <a:defRPr lang="en-US" sz="1000" dirty="0"/>
            </a:lvl2pPr>
            <a:lvl3pPr marL="360363" indent="-182563">
              <a:lnSpc>
                <a:spcPct val="130000"/>
              </a:lnSpc>
              <a:spcBef>
                <a:spcPts val="200"/>
              </a:spcBef>
              <a:spcAft>
                <a:spcPts val="200"/>
              </a:spcAft>
              <a:defRPr lang="en-US" sz="1000" dirty="0"/>
            </a:lvl3pPr>
            <a:lvl4pPr>
              <a:defRPr lang="en-US" sz="1000" dirty="0"/>
            </a:lvl4pPr>
            <a:lvl5pPr>
              <a:defRPr lang="en-US" sz="1000" dirty="0"/>
            </a:lvl5pPr>
          </a:lstStyle>
          <a:p>
            <a:pPr lvl="0"/>
            <a:r>
              <a:rPr lang="en-US" dirty="0"/>
              <a:t>Click to edit master text styles</a:t>
            </a:r>
          </a:p>
          <a:p>
            <a:pPr lvl="1"/>
            <a:r>
              <a:rPr lang="en-US" dirty="0"/>
              <a:t>Second level</a:t>
            </a:r>
          </a:p>
          <a:p>
            <a:pPr lvl="2"/>
            <a:r>
              <a:rPr lang="en-US" dirty="0"/>
              <a:t>Third level</a:t>
            </a:r>
          </a:p>
        </p:txBody>
      </p:sp>
      <p:sp>
        <p:nvSpPr>
          <p:cNvPr id="12" name="Content Placeholder 2">
            <a:extLst>
              <a:ext uri="{FF2B5EF4-FFF2-40B4-BE49-F238E27FC236}">
                <a16:creationId xmlns:a16="http://schemas.microsoft.com/office/drawing/2014/main" id="{044BC189-C8AB-468D-9AA3-F616D7D61B1C}"/>
              </a:ext>
            </a:extLst>
          </p:cNvPr>
          <p:cNvSpPr>
            <a:spLocks noGrp="1"/>
          </p:cNvSpPr>
          <p:nvPr>
            <p:ph idx="16" hasCustomPrompt="1"/>
          </p:nvPr>
        </p:nvSpPr>
        <p:spPr>
          <a:xfrm>
            <a:off x="4395788" y="1411005"/>
            <a:ext cx="3400425" cy="324000"/>
          </a:xfrm>
          <a:solidFill>
            <a:schemeClr val="accent2"/>
          </a:solidFill>
        </p:spPr>
        <p:txBody>
          <a:bodyPr vert="horz" lIns="108000" tIns="45720" rIns="72000" bIns="45720" numCol="1" spcCol="216000" rtlCol="0" anchor="ctr" anchorCtr="0">
            <a:noAutofit/>
          </a:bodyPr>
          <a:lstStyle>
            <a:lvl1pPr>
              <a:defRPr lang="en-US" sz="1400" cap="all" baseline="0" dirty="0">
                <a:solidFill>
                  <a:schemeClr val="tx2"/>
                </a:solidFill>
              </a:defRPr>
            </a:lvl1pPr>
            <a:lvl2pPr>
              <a:defRPr lang="en-US" sz="900" dirty="0">
                <a:solidFill>
                  <a:schemeClr val="tx1"/>
                </a:solidFill>
              </a:defRPr>
            </a:lvl2pPr>
            <a:lvl3pPr>
              <a:defRPr lang="en-US" sz="800" dirty="0">
                <a:solidFill>
                  <a:schemeClr val="tx1"/>
                </a:solidFill>
              </a:defRPr>
            </a:lvl3pPr>
            <a:lvl4pPr>
              <a:defRPr lang="en-US" sz="700" dirty="0">
                <a:solidFill>
                  <a:schemeClr val="tx1"/>
                </a:solidFill>
              </a:defRPr>
            </a:lvl4pPr>
            <a:lvl5pPr>
              <a:defRPr lang="en-US" sz="700" dirty="0">
                <a:solidFill>
                  <a:schemeClr val="tx1"/>
                </a:solidFill>
              </a:defRPr>
            </a:lvl5pPr>
          </a:lstStyle>
          <a:p>
            <a:pPr lvl="0"/>
            <a:r>
              <a:rPr lang="en-US" dirty="0"/>
              <a:t>SUBHEAD</a:t>
            </a:r>
          </a:p>
        </p:txBody>
      </p:sp>
      <p:sp>
        <p:nvSpPr>
          <p:cNvPr id="13" name="Content Placeholder 2">
            <a:extLst>
              <a:ext uri="{FF2B5EF4-FFF2-40B4-BE49-F238E27FC236}">
                <a16:creationId xmlns:a16="http://schemas.microsoft.com/office/drawing/2014/main" id="{A1200981-A11D-D18C-AFA5-249D970A9391}"/>
              </a:ext>
            </a:extLst>
          </p:cNvPr>
          <p:cNvSpPr>
            <a:spLocks noGrp="1"/>
          </p:cNvSpPr>
          <p:nvPr>
            <p:ph idx="17" hasCustomPrompt="1"/>
          </p:nvPr>
        </p:nvSpPr>
        <p:spPr>
          <a:xfrm>
            <a:off x="8281988" y="1735006"/>
            <a:ext cx="3400425" cy="1114520"/>
          </a:xfrm>
          <a:solidFill>
            <a:schemeClr val="bg2"/>
          </a:solidFill>
        </p:spPr>
        <p:txBody>
          <a:bodyPr vert="horz" lIns="108000" tIns="72000" rIns="72000" bIns="36000" numCol="1" spcCol="288000" rtlCol="0">
            <a:noAutofit/>
          </a:bodyPr>
          <a:lstStyle>
            <a:lvl1pPr>
              <a:lnSpc>
                <a:spcPct val="130000"/>
              </a:lnSpc>
              <a:spcBef>
                <a:spcPts val="200"/>
              </a:spcBef>
              <a:spcAft>
                <a:spcPts val="200"/>
              </a:spcAft>
              <a:defRPr lang="en-US" sz="1100" dirty="0" smtClean="0">
                <a:solidFill>
                  <a:schemeClr val="tx1"/>
                </a:solidFill>
                <a:latin typeface="+mn-lt"/>
              </a:defRPr>
            </a:lvl1pPr>
            <a:lvl2pPr marL="171450" indent="-171450">
              <a:lnSpc>
                <a:spcPct val="130000"/>
              </a:lnSpc>
              <a:spcBef>
                <a:spcPts val="200"/>
              </a:spcBef>
              <a:spcAft>
                <a:spcPts val="200"/>
              </a:spcAft>
              <a:buFont typeface="Arial" panose="020B0604020202020204" pitchFamily="34" charset="0"/>
              <a:buChar char="•"/>
              <a:defRPr lang="en-US" sz="1000" dirty="0"/>
            </a:lvl2pPr>
            <a:lvl3pPr marL="360363" indent="-182563">
              <a:lnSpc>
                <a:spcPct val="130000"/>
              </a:lnSpc>
              <a:spcBef>
                <a:spcPts val="200"/>
              </a:spcBef>
              <a:spcAft>
                <a:spcPts val="200"/>
              </a:spcAft>
              <a:defRPr lang="en-US" sz="1000" dirty="0"/>
            </a:lvl3pPr>
            <a:lvl4pPr>
              <a:defRPr lang="en-US" sz="1000" dirty="0"/>
            </a:lvl4pPr>
            <a:lvl5pPr>
              <a:defRPr lang="en-US" sz="1000" dirty="0"/>
            </a:lvl5pPr>
          </a:lstStyle>
          <a:p>
            <a:pPr lvl="0"/>
            <a:r>
              <a:rPr lang="en-US" dirty="0"/>
              <a:t>Click to edit master text styles</a:t>
            </a:r>
          </a:p>
          <a:p>
            <a:pPr lvl="1"/>
            <a:r>
              <a:rPr lang="en-US" dirty="0"/>
              <a:t>Second level</a:t>
            </a:r>
          </a:p>
          <a:p>
            <a:pPr lvl="2"/>
            <a:r>
              <a:rPr lang="en-US" dirty="0"/>
              <a:t>Third level</a:t>
            </a:r>
          </a:p>
        </p:txBody>
      </p:sp>
      <p:sp>
        <p:nvSpPr>
          <p:cNvPr id="14" name="Content Placeholder 2">
            <a:extLst>
              <a:ext uri="{FF2B5EF4-FFF2-40B4-BE49-F238E27FC236}">
                <a16:creationId xmlns:a16="http://schemas.microsoft.com/office/drawing/2014/main" id="{0023FB33-9B75-C810-5177-310B98EC4C2E}"/>
              </a:ext>
            </a:extLst>
          </p:cNvPr>
          <p:cNvSpPr>
            <a:spLocks noGrp="1"/>
          </p:cNvSpPr>
          <p:nvPr>
            <p:ph idx="18" hasCustomPrompt="1"/>
          </p:nvPr>
        </p:nvSpPr>
        <p:spPr>
          <a:xfrm>
            <a:off x="8281988" y="1411005"/>
            <a:ext cx="3400425" cy="324000"/>
          </a:xfrm>
          <a:solidFill>
            <a:schemeClr val="accent2"/>
          </a:solidFill>
        </p:spPr>
        <p:txBody>
          <a:bodyPr vert="horz" lIns="108000" tIns="45720" rIns="72000" bIns="45720" numCol="1" spcCol="216000" rtlCol="0" anchor="ctr" anchorCtr="0">
            <a:noAutofit/>
          </a:bodyPr>
          <a:lstStyle>
            <a:lvl1pPr>
              <a:defRPr lang="en-US" sz="1400" cap="all" baseline="0" dirty="0">
                <a:solidFill>
                  <a:schemeClr val="tx2"/>
                </a:solidFill>
              </a:defRPr>
            </a:lvl1pPr>
            <a:lvl2pPr>
              <a:defRPr lang="en-US" sz="900" dirty="0">
                <a:solidFill>
                  <a:schemeClr val="tx1"/>
                </a:solidFill>
              </a:defRPr>
            </a:lvl2pPr>
            <a:lvl3pPr>
              <a:defRPr lang="en-US" sz="800" dirty="0">
                <a:solidFill>
                  <a:schemeClr val="tx1"/>
                </a:solidFill>
              </a:defRPr>
            </a:lvl3pPr>
            <a:lvl4pPr>
              <a:defRPr lang="en-US" sz="700" dirty="0">
                <a:solidFill>
                  <a:schemeClr val="tx1"/>
                </a:solidFill>
              </a:defRPr>
            </a:lvl4pPr>
            <a:lvl5pPr>
              <a:defRPr lang="en-US" sz="700" dirty="0">
                <a:solidFill>
                  <a:schemeClr val="tx1"/>
                </a:solidFill>
              </a:defRPr>
            </a:lvl5pPr>
          </a:lstStyle>
          <a:p>
            <a:pPr lvl="0"/>
            <a:r>
              <a:rPr lang="en-US" dirty="0"/>
              <a:t>SUBHEAD</a:t>
            </a:r>
          </a:p>
        </p:txBody>
      </p:sp>
      <p:sp>
        <p:nvSpPr>
          <p:cNvPr id="15" name="Content Placeholder 2">
            <a:extLst>
              <a:ext uri="{FF2B5EF4-FFF2-40B4-BE49-F238E27FC236}">
                <a16:creationId xmlns:a16="http://schemas.microsoft.com/office/drawing/2014/main" id="{0DBEF8F2-E7A8-CB2A-D6C6-185F68EA57BB}"/>
              </a:ext>
            </a:extLst>
          </p:cNvPr>
          <p:cNvSpPr>
            <a:spLocks noGrp="1"/>
          </p:cNvSpPr>
          <p:nvPr>
            <p:ph idx="19" hasCustomPrompt="1"/>
          </p:nvPr>
        </p:nvSpPr>
        <p:spPr>
          <a:xfrm>
            <a:off x="507999" y="3429129"/>
            <a:ext cx="3400425" cy="1114520"/>
          </a:xfrm>
          <a:solidFill>
            <a:schemeClr val="bg2"/>
          </a:solidFill>
        </p:spPr>
        <p:txBody>
          <a:bodyPr vert="horz" lIns="108000" tIns="72000" rIns="72000" bIns="36000" numCol="1" spcCol="288000" rtlCol="0">
            <a:noAutofit/>
          </a:bodyPr>
          <a:lstStyle>
            <a:lvl1pPr>
              <a:lnSpc>
                <a:spcPct val="130000"/>
              </a:lnSpc>
              <a:spcBef>
                <a:spcPts val="200"/>
              </a:spcBef>
              <a:spcAft>
                <a:spcPts val="200"/>
              </a:spcAft>
              <a:defRPr lang="en-US" sz="1100" dirty="0" smtClean="0">
                <a:solidFill>
                  <a:schemeClr val="tx1"/>
                </a:solidFill>
                <a:latin typeface="+mn-lt"/>
              </a:defRPr>
            </a:lvl1pPr>
            <a:lvl2pPr marL="171450" indent="-171450">
              <a:lnSpc>
                <a:spcPct val="130000"/>
              </a:lnSpc>
              <a:spcBef>
                <a:spcPts val="200"/>
              </a:spcBef>
              <a:spcAft>
                <a:spcPts val="200"/>
              </a:spcAft>
              <a:buFont typeface="Arial" panose="020B0604020202020204" pitchFamily="34" charset="0"/>
              <a:buChar char="•"/>
              <a:defRPr lang="en-US" sz="1000" dirty="0"/>
            </a:lvl2pPr>
            <a:lvl3pPr marL="360363" indent="-182563">
              <a:lnSpc>
                <a:spcPct val="130000"/>
              </a:lnSpc>
              <a:spcBef>
                <a:spcPts val="200"/>
              </a:spcBef>
              <a:spcAft>
                <a:spcPts val="200"/>
              </a:spcAft>
              <a:defRPr lang="en-US" sz="1000" dirty="0"/>
            </a:lvl3pPr>
            <a:lvl4pPr>
              <a:defRPr lang="en-US" sz="1000" dirty="0"/>
            </a:lvl4pPr>
            <a:lvl5pPr>
              <a:defRPr lang="en-US" sz="1000" dirty="0"/>
            </a:lvl5pPr>
          </a:lstStyle>
          <a:p>
            <a:pPr lvl="0"/>
            <a:r>
              <a:rPr lang="en-US" dirty="0"/>
              <a:t>Click to edit master text styles</a:t>
            </a:r>
          </a:p>
          <a:p>
            <a:pPr lvl="1"/>
            <a:r>
              <a:rPr lang="en-US" dirty="0"/>
              <a:t>Second level</a:t>
            </a:r>
          </a:p>
          <a:p>
            <a:pPr lvl="2"/>
            <a:r>
              <a:rPr lang="en-US" dirty="0"/>
              <a:t>Third level</a:t>
            </a:r>
          </a:p>
        </p:txBody>
      </p:sp>
      <p:sp>
        <p:nvSpPr>
          <p:cNvPr id="16" name="Content Placeholder 2">
            <a:extLst>
              <a:ext uri="{FF2B5EF4-FFF2-40B4-BE49-F238E27FC236}">
                <a16:creationId xmlns:a16="http://schemas.microsoft.com/office/drawing/2014/main" id="{62C1633C-AF8C-5672-C8E9-59BF8E705D38}"/>
              </a:ext>
            </a:extLst>
          </p:cNvPr>
          <p:cNvSpPr>
            <a:spLocks noGrp="1"/>
          </p:cNvSpPr>
          <p:nvPr>
            <p:ph idx="20" hasCustomPrompt="1"/>
          </p:nvPr>
        </p:nvSpPr>
        <p:spPr>
          <a:xfrm>
            <a:off x="507999" y="3105128"/>
            <a:ext cx="3400425" cy="324000"/>
          </a:xfrm>
          <a:solidFill>
            <a:schemeClr val="accent2"/>
          </a:solidFill>
        </p:spPr>
        <p:txBody>
          <a:bodyPr vert="horz" lIns="108000" tIns="45720" rIns="72000" bIns="45720" numCol="1" spcCol="216000" rtlCol="0" anchor="ctr" anchorCtr="0">
            <a:noAutofit/>
          </a:bodyPr>
          <a:lstStyle>
            <a:lvl1pPr>
              <a:defRPr lang="en-US" sz="1400" cap="all" baseline="0" dirty="0">
                <a:solidFill>
                  <a:schemeClr val="tx2"/>
                </a:solidFill>
              </a:defRPr>
            </a:lvl1pPr>
            <a:lvl2pPr>
              <a:defRPr lang="en-US" sz="900" dirty="0">
                <a:solidFill>
                  <a:schemeClr val="tx1"/>
                </a:solidFill>
              </a:defRPr>
            </a:lvl2pPr>
            <a:lvl3pPr>
              <a:defRPr lang="en-US" sz="800" dirty="0">
                <a:solidFill>
                  <a:schemeClr val="tx1"/>
                </a:solidFill>
              </a:defRPr>
            </a:lvl3pPr>
            <a:lvl4pPr>
              <a:defRPr lang="en-US" sz="700" dirty="0">
                <a:solidFill>
                  <a:schemeClr val="tx1"/>
                </a:solidFill>
              </a:defRPr>
            </a:lvl4pPr>
            <a:lvl5pPr>
              <a:defRPr lang="en-US" sz="700" dirty="0">
                <a:solidFill>
                  <a:schemeClr val="tx1"/>
                </a:solidFill>
              </a:defRPr>
            </a:lvl5pPr>
          </a:lstStyle>
          <a:p>
            <a:pPr lvl="0"/>
            <a:r>
              <a:rPr lang="en-US" dirty="0"/>
              <a:t>SUBHEAD</a:t>
            </a:r>
          </a:p>
        </p:txBody>
      </p:sp>
      <p:sp>
        <p:nvSpPr>
          <p:cNvPr id="17" name="Content Placeholder 2">
            <a:extLst>
              <a:ext uri="{FF2B5EF4-FFF2-40B4-BE49-F238E27FC236}">
                <a16:creationId xmlns:a16="http://schemas.microsoft.com/office/drawing/2014/main" id="{03927300-C246-F5F7-919E-B25446AA46DA}"/>
              </a:ext>
            </a:extLst>
          </p:cNvPr>
          <p:cNvSpPr>
            <a:spLocks noGrp="1"/>
          </p:cNvSpPr>
          <p:nvPr>
            <p:ph idx="21" hasCustomPrompt="1"/>
          </p:nvPr>
        </p:nvSpPr>
        <p:spPr>
          <a:xfrm>
            <a:off x="4395788" y="3429129"/>
            <a:ext cx="3400425" cy="1114520"/>
          </a:xfrm>
          <a:solidFill>
            <a:schemeClr val="bg2"/>
          </a:solidFill>
        </p:spPr>
        <p:txBody>
          <a:bodyPr vert="horz" lIns="108000" tIns="72000" rIns="72000" bIns="36000" numCol="1" spcCol="288000" rtlCol="0">
            <a:noAutofit/>
          </a:bodyPr>
          <a:lstStyle>
            <a:lvl1pPr>
              <a:lnSpc>
                <a:spcPct val="130000"/>
              </a:lnSpc>
              <a:spcBef>
                <a:spcPts val="200"/>
              </a:spcBef>
              <a:spcAft>
                <a:spcPts val="200"/>
              </a:spcAft>
              <a:defRPr lang="en-US" sz="1100" dirty="0" smtClean="0">
                <a:solidFill>
                  <a:schemeClr val="tx1"/>
                </a:solidFill>
                <a:latin typeface="+mn-lt"/>
              </a:defRPr>
            </a:lvl1pPr>
            <a:lvl2pPr marL="171450" indent="-171450">
              <a:lnSpc>
                <a:spcPct val="130000"/>
              </a:lnSpc>
              <a:spcBef>
                <a:spcPts val="200"/>
              </a:spcBef>
              <a:spcAft>
                <a:spcPts val="200"/>
              </a:spcAft>
              <a:buFont typeface="Arial" panose="020B0604020202020204" pitchFamily="34" charset="0"/>
              <a:buChar char="•"/>
              <a:defRPr lang="en-US" sz="1000" dirty="0"/>
            </a:lvl2pPr>
            <a:lvl3pPr marL="360363" indent="-182563">
              <a:lnSpc>
                <a:spcPct val="130000"/>
              </a:lnSpc>
              <a:spcBef>
                <a:spcPts val="200"/>
              </a:spcBef>
              <a:spcAft>
                <a:spcPts val="200"/>
              </a:spcAft>
              <a:defRPr lang="en-US" sz="1000" dirty="0"/>
            </a:lvl3pPr>
            <a:lvl4pPr>
              <a:defRPr lang="en-US" sz="1000" dirty="0"/>
            </a:lvl4pPr>
            <a:lvl5pPr>
              <a:defRPr lang="en-US" sz="1000" dirty="0"/>
            </a:lvl5pPr>
          </a:lstStyle>
          <a:p>
            <a:pPr lvl="0"/>
            <a:r>
              <a:rPr lang="en-US" dirty="0"/>
              <a:t>Click to edit master text styles</a:t>
            </a:r>
          </a:p>
          <a:p>
            <a:pPr lvl="1"/>
            <a:r>
              <a:rPr lang="en-US" dirty="0"/>
              <a:t>Second level</a:t>
            </a:r>
          </a:p>
          <a:p>
            <a:pPr lvl="2"/>
            <a:r>
              <a:rPr lang="en-US" dirty="0"/>
              <a:t>Third level</a:t>
            </a:r>
          </a:p>
        </p:txBody>
      </p:sp>
      <p:sp>
        <p:nvSpPr>
          <p:cNvPr id="18" name="Content Placeholder 2">
            <a:extLst>
              <a:ext uri="{FF2B5EF4-FFF2-40B4-BE49-F238E27FC236}">
                <a16:creationId xmlns:a16="http://schemas.microsoft.com/office/drawing/2014/main" id="{376ABD33-7DE6-932D-F04B-E72ED7FB6DE7}"/>
              </a:ext>
            </a:extLst>
          </p:cNvPr>
          <p:cNvSpPr>
            <a:spLocks noGrp="1"/>
          </p:cNvSpPr>
          <p:nvPr>
            <p:ph idx="22" hasCustomPrompt="1"/>
          </p:nvPr>
        </p:nvSpPr>
        <p:spPr>
          <a:xfrm>
            <a:off x="4395788" y="3105128"/>
            <a:ext cx="3400425" cy="324000"/>
          </a:xfrm>
          <a:solidFill>
            <a:schemeClr val="accent2"/>
          </a:solidFill>
        </p:spPr>
        <p:txBody>
          <a:bodyPr vert="horz" lIns="108000" tIns="45720" rIns="72000" bIns="45720" numCol="1" spcCol="216000" rtlCol="0" anchor="ctr" anchorCtr="0">
            <a:noAutofit/>
          </a:bodyPr>
          <a:lstStyle>
            <a:lvl1pPr>
              <a:defRPr lang="en-US" sz="1400" cap="all" baseline="0" dirty="0">
                <a:solidFill>
                  <a:schemeClr val="tx2"/>
                </a:solidFill>
              </a:defRPr>
            </a:lvl1pPr>
            <a:lvl2pPr>
              <a:defRPr lang="en-US" sz="900" dirty="0">
                <a:solidFill>
                  <a:schemeClr val="tx1"/>
                </a:solidFill>
              </a:defRPr>
            </a:lvl2pPr>
            <a:lvl3pPr>
              <a:defRPr lang="en-US" sz="800" dirty="0">
                <a:solidFill>
                  <a:schemeClr val="tx1"/>
                </a:solidFill>
              </a:defRPr>
            </a:lvl3pPr>
            <a:lvl4pPr>
              <a:defRPr lang="en-US" sz="700" dirty="0">
                <a:solidFill>
                  <a:schemeClr val="tx1"/>
                </a:solidFill>
              </a:defRPr>
            </a:lvl4pPr>
            <a:lvl5pPr>
              <a:defRPr lang="en-US" sz="700" dirty="0">
                <a:solidFill>
                  <a:schemeClr val="tx1"/>
                </a:solidFill>
              </a:defRPr>
            </a:lvl5pPr>
          </a:lstStyle>
          <a:p>
            <a:pPr lvl="0"/>
            <a:r>
              <a:rPr lang="en-US" dirty="0"/>
              <a:t>SUBHEAD</a:t>
            </a:r>
          </a:p>
        </p:txBody>
      </p:sp>
      <p:sp>
        <p:nvSpPr>
          <p:cNvPr id="19" name="Content Placeholder 2">
            <a:extLst>
              <a:ext uri="{FF2B5EF4-FFF2-40B4-BE49-F238E27FC236}">
                <a16:creationId xmlns:a16="http://schemas.microsoft.com/office/drawing/2014/main" id="{0BCADF55-58AA-A5E6-A601-D3EFC46B0CB8}"/>
              </a:ext>
            </a:extLst>
          </p:cNvPr>
          <p:cNvSpPr>
            <a:spLocks noGrp="1"/>
          </p:cNvSpPr>
          <p:nvPr>
            <p:ph idx="23" hasCustomPrompt="1"/>
          </p:nvPr>
        </p:nvSpPr>
        <p:spPr>
          <a:xfrm>
            <a:off x="8281988" y="3429129"/>
            <a:ext cx="3400425" cy="1114520"/>
          </a:xfrm>
          <a:solidFill>
            <a:schemeClr val="bg2"/>
          </a:solidFill>
        </p:spPr>
        <p:txBody>
          <a:bodyPr vert="horz" lIns="108000" tIns="72000" rIns="72000" bIns="36000" numCol="1" spcCol="288000" rtlCol="0">
            <a:noAutofit/>
          </a:bodyPr>
          <a:lstStyle>
            <a:lvl1pPr>
              <a:lnSpc>
                <a:spcPct val="130000"/>
              </a:lnSpc>
              <a:spcBef>
                <a:spcPts val="200"/>
              </a:spcBef>
              <a:spcAft>
                <a:spcPts val="200"/>
              </a:spcAft>
              <a:defRPr lang="en-US" sz="1100" dirty="0" smtClean="0">
                <a:solidFill>
                  <a:schemeClr val="tx1"/>
                </a:solidFill>
                <a:latin typeface="+mn-lt"/>
              </a:defRPr>
            </a:lvl1pPr>
            <a:lvl2pPr marL="171450" indent="-171450">
              <a:lnSpc>
                <a:spcPct val="130000"/>
              </a:lnSpc>
              <a:spcBef>
                <a:spcPts val="200"/>
              </a:spcBef>
              <a:spcAft>
                <a:spcPts val="200"/>
              </a:spcAft>
              <a:buFont typeface="Arial" panose="020B0604020202020204" pitchFamily="34" charset="0"/>
              <a:buChar char="•"/>
              <a:defRPr lang="en-US" sz="1000" dirty="0"/>
            </a:lvl2pPr>
            <a:lvl3pPr marL="360363" indent="-182563">
              <a:lnSpc>
                <a:spcPct val="130000"/>
              </a:lnSpc>
              <a:spcBef>
                <a:spcPts val="200"/>
              </a:spcBef>
              <a:spcAft>
                <a:spcPts val="200"/>
              </a:spcAft>
              <a:defRPr lang="en-US" sz="1000" dirty="0"/>
            </a:lvl3pPr>
            <a:lvl4pPr>
              <a:defRPr lang="en-US" sz="1000" dirty="0"/>
            </a:lvl4pPr>
            <a:lvl5pPr>
              <a:defRPr lang="en-US" sz="1000" dirty="0"/>
            </a:lvl5pPr>
          </a:lstStyle>
          <a:p>
            <a:pPr lvl="0"/>
            <a:r>
              <a:rPr lang="en-US" dirty="0"/>
              <a:t>Click to edit master text styles</a:t>
            </a:r>
          </a:p>
          <a:p>
            <a:pPr lvl="1"/>
            <a:r>
              <a:rPr lang="en-US" dirty="0"/>
              <a:t>Second level</a:t>
            </a:r>
          </a:p>
          <a:p>
            <a:pPr lvl="2"/>
            <a:r>
              <a:rPr lang="en-US" dirty="0"/>
              <a:t>Third level</a:t>
            </a:r>
          </a:p>
        </p:txBody>
      </p:sp>
      <p:sp>
        <p:nvSpPr>
          <p:cNvPr id="20" name="Content Placeholder 2">
            <a:extLst>
              <a:ext uri="{FF2B5EF4-FFF2-40B4-BE49-F238E27FC236}">
                <a16:creationId xmlns:a16="http://schemas.microsoft.com/office/drawing/2014/main" id="{7880F858-592C-B5F5-F9D6-A561AF380DE8}"/>
              </a:ext>
            </a:extLst>
          </p:cNvPr>
          <p:cNvSpPr>
            <a:spLocks noGrp="1"/>
          </p:cNvSpPr>
          <p:nvPr>
            <p:ph idx="24" hasCustomPrompt="1"/>
          </p:nvPr>
        </p:nvSpPr>
        <p:spPr>
          <a:xfrm>
            <a:off x="8281988" y="3105128"/>
            <a:ext cx="3400425" cy="324000"/>
          </a:xfrm>
          <a:solidFill>
            <a:schemeClr val="accent2"/>
          </a:solidFill>
        </p:spPr>
        <p:txBody>
          <a:bodyPr vert="horz" lIns="108000" tIns="45720" rIns="72000" bIns="45720" numCol="1" spcCol="216000" rtlCol="0" anchor="ctr" anchorCtr="0">
            <a:noAutofit/>
          </a:bodyPr>
          <a:lstStyle>
            <a:lvl1pPr>
              <a:defRPr lang="en-US" sz="1400" cap="all" baseline="0" dirty="0">
                <a:solidFill>
                  <a:schemeClr val="tx2"/>
                </a:solidFill>
              </a:defRPr>
            </a:lvl1pPr>
            <a:lvl2pPr>
              <a:defRPr lang="en-US" sz="900" dirty="0">
                <a:solidFill>
                  <a:schemeClr val="tx1"/>
                </a:solidFill>
              </a:defRPr>
            </a:lvl2pPr>
            <a:lvl3pPr>
              <a:defRPr lang="en-US" sz="800" dirty="0">
                <a:solidFill>
                  <a:schemeClr val="tx1"/>
                </a:solidFill>
              </a:defRPr>
            </a:lvl3pPr>
            <a:lvl4pPr>
              <a:defRPr lang="en-US" sz="700" dirty="0">
                <a:solidFill>
                  <a:schemeClr val="tx1"/>
                </a:solidFill>
              </a:defRPr>
            </a:lvl4pPr>
            <a:lvl5pPr>
              <a:defRPr lang="en-US" sz="700" dirty="0">
                <a:solidFill>
                  <a:schemeClr val="tx1"/>
                </a:solidFill>
              </a:defRPr>
            </a:lvl5pPr>
          </a:lstStyle>
          <a:p>
            <a:pPr lvl="0"/>
            <a:r>
              <a:rPr lang="en-US" dirty="0"/>
              <a:t>SUBHEAD</a:t>
            </a:r>
          </a:p>
        </p:txBody>
      </p:sp>
      <p:sp>
        <p:nvSpPr>
          <p:cNvPr id="21" name="Content Placeholder 2">
            <a:extLst>
              <a:ext uri="{FF2B5EF4-FFF2-40B4-BE49-F238E27FC236}">
                <a16:creationId xmlns:a16="http://schemas.microsoft.com/office/drawing/2014/main" id="{B8365A59-2337-7B5E-B124-66D8436B5263}"/>
              </a:ext>
            </a:extLst>
          </p:cNvPr>
          <p:cNvSpPr>
            <a:spLocks noGrp="1"/>
          </p:cNvSpPr>
          <p:nvPr>
            <p:ph idx="25" hasCustomPrompt="1"/>
          </p:nvPr>
        </p:nvSpPr>
        <p:spPr>
          <a:xfrm>
            <a:off x="507999" y="5101983"/>
            <a:ext cx="3400425" cy="1114520"/>
          </a:xfrm>
          <a:solidFill>
            <a:schemeClr val="bg2"/>
          </a:solidFill>
        </p:spPr>
        <p:txBody>
          <a:bodyPr vert="horz" lIns="108000" tIns="72000" rIns="72000" bIns="36000" numCol="1" spcCol="288000" rtlCol="0">
            <a:noAutofit/>
          </a:bodyPr>
          <a:lstStyle>
            <a:lvl1pPr>
              <a:lnSpc>
                <a:spcPct val="130000"/>
              </a:lnSpc>
              <a:spcBef>
                <a:spcPts val="200"/>
              </a:spcBef>
              <a:spcAft>
                <a:spcPts val="200"/>
              </a:spcAft>
              <a:defRPr lang="en-US" sz="1100" dirty="0" smtClean="0">
                <a:solidFill>
                  <a:schemeClr val="tx1"/>
                </a:solidFill>
                <a:latin typeface="+mn-lt"/>
              </a:defRPr>
            </a:lvl1pPr>
            <a:lvl2pPr marL="171450" indent="-171450">
              <a:lnSpc>
                <a:spcPct val="130000"/>
              </a:lnSpc>
              <a:spcBef>
                <a:spcPts val="200"/>
              </a:spcBef>
              <a:spcAft>
                <a:spcPts val="200"/>
              </a:spcAft>
              <a:buFont typeface="Arial" panose="020B0604020202020204" pitchFamily="34" charset="0"/>
              <a:buChar char="•"/>
              <a:defRPr lang="en-US" sz="1000" dirty="0"/>
            </a:lvl2pPr>
            <a:lvl3pPr marL="360363" indent="-182563">
              <a:lnSpc>
                <a:spcPct val="130000"/>
              </a:lnSpc>
              <a:spcBef>
                <a:spcPts val="200"/>
              </a:spcBef>
              <a:spcAft>
                <a:spcPts val="200"/>
              </a:spcAft>
              <a:defRPr lang="en-US" sz="1000" dirty="0"/>
            </a:lvl3pPr>
            <a:lvl4pPr>
              <a:defRPr lang="en-US" sz="1000" dirty="0"/>
            </a:lvl4pPr>
            <a:lvl5pPr>
              <a:defRPr lang="en-US" sz="1000" dirty="0"/>
            </a:lvl5pPr>
          </a:lstStyle>
          <a:p>
            <a:pPr lvl="0"/>
            <a:r>
              <a:rPr lang="en-US" dirty="0"/>
              <a:t>Click to edit master text styles</a:t>
            </a:r>
          </a:p>
          <a:p>
            <a:pPr lvl="1"/>
            <a:r>
              <a:rPr lang="en-US" dirty="0"/>
              <a:t>Second level</a:t>
            </a:r>
          </a:p>
          <a:p>
            <a:pPr lvl="2"/>
            <a:r>
              <a:rPr lang="en-US" dirty="0"/>
              <a:t>Third level</a:t>
            </a:r>
          </a:p>
        </p:txBody>
      </p:sp>
      <p:sp>
        <p:nvSpPr>
          <p:cNvPr id="22" name="Content Placeholder 2">
            <a:extLst>
              <a:ext uri="{FF2B5EF4-FFF2-40B4-BE49-F238E27FC236}">
                <a16:creationId xmlns:a16="http://schemas.microsoft.com/office/drawing/2014/main" id="{74EDE4A7-B395-2B29-E429-599F2CF2BC66}"/>
              </a:ext>
            </a:extLst>
          </p:cNvPr>
          <p:cNvSpPr>
            <a:spLocks noGrp="1"/>
          </p:cNvSpPr>
          <p:nvPr>
            <p:ph idx="26" hasCustomPrompt="1"/>
          </p:nvPr>
        </p:nvSpPr>
        <p:spPr>
          <a:xfrm>
            <a:off x="507999" y="4777982"/>
            <a:ext cx="3400425" cy="324000"/>
          </a:xfrm>
          <a:solidFill>
            <a:schemeClr val="accent2"/>
          </a:solidFill>
        </p:spPr>
        <p:txBody>
          <a:bodyPr vert="horz" lIns="108000" tIns="45720" rIns="72000" bIns="45720" numCol="1" spcCol="216000" rtlCol="0" anchor="ctr" anchorCtr="0">
            <a:noAutofit/>
          </a:bodyPr>
          <a:lstStyle>
            <a:lvl1pPr>
              <a:defRPr lang="en-US" sz="1400" cap="all" baseline="0" dirty="0">
                <a:solidFill>
                  <a:schemeClr val="tx2"/>
                </a:solidFill>
              </a:defRPr>
            </a:lvl1pPr>
            <a:lvl2pPr>
              <a:defRPr lang="en-US" sz="900" dirty="0">
                <a:solidFill>
                  <a:schemeClr val="tx1"/>
                </a:solidFill>
              </a:defRPr>
            </a:lvl2pPr>
            <a:lvl3pPr>
              <a:defRPr lang="en-US" sz="800" dirty="0">
                <a:solidFill>
                  <a:schemeClr val="tx1"/>
                </a:solidFill>
              </a:defRPr>
            </a:lvl3pPr>
            <a:lvl4pPr>
              <a:defRPr lang="en-US" sz="700" dirty="0">
                <a:solidFill>
                  <a:schemeClr val="tx1"/>
                </a:solidFill>
              </a:defRPr>
            </a:lvl4pPr>
            <a:lvl5pPr>
              <a:defRPr lang="en-US" sz="700" dirty="0">
                <a:solidFill>
                  <a:schemeClr val="tx1"/>
                </a:solidFill>
              </a:defRPr>
            </a:lvl5pPr>
          </a:lstStyle>
          <a:p>
            <a:pPr lvl="0"/>
            <a:r>
              <a:rPr lang="en-US" dirty="0"/>
              <a:t>SUBHEAD</a:t>
            </a:r>
          </a:p>
        </p:txBody>
      </p:sp>
      <p:sp>
        <p:nvSpPr>
          <p:cNvPr id="23" name="Content Placeholder 2">
            <a:extLst>
              <a:ext uri="{FF2B5EF4-FFF2-40B4-BE49-F238E27FC236}">
                <a16:creationId xmlns:a16="http://schemas.microsoft.com/office/drawing/2014/main" id="{CF99ABED-044C-C28A-86DC-D97A636A68EE}"/>
              </a:ext>
            </a:extLst>
          </p:cNvPr>
          <p:cNvSpPr>
            <a:spLocks noGrp="1"/>
          </p:cNvSpPr>
          <p:nvPr>
            <p:ph idx="27" hasCustomPrompt="1"/>
          </p:nvPr>
        </p:nvSpPr>
        <p:spPr>
          <a:xfrm>
            <a:off x="4395788" y="5101983"/>
            <a:ext cx="3400425" cy="1114520"/>
          </a:xfrm>
          <a:solidFill>
            <a:schemeClr val="bg2"/>
          </a:solidFill>
        </p:spPr>
        <p:txBody>
          <a:bodyPr vert="horz" lIns="108000" tIns="72000" rIns="72000" bIns="36000" numCol="1" spcCol="288000" rtlCol="0">
            <a:noAutofit/>
          </a:bodyPr>
          <a:lstStyle>
            <a:lvl1pPr>
              <a:lnSpc>
                <a:spcPct val="130000"/>
              </a:lnSpc>
              <a:spcBef>
                <a:spcPts val="200"/>
              </a:spcBef>
              <a:spcAft>
                <a:spcPts val="200"/>
              </a:spcAft>
              <a:defRPr lang="en-US" sz="1100" dirty="0" smtClean="0">
                <a:solidFill>
                  <a:schemeClr val="tx1"/>
                </a:solidFill>
                <a:latin typeface="+mn-lt"/>
              </a:defRPr>
            </a:lvl1pPr>
            <a:lvl2pPr marL="171450" indent="-171450">
              <a:lnSpc>
                <a:spcPct val="130000"/>
              </a:lnSpc>
              <a:spcBef>
                <a:spcPts val="200"/>
              </a:spcBef>
              <a:spcAft>
                <a:spcPts val="200"/>
              </a:spcAft>
              <a:buFont typeface="Arial" panose="020B0604020202020204" pitchFamily="34" charset="0"/>
              <a:buChar char="•"/>
              <a:defRPr lang="en-US" sz="1000" dirty="0"/>
            </a:lvl2pPr>
            <a:lvl3pPr marL="360363" indent="-182563">
              <a:lnSpc>
                <a:spcPct val="130000"/>
              </a:lnSpc>
              <a:spcBef>
                <a:spcPts val="200"/>
              </a:spcBef>
              <a:spcAft>
                <a:spcPts val="200"/>
              </a:spcAft>
              <a:defRPr lang="en-US" sz="1000" dirty="0"/>
            </a:lvl3pPr>
            <a:lvl4pPr>
              <a:defRPr lang="en-US" sz="1000" dirty="0"/>
            </a:lvl4pPr>
            <a:lvl5pPr>
              <a:defRPr lang="en-US" sz="1000" dirty="0"/>
            </a:lvl5pPr>
          </a:lstStyle>
          <a:p>
            <a:pPr lvl="0"/>
            <a:r>
              <a:rPr lang="en-US" dirty="0"/>
              <a:t>Click to edit master text styles</a:t>
            </a:r>
          </a:p>
          <a:p>
            <a:pPr lvl="1"/>
            <a:r>
              <a:rPr lang="en-US" dirty="0"/>
              <a:t>Second level</a:t>
            </a:r>
          </a:p>
          <a:p>
            <a:pPr lvl="2"/>
            <a:r>
              <a:rPr lang="en-US" dirty="0"/>
              <a:t>Third level</a:t>
            </a:r>
          </a:p>
        </p:txBody>
      </p:sp>
      <p:sp>
        <p:nvSpPr>
          <p:cNvPr id="24" name="Content Placeholder 2">
            <a:extLst>
              <a:ext uri="{FF2B5EF4-FFF2-40B4-BE49-F238E27FC236}">
                <a16:creationId xmlns:a16="http://schemas.microsoft.com/office/drawing/2014/main" id="{59C2FBAA-C8E8-1022-B792-35D5DDB21932}"/>
              </a:ext>
            </a:extLst>
          </p:cNvPr>
          <p:cNvSpPr>
            <a:spLocks noGrp="1"/>
          </p:cNvSpPr>
          <p:nvPr>
            <p:ph idx="28" hasCustomPrompt="1"/>
          </p:nvPr>
        </p:nvSpPr>
        <p:spPr>
          <a:xfrm>
            <a:off x="4395788" y="4777982"/>
            <a:ext cx="3400425" cy="324000"/>
          </a:xfrm>
          <a:solidFill>
            <a:schemeClr val="accent2"/>
          </a:solidFill>
        </p:spPr>
        <p:txBody>
          <a:bodyPr vert="horz" lIns="108000" tIns="45720" rIns="72000" bIns="45720" numCol="1" spcCol="216000" rtlCol="0" anchor="ctr" anchorCtr="0">
            <a:noAutofit/>
          </a:bodyPr>
          <a:lstStyle>
            <a:lvl1pPr>
              <a:defRPr lang="en-US" sz="1400" cap="all" baseline="0" dirty="0">
                <a:solidFill>
                  <a:schemeClr val="tx2"/>
                </a:solidFill>
              </a:defRPr>
            </a:lvl1pPr>
            <a:lvl2pPr>
              <a:defRPr lang="en-US" sz="900" dirty="0">
                <a:solidFill>
                  <a:schemeClr val="tx1"/>
                </a:solidFill>
              </a:defRPr>
            </a:lvl2pPr>
            <a:lvl3pPr>
              <a:defRPr lang="en-US" sz="800" dirty="0">
                <a:solidFill>
                  <a:schemeClr val="tx1"/>
                </a:solidFill>
              </a:defRPr>
            </a:lvl3pPr>
            <a:lvl4pPr>
              <a:defRPr lang="en-US" sz="700" dirty="0">
                <a:solidFill>
                  <a:schemeClr val="tx1"/>
                </a:solidFill>
              </a:defRPr>
            </a:lvl4pPr>
            <a:lvl5pPr>
              <a:defRPr lang="en-US" sz="700" dirty="0">
                <a:solidFill>
                  <a:schemeClr val="tx1"/>
                </a:solidFill>
              </a:defRPr>
            </a:lvl5pPr>
          </a:lstStyle>
          <a:p>
            <a:pPr lvl="0"/>
            <a:r>
              <a:rPr lang="en-US" dirty="0"/>
              <a:t>SUBHEAD</a:t>
            </a:r>
          </a:p>
        </p:txBody>
      </p:sp>
      <p:sp>
        <p:nvSpPr>
          <p:cNvPr id="25" name="Content Placeholder 2">
            <a:extLst>
              <a:ext uri="{FF2B5EF4-FFF2-40B4-BE49-F238E27FC236}">
                <a16:creationId xmlns:a16="http://schemas.microsoft.com/office/drawing/2014/main" id="{584D9391-3CD0-8610-CCD4-AC86F2BD9D8B}"/>
              </a:ext>
            </a:extLst>
          </p:cNvPr>
          <p:cNvSpPr>
            <a:spLocks noGrp="1"/>
          </p:cNvSpPr>
          <p:nvPr>
            <p:ph idx="29" hasCustomPrompt="1"/>
          </p:nvPr>
        </p:nvSpPr>
        <p:spPr>
          <a:xfrm>
            <a:off x="8281988" y="5101983"/>
            <a:ext cx="3400425" cy="1114520"/>
          </a:xfrm>
          <a:solidFill>
            <a:schemeClr val="bg2"/>
          </a:solidFill>
        </p:spPr>
        <p:txBody>
          <a:bodyPr vert="horz" lIns="108000" tIns="72000" rIns="72000" bIns="36000" numCol="1" spcCol="288000" rtlCol="0">
            <a:noAutofit/>
          </a:bodyPr>
          <a:lstStyle>
            <a:lvl1pPr>
              <a:lnSpc>
                <a:spcPct val="130000"/>
              </a:lnSpc>
              <a:spcBef>
                <a:spcPts val="200"/>
              </a:spcBef>
              <a:spcAft>
                <a:spcPts val="200"/>
              </a:spcAft>
              <a:defRPr lang="en-US" sz="1100" dirty="0" smtClean="0">
                <a:solidFill>
                  <a:schemeClr val="tx1"/>
                </a:solidFill>
                <a:latin typeface="+mn-lt"/>
              </a:defRPr>
            </a:lvl1pPr>
            <a:lvl2pPr marL="171450" indent="-171450">
              <a:lnSpc>
                <a:spcPct val="130000"/>
              </a:lnSpc>
              <a:spcBef>
                <a:spcPts val="200"/>
              </a:spcBef>
              <a:spcAft>
                <a:spcPts val="200"/>
              </a:spcAft>
              <a:buFont typeface="Arial" panose="020B0604020202020204" pitchFamily="34" charset="0"/>
              <a:buChar char="•"/>
              <a:defRPr lang="en-US" sz="1000" dirty="0"/>
            </a:lvl2pPr>
            <a:lvl3pPr marL="360363" indent="-182563">
              <a:lnSpc>
                <a:spcPct val="130000"/>
              </a:lnSpc>
              <a:spcBef>
                <a:spcPts val="200"/>
              </a:spcBef>
              <a:spcAft>
                <a:spcPts val="200"/>
              </a:spcAft>
              <a:defRPr lang="en-US" sz="1000" dirty="0"/>
            </a:lvl3pPr>
            <a:lvl4pPr>
              <a:defRPr lang="en-US" sz="1000" dirty="0"/>
            </a:lvl4pPr>
            <a:lvl5pPr>
              <a:defRPr lang="en-US" sz="1000" dirty="0"/>
            </a:lvl5pPr>
          </a:lstStyle>
          <a:p>
            <a:pPr lvl="0"/>
            <a:r>
              <a:rPr lang="en-US" dirty="0"/>
              <a:t>Click to edit master text styles</a:t>
            </a:r>
          </a:p>
          <a:p>
            <a:pPr lvl="1"/>
            <a:r>
              <a:rPr lang="en-US" dirty="0"/>
              <a:t>Second level</a:t>
            </a:r>
          </a:p>
          <a:p>
            <a:pPr lvl="2"/>
            <a:r>
              <a:rPr lang="en-US" dirty="0"/>
              <a:t>Third level</a:t>
            </a:r>
          </a:p>
        </p:txBody>
      </p:sp>
      <p:sp>
        <p:nvSpPr>
          <p:cNvPr id="26" name="Content Placeholder 2">
            <a:extLst>
              <a:ext uri="{FF2B5EF4-FFF2-40B4-BE49-F238E27FC236}">
                <a16:creationId xmlns:a16="http://schemas.microsoft.com/office/drawing/2014/main" id="{D1FCAE6E-5DF6-60E1-AD14-3339349B5AF0}"/>
              </a:ext>
            </a:extLst>
          </p:cNvPr>
          <p:cNvSpPr>
            <a:spLocks noGrp="1"/>
          </p:cNvSpPr>
          <p:nvPr>
            <p:ph idx="30" hasCustomPrompt="1"/>
          </p:nvPr>
        </p:nvSpPr>
        <p:spPr>
          <a:xfrm>
            <a:off x="8281988" y="4777982"/>
            <a:ext cx="3400425" cy="324000"/>
          </a:xfrm>
          <a:solidFill>
            <a:schemeClr val="accent2"/>
          </a:solidFill>
        </p:spPr>
        <p:txBody>
          <a:bodyPr vert="horz" lIns="108000" tIns="45720" rIns="72000" bIns="45720" numCol="1" spcCol="216000" rtlCol="0" anchor="ctr" anchorCtr="0">
            <a:noAutofit/>
          </a:bodyPr>
          <a:lstStyle>
            <a:lvl1pPr>
              <a:defRPr lang="en-US" sz="1400" cap="all" baseline="0" dirty="0">
                <a:solidFill>
                  <a:schemeClr val="tx2"/>
                </a:solidFill>
              </a:defRPr>
            </a:lvl1pPr>
            <a:lvl2pPr>
              <a:defRPr lang="en-US" sz="900" dirty="0">
                <a:solidFill>
                  <a:schemeClr val="tx1"/>
                </a:solidFill>
              </a:defRPr>
            </a:lvl2pPr>
            <a:lvl3pPr>
              <a:defRPr lang="en-US" sz="800" dirty="0">
                <a:solidFill>
                  <a:schemeClr val="tx1"/>
                </a:solidFill>
              </a:defRPr>
            </a:lvl3pPr>
            <a:lvl4pPr>
              <a:defRPr lang="en-US" sz="700" dirty="0">
                <a:solidFill>
                  <a:schemeClr val="tx1"/>
                </a:solidFill>
              </a:defRPr>
            </a:lvl4pPr>
            <a:lvl5pPr>
              <a:defRPr lang="en-US" sz="700" dirty="0">
                <a:solidFill>
                  <a:schemeClr val="tx1"/>
                </a:solidFill>
              </a:defRPr>
            </a:lvl5pPr>
          </a:lstStyle>
          <a:p>
            <a:pPr lvl="0"/>
            <a:r>
              <a:rPr lang="en-US" dirty="0"/>
              <a:t>SUBHEAD</a:t>
            </a:r>
          </a:p>
        </p:txBody>
      </p:sp>
    </p:spTree>
    <p:extLst>
      <p:ext uri="{BB962C8B-B14F-4D97-AF65-F5344CB8AC3E}">
        <p14:creationId xmlns:p14="http://schemas.microsoft.com/office/powerpoint/2010/main" val="3967922037"/>
      </p:ext>
    </p:extLst>
  </p:cSld>
  <p:clrMapOvr>
    <a:masterClrMapping/>
  </p:clrMapOvr>
  <p:transition spd="med">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6 Boxes &amp; Image">
    <p:spTree>
      <p:nvGrpSpPr>
        <p:cNvPr id="1" name=""/>
        <p:cNvGrpSpPr/>
        <p:nvPr/>
      </p:nvGrpSpPr>
      <p:grpSpPr>
        <a:xfrm>
          <a:off x="0" y="0"/>
          <a:ext cx="0" cy="0"/>
          <a:chOff x="0" y="0"/>
          <a:chExt cx="0" cy="0"/>
        </a:xfrm>
      </p:grpSpPr>
      <p:sp>
        <p:nvSpPr>
          <p:cNvPr id="2" name="Picture Placeholder 10">
            <a:extLst>
              <a:ext uri="{FF2B5EF4-FFF2-40B4-BE49-F238E27FC236}">
                <a16:creationId xmlns:a16="http://schemas.microsoft.com/office/drawing/2014/main" id="{6B49C9AF-CB11-15A0-88E9-D799C8E8E6EB}"/>
              </a:ext>
            </a:extLst>
          </p:cNvPr>
          <p:cNvSpPr>
            <a:spLocks noGrp="1"/>
          </p:cNvSpPr>
          <p:nvPr>
            <p:ph type="pic" sz="quarter" idx="13" hasCustomPrompt="1"/>
          </p:nvPr>
        </p:nvSpPr>
        <p:spPr>
          <a:xfrm>
            <a:off x="8126412" y="0"/>
            <a:ext cx="4065587" cy="6858000"/>
          </a:xfrm>
          <a:solidFill>
            <a:schemeClr val="tx1"/>
          </a:solidFill>
        </p:spPr>
        <p:txBody>
          <a:bodyPr vert="horz" lIns="0" tIns="45720" rIns="0" bIns="45720" rtlCol="0" anchor="ctr">
            <a:normAutofit/>
          </a:bodyPr>
          <a:lstStyle>
            <a:lvl1pPr algn="ctr">
              <a:defRPr lang="en-GB" sz="2800" b="0" dirty="0">
                <a:solidFill>
                  <a:schemeClr val="bg1"/>
                </a:solidFill>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US" dirty="0"/>
              <a:t>ADD RELATED </a:t>
            </a:r>
            <a:br>
              <a:rPr lang="en-US" dirty="0"/>
            </a:br>
            <a:r>
              <a:rPr lang="en-US" dirty="0"/>
              <a:t>IMAGE </a:t>
            </a:r>
            <a:br>
              <a:rPr lang="en-US" dirty="0"/>
            </a:br>
            <a:r>
              <a:rPr lang="en-US" dirty="0"/>
              <a:t>FROM HFW </a:t>
            </a:r>
            <a:br>
              <a:rPr lang="en-US" dirty="0"/>
            </a:br>
            <a:r>
              <a:rPr lang="en-US" dirty="0"/>
              <a:t>IMAGE LIBRARY</a:t>
            </a:r>
          </a:p>
        </p:txBody>
      </p:sp>
      <p:sp>
        <p:nvSpPr>
          <p:cNvPr id="3" name="Content Placeholder 2"/>
          <p:cNvSpPr>
            <a:spLocks noGrp="1"/>
          </p:cNvSpPr>
          <p:nvPr>
            <p:ph idx="1" hasCustomPrompt="1"/>
          </p:nvPr>
        </p:nvSpPr>
        <p:spPr>
          <a:xfrm>
            <a:off x="507999" y="1735006"/>
            <a:ext cx="3400425" cy="1114520"/>
          </a:xfrm>
          <a:solidFill>
            <a:schemeClr val="bg2"/>
          </a:solidFill>
        </p:spPr>
        <p:txBody>
          <a:bodyPr vert="horz" lIns="108000" tIns="72000" rIns="72000" bIns="36000" numCol="1" spcCol="288000" rtlCol="0">
            <a:noAutofit/>
          </a:bodyPr>
          <a:lstStyle>
            <a:lvl1pPr>
              <a:lnSpc>
                <a:spcPct val="130000"/>
              </a:lnSpc>
              <a:spcBef>
                <a:spcPts val="200"/>
              </a:spcBef>
              <a:spcAft>
                <a:spcPts val="200"/>
              </a:spcAft>
              <a:defRPr lang="en-US" sz="1100" dirty="0" smtClean="0">
                <a:solidFill>
                  <a:schemeClr val="tx1"/>
                </a:solidFill>
                <a:latin typeface="+mn-lt"/>
              </a:defRPr>
            </a:lvl1pPr>
            <a:lvl2pPr marL="171450" indent="-171450">
              <a:lnSpc>
                <a:spcPct val="130000"/>
              </a:lnSpc>
              <a:spcBef>
                <a:spcPts val="200"/>
              </a:spcBef>
              <a:spcAft>
                <a:spcPts val="200"/>
              </a:spcAft>
              <a:buFont typeface="Arial" panose="020B0604020202020204" pitchFamily="34" charset="0"/>
              <a:buChar char="•"/>
              <a:defRPr lang="en-US" sz="1000" dirty="0"/>
            </a:lvl2pPr>
            <a:lvl3pPr marL="360363" indent="-182563">
              <a:lnSpc>
                <a:spcPct val="130000"/>
              </a:lnSpc>
              <a:spcBef>
                <a:spcPts val="200"/>
              </a:spcBef>
              <a:spcAft>
                <a:spcPts val="200"/>
              </a:spcAft>
              <a:defRPr lang="en-US" sz="1000" dirty="0"/>
            </a:lvl3pPr>
            <a:lvl4pPr>
              <a:defRPr lang="en-US" sz="1000" dirty="0"/>
            </a:lvl4pPr>
            <a:lvl5pPr>
              <a:defRPr lang="en-US" sz="1000" dirty="0"/>
            </a:lvl5pPr>
          </a:lstStyle>
          <a:p>
            <a:pPr lvl="0"/>
            <a:r>
              <a:rPr lang="en-US" dirty="0"/>
              <a:t>Click to edit master text styles</a:t>
            </a:r>
          </a:p>
          <a:p>
            <a:pPr lvl="1"/>
            <a:r>
              <a:rPr lang="en-US" dirty="0"/>
              <a:t>Second level</a:t>
            </a:r>
          </a:p>
          <a:p>
            <a:pPr lvl="2"/>
            <a:r>
              <a:rPr lang="en-US" dirty="0"/>
              <a:t>Third level</a:t>
            </a:r>
          </a:p>
        </p:txBody>
      </p:sp>
      <p:sp>
        <p:nvSpPr>
          <p:cNvPr id="5" name="Footer Placeholder 4"/>
          <p:cNvSpPr>
            <a:spLocks noGrp="1"/>
          </p:cNvSpPr>
          <p:nvPr>
            <p:ph type="ftr" sz="quarter" idx="11"/>
          </p:nvPr>
        </p:nvSpPr>
        <p:spPr/>
        <p:txBody>
          <a:bodyPr/>
          <a:lstStyle/>
          <a:p>
            <a:r>
              <a:rPr lang="en-GB"/>
              <a:t>INSERT FOOTER HER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8CFE0557-AA98-4E6C-B0C3-581794696B68}" type="slidenum">
              <a:rPr lang="en-GB" smtClean="0"/>
              <a:pPr/>
              <a:t>‹#›</a:t>
            </a:fld>
            <a:endParaRPr lang="en-GB"/>
          </a:p>
        </p:txBody>
      </p:sp>
      <p:sp>
        <p:nvSpPr>
          <p:cNvPr id="7" name="Content Placeholder 2">
            <a:extLst>
              <a:ext uri="{FF2B5EF4-FFF2-40B4-BE49-F238E27FC236}">
                <a16:creationId xmlns:a16="http://schemas.microsoft.com/office/drawing/2014/main" id="{B0B00756-BEE2-1E4F-AA11-656D1916E332}"/>
              </a:ext>
            </a:extLst>
          </p:cNvPr>
          <p:cNvSpPr>
            <a:spLocks noGrp="1"/>
          </p:cNvSpPr>
          <p:nvPr>
            <p:ph idx="14" hasCustomPrompt="1"/>
          </p:nvPr>
        </p:nvSpPr>
        <p:spPr>
          <a:xfrm>
            <a:off x="507999" y="1411005"/>
            <a:ext cx="3400425" cy="324000"/>
          </a:xfrm>
          <a:solidFill>
            <a:schemeClr val="accent2"/>
          </a:solidFill>
        </p:spPr>
        <p:txBody>
          <a:bodyPr vert="horz" lIns="108000" tIns="45720" rIns="72000" bIns="45720" numCol="1" spcCol="216000" rtlCol="0" anchor="ctr" anchorCtr="0">
            <a:noAutofit/>
          </a:bodyPr>
          <a:lstStyle>
            <a:lvl1pPr>
              <a:defRPr lang="en-US" sz="1400" cap="all" baseline="0" dirty="0">
                <a:solidFill>
                  <a:schemeClr val="tx2"/>
                </a:solidFill>
              </a:defRPr>
            </a:lvl1pPr>
            <a:lvl2pPr>
              <a:defRPr lang="en-US" sz="900" dirty="0">
                <a:solidFill>
                  <a:schemeClr val="tx1"/>
                </a:solidFill>
              </a:defRPr>
            </a:lvl2pPr>
            <a:lvl3pPr>
              <a:defRPr lang="en-US" sz="800" dirty="0">
                <a:solidFill>
                  <a:schemeClr val="tx1"/>
                </a:solidFill>
              </a:defRPr>
            </a:lvl3pPr>
            <a:lvl4pPr>
              <a:defRPr lang="en-US" sz="700" dirty="0">
                <a:solidFill>
                  <a:schemeClr val="tx1"/>
                </a:solidFill>
              </a:defRPr>
            </a:lvl4pPr>
            <a:lvl5pPr>
              <a:defRPr lang="en-US" sz="700" dirty="0">
                <a:solidFill>
                  <a:schemeClr val="tx1"/>
                </a:solidFill>
              </a:defRPr>
            </a:lvl5pPr>
          </a:lstStyle>
          <a:p>
            <a:pPr lvl="0"/>
            <a:r>
              <a:rPr lang="en-US" dirty="0"/>
              <a:t>SUBHEAD</a:t>
            </a:r>
          </a:p>
        </p:txBody>
      </p:sp>
      <p:sp>
        <p:nvSpPr>
          <p:cNvPr id="4" name="Title 3">
            <a:extLst>
              <a:ext uri="{FF2B5EF4-FFF2-40B4-BE49-F238E27FC236}">
                <a16:creationId xmlns:a16="http://schemas.microsoft.com/office/drawing/2014/main" id="{6729F04B-D5C0-88EC-FA0F-B39A9EACF533}"/>
              </a:ext>
            </a:extLst>
          </p:cNvPr>
          <p:cNvSpPr>
            <a:spLocks noGrp="1"/>
          </p:cNvSpPr>
          <p:nvPr>
            <p:ph type="title" hasCustomPrompt="1"/>
          </p:nvPr>
        </p:nvSpPr>
        <p:spPr>
          <a:xfrm>
            <a:off x="508001" y="454014"/>
            <a:ext cx="7118350" cy="814806"/>
          </a:xfrm>
        </p:spPr>
        <p:txBody>
          <a:bodyPr/>
          <a:lstStyle/>
          <a:p>
            <a:r>
              <a:rPr lang="en-US" dirty="0"/>
              <a:t>TITLE: subtitle</a:t>
            </a:r>
            <a:endParaRPr lang="en-GB" dirty="0"/>
          </a:p>
        </p:txBody>
      </p:sp>
      <p:sp>
        <p:nvSpPr>
          <p:cNvPr id="11" name="Content Placeholder 2">
            <a:extLst>
              <a:ext uri="{FF2B5EF4-FFF2-40B4-BE49-F238E27FC236}">
                <a16:creationId xmlns:a16="http://schemas.microsoft.com/office/drawing/2014/main" id="{0CE1D013-BC17-F297-93DF-A3CE5AC5F6C5}"/>
              </a:ext>
            </a:extLst>
          </p:cNvPr>
          <p:cNvSpPr>
            <a:spLocks noGrp="1"/>
          </p:cNvSpPr>
          <p:nvPr>
            <p:ph idx="15" hasCustomPrompt="1"/>
          </p:nvPr>
        </p:nvSpPr>
        <p:spPr>
          <a:xfrm>
            <a:off x="4225925" y="1735006"/>
            <a:ext cx="3400425" cy="1114520"/>
          </a:xfrm>
          <a:solidFill>
            <a:schemeClr val="bg2"/>
          </a:solidFill>
        </p:spPr>
        <p:txBody>
          <a:bodyPr vert="horz" lIns="108000" tIns="72000" rIns="72000" bIns="36000" numCol="1" spcCol="288000" rtlCol="0">
            <a:noAutofit/>
          </a:bodyPr>
          <a:lstStyle>
            <a:lvl1pPr>
              <a:lnSpc>
                <a:spcPct val="130000"/>
              </a:lnSpc>
              <a:spcBef>
                <a:spcPts val="200"/>
              </a:spcBef>
              <a:spcAft>
                <a:spcPts val="200"/>
              </a:spcAft>
              <a:defRPr lang="en-US" sz="1100" dirty="0" smtClean="0">
                <a:solidFill>
                  <a:schemeClr val="tx1"/>
                </a:solidFill>
                <a:latin typeface="+mn-lt"/>
              </a:defRPr>
            </a:lvl1pPr>
            <a:lvl2pPr marL="171450" indent="-171450">
              <a:lnSpc>
                <a:spcPct val="130000"/>
              </a:lnSpc>
              <a:spcBef>
                <a:spcPts val="200"/>
              </a:spcBef>
              <a:spcAft>
                <a:spcPts val="200"/>
              </a:spcAft>
              <a:buFont typeface="Arial" panose="020B0604020202020204" pitchFamily="34" charset="0"/>
              <a:buChar char="•"/>
              <a:defRPr lang="en-US" sz="1000" dirty="0"/>
            </a:lvl2pPr>
            <a:lvl3pPr marL="360363" indent="-182563">
              <a:lnSpc>
                <a:spcPct val="130000"/>
              </a:lnSpc>
              <a:spcBef>
                <a:spcPts val="200"/>
              </a:spcBef>
              <a:spcAft>
                <a:spcPts val="200"/>
              </a:spcAft>
              <a:defRPr lang="en-US" sz="1000" dirty="0"/>
            </a:lvl3pPr>
            <a:lvl4pPr>
              <a:defRPr lang="en-US" sz="1000" dirty="0"/>
            </a:lvl4pPr>
            <a:lvl5pPr>
              <a:defRPr lang="en-US" sz="1000" dirty="0"/>
            </a:lvl5pPr>
          </a:lstStyle>
          <a:p>
            <a:pPr lvl="0"/>
            <a:r>
              <a:rPr lang="en-US" dirty="0"/>
              <a:t>Click to edit master text styles</a:t>
            </a:r>
          </a:p>
          <a:p>
            <a:pPr lvl="1"/>
            <a:r>
              <a:rPr lang="en-US" dirty="0"/>
              <a:t>Second level</a:t>
            </a:r>
          </a:p>
          <a:p>
            <a:pPr lvl="2"/>
            <a:r>
              <a:rPr lang="en-US" dirty="0"/>
              <a:t>Third level</a:t>
            </a:r>
          </a:p>
        </p:txBody>
      </p:sp>
      <p:sp>
        <p:nvSpPr>
          <p:cNvPr id="12" name="Content Placeholder 2">
            <a:extLst>
              <a:ext uri="{FF2B5EF4-FFF2-40B4-BE49-F238E27FC236}">
                <a16:creationId xmlns:a16="http://schemas.microsoft.com/office/drawing/2014/main" id="{044BC189-C8AB-468D-9AA3-F616D7D61B1C}"/>
              </a:ext>
            </a:extLst>
          </p:cNvPr>
          <p:cNvSpPr>
            <a:spLocks noGrp="1"/>
          </p:cNvSpPr>
          <p:nvPr>
            <p:ph idx="16" hasCustomPrompt="1"/>
          </p:nvPr>
        </p:nvSpPr>
        <p:spPr>
          <a:xfrm>
            <a:off x="4225925" y="1411005"/>
            <a:ext cx="3400425" cy="324000"/>
          </a:xfrm>
          <a:solidFill>
            <a:schemeClr val="accent2"/>
          </a:solidFill>
        </p:spPr>
        <p:txBody>
          <a:bodyPr vert="horz" lIns="108000" tIns="45720" rIns="72000" bIns="45720" numCol="1" spcCol="216000" rtlCol="0" anchor="ctr" anchorCtr="0">
            <a:noAutofit/>
          </a:bodyPr>
          <a:lstStyle>
            <a:lvl1pPr>
              <a:defRPr lang="en-US" sz="1400" cap="all" baseline="0" dirty="0">
                <a:solidFill>
                  <a:schemeClr val="tx2"/>
                </a:solidFill>
              </a:defRPr>
            </a:lvl1pPr>
            <a:lvl2pPr>
              <a:defRPr lang="en-US" sz="900" dirty="0">
                <a:solidFill>
                  <a:schemeClr val="tx1"/>
                </a:solidFill>
              </a:defRPr>
            </a:lvl2pPr>
            <a:lvl3pPr>
              <a:defRPr lang="en-US" sz="800" dirty="0">
                <a:solidFill>
                  <a:schemeClr val="tx1"/>
                </a:solidFill>
              </a:defRPr>
            </a:lvl3pPr>
            <a:lvl4pPr>
              <a:defRPr lang="en-US" sz="700" dirty="0">
                <a:solidFill>
                  <a:schemeClr val="tx1"/>
                </a:solidFill>
              </a:defRPr>
            </a:lvl4pPr>
            <a:lvl5pPr>
              <a:defRPr lang="en-US" sz="700" dirty="0">
                <a:solidFill>
                  <a:schemeClr val="tx1"/>
                </a:solidFill>
              </a:defRPr>
            </a:lvl5pPr>
          </a:lstStyle>
          <a:p>
            <a:pPr lvl="0"/>
            <a:r>
              <a:rPr lang="en-US" dirty="0"/>
              <a:t>SUBHEAD</a:t>
            </a:r>
          </a:p>
        </p:txBody>
      </p:sp>
      <p:sp>
        <p:nvSpPr>
          <p:cNvPr id="15" name="Content Placeholder 2">
            <a:extLst>
              <a:ext uri="{FF2B5EF4-FFF2-40B4-BE49-F238E27FC236}">
                <a16:creationId xmlns:a16="http://schemas.microsoft.com/office/drawing/2014/main" id="{0DBEF8F2-E7A8-CB2A-D6C6-185F68EA57BB}"/>
              </a:ext>
            </a:extLst>
          </p:cNvPr>
          <p:cNvSpPr>
            <a:spLocks noGrp="1"/>
          </p:cNvSpPr>
          <p:nvPr>
            <p:ph idx="19" hasCustomPrompt="1"/>
          </p:nvPr>
        </p:nvSpPr>
        <p:spPr>
          <a:xfrm>
            <a:off x="507999" y="3429129"/>
            <a:ext cx="3400425" cy="1114520"/>
          </a:xfrm>
          <a:solidFill>
            <a:schemeClr val="bg2"/>
          </a:solidFill>
        </p:spPr>
        <p:txBody>
          <a:bodyPr vert="horz" lIns="108000" tIns="72000" rIns="72000" bIns="36000" numCol="1" spcCol="288000" rtlCol="0">
            <a:noAutofit/>
          </a:bodyPr>
          <a:lstStyle>
            <a:lvl1pPr>
              <a:lnSpc>
                <a:spcPct val="130000"/>
              </a:lnSpc>
              <a:spcBef>
                <a:spcPts val="200"/>
              </a:spcBef>
              <a:spcAft>
                <a:spcPts val="200"/>
              </a:spcAft>
              <a:defRPr lang="en-US" sz="1100" dirty="0" smtClean="0">
                <a:solidFill>
                  <a:schemeClr val="tx1"/>
                </a:solidFill>
                <a:latin typeface="+mn-lt"/>
              </a:defRPr>
            </a:lvl1pPr>
            <a:lvl2pPr marL="171450" indent="-171450">
              <a:lnSpc>
                <a:spcPct val="130000"/>
              </a:lnSpc>
              <a:spcBef>
                <a:spcPts val="200"/>
              </a:spcBef>
              <a:spcAft>
                <a:spcPts val="200"/>
              </a:spcAft>
              <a:buFont typeface="Arial" panose="020B0604020202020204" pitchFamily="34" charset="0"/>
              <a:buChar char="•"/>
              <a:defRPr lang="en-US" sz="1000" dirty="0"/>
            </a:lvl2pPr>
            <a:lvl3pPr marL="360363" indent="-182563">
              <a:lnSpc>
                <a:spcPct val="130000"/>
              </a:lnSpc>
              <a:spcBef>
                <a:spcPts val="200"/>
              </a:spcBef>
              <a:spcAft>
                <a:spcPts val="200"/>
              </a:spcAft>
              <a:defRPr lang="en-US" sz="1000" dirty="0"/>
            </a:lvl3pPr>
            <a:lvl4pPr>
              <a:defRPr lang="en-US" sz="1000" dirty="0"/>
            </a:lvl4pPr>
            <a:lvl5pPr>
              <a:defRPr lang="en-US" sz="1000" dirty="0"/>
            </a:lvl5pPr>
          </a:lstStyle>
          <a:p>
            <a:pPr lvl="0"/>
            <a:r>
              <a:rPr lang="en-US" dirty="0"/>
              <a:t>Click to edit master text styles</a:t>
            </a:r>
          </a:p>
          <a:p>
            <a:pPr lvl="1"/>
            <a:r>
              <a:rPr lang="en-US" dirty="0"/>
              <a:t>Second level</a:t>
            </a:r>
          </a:p>
          <a:p>
            <a:pPr lvl="2"/>
            <a:r>
              <a:rPr lang="en-US" dirty="0"/>
              <a:t>Third level</a:t>
            </a:r>
          </a:p>
        </p:txBody>
      </p:sp>
      <p:sp>
        <p:nvSpPr>
          <p:cNvPr id="16" name="Content Placeholder 2">
            <a:extLst>
              <a:ext uri="{FF2B5EF4-FFF2-40B4-BE49-F238E27FC236}">
                <a16:creationId xmlns:a16="http://schemas.microsoft.com/office/drawing/2014/main" id="{62C1633C-AF8C-5672-C8E9-59BF8E705D38}"/>
              </a:ext>
            </a:extLst>
          </p:cNvPr>
          <p:cNvSpPr>
            <a:spLocks noGrp="1"/>
          </p:cNvSpPr>
          <p:nvPr>
            <p:ph idx="20" hasCustomPrompt="1"/>
          </p:nvPr>
        </p:nvSpPr>
        <p:spPr>
          <a:xfrm>
            <a:off x="507999" y="3105128"/>
            <a:ext cx="3400425" cy="324000"/>
          </a:xfrm>
          <a:solidFill>
            <a:schemeClr val="accent2"/>
          </a:solidFill>
        </p:spPr>
        <p:txBody>
          <a:bodyPr vert="horz" lIns="108000" tIns="45720" rIns="72000" bIns="45720" numCol="1" spcCol="216000" rtlCol="0" anchor="ctr" anchorCtr="0">
            <a:noAutofit/>
          </a:bodyPr>
          <a:lstStyle>
            <a:lvl1pPr>
              <a:defRPr lang="en-US" sz="1400" cap="all" baseline="0" dirty="0">
                <a:solidFill>
                  <a:schemeClr val="tx2"/>
                </a:solidFill>
              </a:defRPr>
            </a:lvl1pPr>
            <a:lvl2pPr>
              <a:defRPr lang="en-US" sz="900" dirty="0">
                <a:solidFill>
                  <a:schemeClr val="tx1"/>
                </a:solidFill>
              </a:defRPr>
            </a:lvl2pPr>
            <a:lvl3pPr>
              <a:defRPr lang="en-US" sz="800" dirty="0">
                <a:solidFill>
                  <a:schemeClr val="tx1"/>
                </a:solidFill>
              </a:defRPr>
            </a:lvl3pPr>
            <a:lvl4pPr>
              <a:defRPr lang="en-US" sz="700" dirty="0">
                <a:solidFill>
                  <a:schemeClr val="tx1"/>
                </a:solidFill>
              </a:defRPr>
            </a:lvl4pPr>
            <a:lvl5pPr>
              <a:defRPr lang="en-US" sz="700" dirty="0">
                <a:solidFill>
                  <a:schemeClr val="tx1"/>
                </a:solidFill>
              </a:defRPr>
            </a:lvl5pPr>
          </a:lstStyle>
          <a:p>
            <a:pPr lvl="0"/>
            <a:r>
              <a:rPr lang="en-US" dirty="0"/>
              <a:t>SUBHEAD</a:t>
            </a:r>
          </a:p>
        </p:txBody>
      </p:sp>
      <p:sp>
        <p:nvSpPr>
          <p:cNvPr id="17" name="Content Placeholder 2">
            <a:extLst>
              <a:ext uri="{FF2B5EF4-FFF2-40B4-BE49-F238E27FC236}">
                <a16:creationId xmlns:a16="http://schemas.microsoft.com/office/drawing/2014/main" id="{03927300-C246-F5F7-919E-B25446AA46DA}"/>
              </a:ext>
            </a:extLst>
          </p:cNvPr>
          <p:cNvSpPr>
            <a:spLocks noGrp="1"/>
          </p:cNvSpPr>
          <p:nvPr>
            <p:ph idx="21" hasCustomPrompt="1"/>
          </p:nvPr>
        </p:nvSpPr>
        <p:spPr>
          <a:xfrm>
            <a:off x="4225925" y="3429129"/>
            <a:ext cx="3400425" cy="1114520"/>
          </a:xfrm>
          <a:solidFill>
            <a:schemeClr val="bg2"/>
          </a:solidFill>
        </p:spPr>
        <p:txBody>
          <a:bodyPr vert="horz" lIns="108000" tIns="72000" rIns="72000" bIns="36000" numCol="1" spcCol="288000" rtlCol="0">
            <a:noAutofit/>
          </a:bodyPr>
          <a:lstStyle>
            <a:lvl1pPr>
              <a:lnSpc>
                <a:spcPct val="130000"/>
              </a:lnSpc>
              <a:spcBef>
                <a:spcPts val="200"/>
              </a:spcBef>
              <a:spcAft>
                <a:spcPts val="200"/>
              </a:spcAft>
              <a:defRPr lang="en-US" sz="1100" dirty="0" smtClean="0">
                <a:solidFill>
                  <a:schemeClr val="tx1"/>
                </a:solidFill>
                <a:latin typeface="+mn-lt"/>
              </a:defRPr>
            </a:lvl1pPr>
            <a:lvl2pPr marL="171450" indent="-171450">
              <a:lnSpc>
                <a:spcPct val="130000"/>
              </a:lnSpc>
              <a:spcBef>
                <a:spcPts val="200"/>
              </a:spcBef>
              <a:spcAft>
                <a:spcPts val="200"/>
              </a:spcAft>
              <a:buFont typeface="Arial" panose="020B0604020202020204" pitchFamily="34" charset="0"/>
              <a:buChar char="•"/>
              <a:defRPr lang="en-US" sz="1000" dirty="0"/>
            </a:lvl2pPr>
            <a:lvl3pPr marL="360363" indent="-182563">
              <a:lnSpc>
                <a:spcPct val="130000"/>
              </a:lnSpc>
              <a:spcBef>
                <a:spcPts val="200"/>
              </a:spcBef>
              <a:spcAft>
                <a:spcPts val="200"/>
              </a:spcAft>
              <a:defRPr lang="en-US" sz="1000" dirty="0"/>
            </a:lvl3pPr>
            <a:lvl4pPr>
              <a:defRPr lang="en-US" sz="1000" dirty="0"/>
            </a:lvl4pPr>
            <a:lvl5pPr>
              <a:defRPr lang="en-US" sz="1000" dirty="0"/>
            </a:lvl5pPr>
          </a:lstStyle>
          <a:p>
            <a:pPr lvl="0"/>
            <a:r>
              <a:rPr lang="en-US" dirty="0"/>
              <a:t>Click to edit master text styles</a:t>
            </a:r>
          </a:p>
          <a:p>
            <a:pPr lvl="1"/>
            <a:r>
              <a:rPr lang="en-US" dirty="0"/>
              <a:t>Second level</a:t>
            </a:r>
          </a:p>
          <a:p>
            <a:pPr lvl="2"/>
            <a:r>
              <a:rPr lang="en-US" dirty="0"/>
              <a:t>Third level</a:t>
            </a:r>
          </a:p>
        </p:txBody>
      </p:sp>
      <p:sp>
        <p:nvSpPr>
          <p:cNvPr id="18" name="Content Placeholder 2">
            <a:extLst>
              <a:ext uri="{FF2B5EF4-FFF2-40B4-BE49-F238E27FC236}">
                <a16:creationId xmlns:a16="http://schemas.microsoft.com/office/drawing/2014/main" id="{376ABD33-7DE6-932D-F04B-E72ED7FB6DE7}"/>
              </a:ext>
            </a:extLst>
          </p:cNvPr>
          <p:cNvSpPr>
            <a:spLocks noGrp="1"/>
          </p:cNvSpPr>
          <p:nvPr>
            <p:ph idx="22" hasCustomPrompt="1"/>
          </p:nvPr>
        </p:nvSpPr>
        <p:spPr>
          <a:xfrm>
            <a:off x="4225925" y="3105128"/>
            <a:ext cx="3400425" cy="324000"/>
          </a:xfrm>
          <a:solidFill>
            <a:schemeClr val="accent2"/>
          </a:solidFill>
        </p:spPr>
        <p:txBody>
          <a:bodyPr vert="horz" lIns="108000" tIns="45720" rIns="72000" bIns="45720" numCol="1" spcCol="216000" rtlCol="0" anchor="ctr" anchorCtr="0">
            <a:noAutofit/>
          </a:bodyPr>
          <a:lstStyle>
            <a:lvl1pPr>
              <a:defRPr lang="en-US" sz="1400" cap="all" baseline="0" dirty="0">
                <a:solidFill>
                  <a:schemeClr val="tx2"/>
                </a:solidFill>
              </a:defRPr>
            </a:lvl1pPr>
            <a:lvl2pPr>
              <a:defRPr lang="en-US" sz="900" dirty="0">
                <a:solidFill>
                  <a:schemeClr val="tx1"/>
                </a:solidFill>
              </a:defRPr>
            </a:lvl2pPr>
            <a:lvl3pPr>
              <a:defRPr lang="en-US" sz="800" dirty="0">
                <a:solidFill>
                  <a:schemeClr val="tx1"/>
                </a:solidFill>
              </a:defRPr>
            </a:lvl3pPr>
            <a:lvl4pPr>
              <a:defRPr lang="en-US" sz="700" dirty="0">
                <a:solidFill>
                  <a:schemeClr val="tx1"/>
                </a:solidFill>
              </a:defRPr>
            </a:lvl4pPr>
            <a:lvl5pPr>
              <a:defRPr lang="en-US" sz="700" dirty="0">
                <a:solidFill>
                  <a:schemeClr val="tx1"/>
                </a:solidFill>
              </a:defRPr>
            </a:lvl5pPr>
          </a:lstStyle>
          <a:p>
            <a:pPr lvl="0"/>
            <a:r>
              <a:rPr lang="en-US" dirty="0"/>
              <a:t>SUBHEAD</a:t>
            </a:r>
          </a:p>
        </p:txBody>
      </p:sp>
      <p:sp>
        <p:nvSpPr>
          <p:cNvPr id="21" name="Content Placeholder 2">
            <a:extLst>
              <a:ext uri="{FF2B5EF4-FFF2-40B4-BE49-F238E27FC236}">
                <a16:creationId xmlns:a16="http://schemas.microsoft.com/office/drawing/2014/main" id="{B8365A59-2337-7B5E-B124-66D8436B5263}"/>
              </a:ext>
            </a:extLst>
          </p:cNvPr>
          <p:cNvSpPr>
            <a:spLocks noGrp="1"/>
          </p:cNvSpPr>
          <p:nvPr>
            <p:ph idx="25" hasCustomPrompt="1"/>
          </p:nvPr>
        </p:nvSpPr>
        <p:spPr>
          <a:xfrm>
            <a:off x="507999" y="5101983"/>
            <a:ext cx="3400425" cy="1114520"/>
          </a:xfrm>
          <a:solidFill>
            <a:schemeClr val="bg2"/>
          </a:solidFill>
        </p:spPr>
        <p:txBody>
          <a:bodyPr vert="horz" lIns="108000" tIns="72000" rIns="72000" bIns="36000" numCol="1" spcCol="288000" rtlCol="0">
            <a:noAutofit/>
          </a:bodyPr>
          <a:lstStyle>
            <a:lvl1pPr>
              <a:lnSpc>
                <a:spcPct val="130000"/>
              </a:lnSpc>
              <a:spcBef>
                <a:spcPts val="200"/>
              </a:spcBef>
              <a:spcAft>
                <a:spcPts val="200"/>
              </a:spcAft>
              <a:defRPr lang="en-US" sz="1100" dirty="0" smtClean="0">
                <a:solidFill>
                  <a:schemeClr val="tx1"/>
                </a:solidFill>
                <a:latin typeface="+mn-lt"/>
              </a:defRPr>
            </a:lvl1pPr>
            <a:lvl2pPr marL="171450" indent="-171450">
              <a:lnSpc>
                <a:spcPct val="130000"/>
              </a:lnSpc>
              <a:spcBef>
                <a:spcPts val="200"/>
              </a:spcBef>
              <a:spcAft>
                <a:spcPts val="200"/>
              </a:spcAft>
              <a:buFont typeface="Arial" panose="020B0604020202020204" pitchFamily="34" charset="0"/>
              <a:buChar char="•"/>
              <a:defRPr lang="en-US" sz="1000" dirty="0"/>
            </a:lvl2pPr>
            <a:lvl3pPr marL="360363" indent="-182563">
              <a:lnSpc>
                <a:spcPct val="130000"/>
              </a:lnSpc>
              <a:spcBef>
                <a:spcPts val="200"/>
              </a:spcBef>
              <a:spcAft>
                <a:spcPts val="200"/>
              </a:spcAft>
              <a:defRPr lang="en-US" sz="1000" dirty="0"/>
            </a:lvl3pPr>
            <a:lvl4pPr>
              <a:defRPr lang="en-US" sz="1000" dirty="0"/>
            </a:lvl4pPr>
            <a:lvl5pPr>
              <a:defRPr lang="en-US" sz="1000" dirty="0"/>
            </a:lvl5pPr>
          </a:lstStyle>
          <a:p>
            <a:pPr lvl="0"/>
            <a:r>
              <a:rPr lang="en-US" dirty="0"/>
              <a:t>Click to edit master text styles</a:t>
            </a:r>
          </a:p>
          <a:p>
            <a:pPr lvl="1"/>
            <a:r>
              <a:rPr lang="en-US" dirty="0"/>
              <a:t>Second level</a:t>
            </a:r>
          </a:p>
          <a:p>
            <a:pPr lvl="2"/>
            <a:r>
              <a:rPr lang="en-US" dirty="0"/>
              <a:t>Third level</a:t>
            </a:r>
          </a:p>
        </p:txBody>
      </p:sp>
      <p:sp>
        <p:nvSpPr>
          <p:cNvPr id="22" name="Content Placeholder 2">
            <a:extLst>
              <a:ext uri="{FF2B5EF4-FFF2-40B4-BE49-F238E27FC236}">
                <a16:creationId xmlns:a16="http://schemas.microsoft.com/office/drawing/2014/main" id="{74EDE4A7-B395-2B29-E429-599F2CF2BC66}"/>
              </a:ext>
            </a:extLst>
          </p:cNvPr>
          <p:cNvSpPr>
            <a:spLocks noGrp="1"/>
          </p:cNvSpPr>
          <p:nvPr>
            <p:ph idx="26" hasCustomPrompt="1"/>
          </p:nvPr>
        </p:nvSpPr>
        <p:spPr>
          <a:xfrm>
            <a:off x="507999" y="4777982"/>
            <a:ext cx="3400425" cy="324000"/>
          </a:xfrm>
          <a:solidFill>
            <a:schemeClr val="accent2"/>
          </a:solidFill>
        </p:spPr>
        <p:txBody>
          <a:bodyPr vert="horz" lIns="108000" tIns="45720" rIns="72000" bIns="45720" numCol="1" spcCol="216000" rtlCol="0" anchor="ctr" anchorCtr="0">
            <a:noAutofit/>
          </a:bodyPr>
          <a:lstStyle>
            <a:lvl1pPr>
              <a:defRPr lang="en-US" sz="1400" cap="all" baseline="0" dirty="0">
                <a:solidFill>
                  <a:schemeClr val="tx2"/>
                </a:solidFill>
              </a:defRPr>
            </a:lvl1pPr>
            <a:lvl2pPr>
              <a:defRPr lang="en-US" sz="900" dirty="0">
                <a:solidFill>
                  <a:schemeClr val="tx1"/>
                </a:solidFill>
              </a:defRPr>
            </a:lvl2pPr>
            <a:lvl3pPr>
              <a:defRPr lang="en-US" sz="800" dirty="0">
                <a:solidFill>
                  <a:schemeClr val="tx1"/>
                </a:solidFill>
              </a:defRPr>
            </a:lvl3pPr>
            <a:lvl4pPr>
              <a:defRPr lang="en-US" sz="700" dirty="0">
                <a:solidFill>
                  <a:schemeClr val="tx1"/>
                </a:solidFill>
              </a:defRPr>
            </a:lvl4pPr>
            <a:lvl5pPr>
              <a:defRPr lang="en-US" sz="700" dirty="0">
                <a:solidFill>
                  <a:schemeClr val="tx1"/>
                </a:solidFill>
              </a:defRPr>
            </a:lvl5pPr>
          </a:lstStyle>
          <a:p>
            <a:pPr lvl="0"/>
            <a:r>
              <a:rPr lang="en-US" dirty="0"/>
              <a:t>SUBHEAD</a:t>
            </a:r>
          </a:p>
        </p:txBody>
      </p:sp>
      <p:sp>
        <p:nvSpPr>
          <p:cNvPr id="23" name="Content Placeholder 2">
            <a:extLst>
              <a:ext uri="{FF2B5EF4-FFF2-40B4-BE49-F238E27FC236}">
                <a16:creationId xmlns:a16="http://schemas.microsoft.com/office/drawing/2014/main" id="{CF99ABED-044C-C28A-86DC-D97A636A68EE}"/>
              </a:ext>
            </a:extLst>
          </p:cNvPr>
          <p:cNvSpPr>
            <a:spLocks noGrp="1"/>
          </p:cNvSpPr>
          <p:nvPr>
            <p:ph idx="27" hasCustomPrompt="1"/>
          </p:nvPr>
        </p:nvSpPr>
        <p:spPr>
          <a:xfrm>
            <a:off x="4225925" y="5101983"/>
            <a:ext cx="3400425" cy="1114520"/>
          </a:xfrm>
          <a:solidFill>
            <a:schemeClr val="bg2"/>
          </a:solidFill>
        </p:spPr>
        <p:txBody>
          <a:bodyPr vert="horz" lIns="108000" tIns="72000" rIns="72000" bIns="36000" numCol="1" spcCol="288000" rtlCol="0">
            <a:noAutofit/>
          </a:bodyPr>
          <a:lstStyle>
            <a:lvl1pPr>
              <a:lnSpc>
                <a:spcPct val="130000"/>
              </a:lnSpc>
              <a:spcBef>
                <a:spcPts val="200"/>
              </a:spcBef>
              <a:spcAft>
                <a:spcPts val="200"/>
              </a:spcAft>
              <a:defRPr lang="en-US" sz="1100" dirty="0" smtClean="0">
                <a:solidFill>
                  <a:schemeClr val="tx1"/>
                </a:solidFill>
                <a:latin typeface="+mn-lt"/>
              </a:defRPr>
            </a:lvl1pPr>
            <a:lvl2pPr marL="171450" indent="-171450">
              <a:lnSpc>
                <a:spcPct val="130000"/>
              </a:lnSpc>
              <a:spcBef>
                <a:spcPts val="200"/>
              </a:spcBef>
              <a:spcAft>
                <a:spcPts val="200"/>
              </a:spcAft>
              <a:buFont typeface="Arial" panose="020B0604020202020204" pitchFamily="34" charset="0"/>
              <a:buChar char="•"/>
              <a:defRPr lang="en-US" sz="1000" dirty="0"/>
            </a:lvl2pPr>
            <a:lvl3pPr marL="360363" indent="-182563">
              <a:lnSpc>
                <a:spcPct val="130000"/>
              </a:lnSpc>
              <a:spcBef>
                <a:spcPts val="200"/>
              </a:spcBef>
              <a:spcAft>
                <a:spcPts val="200"/>
              </a:spcAft>
              <a:defRPr lang="en-US" sz="1000" dirty="0"/>
            </a:lvl3pPr>
            <a:lvl4pPr>
              <a:defRPr lang="en-US" sz="1000" dirty="0"/>
            </a:lvl4pPr>
            <a:lvl5pPr>
              <a:defRPr lang="en-US" sz="1000" dirty="0"/>
            </a:lvl5pPr>
          </a:lstStyle>
          <a:p>
            <a:pPr lvl="0"/>
            <a:r>
              <a:rPr lang="en-US" dirty="0"/>
              <a:t>Click to edit master text styles</a:t>
            </a:r>
          </a:p>
          <a:p>
            <a:pPr lvl="1"/>
            <a:r>
              <a:rPr lang="en-US" dirty="0"/>
              <a:t>Second level</a:t>
            </a:r>
          </a:p>
          <a:p>
            <a:pPr lvl="2"/>
            <a:r>
              <a:rPr lang="en-US" dirty="0"/>
              <a:t>Third level</a:t>
            </a:r>
          </a:p>
        </p:txBody>
      </p:sp>
      <p:sp>
        <p:nvSpPr>
          <p:cNvPr id="24" name="Content Placeholder 2">
            <a:extLst>
              <a:ext uri="{FF2B5EF4-FFF2-40B4-BE49-F238E27FC236}">
                <a16:creationId xmlns:a16="http://schemas.microsoft.com/office/drawing/2014/main" id="{59C2FBAA-C8E8-1022-B792-35D5DDB21932}"/>
              </a:ext>
            </a:extLst>
          </p:cNvPr>
          <p:cNvSpPr>
            <a:spLocks noGrp="1"/>
          </p:cNvSpPr>
          <p:nvPr>
            <p:ph idx="28" hasCustomPrompt="1"/>
          </p:nvPr>
        </p:nvSpPr>
        <p:spPr>
          <a:xfrm>
            <a:off x="4225925" y="4777982"/>
            <a:ext cx="3400425" cy="324000"/>
          </a:xfrm>
          <a:solidFill>
            <a:schemeClr val="accent2"/>
          </a:solidFill>
        </p:spPr>
        <p:txBody>
          <a:bodyPr vert="horz" lIns="108000" tIns="45720" rIns="72000" bIns="45720" numCol="1" spcCol="216000" rtlCol="0" anchor="ctr" anchorCtr="0">
            <a:noAutofit/>
          </a:bodyPr>
          <a:lstStyle>
            <a:lvl1pPr>
              <a:defRPr lang="en-US" sz="1400" cap="all" baseline="0" dirty="0">
                <a:solidFill>
                  <a:schemeClr val="tx2"/>
                </a:solidFill>
              </a:defRPr>
            </a:lvl1pPr>
            <a:lvl2pPr>
              <a:defRPr lang="en-US" sz="900" dirty="0">
                <a:solidFill>
                  <a:schemeClr val="tx1"/>
                </a:solidFill>
              </a:defRPr>
            </a:lvl2pPr>
            <a:lvl3pPr>
              <a:defRPr lang="en-US" sz="800" dirty="0">
                <a:solidFill>
                  <a:schemeClr val="tx1"/>
                </a:solidFill>
              </a:defRPr>
            </a:lvl3pPr>
            <a:lvl4pPr>
              <a:defRPr lang="en-US" sz="700" dirty="0">
                <a:solidFill>
                  <a:schemeClr val="tx1"/>
                </a:solidFill>
              </a:defRPr>
            </a:lvl4pPr>
            <a:lvl5pPr>
              <a:defRPr lang="en-US" sz="700" dirty="0">
                <a:solidFill>
                  <a:schemeClr val="tx1"/>
                </a:solidFill>
              </a:defRPr>
            </a:lvl5pPr>
          </a:lstStyle>
          <a:p>
            <a:pPr lvl="0"/>
            <a:r>
              <a:rPr lang="en-US" dirty="0"/>
              <a:t>SUBHEAD</a:t>
            </a:r>
          </a:p>
        </p:txBody>
      </p:sp>
      <p:sp>
        <p:nvSpPr>
          <p:cNvPr id="8" name="TextBox 4">
            <a:extLst>
              <a:ext uri="{FF2B5EF4-FFF2-40B4-BE49-F238E27FC236}">
                <a16:creationId xmlns:a16="http://schemas.microsoft.com/office/drawing/2014/main" id="{2731D0D2-8DF1-D95A-3252-21A62CF3AB1B}"/>
              </a:ext>
            </a:extLst>
          </p:cNvPr>
          <p:cNvSpPr txBox="1"/>
          <p:nvPr userDrawn="1"/>
        </p:nvSpPr>
        <p:spPr>
          <a:xfrm>
            <a:off x="12346713" y="109538"/>
            <a:ext cx="1934437" cy="31700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INSERTING IMAGES:</a:t>
            </a:r>
          </a:p>
          <a:p>
            <a:pPr marL="179388" indent="-179388">
              <a:spcBef>
                <a:spcPts val="200"/>
              </a:spcBef>
              <a:spcAft>
                <a:spcPts val="200"/>
              </a:spcAft>
              <a:buFont typeface="+mj-lt"/>
              <a:buAutoNum type="arabicPeriod"/>
            </a:pPr>
            <a:r>
              <a:rPr lang="en-US" sz="900" dirty="0">
                <a:solidFill>
                  <a:schemeClr val="tx1"/>
                </a:solidFill>
                <a:latin typeface="+mn-lt"/>
              </a:rPr>
              <a:t>Simply click the image placeholder and select your image.</a:t>
            </a:r>
          </a:p>
          <a:p>
            <a:pPr marL="179388" indent="-179388">
              <a:spcBef>
                <a:spcPts val="200"/>
              </a:spcBef>
              <a:spcAft>
                <a:spcPts val="200"/>
              </a:spcAft>
              <a:buFont typeface="+mj-lt"/>
              <a:buAutoNum type="arabicPeriod"/>
            </a:pPr>
            <a:r>
              <a:rPr lang="en-US" sz="900" dirty="0">
                <a:solidFill>
                  <a:schemeClr val="tx1"/>
                </a:solidFill>
                <a:latin typeface="+mn-lt"/>
              </a:rPr>
              <a:t>Once your image is inserted into the shape it may be distorted. (Stretched or Squashed)</a:t>
            </a:r>
          </a:p>
          <a:p>
            <a:pPr marL="179388" indent="-179388">
              <a:spcBef>
                <a:spcPts val="200"/>
              </a:spcBef>
              <a:spcAft>
                <a:spcPts val="200"/>
              </a:spcAft>
              <a:buFont typeface="+mj-lt"/>
              <a:buAutoNum type="arabicPeriod"/>
            </a:pPr>
            <a:endParaRPr lang="en-US" sz="900" dirty="0">
              <a:solidFill>
                <a:schemeClr val="tx1"/>
              </a:solidFill>
              <a:latin typeface="+mn-lt"/>
            </a:endParaRPr>
          </a:p>
          <a:p>
            <a:pPr>
              <a:spcBef>
                <a:spcPts val="200"/>
              </a:spcBef>
              <a:spcAft>
                <a:spcPts val="200"/>
              </a:spcAft>
            </a:pPr>
            <a:r>
              <a:rPr lang="en-US" sz="900" b="1" dirty="0">
                <a:solidFill>
                  <a:schemeClr val="tx1"/>
                </a:solidFill>
                <a:latin typeface="+mn-lt"/>
              </a:rPr>
              <a:t>To fix this:</a:t>
            </a:r>
          </a:p>
          <a:p>
            <a:pPr marL="179388" indent="-179388">
              <a:spcBef>
                <a:spcPts val="200"/>
              </a:spcBef>
              <a:spcAft>
                <a:spcPts val="200"/>
              </a:spcAft>
              <a:buFont typeface="+mj-lt"/>
              <a:buAutoNum type="arabicPeriod"/>
            </a:pPr>
            <a:r>
              <a:rPr lang="en-US" sz="900" dirty="0">
                <a:solidFill>
                  <a:schemeClr val="tx1"/>
                </a:solidFill>
                <a:latin typeface="+mn-lt"/>
              </a:rPr>
              <a:t>Click on the image and from the top menu under </a:t>
            </a:r>
            <a:r>
              <a:rPr lang="en-US" sz="900" b="1" dirty="0">
                <a:solidFill>
                  <a:schemeClr val="tx1"/>
                </a:solidFill>
                <a:latin typeface="+mn-lt"/>
              </a:rPr>
              <a:t>PICTURE FORMAT </a:t>
            </a:r>
            <a:r>
              <a:rPr lang="en-US" sz="900" dirty="0">
                <a:solidFill>
                  <a:schemeClr val="tx1"/>
                </a:solidFill>
                <a:latin typeface="+mn-lt"/>
              </a:rPr>
              <a:t>select the </a:t>
            </a:r>
            <a:r>
              <a:rPr lang="en-US" sz="900" b="1" dirty="0">
                <a:solidFill>
                  <a:schemeClr val="tx1"/>
                </a:solidFill>
                <a:latin typeface="+mn-lt"/>
              </a:rPr>
              <a:t>CROP</a:t>
            </a:r>
            <a:r>
              <a:rPr lang="en-US" sz="900" dirty="0">
                <a:solidFill>
                  <a:schemeClr val="tx1"/>
                </a:solidFill>
                <a:latin typeface="+mn-lt"/>
              </a:rPr>
              <a:t> on the right and from the drop down menu select </a:t>
            </a:r>
            <a:r>
              <a:rPr lang="en-US" sz="900" b="1" kern="1200" dirty="0">
                <a:solidFill>
                  <a:schemeClr val="tx1"/>
                </a:solidFill>
                <a:latin typeface="+mn-lt"/>
                <a:ea typeface="+mn-ea"/>
                <a:cs typeface="+mn-cs"/>
              </a:rPr>
              <a:t>FILL</a:t>
            </a:r>
          </a:p>
          <a:p>
            <a:pPr marL="179388" indent="-179388">
              <a:spcBef>
                <a:spcPts val="200"/>
              </a:spcBef>
              <a:spcAft>
                <a:spcPts val="200"/>
              </a:spcAft>
              <a:buFont typeface="+mj-lt"/>
              <a:buAutoNum type="arabicPeriod"/>
            </a:pPr>
            <a:r>
              <a:rPr lang="en-US" sz="900" b="0" kern="1200" dirty="0">
                <a:solidFill>
                  <a:schemeClr val="tx1"/>
                </a:solidFill>
                <a:latin typeface="+mn-lt"/>
                <a:ea typeface="+mn-ea"/>
                <a:cs typeface="+mn-cs"/>
              </a:rPr>
              <a:t>From here you can move the image within the shape for best visual appearance</a:t>
            </a:r>
          </a:p>
        </p:txBody>
      </p:sp>
    </p:spTree>
    <p:extLst>
      <p:ext uri="{BB962C8B-B14F-4D97-AF65-F5344CB8AC3E}">
        <p14:creationId xmlns:p14="http://schemas.microsoft.com/office/powerpoint/2010/main" val="437328478"/>
      </p:ext>
    </p:extLst>
  </p:cSld>
  <p:clrMapOvr>
    <a:masterClrMapping/>
  </p:clrMapOvr>
  <p:transition spd="med">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6 Boxes Pull-out &amp; Image">
    <p:spTree>
      <p:nvGrpSpPr>
        <p:cNvPr id="1" name=""/>
        <p:cNvGrpSpPr/>
        <p:nvPr/>
      </p:nvGrpSpPr>
      <p:grpSpPr>
        <a:xfrm>
          <a:off x="0" y="0"/>
          <a:ext cx="0" cy="0"/>
          <a:chOff x="0" y="0"/>
          <a:chExt cx="0" cy="0"/>
        </a:xfrm>
      </p:grpSpPr>
      <p:sp>
        <p:nvSpPr>
          <p:cNvPr id="2" name="Picture Placeholder 10">
            <a:extLst>
              <a:ext uri="{FF2B5EF4-FFF2-40B4-BE49-F238E27FC236}">
                <a16:creationId xmlns:a16="http://schemas.microsoft.com/office/drawing/2014/main" id="{6B49C9AF-CB11-15A0-88E9-D799C8E8E6EB}"/>
              </a:ext>
            </a:extLst>
          </p:cNvPr>
          <p:cNvSpPr>
            <a:spLocks noGrp="1"/>
          </p:cNvSpPr>
          <p:nvPr>
            <p:ph type="pic" sz="quarter" idx="13" hasCustomPrompt="1"/>
          </p:nvPr>
        </p:nvSpPr>
        <p:spPr>
          <a:xfrm>
            <a:off x="8126412" y="0"/>
            <a:ext cx="4065587" cy="6858000"/>
          </a:xfrm>
          <a:solidFill>
            <a:schemeClr val="tx1"/>
          </a:solidFill>
        </p:spPr>
        <p:txBody>
          <a:bodyPr vert="horz" lIns="0" tIns="45720" rIns="0" bIns="45720" rtlCol="0" anchor="ctr">
            <a:normAutofit/>
          </a:bodyPr>
          <a:lstStyle>
            <a:lvl1pPr algn="ctr">
              <a:defRPr lang="en-GB" sz="2800" b="0" dirty="0">
                <a:solidFill>
                  <a:schemeClr val="bg1"/>
                </a:solidFill>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US" dirty="0"/>
              <a:t>ADD RELATED </a:t>
            </a:r>
            <a:br>
              <a:rPr lang="en-US" dirty="0"/>
            </a:br>
            <a:r>
              <a:rPr lang="en-US" dirty="0"/>
              <a:t>IMAGE </a:t>
            </a:r>
            <a:br>
              <a:rPr lang="en-US" dirty="0"/>
            </a:br>
            <a:r>
              <a:rPr lang="en-US" dirty="0"/>
              <a:t>FROM HFW </a:t>
            </a:r>
            <a:br>
              <a:rPr lang="en-US" dirty="0"/>
            </a:br>
            <a:r>
              <a:rPr lang="en-US" dirty="0"/>
              <a:t>IMAGE LIBRARY</a:t>
            </a:r>
          </a:p>
        </p:txBody>
      </p:sp>
      <p:sp>
        <p:nvSpPr>
          <p:cNvPr id="3" name="Content Placeholder 2"/>
          <p:cNvSpPr>
            <a:spLocks noGrp="1"/>
          </p:cNvSpPr>
          <p:nvPr>
            <p:ph idx="1" hasCustomPrompt="1"/>
          </p:nvPr>
        </p:nvSpPr>
        <p:spPr>
          <a:xfrm>
            <a:off x="507999" y="1735006"/>
            <a:ext cx="3400425" cy="1114520"/>
          </a:xfrm>
          <a:solidFill>
            <a:schemeClr val="bg2"/>
          </a:solidFill>
        </p:spPr>
        <p:txBody>
          <a:bodyPr vert="horz" lIns="108000" tIns="72000" rIns="72000" bIns="36000" numCol="1" spcCol="288000" rtlCol="0">
            <a:noAutofit/>
          </a:bodyPr>
          <a:lstStyle>
            <a:lvl1pPr>
              <a:lnSpc>
                <a:spcPct val="130000"/>
              </a:lnSpc>
              <a:spcBef>
                <a:spcPts val="200"/>
              </a:spcBef>
              <a:spcAft>
                <a:spcPts val="200"/>
              </a:spcAft>
              <a:defRPr lang="en-US" sz="1100" dirty="0" smtClean="0">
                <a:solidFill>
                  <a:schemeClr val="tx1"/>
                </a:solidFill>
                <a:latin typeface="+mn-lt"/>
              </a:defRPr>
            </a:lvl1pPr>
            <a:lvl2pPr marL="171450" indent="-171450">
              <a:lnSpc>
                <a:spcPct val="130000"/>
              </a:lnSpc>
              <a:spcBef>
                <a:spcPts val="200"/>
              </a:spcBef>
              <a:spcAft>
                <a:spcPts val="200"/>
              </a:spcAft>
              <a:buFont typeface="Arial" panose="020B0604020202020204" pitchFamily="34" charset="0"/>
              <a:buChar char="•"/>
              <a:defRPr lang="en-US" sz="1000" dirty="0"/>
            </a:lvl2pPr>
            <a:lvl3pPr marL="360363" indent="-182563">
              <a:lnSpc>
                <a:spcPct val="130000"/>
              </a:lnSpc>
              <a:spcBef>
                <a:spcPts val="200"/>
              </a:spcBef>
              <a:spcAft>
                <a:spcPts val="200"/>
              </a:spcAft>
              <a:defRPr lang="en-US" sz="1000" dirty="0"/>
            </a:lvl3pPr>
            <a:lvl4pPr>
              <a:defRPr lang="en-US" sz="1000" dirty="0"/>
            </a:lvl4pPr>
            <a:lvl5pPr>
              <a:defRPr lang="en-US" sz="1000" dirty="0"/>
            </a:lvl5pPr>
          </a:lstStyle>
          <a:p>
            <a:pPr lvl="0"/>
            <a:r>
              <a:rPr lang="en-US" dirty="0"/>
              <a:t>Click to edit master text styles</a:t>
            </a:r>
          </a:p>
          <a:p>
            <a:pPr lvl="1"/>
            <a:r>
              <a:rPr lang="en-US" dirty="0"/>
              <a:t>Second level</a:t>
            </a:r>
          </a:p>
          <a:p>
            <a:pPr lvl="2"/>
            <a:r>
              <a:rPr lang="en-US" dirty="0"/>
              <a:t>Third level</a:t>
            </a:r>
          </a:p>
        </p:txBody>
      </p:sp>
      <p:sp>
        <p:nvSpPr>
          <p:cNvPr id="5" name="Footer Placeholder 4"/>
          <p:cNvSpPr>
            <a:spLocks noGrp="1"/>
          </p:cNvSpPr>
          <p:nvPr>
            <p:ph type="ftr" sz="quarter" idx="11"/>
          </p:nvPr>
        </p:nvSpPr>
        <p:spPr/>
        <p:txBody>
          <a:bodyPr/>
          <a:lstStyle/>
          <a:p>
            <a:r>
              <a:rPr lang="en-GB"/>
              <a:t>INSERT FOOTER HER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8CFE0557-AA98-4E6C-B0C3-581794696B68}" type="slidenum">
              <a:rPr lang="en-GB" smtClean="0"/>
              <a:pPr/>
              <a:t>‹#›</a:t>
            </a:fld>
            <a:endParaRPr lang="en-GB"/>
          </a:p>
        </p:txBody>
      </p:sp>
      <p:sp>
        <p:nvSpPr>
          <p:cNvPr id="7" name="Content Placeholder 2">
            <a:extLst>
              <a:ext uri="{FF2B5EF4-FFF2-40B4-BE49-F238E27FC236}">
                <a16:creationId xmlns:a16="http://schemas.microsoft.com/office/drawing/2014/main" id="{B0B00756-BEE2-1E4F-AA11-656D1916E332}"/>
              </a:ext>
            </a:extLst>
          </p:cNvPr>
          <p:cNvSpPr>
            <a:spLocks noGrp="1"/>
          </p:cNvSpPr>
          <p:nvPr>
            <p:ph idx="14" hasCustomPrompt="1"/>
          </p:nvPr>
        </p:nvSpPr>
        <p:spPr>
          <a:xfrm>
            <a:off x="507999" y="1411005"/>
            <a:ext cx="3400425" cy="324000"/>
          </a:xfrm>
          <a:solidFill>
            <a:schemeClr val="tx2"/>
          </a:solidFill>
        </p:spPr>
        <p:txBody>
          <a:bodyPr vert="horz" lIns="108000" tIns="45720" rIns="72000" bIns="45720" numCol="1" spcCol="216000" rtlCol="0" anchor="ctr" anchorCtr="0">
            <a:noAutofit/>
          </a:bodyPr>
          <a:lstStyle>
            <a:lvl1pPr>
              <a:defRPr lang="en-US" sz="1400" cap="all" baseline="0" dirty="0">
                <a:solidFill>
                  <a:schemeClr val="accent2"/>
                </a:solidFill>
              </a:defRPr>
            </a:lvl1pPr>
            <a:lvl2pPr>
              <a:defRPr lang="en-US" sz="900" dirty="0">
                <a:solidFill>
                  <a:schemeClr val="tx1"/>
                </a:solidFill>
              </a:defRPr>
            </a:lvl2pPr>
            <a:lvl3pPr>
              <a:defRPr lang="en-US" sz="800" dirty="0">
                <a:solidFill>
                  <a:schemeClr val="tx1"/>
                </a:solidFill>
              </a:defRPr>
            </a:lvl3pPr>
            <a:lvl4pPr>
              <a:defRPr lang="en-US" sz="700" dirty="0">
                <a:solidFill>
                  <a:schemeClr val="tx1"/>
                </a:solidFill>
              </a:defRPr>
            </a:lvl4pPr>
            <a:lvl5pPr>
              <a:defRPr lang="en-US" sz="700" dirty="0">
                <a:solidFill>
                  <a:schemeClr val="tx1"/>
                </a:solidFill>
              </a:defRPr>
            </a:lvl5pPr>
          </a:lstStyle>
          <a:p>
            <a:pPr lvl="0"/>
            <a:r>
              <a:rPr lang="en-US" dirty="0"/>
              <a:t>SUBHEAD</a:t>
            </a:r>
          </a:p>
        </p:txBody>
      </p:sp>
      <p:sp>
        <p:nvSpPr>
          <p:cNvPr id="4" name="Title 3">
            <a:extLst>
              <a:ext uri="{FF2B5EF4-FFF2-40B4-BE49-F238E27FC236}">
                <a16:creationId xmlns:a16="http://schemas.microsoft.com/office/drawing/2014/main" id="{6729F04B-D5C0-88EC-FA0F-B39A9EACF533}"/>
              </a:ext>
            </a:extLst>
          </p:cNvPr>
          <p:cNvSpPr>
            <a:spLocks noGrp="1"/>
          </p:cNvSpPr>
          <p:nvPr>
            <p:ph type="title" hasCustomPrompt="1"/>
          </p:nvPr>
        </p:nvSpPr>
        <p:spPr>
          <a:xfrm>
            <a:off x="508001" y="454014"/>
            <a:ext cx="7118350" cy="814806"/>
          </a:xfrm>
        </p:spPr>
        <p:txBody>
          <a:bodyPr/>
          <a:lstStyle/>
          <a:p>
            <a:r>
              <a:rPr lang="en-US" dirty="0"/>
              <a:t>TITLE: subtitle</a:t>
            </a:r>
            <a:endParaRPr lang="en-GB" dirty="0"/>
          </a:p>
        </p:txBody>
      </p:sp>
      <p:sp>
        <p:nvSpPr>
          <p:cNvPr id="11" name="Content Placeholder 2">
            <a:extLst>
              <a:ext uri="{FF2B5EF4-FFF2-40B4-BE49-F238E27FC236}">
                <a16:creationId xmlns:a16="http://schemas.microsoft.com/office/drawing/2014/main" id="{0CE1D013-BC17-F297-93DF-A3CE5AC5F6C5}"/>
              </a:ext>
            </a:extLst>
          </p:cNvPr>
          <p:cNvSpPr>
            <a:spLocks noGrp="1"/>
          </p:cNvSpPr>
          <p:nvPr>
            <p:ph idx="15" hasCustomPrompt="1"/>
          </p:nvPr>
        </p:nvSpPr>
        <p:spPr>
          <a:xfrm>
            <a:off x="4225925" y="1735006"/>
            <a:ext cx="3400425" cy="1114520"/>
          </a:xfrm>
          <a:solidFill>
            <a:schemeClr val="bg2"/>
          </a:solidFill>
        </p:spPr>
        <p:txBody>
          <a:bodyPr vert="horz" lIns="108000" tIns="72000" rIns="72000" bIns="36000" numCol="1" spcCol="288000" rtlCol="0">
            <a:noAutofit/>
          </a:bodyPr>
          <a:lstStyle>
            <a:lvl1pPr>
              <a:lnSpc>
                <a:spcPct val="130000"/>
              </a:lnSpc>
              <a:spcBef>
                <a:spcPts val="200"/>
              </a:spcBef>
              <a:spcAft>
                <a:spcPts val="200"/>
              </a:spcAft>
              <a:defRPr lang="en-US" sz="1100" dirty="0" smtClean="0">
                <a:solidFill>
                  <a:schemeClr val="tx1"/>
                </a:solidFill>
                <a:latin typeface="+mn-lt"/>
              </a:defRPr>
            </a:lvl1pPr>
            <a:lvl2pPr marL="171450" indent="-171450">
              <a:lnSpc>
                <a:spcPct val="130000"/>
              </a:lnSpc>
              <a:spcBef>
                <a:spcPts val="200"/>
              </a:spcBef>
              <a:spcAft>
                <a:spcPts val="200"/>
              </a:spcAft>
              <a:buFont typeface="Arial" panose="020B0604020202020204" pitchFamily="34" charset="0"/>
              <a:buChar char="•"/>
              <a:defRPr lang="en-US" sz="1000" dirty="0"/>
            </a:lvl2pPr>
            <a:lvl3pPr marL="360363" indent="-182563">
              <a:lnSpc>
                <a:spcPct val="130000"/>
              </a:lnSpc>
              <a:spcBef>
                <a:spcPts val="200"/>
              </a:spcBef>
              <a:spcAft>
                <a:spcPts val="200"/>
              </a:spcAft>
              <a:defRPr lang="en-US" sz="1000" dirty="0"/>
            </a:lvl3pPr>
            <a:lvl4pPr>
              <a:defRPr lang="en-US" sz="1000" dirty="0"/>
            </a:lvl4pPr>
            <a:lvl5pPr>
              <a:defRPr lang="en-US" sz="1000" dirty="0"/>
            </a:lvl5pPr>
          </a:lstStyle>
          <a:p>
            <a:pPr lvl="0"/>
            <a:r>
              <a:rPr lang="en-US" dirty="0"/>
              <a:t>Click to edit master text styles</a:t>
            </a:r>
          </a:p>
          <a:p>
            <a:pPr lvl="1"/>
            <a:r>
              <a:rPr lang="en-US" dirty="0"/>
              <a:t>Second level</a:t>
            </a:r>
          </a:p>
          <a:p>
            <a:pPr lvl="2"/>
            <a:r>
              <a:rPr lang="en-US" dirty="0"/>
              <a:t>Third level</a:t>
            </a:r>
          </a:p>
        </p:txBody>
      </p:sp>
      <p:sp>
        <p:nvSpPr>
          <p:cNvPr id="12" name="Content Placeholder 2">
            <a:extLst>
              <a:ext uri="{FF2B5EF4-FFF2-40B4-BE49-F238E27FC236}">
                <a16:creationId xmlns:a16="http://schemas.microsoft.com/office/drawing/2014/main" id="{044BC189-C8AB-468D-9AA3-F616D7D61B1C}"/>
              </a:ext>
            </a:extLst>
          </p:cNvPr>
          <p:cNvSpPr>
            <a:spLocks noGrp="1"/>
          </p:cNvSpPr>
          <p:nvPr>
            <p:ph idx="16" hasCustomPrompt="1"/>
          </p:nvPr>
        </p:nvSpPr>
        <p:spPr>
          <a:xfrm>
            <a:off x="4225925" y="1411005"/>
            <a:ext cx="3400425" cy="324000"/>
          </a:xfrm>
          <a:solidFill>
            <a:schemeClr val="tx2"/>
          </a:solidFill>
        </p:spPr>
        <p:txBody>
          <a:bodyPr vert="horz" lIns="108000" tIns="45720" rIns="72000" bIns="45720" numCol="1" spcCol="216000" rtlCol="0" anchor="ctr" anchorCtr="0">
            <a:noAutofit/>
          </a:bodyPr>
          <a:lstStyle>
            <a:lvl1pPr>
              <a:defRPr lang="en-US" sz="1400" cap="all" baseline="0" dirty="0">
                <a:solidFill>
                  <a:schemeClr val="accent2"/>
                </a:solidFill>
              </a:defRPr>
            </a:lvl1pPr>
            <a:lvl2pPr>
              <a:defRPr lang="en-US" sz="900" dirty="0">
                <a:solidFill>
                  <a:schemeClr val="tx1"/>
                </a:solidFill>
              </a:defRPr>
            </a:lvl2pPr>
            <a:lvl3pPr>
              <a:defRPr lang="en-US" sz="800" dirty="0">
                <a:solidFill>
                  <a:schemeClr val="tx1"/>
                </a:solidFill>
              </a:defRPr>
            </a:lvl3pPr>
            <a:lvl4pPr>
              <a:defRPr lang="en-US" sz="700" dirty="0">
                <a:solidFill>
                  <a:schemeClr val="tx1"/>
                </a:solidFill>
              </a:defRPr>
            </a:lvl4pPr>
            <a:lvl5pPr>
              <a:defRPr lang="en-US" sz="700" dirty="0">
                <a:solidFill>
                  <a:schemeClr val="tx1"/>
                </a:solidFill>
              </a:defRPr>
            </a:lvl5pPr>
          </a:lstStyle>
          <a:p>
            <a:pPr lvl="0"/>
            <a:r>
              <a:rPr lang="en-US" dirty="0"/>
              <a:t>SUBHEAD</a:t>
            </a:r>
          </a:p>
        </p:txBody>
      </p:sp>
      <p:sp>
        <p:nvSpPr>
          <p:cNvPr id="15" name="Content Placeholder 2">
            <a:extLst>
              <a:ext uri="{FF2B5EF4-FFF2-40B4-BE49-F238E27FC236}">
                <a16:creationId xmlns:a16="http://schemas.microsoft.com/office/drawing/2014/main" id="{0DBEF8F2-E7A8-CB2A-D6C6-185F68EA57BB}"/>
              </a:ext>
            </a:extLst>
          </p:cNvPr>
          <p:cNvSpPr>
            <a:spLocks noGrp="1"/>
          </p:cNvSpPr>
          <p:nvPr>
            <p:ph idx="19" hasCustomPrompt="1"/>
          </p:nvPr>
        </p:nvSpPr>
        <p:spPr>
          <a:xfrm>
            <a:off x="507999" y="3429129"/>
            <a:ext cx="3400425" cy="1114520"/>
          </a:xfrm>
          <a:solidFill>
            <a:schemeClr val="bg2"/>
          </a:solidFill>
        </p:spPr>
        <p:txBody>
          <a:bodyPr vert="horz" lIns="108000" tIns="72000" rIns="72000" bIns="36000" numCol="1" spcCol="288000" rtlCol="0">
            <a:noAutofit/>
          </a:bodyPr>
          <a:lstStyle>
            <a:lvl1pPr>
              <a:lnSpc>
                <a:spcPct val="130000"/>
              </a:lnSpc>
              <a:spcBef>
                <a:spcPts val="200"/>
              </a:spcBef>
              <a:spcAft>
                <a:spcPts val="200"/>
              </a:spcAft>
              <a:defRPr lang="en-US" sz="1100" dirty="0" smtClean="0">
                <a:solidFill>
                  <a:schemeClr val="tx1"/>
                </a:solidFill>
                <a:latin typeface="+mn-lt"/>
              </a:defRPr>
            </a:lvl1pPr>
            <a:lvl2pPr marL="171450" indent="-171450">
              <a:lnSpc>
                <a:spcPct val="130000"/>
              </a:lnSpc>
              <a:spcBef>
                <a:spcPts val="200"/>
              </a:spcBef>
              <a:spcAft>
                <a:spcPts val="200"/>
              </a:spcAft>
              <a:buFont typeface="Arial" panose="020B0604020202020204" pitchFamily="34" charset="0"/>
              <a:buChar char="•"/>
              <a:defRPr lang="en-US" sz="1000" dirty="0"/>
            </a:lvl2pPr>
            <a:lvl3pPr marL="360363" indent="-182563">
              <a:lnSpc>
                <a:spcPct val="130000"/>
              </a:lnSpc>
              <a:spcBef>
                <a:spcPts val="200"/>
              </a:spcBef>
              <a:spcAft>
                <a:spcPts val="200"/>
              </a:spcAft>
              <a:defRPr lang="en-US" sz="1000" dirty="0"/>
            </a:lvl3pPr>
            <a:lvl4pPr>
              <a:defRPr lang="en-US" sz="1000" dirty="0"/>
            </a:lvl4pPr>
            <a:lvl5pPr>
              <a:defRPr lang="en-US" sz="1000" dirty="0"/>
            </a:lvl5pPr>
          </a:lstStyle>
          <a:p>
            <a:pPr lvl="0"/>
            <a:r>
              <a:rPr lang="en-US" dirty="0"/>
              <a:t>Click to edit master text styles</a:t>
            </a:r>
          </a:p>
          <a:p>
            <a:pPr lvl="1"/>
            <a:r>
              <a:rPr lang="en-US" dirty="0"/>
              <a:t>Second level</a:t>
            </a:r>
          </a:p>
          <a:p>
            <a:pPr lvl="2"/>
            <a:r>
              <a:rPr lang="en-US" dirty="0"/>
              <a:t>Third level</a:t>
            </a:r>
          </a:p>
        </p:txBody>
      </p:sp>
      <p:sp>
        <p:nvSpPr>
          <p:cNvPr id="16" name="Content Placeholder 2">
            <a:extLst>
              <a:ext uri="{FF2B5EF4-FFF2-40B4-BE49-F238E27FC236}">
                <a16:creationId xmlns:a16="http://schemas.microsoft.com/office/drawing/2014/main" id="{62C1633C-AF8C-5672-C8E9-59BF8E705D38}"/>
              </a:ext>
            </a:extLst>
          </p:cNvPr>
          <p:cNvSpPr>
            <a:spLocks noGrp="1"/>
          </p:cNvSpPr>
          <p:nvPr>
            <p:ph idx="20" hasCustomPrompt="1"/>
          </p:nvPr>
        </p:nvSpPr>
        <p:spPr>
          <a:xfrm>
            <a:off x="507999" y="3105128"/>
            <a:ext cx="3400425" cy="324000"/>
          </a:xfrm>
          <a:solidFill>
            <a:schemeClr val="tx2"/>
          </a:solidFill>
        </p:spPr>
        <p:txBody>
          <a:bodyPr vert="horz" lIns="108000" tIns="45720" rIns="72000" bIns="45720" numCol="1" spcCol="216000" rtlCol="0" anchor="ctr" anchorCtr="0">
            <a:noAutofit/>
          </a:bodyPr>
          <a:lstStyle>
            <a:lvl1pPr>
              <a:defRPr lang="en-US" sz="1400" cap="all" baseline="0" dirty="0">
                <a:solidFill>
                  <a:schemeClr val="accent2"/>
                </a:solidFill>
              </a:defRPr>
            </a:lvl1pPr>
            <a:lvl2pPr>
              <a:defRPr lang="en-US" sz="900" dirty="0">
                <a:solidFill>
                  <a:schemeClr val="tx1"/>
                </a:solidFill>
              </a:defRPr>
            </a:lvl2pPr>
            <a:lvl3pPr>
              <a:defRPr lang="en-US" sz="800" dirty="0">
                <a:solidFill>
                  <a:schemeClr val="tx1"/>
                </a:solidFill>
              </a:defRPr>
            </a:lvl3pPr>
            <a:lvl4pPr>
              <a:defRPr lang="en-US" sz="700" dirty="0">
                <a:solidFill>
                  <a:schemeClr val="tx1"/>
                </a:solidFill>
              </a:defRPr>
            </a:lvl4pPr>
            <a:lvl5pPr>
              <a:defRPr lang="en-US" sz="700" dirty="0">
                <a:solidFill>
                  <a:schemeClr val="tx1"/>
                </a:solidFill>
              </a:defRPr>
            </a:lvl5pPr>
          </a:lstStyle>
          <a:p>
            <a:pPr lvl="0"/>
            <a:r>
              <a:rPr lang="en-US" dirty="0"/>
              <a:t>SUBHEAD</a:t>
            </a:r>
          </a:p>
        </p:txBody>
      </p:sp>
      <p:sp>
        <p:nvSpPr>
          <p:cNvPr id="17" name="Content Placeholder 2">
            <a:extLst>
              <a:ext uri="{FF2B5EF4-FFF2-40B4-BE49-F238E27FC236}">
                <a16:creationId xmlns:a16="http://schemas.microsoft.com/office/drawing/2014/main" id="{03927300-C246-F5F7-919E-B25446AA46DA}"/>
              </a:ext>
            </a:extLst>
          </p:cNvPr>
          <p:cNvSpPr>
            <a:spLocks noGrp="1"/>
          </p:cNvSpPr>
          <p:nvPr>
            <p:ph idx="21" hasCustomPrompt="1"/>
          </p:nvPr>
        </p:nvSpPr>
        <p:spPr>
          <a:xfrm>
            <a:off x="4225925" y="3429129"/>
            <a:ext cx="3400425" cy="1114520"/>
          </a:xfrm>
          <a:solidFill>
            <a:schemeClr val="bg2"/>
          </a:solidFill>
        </p:spPr>
        <p:txBody>
          <a:bodyPr vert="horz" lIns="108000" tIns="72000" rIns="72000" bIns="36000" numCol="1" spcCol="288000" rtlCol="0">
            <a:noAutofit/>
          </a:bodyPr>
          <a:lstStyle>
            <a:lvl1pPr>
              <a:lnSpc>
                <a:spcPct val="130000"/>
              </a:lnSpc>
              <a:spcBef>
                <a:spcPts val="200"/>
              </a:spcBef>
              <a:spcAft>
                <a:spcPts val="200"/>
              </a:spcAft>
              <a:defRPr lang="en-US" sz="1100" dirty="0" smtClean="0">
                <a:solidFill>
                  <a:schemeClr val="tx1"/>
                </a:solidFill>
                <a:latin typeface="+mn-lt"/>
              </a:defRPr>
            </a:lvl1pPr>
            <a:lvl2pPr marL="171450" indent="-171450">
              <a:lnSpc>
                <a:spcPct val="130000"/>
              </a:lnSpc>
              <a:spcBef>
                <a:spcPts val="200"/>
              </a:spcBef>
              <a:spcAft>
                <a:spcPts val="200"/>
              </a:spcAft>
              <a:buFont typeface="Arial" panose="020B0604020202020204" pitchFamily="34" charset="0"/>
              <a:buChar char="•"/>
              <a:defRPr lang="en-US" sz="1000" dirty="0"/>
            </a:lvl2pPr>
            <a:lvl3pPr marL="360363" indent="-182563">
              <a:lnSpc>
                <a:spcPct val="130000"/>
              </a:lnSpc>
              <a:spcBef>
                <a:spcPts val="200"/>
              </a:spcBef>
              <a:spcAft>
                <a:spcPts val="200"/>
              </a:spcAft>
              <a:defRPr lang="en-US" sz="1000" dirty="0"/>
            </a:lvl3pPr>
            <a:lvl4pPr>
              <a:defRPr lang="en-US" sz="1000" dirty="0"/>
            </a:lvl4pPr>
            <a:lvl5pPr>
              <a:defRPr lang="en-US" sz="1000" dirty="0"/>
            </a:lvl5pPr>
          </a:lstStyle>
          <a:p>
            <a:pPr lvl="0"/>
            <a:r>
              <a:rPr lang="en-US" dirty="0"/>
              <a:t>Click to edit master text styles</a:t>
            </a:r>
          </a:p>
          <a:p>
            <a:pPr lvl="1"/>
            <a:r>
              <a:rPr lang="en-US" dirty="0"/>
              <a:t>Second level</a:t>
            </a:r>
          </a:p>
          <a:p>
            <a:pPr lvl="2"/>
            <a:r>
              <a:rPr lang="en-US" dirty="0"/>
              <a:t>Third level</a:t>
            </a:r>
          </a:p>
        </p:txBody>
      </p:sp>
      <p:sp>
        <p:nvSpPr>
          <p:cNvPr id="18" name="Content Placeholder 2">
            <a:extLst>
              <a:ext uri="{FF2B5EF4-FFF2-40B4-BE49-F238E27FC236}">
                <a16:creationId xmlns:a16="http://schemas.microsoft.com/office/drawing/2014/main" id="{376ABD33-7DE6-932D-F04B-E72ED7FB6DE7}"/>
              </a:ext>
            </a:extLst>
          </p:cNvPr>
          <p:cNvSpPr>
            <a:spLocks noGrp="1"/>
          </p:cNvSpPr>
          <p:nvPr>
            <p:ph idx="22" hasCustomPrompt="1"/>
          </p:nvPr>
        </p:nvSpPr>
        <p:spPr>
          <a:xfrm>
            <a:off x="4225925" y="3105128"/>
            <a:ext cx="3400425" cy="324000"/>
          </a:xfrm>
          <a:solidFill>
            <a:schemeClr val="tx2"/>
          </a:solidFill>
        </p:spPr>
        <p:txBody>
          <a:bodyPr vert="horz" lIns="108000" tIns="45720" rIns="72000" bIns="45720" numCol="1" spcCol="216000" rtlCol="0" anchor="ctr" anchorCtr="0">
            <a:noAutofit/>
          </a:bodyPr>
          <a:lstStyle>
            <a:lvl1pPr>
              <a:defRPr lang="en-US" sz="1400" cap="all" baseline="0" dirty="0">
                <a:solidFill>
                  <a:schemeClr val="accent2"/>
                </a:solidFill>
              </a:defRPr>
            </a:lvl1pPr>
            <a:lvl2pPr>
              <a:defRPr lang="en-US" sz="900" dirty="0">
                <a:solidFill>
                  <a:schemeClr val="tx1"/>
                </a:solidFill>
              </a:defRPr>
            </a:lvl2pPr>
            <a:lvl3pPr>
              <a:defRPr lang="en-US" sz="800" dirty="0">
                <a:solidFill>
                  <a:schemeClr val="tx1"/>
                </a:solidFill>
              </a:defRPr>
            </a:lvl3pPr>
            <a:lvl4pPr>
              <a:defRPr lang="en-US" sz="700" dirty="0">
                <a:solidFill>
                  <a:schemeClr val="tx1"/>
                </a:solidFill>
              </a:defRPr>
            </a:lvl4pPr>
            <a:lvl5pPr>
              <a:defRPr lang="en-US" sz="700" dirty="0">
                <a:solidFill>
                  <a:schemeClr val="tx1"/>
                </a:solidFill>
              </a:defRPr>
            </a:lvl5pPr>
          </a:lstStyle>
          <a:p>
            <a:pPr lvl="0"/>
            <a:r>
              <a:rPr lang="en-US" dirty="0"/>
              <a:t>SUBHEAD</a:t>
            </a:r>
          </a:p>
        </p:txBody>
      </p:sp>
      <p:sp>
        <p:nvSpPr>
          <p:cNvPr id="21" name="Content Placeholder 2">
            <a:extLst>
              <a:ext uri="{FF2B5EF4-FFF2-40B4-BE49-F238E27FC236}">
                <a16:creationId xmlns:a16="http://schemas.microsoft.com/office/drawing/2014/main" id="{B8365A59-2337-7B5E-B124-66D8436B5263}"/>
              </a:ext>
            </a:extLst>
          </p:cNvPr>
          <p:cNvSpPr>
            <a:spLocks noGrp="1"/>
          </p:cNvSpPr>
          <p:nvPr>
            <p:ph idx="25" hasCustomPrompt="1"/>
          </p:nvPr>
        </p:nvSpPr>
        <p:spPr>
          <a:xfrm>
            <a:off x="507999" y="5101983"/>
            <a:ext cx="3400425" cy="1114520"/>
          </a:xfrm>
          <a:solidFill>
            <a:schemeClr val="bg2"/>
          </a:solidFill>
        </p:spPr>
        <p:txBody>
          <a:bodyPr vert="horz" lIns="108000" tIns="72000" rIns="72000" bIns="36000" numCol="1" spcCol="288000" rtlCol="0">
            <a:noAutofit/>
          </a:bodyPr>
          <a:lstStyle>
            <a:lvl1pPr>
              <a:lnSpc>
                <a:spcPct val="130000"/>
              </a:lnSpc>
              <a:spcBef>
                <a:spcPts val="200"/>
              </a:spcBef>
              <a:spcAft>
                <a:spcPts val="200"/>
              </a:spcAft>
              <a:defRPr lang="en-US" sz="1100" dirty="0" smtClean="0">
                <a:solidFill>
                  <a:schemeClr val="tx1"/>
                </a:solidFill>
                <a:latin typeface="+mn-lt"/>
              </a:defRPr>
            </a:lvl1pPr>
            <a:lvl2pPr marL="171450" indent="-171450">
              <a:lnSpc>
                <a:spcPct val="130000"/>
              </a:lnSpc>
              <a:spcBef>
                <a:spcPts val="200"/>
              </a:spcBef>
              <a:spcAft>
                <a:spcPts val="200"/>
              </a:spcAft>
              <a:buFont typeface="Arial" panose="020B0604020202020204" pitchFamily="34" charset="0"/>
              <a:buChar char="•"/>
              <a:defRPr lang="en-US" sz="1000" dirty="0"/>
            </a:lvl2pPr>
            <a:lvl3pPr marL="360363" indent="-182563">
              <a:lnSpc>
                <a:spcPct val="130000"/>
              </a:lnSpc>
              <a:spcBef>
                <a:spcPts val="200"/>
              </a:spcBef>
              <a:spcAft>
                <a:spcPts val="200"/>
              </a:spcAft>
              <a:defRPr lang="en-US" sz="1000" dirty="0"/>
            </a:lvl3pPr>
            <a:lvl4pPr>
              <a:defRPr lang="en-US" sz="1000" dirty="0"/>
            </a:lvl4pPr>
            <a:lvl5pPr>
              <a:defRPr lang="en-US" sz="1000" dirty="0"/>
            </a:lvl5pPr>
          </a:lstStyle>
          <a:p>
            <a:pPr lvl="0"/>
            <a:r>
              <a:rPr lang="en-US" dirty="0"/>
              <a:t>Click to edit master text styles</a:t>
            </a:r>
          </a:p>
          <a:p>
            <a:pPr lvl="1"/>
            <a:r>
              <a:rPr lang="en-US" dirty="0"/>
              <a:t>Second level</a:t>
            </a:r>
          </a:p>
          <a:p>
            <a:pPr lvl="2"/>
            <a:r>
              <a:rPr lang="en-US" dirty="0"/>
              <a:t>Third level</a:t>
            </a:r>
          </a:p>
        </p:txBody>
      </p:sp>
      <p:sp>
        <p:nvSpPr>
          <p:cNvPr id="22" name="Content Placeholder 2">
            <a:extLst>
              <a:ext uri="{FF2B5EF4-FFF2-40B4-BE49-F238E27FC236}">
                <a16:creationId xmlns:a16="http://schemas.microsoft.com/office/drawing/2014/main" id="{74EDE4A7-B395-2B29-E429-599F2CF2BC66}"/>
              </a:ext>
            </a:extLst>
          </p:cNvPr>
          <p:cNvSpPr>
            <a:spLocks noGrp="1"/>
          </p:cNvSpPr>
          <p:nvPr>
            <p:ph idx="26" hasCustomPrompt="1"/>
          </p:nvPr>
        </p:nvSpPr>
        <p:spPr>
          <a:xfrm>
            <a:off x="507999" y="4777982"/>
            <a:ext cx="3400425" cy="324000"/>
          </a:xfrm>
          <a:solidFill>
            <a:schemeClr val="tx2"/>
          </a:solidFill>
        </p:spPr>
        <p:txBody>
          <a:bodyPr vert="horz" lIns="108000" tIns="45720" rIns="72000" bIns="45720" numCol="1" spcCol="216000" rtlCol="0" anchor="ctr" anchorCtr="0">
            <a:noAutofit/>
          </a:bodyPr>
          <a:lstStyle>
            <a:lvl1pPr>
              <a:defRPr lang="en-US" sz="1400" cap="all" baseline="0" dirty="0">
                <a:solidFill>
                  <a:schemeClr val="accent2"/>
                </a:solidFill>
              </a:defRPr>
            </a:lvl1pPr>
            <a:lvl2pPr>
              <a:defRPr lang="en-US" sz="900" dirty="0">
                <a:solidFill>
                  <a:schemeClr val="tx1"/>
                </a:solidFill>
              </a:defRPr>
            </a:lvl2pPr>
            <a:lvl3pPr>
              <a:defRPr lang="en-US" sz="800" dirty="0">
                <a:solidFill>
                  <a:schemeClr val="tx1"/>
                </a:solidFill>
              </a:defRPr>
            </a:lvl3pPr>
            <a:lvl4pPr>
              <a:defRPr lang="en-US" sz="700" dirty="0">
                <a:solidFill>
                  <a:schemeClr val="tx1"/>
                </a:solidFill>
              </a:defRPr>
            </a:lvl4pPr>
            <a:lvl5pPr>
              <a:defRPr lang="en-US" sz="700" dirty="0">
                <a:solidFill>
                  <a:schemeClr val="tx1"/>
                </a:solidFill>
              </a:defRPr>
            </a:lvl5pPr>
          </a:lstStyle>
          <a:p>
            <a:pPr lvl="0"/>
            <a:r>
              <a:rPr lang="en-US" dirty="0"/>
              <a:t>SUBHEAD</a:t>
            </a:r>
          </a:p>
        </p:txBody>
      </p:sp>
      <p:sp>
        <p:nvSpPr>
          <p:cNvPr id="23" name="Content Placeholder 2">
            <a:extLst>
              <a:ext uri="{FF2B5EF4-FFF2-40B4-BE49-F238E27FC236}">
                <a16:creationId xmlns:a16="http://schemas.microsoft.com/office/drawing/2014/main" id="{CF99ABED-044C-C28A-86DC-D97A636A68EE}"/>
              </a:ext>
            </a:extLst>
          </p:cNvPr>
          <p:cNvSpPr>
            <a:spLocks noGrp="1"/>
          </p:cNvSpPr>
          <p:nvPr>
            <p:ph idx="27" hasCustomPrompt="1"/>
          </p:nvPr>
        </p:nvSpPr>
        <p:spPr>
          <a:xfrm>
            <a:off x="4225925" y="5101983"/>
            <a:ext cx="3400425" cy="1114520"/>
          </a:xfrm>
          <a:solidFill>
            <a:schemeClr val="bg2"/>
          </a:solidFill>
        </p:spPr>
        <p:txBody>
          <a:bodyPr vert="horz" lIns="108000" tIns="72000" rIns="72000" bIns="36000" numCol="1" spcCol="288000" rtlCol="0">
            <a:noAutofit/>
          </a:bodyPr>
          <a:lstStyle>
            <a:lvl1pPr>
              <a:lnSpc>
                <a:spcPct val="130000"/>
              </a:lnSpc>
              <a:spcBef>
                <a:spcPts val="200"/>
              </a:spcBef>
              <a:spcAft>
                <a:spcPts val="200"/>
              </a:spcAft>
              <a:defRPr lang="en-US" sz="1100" dirty="0" smtClean="0">
                <a:solidFill>
                  <a:schemeClr val="tx1"/>
                </a:solidFill>
                <a:latin typeface="+mn-lt"/>
              </a:defRPr>
            </a:lvl1pPr>
            <a:lvl2pPr marL="171450" indent="-171450">
              <a:lnSpc>
                <a:spcPct val="130000"/>
              </a:lnSpc>
              <a:spcBef>
                <a:spcPts val="200"/>
              </a:spcBef>
              <a:spcAft>
                <a:spcPts val="200"/>
              </a:spcAft>
              <a:buFont typeface="Arial" panose="020B0604020202020204" pitchFamily="34" charset="0"/>
              <a:buChar char="•"/>
              <a:defRPr lang="en-US" sz="1000" dirty="0"/>
            </a:lvl2pPr>
            <a:lvl3pPr marL="360363" indent="-182563">
              <a:lnSpc>
                <a:spcPct val="130000"/>
              </a:lnSpc>
              <a:spcBef>
                <a:spcPts val="200"/>
              </a:spcBef>
              <a:spcAft>
                <a:spcPts val="200"/>
              </a:spcAft>
              <a:defRPr lang="en-US" sz="1000" dirty="0"/>
            </a:lvl3pPr>
            <a:lvl4pPr>
              <a:defRPr lang="en-US" sz="1000" dirty="0"/>
            </a:lvl4pPr>
            <a:lvl5pPr>
              <a:defRPr lang="en-US" sz="1000" dirty="0"/>
            </a:lvl5pPr>
          </a:lstStyle>
          <a:p>
            <a:pPr lvl="0"/>
            <a:r>
              <a:rPr lang="en-US" dirty="0"/>
              <a:t>Click to edit master text styles</a:t>
            </a:r>
          </a:p>
          <a:p>
            <a:pPr lvl="1"/>
            <a:r>
              <a:rPr lang="en-US" dirty="0"/>
              <a:t>Second level</a:t>
            </a:r>
          </a:p>
          <a:p>
            <a:pPr lvl="2"/>
            <a:r>
              <a:rPr lang="en-US" dirty="0"/>
              <a:t>Third level</a:t>
            </a:r>
          </a:p>
        </p:txBody>
      </p:sp>
      <p:sp>
        <p:nvSpPr>
          <p:cNvPr id="24" name="Content Placeholder 2">
            <a:extLst>
              <a:ext uri="{FF2B5EF4-FFF2-40B4-BE49-F238E27FC236}">
                <a16:creationId xmlns:a16="http://schemas.microsoft.com/office/drawing/2014/main" id="{59C2FBAA-C8E8-1022-B792-35D5DDB21932}"/>
              </a:ext>
            </a:extLst>
          </p:cNvPr>
          <p:cNvSpPr>
            <a:spLocks noGrp="1"/>
          </p:cNvSpPr>
          <p:nvPr>
            <p:ph idx="28" hasCustomPrompt="1"/>
          </p:nvPr>
        </p:nvSpPr>
        <p:spPr>
          <a:xfrm>
            <a:off x="4225925" y="4777982"/>
            <a:ext cx="3400425" cy="324000"/>
          </a:xfrm>
          <a:solidFill>
            <a:schemeClr val="tx2"/>
          </a:solidFill>
        </p:spPr>
        <p:txBody>
          <a:bodyPr vert="horz" lIns="108000" tIns="45720" rIns="72000" bIns="45720" numCol="1" spcCol="216000" rtlCol="0" anchor="ctr" anchorCtr="0">
            <a:noAutofit/>
          </a:bodyPr>
          <a:lstStyle>
            <a:lvl1pPr>
              <a:defRPr lang="en-US" sz="1400" cap="all" baseline="0" dirty="0">
                <a:solidFill>
                  <a:schemeClr val="accent2"/>
                </a:solidFill>
              </a:defRPr>
            </a:lvl1pPr>
            <a:lvl2pPr>
              <a:defRPr lang="en-US" sz="900" dirty="0">
                <a:solidFill>
                  <a:schemeClr val="tx1"/>
                </a:solidFill>
              </a:defRPr>
            </a:lvl2pPr>
            <a:lvl3pPr>
              <a:defRPr lang="en-US" sz="800" dirty="0">
                <a:solidFill>
                  <a:schemeClr val="tx1"/>
                </a:solidFill>
              </a:defRPr>
            </a:lvl3pPr>
            <a:lvl4pPr>
              <a:defRPr lang="en-US" sz="700" dirty="0">
                <a:solidFill>
                  <a:schemeClr val="tx1"/>
                </a:solidFill>
              </a:defRPr>
            </a:lvl4pPr>
            <a:lvl5pPr>
              <a:defRPr lang="en-US" sz="700" dirty="0">
                <a:solidFill>
                  <a:schemeClr val="tx1"/>
                </a:solidFill>
              </a:defRPr>
            </a:lvl5pPr>
          </a:lstStyle>
          <a:p>
            <a:pPr lvl="0"/>
            <a:r>
              <a:rPr lang="en-US" dirty="0"/>
              <a:t>SUBHEAD</a:t>
            </a:r>
          </a:p>
        </p:txBody>
      </p:sp>
      <p:sp>
        <p:nvSpPr>
          <p:cNvPr id="8" name="TextBox 4">
            <a:extLst>
              <a:ext uri="{FF2B5EF4-FFF2-40B4-BE49-F238E27FC236}">
                <a16:creationId xmlns:a16="http://schemas.microsoft.com/office/drawing/2014/main" id="{2731D0D2-8DF1-D95A-3252-21A62CF3AB1B}"/>
              </a:ext>
            </a:extLst>
          </p:cNvPr>
          <p:cNvSpPr txBox="1"/>
          <p:nvPr userDrawn="1"/>
        </p:nvSpPr>
        <p:spPr>
          <a:xfrm>
            <a:off x="12346713" y="109538"/>
            <a:ext cx="1934437" cy="31700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INSERTING IMAGES:</a:t>
            </a:r>
          </a:p>
          <a:p>
            <a:pPr marL="179388" indent="-179388">
              <a:spcBef>
                <a:spcPts val="200"/>
              </a:spcBef>
              <a:spcAft>
                <a:spcPts val="200"/>
              </a:spcAft>
              <a:buFont typeface="+mj-lt"/>
              <a:buAutoNum type="arabicPeriod"/>
            </a:pPr>
            <a:r>
              <a:rPr lang="en-US" sz="900" dirty="0">
                <a:solidFill>
                  <a:schemeClr val="tx1"/>
                </a:solidFill>
                <a:latin typeface="+mn-lt"/>
              </a:rPr>
              <a:t>Simply click the image placeholder and select your image.</a:t>
            </a:r>
          </a:p>
          <a:p>
            <a:pPr marL="179388" indent="-179388">
              <a:spcBef>
                <a:spcPts val="200"/>
              </a:spcBef>
              <a:spcAft>
                <a:spcPts val="200"/>
              </a:spcAft>
              <a:buFont typeface="+mj-lt"/>
              <a:buAutoNum type="arabicPeriod"/>
            </a:pPr>
            <a:r>
              <a:rPr lang="en-US" sz="900" dirty="0">
                <a:solidFill>
                  <a:schemeClr val="tx1"/>
                </a:solidFill>
                <a:latin typeface="+mn-lt"/>
              </a:rPr>
              <a:t>Once your image is inserted into the shape it may be distorted. (Stretched or Squashed)</a:t>
            </a:r>
          </a:p>
          <a:p>
            <a:pPr marL="179388" indent="-179388">
              <a:spcBef>
                <a:spcPts val="200"/>
              </a:spcBef>
              <a:spcAft>
                <a:spcPts val="200"/>
              </a:spcAft>
              <a:buFont typeface="+mj-lt"/>
              <a:buAutoNum type="arabicPeriod"/>
            </a:pPr>
            <a:endParaRPr lang="en-US" sz="900" dirty="0">
              <a:solidFill>
                <a:schemeClr val="tx1"/>
              </a:solidFill>
              <a:latin typeface="+mn-lt"/>
            </a:endParaRPr>
          </a:p>
          <a:p>
            <a:pPr>
              <a:spcBef>
                <a:spcPts val="200"/>
              </a:spcBef>
              <a:spcAft>
                <a:spcPts val="200"/>
              </a:spcAft>
            </a:pPr>
            <a:r>
              <a:rPr lang="en-US" sz="900" b="1" dirty="0">
                <a:solidFill>
                  <a:schemeClr val="tx1"/>
                </a:solidFill>
                <a:latin typeface="+mn-lt"/>
              </a:rPr>
              <a:t>To fix this:</a:t>
            </a:r>
          </a:p>
          <a:p>
            <a:pPr marL="179388" indent="-179388">
              <a:spcBef>
                <a:spcPts val="200"/>
              </a:spcBef>
              <a:spcAft>
                <a:spcPts val="200"/>
              </a:spcAft>
              <a:buFont typeface="+mj-lt"/>
              <a:buAutoNum type="arabicPeriod"/>
            </a:pPr>
            <a:r>
              <a:rPr lang="en-US" sz="900" dirty="0">
                <a:solidFill>
                  <a:schemeClr val="tx1"/>
                </a:solidFill>
                <a:latin typeface="+mn-lt"/>
              </a:rPr>
              <a:t>Click on the image and from the top menu under </a:t>
            </a:r>
            <a:r>
              <a:rPr lang="en-US" sz="900" b="1" dirty="0">
                <a:solidFill>
                  <a:schemeClr val="tx1"/>
                </a:solidFill>
                <a:latin typeface="+mn-lt"/>
              </a:rPr>
              <a:t>PICTURE FORMAT </a:t>
            </a:r>
            <a:r>
              <a:rPr lang="en-US" sz="900" dirty="0">
                <a:solidFill>
                  <a:schemeClr val="tx1"/>
                </a:solidFill>
                <a:latin typeface="+mn-lt"/>
              </a:rPr>
              <a:t>select the </a:t>
            </a:r>
            <a:r>
              <a:rPr lang="en-US" sz="900" b="1" dirty="0">
                <a:solidFill>
                  <a:schemeClr val="tx1"/>
                </a:solidFill>
                <a:latin typeface="+mn-lt"/>
              </a:rPr>
              <a:t>CROP</a:t>
            </a:r>
            <a:r>
              <a:rPr lang="en-US" sz="900" dirty="0">
                <a:solidFill>
                  <a:schemeClr val="tx1"/>
                </a:solidFill>
                <a:latin typeface="+mn-lt"/>
              </a:rPr>
              <a:t> on the right and from the drop down menu select </a:t>
            </a:r>
            <a:r>
              <a:rPr lang="en-US" sz="900" b="1" kern="1200" dirty="0">
                <a:solidFill>
                  <a:schemeClr val="tx1"/>
                </a:solidFill>
                <a:latin typeface="+mn-lt"/>
                <a:ea typeface="+mn-ea"/>
                <a:cs typeface="+mn-cs"/>
              </a:rPr>
              <a:t>FILL</a:t>
            </a:r>
          </a:p>
          <a:p>
            <a:pPr marL="179388" indent="-179388">
              <a:spcBef>
                <a:spcPts val="200"/>
              </a:spcBef>
              <a:spcAft>
                <a:spcPts val="200"/>
              </a:spcAft>
              <a:buFont typeface="+mj-lt"/>
              <a:buAutoNum type="arabicPeriod"/>
            </a:pPr>
            <a:r>
              <a:rPr lang="en-US" sz="900" b="0" kern="1200" dirty="0">
                <a:solidFill>
                  <a:schemeClr val="tx1"/>
                </a:solidFill>
                <a:latin typeface="+mn-lt"/>
                <a:ea typeface="+mn-ea"/>
                <a:cs typeface="+mn-cs"/>
              </a:rPr>
              <a:t>From here you can move the image within the shape for best visual appearance</a:t>
            </a:r>
          </a:p>
        </p:txBody>
      </p:sp>
    </p:spTree>
    <p:extLst>
      <p:ext uri="{BB962C8B-B14F-4D97-AF65-F5344CB8AC3E}">
        <p14:creationId xmlns:p14="http://schemas.microsoft.com/office/powerpoint/2010/main" val="2436819378"/>
      </p:ext>
    </p:extLst>
  </p:cSld>
  <p:clrMapOvr>
    <a:masterClrMapping/>
  </p:clrMapOvr>
  <p:transition spd="med">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6 Boxes &amp; Pull-out Tex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CE16555-276D-66C1-09B7-7038F8B3336C}"/>
              </a:ext>
            </a:extLst>
          </p:cNvPr>
          <p:cNvSpPr/>
          <p:nvPr userDrawn="1"/>
        </p:nvSpPr>
        <p:spPr>
          <a:xfrm>
            <a:off x="8126413" y="0"/>
            <a:ext cx="40655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p:ph idx="1" hasCustomPrompt="1"/>
          </p:nvPr>
        </p:nvSpPr>
        <p:spPr>
          <a:xfrm>
            <a:off x="507999" y="1735006"/>
            <a:ext cx="3400425" cy="1114520"/>
          </a:xfrm>
          <a:solidFill>
            <a:schemeClr val="bg2"/>
          </a:solidFill>
        </p:spPr>
        <p:txBody>
          <a:bodyPr vert="horz" lIns="108000" tIns="72000" rIns="72000" bIns="36000" numCol="1" spcCol="288000" rtlCol="0">
            <a:noAutofit/>
          </a:bodyPr>
          <a:lstStyle>
            <a:lvl1pPr>
              <a:lnSpc>
                <a:spcPct val="130000"/>
              </a:lnSpc>
              <a:spcBef>
                <a:spcPts val="200"/>
              </a:spcBef>
              <a:spcAft>
                <a:spcPts val="200"/>
              </a:spcAft>
              <a:defRPr lang="en-US" sz="1100" dirty="0" smtClean="0">
                <a:solidFill>
                  <a:schemeClr val="tx1"/>
                </a:solidFill>
                <a:latin typeface="+mn-lt"/>
              </a:defRPr>
            </a:lvl1pPr>
            <a:lvl2pPr marL="171450" indent="-171450">
              <a:lnSpc>
                <a:spcPct val="130000"/>
              </a:lnSpc>
              <a:spcBef>
                <a:spcPts val="200"/>
              </a:spcBef>
              <a:spcAft>
                <a:spcPts val="200"/>
              </a:spcAft>
              <a:buFont typeface="Arial" panose="020B0604020202020204" pitchFamily="34" charset="0"/>
              <a:buChar char="•"/>
              <a:defRPr lang="en-US" sz="1000" dirty="0"/>
            </a:lvl2pPr>
            <a:lvl3pPr marL="360363" indent="-182563">
              <a:lnSpc>
                <a:spcPct val="130000"/>
              </a:lnSpc>
              <a:spcBef>
                <a:spcPts val="200"/>
              </a:spcBef>
              <a:spcAft>
                <a:spcPts val="200"/>
              </a:spcAft>
              <a:defRPr lang="en-US" sz="1000" dirty="0"/>
            </a:lvl3pPr>
            <a:lvl4pPr>
              <a:defRPr lang="en-US" sz="1000" dirty="0"/>
            </a:lvl4pPr>
            <a:lvl5pPr>
              <a:defRPr lang="en-US" sz="1000" dirty="0"/>
            </a:lvl5pPr>
          </a:lstStyle>
          <a:p>
            <a:pPr lvl="0"/>
            <a:r>
              <a:rPr lang="en-US" dirty="0"/>
              <a:t>Click to edit master text styles</a:t>
            </a:r>
          </a:p>
          <a:p>
            <a:pPr lvl="1"/>
            <a:r>
              <a:rPr lang="en-US" dirty="0"/>
              <a:t>Second level</a:t>
            </a:r>
          </a:p>
          <a:p>
            <a:pPr lvl="2"/>
            <a:r>
              <a:rPr lang="en-US" dirty="0"/>
              <a:t>Third level</a:t>
            </a:r>
          </a:p>
        </p:txBody>
      </p:sp>
      <p:sp>
        <p:nvSpPr>
          <p:cNvPr id="5" name="Footer Placeholder 4"/>
          <p:cNvSpPr>
            <a:spLocks noGrp="1"/>
          </p:cNvSpPr>
          <p:nvPr>
            <p:ph type="ftr" sz="quarter" idx="11"/>
          </p:nvPr>
        </p:nvSpPr>
        <p:spPr/>
        <p:txBody>
          <a:bodyPr/>
          <a:lstStyle/>
          <a:p>
            <a:r>
              <a:rPr lang="en-GB"/>
              <a:t>INSERT FOOTER HER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8CFE0557-AA98-4E6C-B0C3-581794696B68}" type="slidenum">
              <a:rPr lang="en-GB" smtClean="0"/>
              <a:pPr/>
              <a:t>‹#›</a:t>
            </a:fld>
            <a:endParaRPr lang="en-GB"/>
          </a:p>
        </p:txBody>
      </p:sp>
      <p:sp>
        <p:nvSpPr>
          <p:cNvPr id="7" name="Content Placeholder 2">
            <a:extLst>
              <a:ext uri="{FF2B5EF4-FFF2-40B4-BE49-F238E27FC236}">
                <a16:creationId xmlns:a16="http://schemas.microsoft.com/office/drawing/2014/main" id="{B0B00756-BEE2-1E4F-AA11-656D1916E332}"/>
              </a:ext>
            </a:extLst>
          </p:cNvPr>
          <p:cNvSpPr>
            <a:spLocks noGrp="1"/>
          </p:cNvSpPr>
          <p:nvPr>
            <p:ph idx="14" hasCustomPrompt="1"/>
          </p:nvPr>
        </p:nvSpPr>
        <p:spPr>
          <a:xfrm>
            <a:off x="507999" y="1411005"/>
            <a:ext cx="3400425" cy="324000"/>
          </a:xfrm>
          <a:solidFill>
            <a:schemeClr val="accent2"/>
          </a:solidFill>
        </p:spPr>
        <p:txBody>
          <a:bodyPr vert="horz" lIns="108000" tIns="45720" rIns="72000" bIns="45720" numCol="1" spcCol="216000" rtlCol="0" anchor="ctr" anchorCtr="0">
            <a:noAutofit/>
          </a:bodyPr>
          <a:lstStyle>
            <a:lvl1pPr>
              <a:defRPr lang="en-US" sz="1400" cap="all" baseline="0" dirty="0">
                <a:solidFill>
                  <a:schemeClr val="tx2"/>
                </a:solidFill>
              </a:defRPr>
            </a:lvl1pPr>
            <a:lvl2pPr>
              <a:defRPr lang="en-US" sz="900" dirty="0">
                <a:solidFill>
                  <a:schemeClr val="tx1"/>
                </a:solidFill>
              </a:defRPr>
            </a:lvl2pPr>
            <a:lvl3pPr>
              <a:defRPr lang="en-US" sz="800" dirty="0">
                <a:solidFill>
                  <a:schemeClr val="tx1"/>
                </a:solidFill>
              </a:defRPr>
            </a:lvl3pPr>
            <a:lvl4pPr>
              <a:defRPr lang="en-US" sz="700" dirty="0">
                <a:solidFill>
                  <a:schemeClr val="tx1"/>
                </a:solidFill>
              </a:defRPr>
            </a:lvl4pPr>
            <a:lvl5pPr>
              <a:defRPr lang="en-US" sz="700" dirty="0">
                <a:solidFill>
                  <a:schemeClr val="tx1"/>
                </a:solidFill>
              </a:defRPr>
            </a:lvl5pPr>
          </a:lstStyle>
          <a:p>
            <a:pPr lvl="0"/>
            <a:r>
              <a:rPr lang="en-US" dirty="0"/>
              <a:t>SUBHEAD</a:t>
            </a:r>
          </a:p>
        </p:txBody>
      </p:sp>
      <p:sp>
        <p:nvSpPr>
          <p:cNvPr id="4" name="Title 3">
            <a:extLst>
              <a:ext uri="{FF2B5EF4-FFF2-40B4-BE49-F238E27FC236}">
                <a16:creationId xmlns:a16="http://schemas.microsoft.com/office/drawing/2014/main" id="{6729F04B-D5C0-88EC-FA0F-B39A9EACF533}"/>
              </a:ext>
            </a:extLst>
          </p:cNvPr>
          <p:cNvSpPr>
            <a:spLocks noGrp="1"/>
          </p:cNvSpPr>
          <p:nvPr>
            <p:ph type="title" hasCustomPrompt="1"/>
          </p:nvPr>
        </p:nvSpPr>
        <p:spPr>
          <a:xfrm>
            <a:off x="508001" y="454014"/>
            <a:ext cx="7118350" cy="814806"/>
          </a:xfrm>
        </p:spPr>
        <p:txBody>
          <a:bodyPr/>
          <a:lstStyle/>
          <a:p>
            <a:r>
              <a:rPr lang="en-US" dirty="0"/>
              <a:t>TITLE: subtitle</a:t>
            </a:r>
            <a:endParaRPr lang="en-GB" dirty="0"/>
          </a:p>
        </p:txBody>
      </p:sp>
      <p:sp>
        <p:nvSpPr>
          <p:cNvPr id="11" name="Content Placeholder 2">
            <a:extLst>
              <a:ext uri="{FF2B5EF4-FFF2-40B4-BE49-F238E27FC236}">
                <a16:creationId xmlns:a16="http://schemas.microsoft.com/office/drawing/2014/main" id="{0CE1D013-BC17-F297-93DF-A3CE5AC5F6C5}"/>
              </a:ext>
            </a:extLst>
          </p:cNvPr>
          <p:cNvSpPr>
            <a:spLocks noGrp="1"/>
          </p:cNvSpPr>
          <p:nvPr>
            <p:ph idx="15" hasCustomPrompt="1"/>
          </p:nvPr>
        </p:nvSpPr>
        <p:spPr>
          <a:xfrm>
            <a:off x="4225925" y="1735006"/>
            <a:ext cx="3400425" cy="1114520"/>
          </a:xfrm>
          <a:solidFill>
            <a:schemeClr val="bg2"/>
          </a:solidFill>
        </p:spPr>
        <p:txBody>
          <a:bodyPr vert="horz" lIns="108000" tIns="72000" rIns="72000" bIns="36000" numCol="1" spcCol="288000" rtlCol="0">
            <a:noAutofit/>
          </a:bodyPr>
          <a:lstStyle>
            <a:lvl1pPr>
              <a:lnSpc>
                <a:spcPct val="130000"/>
              </a:lnSpc>
              <a:spcBef>
                <a:spcPts val="200"/>
              </a:spcBef>
              <a:spcAft>
                <a:spcPts val="200"/>
              </a:spcAft>
              <a:defRPr lang="en-US" sz="1100" dirty="0" smtClean="0">
                <a:solidFill>
                  <a:schemeClr val="tx1"/>
                </a:solidFill>
                <a:latin typeface="+mn-lt"/>
              </a:defRPr>
            </a:lvl1pPr>
            <a:lvl2pPr marL="171450" indent="-171450">
              <a:lnSpc>
                <a:spcPct val="130000"/>
              </a:lnSpc>
              <a:spcBef>
                <a:spcPts val="200"/>
              </a:spcBef>
              <a:spcAft>
                <a:spcPts val="200"/>
              </a:spcAft>
              <a:buFont typeface="Arial" panose="020B0604020202020204" pitchFamily="34" charset="0"/>
              <a:buChar char="•"/>
              <a:defRPr lang="en-US" sz="1000" dirty="0"/>
            </a:lvl2pPr>
            <a:lvl3pPr marL="360363" indent="-182563">
              <a:lnSpc>
                <a:spcPct val="130000"/>
              </a:lnSpc>
              <a:spcBef>
                <a:spcPts val="200"/>
              </a:spcBef>
              <a:spcAft>
                <a:spcPts val="200"/>
              </a:spcAft>
              <a:defRPr lang="en-US" sz="1000" dirty="0"/>
            </a:lvl3pPr>
            <a:lvl4pPr>
              <a:defRPr lang="en-US" sz="1000" dirty="0"/>
            </a:lvl4pPr>
            <a:lvl5pPr>
              <a:defRPr lang="en-US" sz="1000" dirty="0"/>
            </a:lvl5pPr>
          </a:lstStyle>
          <a:p>
            <a:pPr lvl="0"/>
            <a:r>
              <a:rPr lang="en-US" dirty="0"/>
              <a:t>Click to edit master text styles</a:t>
            </a:r>
          </a:p>
          <a:p>
            <a:pPr lvl="1"/>
            <a:r>
              <a:rPr lang="en-US" dirty="0"/>
              <a:t>Second level</a:t>
            </a:r>
          </a:p>
          <a:p>
            <a:pPr lvl="2"/>
            <a:r>
              <a:rPr lang="en-US" dirty="0"/>
              <a:t>Third level</a:t>
            </a:r>
          </a:p>
        </p:txBody>
      </p:sp>
      <p:sp>
        <p:nvSpPr>
          <p:cNvPr id="12" name="Content Placeholder 2">
            <a:extLst>
              <a:ext uri="{FF2B5EF4-FFF2-40B4-BE49-F238E27FC236}">
                <a16:creationId xmlns:a16="http://schemas.microsoft.com/office/drawing/2014/main" id="{044BC189-C8AB-468D-9AA3-F616D7D61B1C}"/>
              </a:ext>
            </a:extLst>
          </p:cNvPr>
          <p:cNvSpPr>
            <a:spLocks noGrp="1"/>
          </p:cNvSpPr>
          <p:nvPr>
            <p:ph idx="16" hasCustomPrompt="1"/>
          </p:nvPr>
        </p:nvSpPr>
        <p:spPr>
          <a:xfrm>
            <a:off x="4225925" y="1411005"/>
            <a:ext cx="3400425" cy="324000"/>
          </a:xfrm>
          <a:solidFill>
            <a:schemeClr val="accent2"/>
          </a:solidFill>
        </p:spPr>
        <p:txBody>
          <a:bodyPr vert="horz" lIns="108000" tIns="45720" rIns="72000" bIns="45720" numCol="1" spcCol="216000" rtlCol="0" anchor="ctr" anchorCtr="0">
            <a:noAutofit/>
          </a:bodyPr>
          <a:lstStyle>
            <a:lvl1pPr>
              <a:defRPr lang="en-US" sz="1400" cap="all" baseline="0" dirty="0">
                <a:solidFill>
                  <a:schemeClr val="tx2"/>
                </a:solidFill>
              </a:defRPr>
            </a:lvl1pPr>
            <a:lvl2pPr>
              <a:defRPr lang="en-US" sz="900" dirty="0">
                <a:solidFill>
                  <a:schemeClr val="tx1"/>
                </a:solidFill>
              </a:defRPr>
            </a:lvl2pPr>
            <a:lvl3pPr>
              <a:defRPr lang="en-US" sz="800" dirty="0">
                <a:solidFill>
                  <a:schemeClr val="tx1"/>
                </a:solidFill>
              </a:defRPr>
            </a:lvl3pPr>
            <a:lvl4pPr>
              <a:defRPr lang="en-US" sz="700" dirty="0">
                <a:solidFill>
                  <a:schemeClr val="tx1"/>
                </a:solidFill>
              </a:defRPr>
            </a:lvl4pPr>
            <a:lvl5pPr>
              <a:defRPr lang="en-US" sz="700" dirty="0">
                <a:solidFill>
                  <a:schemeClr val="tx1"/>
                </a:solidFill>
              </a:defRPr>
            </a:lvl5pPr>
          </a:lstStyle>
          <a:p>
            <a:pPr lvl="0"/>
            <a:r>
              <a:rPr lang="en-US" dirty="0"/>
              <a:t>SUBHEAD</a:t>
            </a:r>
          </a:p>
        </p:txBody>
      </p:sp>
      <p:sp>
        <p:nvSpPr>
          <p:cNvPr id="15" name="Content Placeholder 2">
            <a:extLst>
              <a:ext uri="{FF2B5EF4-FFF2-40B4-BE49-F238E27FC236}">
                <a16:creationId xmlns:a16="http://schemas.microsoft.com/office/drawing/2014/main" id="{0DBEF8F2-E7A8-CB2A-D6C6-185F68EA57BB}"/>
              </a:ext>
            </a:extLst>
          </p:cNvPr>
          <p:cNvSpPr>
            <a:spLocks noGrp="1"/>
          </p:cNvSpPr>
          <p:nvPr>
            <p:ph idx="19" hasCustomPrompt="1"/>
          </p:nvPr>
        </p:nvSpPr>
        <p:spPr>
          <a:xfrm>
            <a:off x="507999" y="3429129"/>
            <a:ext cx="3400425" cy="1114520"/>
          </a:xfrm>
          <a:solidFill>
            <a:schemeClr val="bg2"/>
          </a:solidFill>
        </p:spPr>
        <p:txBody>
          <a:bodyPr vert="horz" lIns="108000" tIns="72000" rIns="72000" bIns="36000" numCol="1" spcCol="288000" rtlCol="0">
            <a:noAutofit/>
          </a:bodyPr>
          <a:lstStyle>
            <a:lvl1pPr>
              <a:lnSpc>
                <a:spcPct val="130000"/>
              </a:lnSpc>
              <a:spcBef>
                <a:spcPts val="200"/>
              </a:spcBef>
              <a:spcAft>
                <a:spcPts val="200"/>
              </a:spcAft>
              <a:defRPr lang="en-US" sz="1100" dirty="0" smtClean="0">
                <a:solidFill>
                  <a:schemeClr val="tx1"/>
                </a:solidFill>
                <a:latin typeface="+mn-lt"/>
              </a:defRPr>
            </a:lvl1pPr>
            <a:lvl2pPr marL="171450" indent="-171450">
              <a:lnSpc>
                <a:spcPct val="130000"/>
              </a:lnSpc>
              <a:spcBef>
                <a:spcPts val="200"/>
              </a:spcBef>
              <a:spcAft>
                <a:spcPts val="200"/>
              </a:spcAft>
              <a:buFont typeface="Arial" panose="020B0604020202020204" pitchFamily="34" charset="0"/>
              <a:buChar char="•"/>
              <a:defRPr lang="en-US" sz="1000" dirty="0"/>
            </a:lvl2pPr>
            <a:lvl3pPr marL="360363" indent="-182563">
              <a:lnSpc>
                <a:spcPct val="130000"/>
              </a:lnSpc>
              <a:spcBef>
                <a:spcPts val="200"/>
              </a:spcBef>
              <a:spcAft>
                <a:spcPts val="200"/>
              </a:spcAft>
              <a:defRPr lang="en-US" sz="1000" dirty="0"/>
            </a:lvl3pPr>
            <a:lvl4pPr>
              <a:defRPr lang="en-US" sz="1000" dirty="0"/>
            </a:lvl4pPr>
            <a:lvl5pPr>
              <a:defRPr lang="en-US" sz="1000" dirty="0"/>
            </a:lvl5pPr>
          </a:lstStyle>
          <a:p>
            <a:pPr lvl="0"/>
            <a:r>
              <a:rPr lang="en-US" dirty="0"/>
              <a:t>Click to edit master text styles</a:t>
            </a:r>
          </a:p>
          <a:p>
            <a:pPr lvl="1"/>
            <a:r>
              <a:rPr lang="en-US" dirty="0"/>
              <a:t>Second level</a:t>
            </a:r>
          </a:p>
          <a:p>
            <a:pPr lvl="2"/>
            <a:r>
              <a:rPr lang="en-US" dirty="0"/>
              <a:t>Third level</a:t>
            </a:r>
          </a:p>
        </p:txBody>
      </p:sp>
      <p:sp>
        <p:nvSpPr>
          <p:cNvPr id="16" name="Content Placeholder 2">
            <a:extLst>
              <a:ext uri="{FF2B5EF4-FFF2-40B4-BE49-F238E27FC236}">
                <a16:creationId xmlns:a16="http://schemas.microsoft.com/office/drawing/2014/main" id="{62C1633C-AF8C-5672-C8E9-59BF8E705D38}"/>
              </a:ext>
            </a:extLst>
          </p:cNvPr>
          <p:cNvSpPr>
            <a:spLocks noGrp="1"/>
          </p:cNvSpPr>
          <p:nvPr>
            <p:ph idx="20" hasCustomPrompt="1"/>
          </p:nvPr>
        </p:nvSpPr>
        <p:spPr>
          <a:xfrm>
            <a:off x="507999" y="3105128"/>
            <a:ext cx="3400425" cy="324000"/>
          </a:xfrm>
          <a:solidFill>
            <a:schemeClr val="accent2"/>
          </a:solidFill>
        </p:spPr>
        <p:txBody>
          <a:bodyPr vert="horz" lIns="108000" tIns="45720" rIns="72000" bIns="45720" numCol="1" spcCol="216000" rtlCol="0" anchor="ctr" anchorCtr="0">
            <a:noAutofit/>
          </a:bodyPr>
          <a:lstStyle>
            <a:lvl1pPr>
              <a:defRPr lang="en-US" sz="1400" cap="all" baseline="0" dirty="0">
                <a:solidFill>
                  <a:schemeClr val="tx2"/>
                </a:solidFill>
              </a:defRPr>
            </a:lvl1pPr>
            <a:lvl2pPr>
              <a:defRPr lang="en-US" sz="900" dirty="0">
                <a:solidFill>
                  <a:schemeClr val="tx1"/>
                </a:solidFill>
              </a:defRPr>
            </a:lvl2pPr>
            <a:lvl3pPr>
              <a:defRPr lang="en-US" sz="800" dirty="0">
                <a:solidFill>
                  <a:schemeClr val="tx1"/>
                </a:solidFill>
              </a:defRPr>
            </a:lvl3pPr>
            <a:lvl4pPr>
              <a:defRPr lang="en-US" sz="700" dirty="0">
                <a:solidFill>
                  <a:schemeClr val="tx1"/>
                </a:solidFill>
              </a:defRPr>
            </a:lvl4pPr>
            <a:lvl5pPr>
              <a:defRPr lang="en-US" sz="700" dirty="0">
                <a:solidFill>
                  <a:schemeClr val="tx1"/>
                </a:solidFill>
              </a:defRPr>
            </a:lvl5pPr>
          </a:lstStyle>
          <a:p>
            <a:pPr lvl="0"/>
            <a:r>
              <a:rPr lang="en-US" dirty="0"/>
              <a:t>SUBHEAD</a:t>
            </a:r>
          </a:p>
        </p:txBody>
      </p:sp>
      <p:sp>
        <p:nvSpPr>
          <p:cNvPr id="17" name="Content Placeholder 2">
            <a:extLst>
              <a:ext uri="{FF2B5EF4-FFF2-40B4-BE49-F238E27FC236}">
                <a16:creationId xmlns:a16="http://schemas.microsoft.com/office/drawing/2014/main" id="{03927300-C246-F5F7-919E-B25446AA46DA}"/>
              </a:ext>
            </a:extLst>
          </p:cNvPr>
          <p:cNvSpPr>
            <a:spLocks noGrp="1"/>
          </p:cNvSpPr>
          <p:nvPr>
            <p:ph idx="21" hasCustomPrompt="1"/>
          </p:nvPr>
        </p:nvSpPr>
        <p:spPr>
          <a:xfrm>
            <a:off x="4225925" y="3429129"/>
            <a:ext cx="3400425" cy="1114520"/>
          </a:xfrm>
          <a:solidFill>
            <a:schemeClr val="bg2"/>
          </a:solidFill>
        </p:spPr>
        <p:txBody>
          <a:bodyPr vert="horz" lIns="108000" tIns="72000" rIns="72000" bIns="36000" numCol="1" spcCol="288000" rtlCol="0">
            <a:noAutofit/>
          </a:bodyPr>
          <a:lstStyle>
            <a:lvl1pPr>
              <a:lnSpc>
                <a:spcPct val="130000"/>
              </a:lnSpc>
              <a:spcBef>
                <a:spcPts val="200"/>
              </a:spcBef>
              <a:spcAft>
                <a:spcPts val="200"/>
              </a:spcAft>
              <a:defRPr lang="en-US" sz="1100" dirty="0" smtClean="0">
                <a:solidFill>
                  <a:schemeClr val="tx1"/>
                </a:solidFill>
                <a:latin typeface="+mn-lt"/>
              </a:defRPr>
            </a:lvl1pPr>
            <a:lvl2pPr marL="171450" indent="-171450">
              <a:lnSpc>
                <a:spcPct val="130000"/>
              </a:lnSpc>
              <a:spcBef>
                <a:spcPts val="200"/>
              </a:spcBef>
              <a:spcAft>
                <a:spcPts val="200"/>
              </a:spcAft>
              <a:buFont typeface="Arial" panose="020B0604020202020204" pitchFamily="34" charset="0"/>
              <a:buChar char="•"/>
              <a:defRPr lang="en-US" sz="1000" dirty="0"/>
            </a:lvl2pPr>
            <a:lvl3pPr marL="360363" indent="-182563">
              <a:lnSpc>
                <a:spcPct val="130000"/>
              </a:lnSpc>
              <a:spcBef>
                <a:spcPts val="200"/>
              </a:spcBef>
              <a:spcAft>
                <a:spcPts val="200"/>
              </a:spcAft>
              <a:defRPr lang="en-US" sz="1000" dirty="0"/>
            </a:lvl3pPr>
            <a:lvl4pPr>
              <a:defRPr lang="en-US" sz="1000" dirty="0"/>
            </a:lvl4pPr>
            <a:lvl5pPr>
              <a:defRPr lang="en-US" sz="1000" dirty="0"/>
            </a:lvl5pPr>
          </a:lstStyle>
          <a:p>
            <a:pPr lvl="0"/>
            <a:r>
              <a:rPr lang="en-US" dirty="0"/>
              <a:t>Click to edit master text styles</a:t>
            </a:r>
          </a:p>
          <a:p>
            <a:pPr lvl="1"/>
            <a:r>
              <a:rPr lang="en-US" dirty="0"/>
              <a:t>Second level</a:t>
            </a:r>
          </a:p>
          <a:p>
            <a:pPr lvl="2"/>
            <a:r>
              <a:rPr lang="en-US" dirty="0"/>
              <a:t>Third level</a:t>
            </a:r>
          </a:p>
        </p:txBody>
      </p:sp>
      <p:sp>
        <p:nvSpPr>
          <p:cNvPr id="18" name="Content Placeholder 2">
            <a:extLst>
              <a:ext uri="{FF2B5EF4-FFF2-40B4-BE49-F238E27FC236}">
                <a16:creationId xmlns:a16="http://schemas.microsoft.com/office/drawing/2014/main" id="{376ABD33-7DE6-932D-F04B-E72ED7FB6DE7}"/>
              </a:ext>
            </a:extLst>
          </p:cNvPr>
          <p:cNvSpPr>
            <a:spLocks noGrp="1"/>
          </p:cNvSpPr>
          <p:nvPr>
            <p:ph idx="22" hasCustomPrompt="1"/>
          </p:nvPr>
        </p:nvSpPr>
        <p:spPr>
          <a:xfrm>
            <a:off x="4225925" y="3105128"/>
            <a:ext cx="3400425" cy="324000"/>
          </a:xfrm>
          <a:solidFill>
            <a:schemeClr val="accent2"/>
          </a:solidFill>
        </p:spPr>
        <p:txBody>
          <a:bodyPr vert="horz" lIns="108000" tIns="45720" rIns="72000" bIns="45720" numCol="1" spcCol="216000" rtlCol="0" anchor="ctr" anchorCtr="0">
            <a:noAutofit/>
          </a:bodyPr>
          <a:lstStyle>
            <a:lvl1pPr>
              <a:defRPr lang="en-US" sz="1400" cap="all" baseline="0" dirty="0">
                <a:solidFill>
                  <a:schemeClr val="tx2"/>
                </a:solidFill>
              </a:defRPr>
            </a:lvl1pPr>
            <a:lvl2pPr>
              <a:defRPr lang="en-US" sz="900" dirty="0">
                <a:solidFill>
                  <a:schemeClr val="tx1"/>
                </a:solidFill>
              </a:defRPr>
            </a:lvl2pPr>
            <a:lvl3pPr>
              <a:defRPr lang="en-US" sz="800" dirty="0">
                <a:solidFill>
                  <a:schemeClr val="tx1"/>
                </a:solidFill>
              </a:defRPr>
            </a:lvl3pPr>
            <a:lvl4pPr>
              <a:defRPr lang="en-US" sz="700" dirty="0">
                <a:solidFill>
                  <a:schemeClr val="tx1"/>
                </a:solidFill>
              </a:defRPr>
            </a:lvl4pPr>
            <a:lvl5pPr>
              <a:defRPr lang="en-US" sz="700" dirty="0">
                <a:solidFill>
                  <a:schemeClr val="tx1"/>
                </a:solidFill>
              </a:defRPr>
            </a:lvl5pPr>
          </a:lstStyle>
          <a:p>
            <a:pPr lvl="0"/>
            <a:r>
              <a:rPr lang="en-US" dirty="0"/>
              <a:t>SUBHEAD</a:t>
            </a:r>
          </a:p>
        </p:txBody>
      </p:sp>
      <p:sp>
        <p:nvSpPr>
          <p:cNvPr id="21" name="Content Placeholder 2">
            <a:extLst>
              <a:ext uri="{FF2B5EF4-FFF2-40B4-BE49-F238E27FC236}">
                <a16:creationId xmlns:a16="http://schemas.microsoft.com/office/drawing/2014/main" id="{B8365A59-2337-7B5E-B124-66D8436B5263}"/>
              </a:ext>
            </a:extLst>
          </p:cNvPr>
          <p:cNvSpPr>
            <a:spLocks noGrp="1"/>
          </p:cNvSpPr>
          <p:nvPr>
            <p:ph idx="25" hasCustomPrompt="1"/>
          </p:nvPr>
        </p:nvSpPr>
        <p:spPr>
          <a:xfrm>
            <a:off x="507999" y="5101983"/>
            <a:ext cx="3400425" cy="1114520"/>
          </a:xfrm>
          <a:solidFill>
            <a:schemeClr val="bg2"/>
          </a:solidFill>
        </p:spPr>
        <p:txBody>
          <a:bodyPr vert="horz" lIns="108000" tIns="72000" rIns="72000" bIns="36000" numCol="1" spcCol="288000" rtlCol="0">
            <a:noAutofit/>
          </a:bodyPr>
          <a:lstStyle>
            <a:lvl1pPr>
              <a:lnSpc>
                <a:spcPct val="130000"/>
              </a:lnSpc>
              <a:spcBef>
                <a:spcPts val="200"/>
              </a:spcBef>
              <a:spcAft>
                <a:spcPts val="200"/>
              </a:spcAft>
              <a:defRPr lang="en-US" sz="1100" dirty="0" smtClean="0">
                <a:solidFill>
                  <a:schemeClr val="tx1"/>
                </a:solidFill>
                <a:latin typeface="+mn-lt"/>
              </a:defRPr>
            </a:lvl1pPr>
            <a:lvl2pPr marL="171450" indent="-171450">
              <a:lnSpc>
                <a:spcPct val="130000"/>
              </a:lnSpc>
              <a:spcBef>
                <a:spcPts val="200"/>
              </a:spcBef>
              <a:spcAft>
                <a:spcPts val="200"/>
              </a:spcAft>
              <a:buFont typeface="Arial" panose="020B0604020202020204" pitchFamily="34" charset="0"/>
              <a:buChar char="•"/>
              <a:defRPr lang="en-US" sz="1000" dirty="0"/>
            </a:lvl2pPr>
            <a:lvl3pPr marL="360363" indent="-182563">
              <a:lnSpc>
                <a:spcPct val="130000"/>
              </a:lnSpc>
              <a:spcBef>
                <a:spcPts val="200"/>
              </a:spcBef>
              <a:spcAft>
                <a:spcPts val="200"/>
              </a:spcAft>
              <a:defRPr lang="en-US" sz="1000" dirty="0"/>
            </a:lvl3pPr>
            <a:lvl4pPr>
              <a:defRPr lang="en-US" sz="1000" dirty="0"/>
            </a:lvl4pPr>
            <a:lvl5pPr>
              <a:defRPr lang="en-US" sz="1000" dirty="0"/>
            </a:lvl5pPr>
          </a:lstStyle>
          <a:p>
            <a:pPr lvl="0"/>
            <a:r>
              <a:rPr lang="en-US" dirty="0"/>
              <a:t>Click to edit master text styles</a:t>
            </a:r>
          </a:p>
          <a:p>
            <a:pPr lvl="1"/>
            <a:r>
              <a:rPr lang="en-US" dirty="0"/>
              <a:t>Second level</a:t>
            </a:r>
          </a:p>
          <a:p>
            <a:pPr lvl="2"/>
            <a:r>
              <a:rPr lang="en-US" dirty="0"/>
              <a:t>Third level</a:t>
            </a:r>
          </a:p>
        </p:txBody>
      </p:sp>
      <p:sp>
        <p:nvSpPr>
          <p:cNvPr id="22" name="Content Placeholder 2">
            <a:extLst>
              <a:ext uri="{FF2B5EF4-FFF2-40B4-BE49-F238E27FC236}">
                <a16:creationId xmlns:a16="http://schemas.microsoft.com/office/drawing/2014/main" id="{74EDE4A7-B395-2B29-E429-599F2CF2BC66}"/>
              </a:ext>
            </a:extLst>
          </p:cNvPr>
          <p:cNvSpPr>
            <a:spLocks noGrp="1"/>
          </p:cNvSpPr>
          <p:nvPr>
            <p:ph idx="26" hasCustomPrompt="1"/>
          </p:nvPr>
        </p:nvSpPr>
        <p:spPr>
          <a:xfrm>
            <a:off x="507999" y="4777982"/>
            <a:ext cx="3400425" cy="324000"/>
          </a:xfrm>
          <a:solidFill>
            <a:schemeClr val="accent2"/>
          </a:solidFill>
        </p:spPr>
        <p:txBody>
          <a:bodyPr vert="horz" lIns="108000" tIns="45720" rIns="72000" bIns="45720" numCol="1" spcCol="216000" rtlCol="0" anchor="ctr" anchorCtr="0">
            <a:noAutofit/>
          </a:bodyPr>
          <a:lstStyle>
            <a:lvl1pPr>
              <a:defRPr lang="en-US" sz="1400" cap="all" baseline="0" dirty="0">
                <a:solidFill>
                  <a:schemeClr val="tx2"/>
                </a:solidFill>
              </a:defRPr>
            </a:lvl1pPr>
            <a:lvl2pPr>
              <a:defRPr lang="en-US" sz="900" dirty="0">
                <a:solidFill>
                  <a:schemeClr val="tx1"/>
                </a:solidFill>
              </a:defRPr>
            </a:lvl2pPr>
            <a:lvl3pPr>
              <a:defRPr lang="en-US" sz="800" dirty="0">
                <a:solidFill>
                  <a:schemeClr val="tx1"/>
                </a:solidFill>
              </a:defRPr>
            </a:lvl3pPr>
            <a:lvl4pPr>
              <a:defRPr lang="en-US" sz="700" dirty="0">
                <a:solidFill>
                  <a:schemeClr val="tx1"/>
                </a:solidFill>
              </a:defRPr>
            </a:lvl4pPr>
            <a:lvl5pPr>
              <a:defRPr lang="en-US" sz="700" dirty="0">
                <a:solidFill>
                  <a:schemeClr val="tx1"/>
                </a:solidFill>
              </a:defRPr>
            </a:lvl5pPr>
          </a:lstStyle>
          <a:p>
            <a:pPr lvl="0"/>
            <a:r>
              <a:rPr lang="en-US" dirty="0"/>
              <a:t>SUBHEAD</a:t>
            </a:r>
          </a:p>
        </p:txBody>
      </p:sp>
      <p:sp>
        <p:nvSpPr>
          <p:cNvPr id="23" name="Content Placeholder 2">
            <a:extLst>
              <a:ext uri="{FF2B5EF4-FFF2-40B4-BE49-F238E27FC236}">
                <a16:creationId xmlns:a16="http://schemas.microsoft.com/office/drawing/2014/main" id="{CF99ABED-044C-C28A-86DC-D97A636A68EE}"/>
              </a:ext>
            </a:extLst>
          </p:cNvPr>
          <p:cNvSpPr>
            <a:spLocks noGrp="1"/>
          </p:cNvSpPr>
          <p:nvPr>
            <p:ph idx="27" hasCustomPrompt="1"/>
          </p:nvPr>
        </p:nvSpPr>
        <p:spPr>
          <a:xfrm>
            <a:off x="4225925" y="5101983"/>
            <a:ext cx="3400425" cy="1114520"/>
          </a:xfrm>
          <a:solidFill>
            <a:schemeClr val="bg2"/>
          </a:solidFill>
        </p:spPr>
        <p:txBody>
          <a:bodyPr vert="horz" lIns="108000" tIns="72000" rIns="72000" bIns="36000" numCol="1" spcCol="288000" rtlCol="0">
            <a:noAutofit/>
          </a:bodyPr>
          <a:lstStyle>
            <a:lvl1pPr>
              <a:lnSpc>
                <a:spcPct val="130000"/>
              </a:lnSpc>
              <a:spcBef>
                <a:spcPts val="200"/>
              </a:spcBef>
              <a:spcAft>
                <a:spcPts val="200"/>
              </a:spcAft>
              <a:defRPr lang="en-US" sz="1100" dirty="0" smtClean="0">
                <a:solidFill>
                  <a:schemeClr val="tx1"/>
                </a:solidFill>
                <a:latin typeface="+mn-lt"/>
              </a:defRPr>
            </a:lvl1pPr>
            <a:lvl2pPr marL="171450" indent="-171450">
              <a:lnSpc>
                <a:spcPct val="130000"/>
              </a:lnSpc>
              <a:spcBef>
                <a:spcPts val="200"/>
              </a:spcBef>
              <a:spcAft>
                <a:spcPts val="200"/>
              </a:spcAft>
              <a:buFont typeface="Arial" panose="020B0604020202020204" pitchFamily="34" charset="0"/>
              <a:buChar char="•"/>
              <a:defRPr lang="en-US" sz="1000" dirty="0"/>
            </a:lvl2pPr>
            <a:lvl3pPr marL="360363" indent="-182563">
              <a:lnSpc>
                <a:spcPct val="130000"/>
              </a:lnSpc>
              <a:spcBef>
                <a:spcPts val="200"/>
              </a:spcBef>
              <a:spcAft>
                <a:spcPts val="200"/>
              </a:spcAft>
              <a:defRPr lang="en-US" sz="1000" dirty="0"/>
            </a:lvl3pPr>
            <a:lvl4pPr>
              <a:defRPr lang="en-US" sz="1000" dirty="0"/>
            </a:lvl4pPr>
            <a:lvl5pPr>
              <a:defRPr lang="en-US" sz="1000" dirty="0"/>
            </a:lvl5pPr>
          </a:lstStyle>
          <a:p>
            <a:pPr lvl="0"/>
            <a:r>
              <a:rPr lang="en-US" dirty="0"/>
              <a:t>Click to edit master text styles</a:t>
            </a:r>
          </a:p>
          <a:p>
            <a:pPr lvl="1"/>
            <a:r>
              <a:rPr lang="en-US" dirty="0"/>
              <a:t>Second level</a:t>
            </a:r>
          </a:p>
          <a:p>
            <a:pPr lvl="2"/>
            <a:r>
              <a:rPr lang="en-US" dirty="0"/>
              <a:t>Third level</a:t>
            </a:r>
          </a:p>
        </p:txBody>
      </p:sp>
      <p:sp>
        <p:nvSpPr>
          <p:cNvPr id="24" name="Content Placeholder 2">
            <a:extLst>
              <a:ext uri="{FF2B5EF4-FFF2-40B4-BE49-F238E27FC236}">
                <a16:creationId xmlns:a16="http://schemas.microsoft.com/office/drawing/2014/main" id="{59C2FBAA-C8E8-1022-B792-35D5DDB21932}"/>
              </a:ext>
            </a:extLst>
          </p:cNvPr>
          <p:cNvSpPr>
            <a:spLocks noGrp="1"/>
          </p:cNvSpPr>
          <p:nvPr>
            <p:ph idx="28" hasCustomPrompt="1"/>
          </p:nvPr>
        </p:nvSpPr>
        <p:spPr>
          <a:xfrm>
            <a:off x="4225925" y="4777982"/>
            <a:ext cx="3400425" cy="324000"/>
          </a:xfrm>
          <a:solidFill>
            <a:schemeClr val="accent2"/>
          </a:solidFill>
        </p:spPr>
        <p:txBody>
          <a:bodyPr vert="horz" lIns="108000" tIns="45720" rIns="72000" bIns="45720" numCol="1" spcCol="216000" rtlCol="0" anchor="ctr" anchorCtr="0">
            <a:noAutofit/>
          </a:bodyPr>
          <a:lstStyle>
            <a:lvl1pPr>
              <a:defRPr lang="en-US" sz="1400" cap="all" baseline="0" dirty="0">
                <a:solidFill>
                  <a:schemeClr val="tx2"/>
                </a:solidFill>
              </a:defRPr>
            </a:lvl1pPr>
            <a:lvl2pPr>
              <a:defRPr lang="en-US" sz="900" dirty="0">
                <a:solidFill>
                  <a:schemeClr val="tx1"/>
                </a:solidFill>
              </a:defRPr>
            </a:lvl2pPr>
            <a:lvl3pPr>
              <a:defRPr lang="en-US" sz="800" dirty="0">
                <a:solidFill>
                  <a:schemeClr val="tx1"/>
                </a:solidFill>
              </a:defRPr>
            </a:lvl3pPr>
            <a:lvl4pPr>
              <a:defRPr lang="en-US" sz="700" dirty="0">
                <a:solidFill>
                  <a:schemeClr val="tx1"/>
                </a:solidFill>
              </a:defRPr>
            </a:lvl4pPr>
            <a:lvl5pPr>
              <a:defRPr lang="en-US" sz="700" dirty="0">
                <a:solidFill>
                  <a:schemeClr val="tx1"/>
                </a:solidFill>
              </a:defRPr>
            </a:lvl5pPr>
          </a:lstStyle>
          <a:p>
            <a:pPr lvl="0"/>
            <a:r>
              <a:rPr lang="en-US" dirty="0"/>
              <a:t>SUBHEAD</a:t>
            </a:r>
          </a:p>
        </p:txBody>
      </p:sp>
      <p:sp>
        <p:nvSpPr>
          <p:cNvPr id="25" name="Content Placeholder 2">
            <a:extLst>
              <a:ext uri="{FF2B5EF4-FFF2-40B4-BE49-F238E27FC236}">
                <a16:creationId xmlns:a16="http://schemas.microsoft.com/office/drawing/2014/main" id="{E497A41E-4D82-64E2-A036-639EC0DE36DF}"/>
              </a:ext>
            </a:extLst>
          </p:cNvPr>
          <p:cNvSpPr>
            <a:spLocks noGrp="1"/>
          </p:cNvSpPr>
          <p:nvPr>
            <p:ph idx="45" hasCustomPrompt="1"/>
          </p:nvPr>
        </p:nvSpPr>
        <p:spPr>
          <a:xfrm>
            <a:off x="8737600" y="1776766"/>
            <a:ext cx="2963863" cy="3957531"/>
          </a:xfrm>
        </p:spPr>
        <p:txBody>
          <a:bodyPr vert="horz" lIns="0" tIns="45720" rIns="0" bIns="45720" rtlCol="0">
            <a:normAutofit/>
          </a:bodyPr>
          <a:lstStyle>
            <a:lvl1pPr algn="l" defTabSz="914400" rtl="0" eaLnBrk="1" latinLnBrk="0" hangingPunct="1">
              <a:lnSpc>
                <a:spcPct val="130000"/>
              </a:lnSpc>
              <a:spcBef>
                <a:spcPts val="300"/>
              </a:spcBef>
              <a:spcAft>
                <a:spcPts val="300"/>
              </a:spcAft>
              <a:buFont typeface="Arial" panose="020B0604020202020204" pitchFamily="34" charset="0"/>
              <a:defRPr lang="en-US" sz="1100" kern="1200" dirty="0">
                <a:solidFill>
                  <a:schemeClr val="bg1"/>
                </a:solidFill>
                <a:latin typeface="+mn-lt"/>
                <a:ea typeface="+mn-ea"/>
                <a:cs typeface="+mn-cs"/>
              </a:defRPr>
            </a:lvl1pPr>
            <a:lvl2pPr>
              <a:buClr>
                <a:schemeClr val="bg1"/>
              </a:buClr>
              <a:defRPr lang="en-US" dirty="0">
                <a:solidFill>
                  <a:schemeClr val="bg1"/>
                </a:solidFill>
              </a:defRPr>
            </a:lvl2pPr>
            <a:lvl3pPr>
              <a:buClr>
                <a:schemeClr val="bg1"/>
              </a:buClr>
              <a:defRPr lang="en-US" dirty="0">
                <a:solidFill>
                  <a:schemeClr val="bg1"/>
                </a:solidFill>
              </a:defRPr>
            </a:lvl3pPr>
            <a:lvl4pPr>
              <a:buClr>
                <a:schemeClr val="bg1"/>
              </a:buClr>
              <a:defRPr lang="en-US" dirty="0">
                <a:solidFill>
                  <a:schemeClr val="bg1"/>
                </a:solidFill>
              </a:defRPr>
            </a:lvl4pPr>
            <a:lvl5pPr>
              <a:buClr>
                <a:schemeClr val="bg1"/>
              </a:buClr>
              <a:defRPr lang="en-US" dirty="0">
                <a:solidFill>
                  <a:schemeClr val="bg1"/>
                </a:solidFill>
              </a:defRPr>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26" name="Content Placeholder 2">
            <a:extLst>
              <a:ext uri="{FF2B5EF4-FFF2-40B4-BE49-F238E27FC236}">
                <a16:creationId xmlns:a16="http://schemas.microsoft.com/office/drawing/2014/main" id="{123D41BC-9007-2312-E1BA-E0A352CDB62C}"/>
              </a:ext>
            </a:extLst>
          </p:cNvPr>
          <p:cNvSpPr>
            <a:spLocks noGrp="1"/>
          </p:cNvSpPr>
          <p:nvPr>
            <p:ph idx="46" hasCustomPrompt="1"/>
          </p:nvPr>
        </p:nvSpPr>
        <p:spPr>
          <a:xfrm>
            <a:off x="8737600" y="1411005"/>
            <a:ext cx="2946399" cy="365761"/>
          </a:xfrm>
        </p:spPr>
        <p:txBody>
          <a:bodyPr/>
          <a:lstStyle>
            <a:lvl1pPr>
              <a:defRPr cap="all" baseline="0">
                <a:solidFill>
                  <a:schemeClr val="accent2"/>
                </a:solidFill>
              </a:defRPr>
            </a:lvl1pPr>
          </a:lstStyle>
          <a:p>
            <a:pPr lvl="0"/>
            <a:r>
              <a:rPr lang="en-US" dirty="0"/>
              <a:t>subhead</a:t>
            </a:r>
          </a:p>
        </p:txBody>
      </p:sp>
    </p:spTree>
    <p:extLst>
      <p:ext uri="{BB962C8B-B14F-4D97-AF65-F5344CB8AC3E}">
        <p14:creationId xmlns:p14="http://schemas.microsoft.com/office/powerpoint/2010/main" val="4225632827"/>
      </p:ext>
    </p:extLst>
  </p:cSld>
  <p:clrMapOvr>
    <a:masterClrMapping/>
  </p:clrMapOvr>
  <p:transition spd="med">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6 Boxes &amp; Pull-out Text v2">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CE16555-276D-66C1-09B7-7038F8B3336C}"/>
              </a:ext>
            </a:extLst>
          </p:cNvPr>
          <p:cNvSpPr/>
          <p:nvPr userDrawn="1"/>
        </p:nvSpPr>
        <p:spPr>
          <a:xfrm>
            <a:off x="8126413" y="0"/>
            <a:ext cx="4065587"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p:ph idx="1" hasCustomPrompt="1"/>
          </p:nvPr>
        </p:nvSpPr>
        <p:spPr>
          <a:xfrm>
            <a:off x="507999" y="1735006"/>
            <a:ext cx="3400425" cy="1114520"/>
          </a:xfrm>
          <a:solidFill>
            <a:schemeClr val="bg2"/>
          </a:solidFill>
        </p:spPr>
        <p:txBody>
          <a:bodyPr vert="horz" lIns="108000" tIns="72000" rIns="72000" bIns="36000" numCol="1" spcCol="288000" rtlCol="0">
            <a:noAutofit/>
          </a:bodyPr>
          <a:lstStyle>
            <a:lvl1pPr>
              <a:lnSpc>
                <a:spcPct val="130000"/>
              </a:lnSpc>
              <a:spcBef>
                <a:spcPts val="200"/>
              </a:spcBef>
              <a:spcAft>
                <a:spcPts val="200"/>
              </a:spcAft>
              <a:defRPr lang="en-US" sz="1100" dirty="0" smtClean="0">
                <a:solidFill>
                  <a:schemeClr val="tx1"/>
                </a:solidFill>
                <a:latin typeface="+mn-lt"/>
              </a:defRPr>
            </a:lvl1pPr>
            <a:lvl2pPr marL="171450" indent="-171450">
              <a:lnSpc>
                <a:spcPct val="130000"/>
              </a:lnSpc>
              <a:spcBef>
                <a:spcPts val="200"/>
              </a:spcBef>
              <a:spcAft>
                <a:spcPts val="200"/>
              </a:spcAft>
              <a:buFont typeface="Arial" panose="020B0604020202020204" pitchFamily="34" charset="0"/>
              <a:buChar char="•"/>
              <a:defRPr lang="en-US" sz="1000" dirty="0"/>
            </a:lvl2pPr>
            <a:lvl3pPr marL="360363" indent="-182563">
              <a:lnSpc>
                <a:spcPct val="130000"/>
              </a:lnSpc>
              <a:spcBef>
                <a:spcPts val="200"/>
              </a:spcBef>
              <a:spcAft>
                <a:spcPts val="200"/>
              </a:spcAft>
              <a:defRPr lang="en-US" sz="1000" dirty="0"/>
            </a:lvl3pPr>
            <a:lvl4pPr>
              <a:defRPr lang="en-US" sz="1000" dirty="0"/>
            </a:lvl4pPr>
            <a:lvl5pPr>
              <a:defRPr lang="en-US" sz="1000" dirty="0"/>
            </a:lvl5pPr>
          </a:lstStyle>
          <a:p>
            <a:pPr lvl="0"/>
            <a:r>
              <a:rPr lang="en-US" dirty="0"/>
              <a:t>Click to edit master text styles</a:t>
            </a:r>
          </a:p>
          <a:p>
            <a:pPr lvl="1"/>
            <a:r>
              <a:rPr lang="en-US" dirty="0"/>
              <a:t>Second level</a:t>
            </a:r>
          </a:p>
          <a:p>
            <a:pPr lvl="2"/>
            <a:r>
              <a:rPr lang="en-US" dirty="0"/>
              <a:t>Third level</a:t>
            </a:r>
          </a:p>
        </p:txBody>
      </p:sp>
      <p:sp>
        <p:nvSpPr>
          <p:cNvPr id="5" name="Footer Placeholder 4"/>
          <p:cNvSpPr>
            <a:spLocks noGrp="1"/>
          </p:cNvSpPr>
          <p:nvPr>
            <p:ph type="ftr" sz="quarter" idx="11"/>
          </p:nvPr>
        </p:nvSpPr>
        <p:spPr/>
        <p:txBody>
          <a:bodyPr/>
          <a:lstStyle/>
          <a:p>
            <a:r>
              <a:rPr lang="en-GB"/>
              <a:t>INSERT FOOTER HERE</a:t>
            </a:r>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8CFE0557-AA98-4E6C-B0C3-581794696B68}" type="slidenum">
              <a:rPr lang="en-GB" smtClean="0"/>
              <a:pPr/>
              <a:t>‹#›</a:t>
            </a:fld>
            <a:endParaRPr lang="en-GB"/>
          </a:p>
        </p:txBody>
      </p:sp>
      <p:sp>
        <p:nvSpPr>
          <p:cNvPr id="7" name="Content Placeholder 2">
            <a:extLst>
              <a:ext uri="{FF2B5EF4-FFF2-40B4-BE49-F238E27FC236}">
                <a16:creationId xmlns:a16="http://schemas.microsoft.com/office/drawing/2014/main" id="{B0B00756-BEE2-1E4F-AA11-656D1916E332}"/>
              </a:ext>
            </a:extLst>
          </p:cNvPr>
          <p:cNvSpPr>
            <a:spLocks noGrp="1"/>
          </p:cNvSpPr>
          <p:nvPr>
            <p:ph idx="14" hasCustomPrompt="1"/>
          </p:nvPr>
        </p:nvSpPr>
        <p:spPr>
          <a:xfrm>
            <a:off x="507999" y="1411005"/>
            <a:ext cx="3400425" cy="324000"/>
          </a:xfrm>
          <a:solidFill>
            <a:schemeClr val="tx2"/>
          </a:solidFill>
        </p:spPr>
        <p:txBody>
          <a:bodyPr vert="horz" lIns="108000" tIns="45720" rIns="72000" bIns="45720" numCol="1" spcCol="216000" rtlCol="0" anchor="ctr" anchorCtr="0">
            <a:noAutofit/>
          </a:bodyPr>
          <a:lstStyle>
            <a:lvl1pPr>
              <a:defRPr lang="en-US" cap="all" baseline="0" dirty="0">
                <a:solidFill>
                  <a:schemeClr val="accent2"/>
                </a:solidFill>
              </a:defRPr>
            </a:lvl1pPr>
          </a:lstStyle>
          <a:p>
            <a:pPr lvl="0"/>
            <a:r>
              <a:rPr lang="en-US" dirty="0"/>
              <a:t>SUBHEAD</a:t>
            </a:r>
          </a:p>
        </p:txBody>
      </p:sp>
      <p:sp>
        <p:nvSpPr>
          <p:cNvPr id="4" name="Title 3">
            <a:extLst>
              <a:ext uri="{FF2B5EF4-FFF2-40B4-BE49-F238E27FC236}">
                <a16:creationId xmlns:a16="http://schemas.microsoft.com/office/drawing/2014/main" id="{6729F04B-D5C0-88EC-FA0F-B39A9EACF533}"/>
              </a:ext>
            </a:extLst>
          </p:cNvPr>
          <p:cNvSpPr>
            <a:spLocks noGrp="1"/>
          </p:cNvSpPr>
          <p:nvPr>
            <p:ph type="title" hasCustomPrompt="1"/>
          </p:nvPr>
        </p:nvSpPr>
        <p:spPr>
          <a:xfrm>
            <a:off x="508001" y="454014"/>
            <a:ext cx="7118350" cy="814806"/>
          </a:xfrm>
        </p:spPr>
        <p:txBody>
          <a:bodyPr/>
          <a:lstStyle/>
          <a:p>
            <a:r>
              <a:rPr lang="en-US" dirty="0"/>
              <a:t>TITLE: subtitle</a:t>
            </a:r>
            <a:endParaRPr lang="en-GB" dirty="0"/>
          </a:p>
        </p:txBody>
      </p:sp>
      <p:sp>
        <p:nvSpPr>
          <p:cNvPr id="11" name="Content Placeholder 2">
            <a:extLst>
              <a:ext uri="{FF2B5EF4-FFF2-40B4-BE49-F238E27FC236}">
                <a16:creationId xmlns:a16="http://schemas.microsoft.com/office/drawing/2014/main" id="{0CE1D013-BC17-F297-93DF-A3CE5AC5F6C5}"/>
              </a:ext>
            </a:extLst>
          </p:cNvPr>
          <p:cNvSpPr>
            <a:spLocks noGrp="1"/>
          </p:cNvSpPr>
          <p:nvPr>
            <p:ph idx="15" hasCustomPrompt="1"/>
          </p:nvPr>
        </p:nvSpPr>
        <p:spPr>
          <a:xfrm>
            <a:off x="4225925" y="1735006"/>
            <a:ext cx="3400425" cy="1114520"/>
          </a:xfrm>
          <a:solidFill>
            <a:schemeClr val="bg2"/>
          </a:solidFill>
        </p:spPr>
        <p:txBody>
          <a:bodyPr vert="horz" lIns="108000" tIns="72000" rIns="72000" bIns="36000" numCol="1" spcCol="288000" rtlCol="0">
            <a:noAutofit/>
          </a:bodyPr>
          <a:lstStyle>
            <a:lvl1pPr>
              <a:lnSpc>
                <a:spcPct val="130000"/>
              </a:lnSpc>
              <a:spcBef>
                <a:spcPts val="200"/>
              </a:spcBef>
              <a:spcAft>
                <a:spcPts val="200"/>
              </a:spcAft>
              <a:defRPr lang="en-US" sz="1100" dirty="0" smtClean="0">
                <a:solidFill>
                  <a:schemeClr val="tx1"/>
                </a:solidFill>
                <a:latin typeface="+mn-lt"/>
              </a:defRPr>
            </a:lvl1pPr>
            <a:lvl2pPr marL="171450" indent="-171450">
              <a:lnSpc>
                <a:spcPct val="130000"/>
              </a:lnSpc>
              <a:spcBef>
                <a:spcPts val="200"/>
              </a:spcBef>
              <a:spcAft>
                <a:spcPts val="200"/>
              </a:spcAft>
              <a:buFont typeface="Arial" panose="020B0604020202020204" pitchFamily="34" charset="0"/>
              <a:buChar char="•"/>
              <a:defRPr lang="en-US" sz="1000" dirty="0"/>
            </a:lvl2pPr>
            <a:lvl3pPr marL="360363" indent="-182563">
              <a:lnSpc>
                <a:spcPct val="130000"/>
              </a:lnSpc>
              <a:spcBef>
                <a:spcPts val="200"/>
              </a:spcBef>
              <a:spcAft>
                <a:spcPts val="200"/>
              </a:spcAft>
              <a:defRPr lang="en-US" sz="1000" dirty="0"/>
            </a:lvl3pPr>
            <a:lvl4pPr>
              <a:defRPr lang="en-US" sz="1000" dirty="0"/>
            </a:lvl4pPr>
            <a:lvl5pPr>
              <a:defRPr lang="en-US" sz="1000" dirty="0"/>
            </a:lvl5pPr>
          </a:lstStyle>
          <a:p>
            <a:pPr lvl="0"/>
            <a:r>
              <a:rPr lang="en-US" dirty="0"/>
              <a:t>Click to edit master text styles</a:t>
            </a:r>
          </a:p>
          <a:p>
            <a:pPr lvl="1"/>
            <a:r>
              <a:rPr lang="en-US" dirty="0"/>
              <a:t>Second level</a:t>
            </a:r>
          </a:p>
          <a:p>
            <a:pPr lvl="2"/>
            <a:r>
              <a:rPr lang="en-US" dirty="0"/>
              <a:t>Third level</a:t>
            </a:r>
          </a:p>
        </p:txBody>
      </p:sp>
      <p:sp>
        <p:nvSpPr>
          <p:cNvPr id="12" name="Content Placeholder 2">
            <a:extLst>
              <a:ext uri="{FF2B5EF4-FFF2-40B4-BE49-F238E27FC236}">
                <a16:creationId xmlns:a16="http://schemas.microsoft.com/office/drawing/2014/main" id="{044BC189-C8AB-468D-9AA3-F616D7D61B1C}"/>
              </a:ext>
            </a:extLst>
          </p:cNvPr>
          <p:cNvSpPr>
            <a:spLocks noGrp="1"/>
          </p:cNvSpPr>
          <p:nvPr>
            <p:ph idx="16" hasCustomPrompt="1"/>
          </p:nvPr>
        </p:nvSpPr>
        <p:spPr>
          <a:xfrm>
            <a:off x="4225925" y="1411005"/>
            <a:ext cx="3400425" cy="324000"/>
          </a:xfrm>
          <a:solidFill>
            <a:schemeClr val="tx2"/>
          </a:solidFill>
        </p:spPr>
        <p:txBody>
          <a:bodyPr vert="horz" lIns="108000" tIns="45720" rIns="72000" bIns="45720" numCol="1" spcCol="216000" rtlCol="0" anchor="ctr" anchorCtr="0">
            <a:noAutofit/>
          </a:bodyPr>
          <a:lstStyle>
            <a:lvl1pPr>
              <a:defRPr lang="en-US" cap="all" baseline="0" dirty="0">
                <a:solidFill>
                  <a:schemeClr val="accent2"/>
                </a:solidFill>
              </a:defRPr>
            </a:lvl1pPr>
          </a:lstStyle>
          <a:p>
            <a:pPr lvl="0"/>
            <a:r>
              <a:rPr lang="en-US" dirty="0"/>
              <a:t>SUBHEAD</a:t>
            </a:r>
          </a:p>
        </p:txBody>
      </p:sp>
      <p:sp>
        <p:nvSpPr>
          <p:cNvPr id="15" name="Content Placeholder 2">
            <a:extLst>
              <a:ext uri="{FF2B5EF4-FFF2-40B4-BE49-F238E27FC236}">
                <a16:creationId xmlns:a16="http://schemas.microsoft.com/office/drawing/2014/main" id="{0DBEF8F2-E7A8-CB2A-D6C6-185F68EA57BB}"/>
              </a:ext>
            </a:extLst>
          </p:cNvPr>
          <p:cNvSpPr>
            <a:spLocks noGrp="1"/>
          </p:cNvSpPr>
          <p:nvPr>
            <p:ph idx="19" hasCustomPrompt="1"/>
          </p:nvPr>
        </p:nvSpPr>
        <p:spPr>
          <a:xfrm>
            <a:off x="507999" y="3429129"/>
            <a:ext cx="3400425" cy="1114520"/>
          </a:xfrm>
          <a:solidFill>
            <a:schemeClr val="bg2"/>
          </a:solidFill>
        </p:spPr>
        <p:txBody>
          <a:bodyPr vert="horz" lIns="108000" tIns="72000" rIns="72000" bIns="36000" numCol="1" spcCol="288000" rtlCol="0">
            <a:noAutofit/>
          </a:bodyPr>
          <a:lstStyle>
            <a:lvl1pPr>
              <a:lnSpc>
                <a:spcPct val="130000"/>
              </a:lnSpc>
              <a:spcBef>
                <a:spcPts val="200"/>
              </a:spcBef>
              <a:spcAft>
                <a:spcPts val="200"/>
              </a:spcAft>
              <a:defRPr lang="en-US" sz="1100" dirty="0" smtClean="0">
                <a:solidFill>
                  <a:schemeClr val="tx1"/>
                </a:solidFill>
                <a:latin typeface="+mn-lt"/>
              </a:defRPr>
            </a:lvl1pPr>
            <a:lvl2pPr marL="171450" indent="-171450">
              <a:lnSpc>
                <a:spcPct val="130000"/>
              </a:lnSpc>
              <a:spcBef>
                <a:spcPts val="200"/>
              </a:spcBef>
              <a:spcAft>
                <a:spcPts val="200"/>
              </a:spcAft>
              <a:buFont typeface="Arial" panose="020B0604020202020204" pitchFamily="34" charset="0"/>
              <a:buChar char="•"/>
              <a:defRPr lang="en-US" sz="1000" dirty="0"/>
            </a:lvl2pPr>
            <a:lvl3pPr marL="360363" indent="-182563">
              <a:lnSpc>
                <a:spcPct val="130000"/>
              </a:lnSpc>
              <a:spcBef>
                <a:spcPts val="200"/>
              </a:spcBef>
              <a:spcAft>
                <a:spcPts val="200"/>
              </a:spcAft>
              <a:defRPr lang="en-US" sz="1000" dirty="0"/>
            </a:lvl3pPr>
            <a:lvl4pPr>
              <a:defRPr lang="en-US" sz="1000" dirty="0"/>
            </a:lvl4pPr>
            <a:lvl5pPr>
              <a:defRPr lang="en-US" sz="1000" dirty="0"/>
            </a:lvl5pPr>
          </a:lstStyle>
          <a:p>
            <a:pPr lvl="0"/>
            <a:r>
              <a:rPr lang="en-US" dirty="0"/>
              <a:t>Click to edit master text styles</a:t>
            </a:r>
          </a:p>
          <a:p>
            <a:pPr lvl="1"/>
            <a:r>
              <a:rPr lang="en-US" dirty="0"/>
              <a:t>Second level</a:t>
            </a:r>
          </a:p>
          <a:p>
            <a:pPr lvl="2"/>
            <a:r>
              <a:rPr lang="en-US" dirty="0"/>
              <a:t>Third level</a:t>
            </a:r>
          </a:p>
        </p:txBody>
      </p:sp>
      <p:sp>
        <p:nvSpPr>
          <p:cNvPr id="16" name="Content Placeholder 2">
            <a:extLst>
              <a:ext uri="{FF2B5EF4-FFF2-40B4-BE49-F238E27FC236}">
                <a16:creationId xmlns:a16="http://schemas.microsoft.com/office/drawing/2014/main" id="{62C1633C-AF8C-5672-C8E9-59BF8E705D38}"/>
              </a:ext>
            </a:extLst>
          </p:cNvPr>
          <p:cNvSpPr>
            <a:spLocks noGrp="1"/>
          </p:cNvSpPr>
          <p:nvPr>
            <p:ph idx="20" hasCustomPrompt="1"/>
          </p:nvPr>
        </p:nvSpPr>
        <p:spPr>
          <a:xfrm>
            <a:off x="507999" y="3105128"/>
            <a:ext cx="3400425" cy="324000"/>
          </a:xfrm>
          <a:solidFill>
            <a:schemeClr val="tx2"/>
          </a:solidFill>
        </p:spPr>
        <p:txBody>
          <a:bodyPr vert="horz" lIns="108000" tIns="45720" rIns="72000" bIns="45720" numCol="1" spcCol="216000" rtlCol="0" anchor="ctr" anchorCtr="0">
            <a:noAutofit/>
          </a:bodyPr>
          <a:lstStyle>
            <a:lvl1pPr>
              <a:defRPr lang="en-US" cap="all" baseline="0" dirty="0">
                <a:solidFill>
                  <a:schemeClr val="accent2"/>
                </a:solidFill>
              </a:defRPr>
            </a:lvl1pPr>
          </a:lstStyle>
          <a:p>
            <a:pPr lvl="0"/>
            <a:r>
              <a:rPr lang="en-US" dirty="0"/>
              <a:t>SUBHEAD</a:t>
            </a:r>
          </a:p>
        </p:txBody>
      </p:sp>
      <p:sp>
        <p:nvSpPr>
          <p:cNvPr id="17" name="Content Placeholder 2">
            <a:extLst>
              <a:ext uri="{FF2B5EF4-FFF2-40B4-BE49-F238E27FC236}">
                <a16:creationId xmlns:a16="http://schemas.microsoft.com/office/drawing/2014/main" id="{03927300-C246-F5F7-919E-B25446AA46DA}"/>
              </a:ext>
            </a:extLst>
          </p:cNvPr>
          <p:cNvSpPr>
            <a:spLocks noGrp="1"/>
          </p:cNvSpPr>
          <p:nvPr>
            <p:ph idx="21" hasCustomPrompt="1"/>
          </p:nvPr>
        </p:nvSpPr>
        <p:spPr>
          <a:xfrm>
            <a:off x="4225925" y="3429129"/>
            <a:ext cx="3400425" cy="1114520"/>
          </a:xfrm>
          <a:solidFill>
            <a:schemeClr val="bg2"/>
          </a:solidFill>
        </p:spPr>
        <p:txBody>
          <a:bodyPr vert="horz" lIns="108000" tIns="72000" rIns="72000" bIns="36000" numCol="1" spcCol="288000" rtlCol="0">
            <a:noAutofit/>
          </a:bodyPr>
          <a:lstStyle>
            <a:lvl1pPr>
              <a:lnSpc>
                <a:spcPct val="130000"/>
              </a:lnSpc>
              <a:spcBef>
                <a:spcPts val="200"/>
              </a:spcBef>
              <a:spcAft>
                <a:spcPts val="200"/>
              </a:spcAft>
              <a:defRPr lang="en-US" sz="1100" dirty="0" smtClean="0">
                <a:solidFill>
                  <a:schemeClr val="tx1"/>
                </a:solidFill>
                <a:latin typeface="+mn-lt"/>
              </a:defRPr>
            </a:lvl1pPr>
            <a:lvl2pPr marL="171450" indent="-171450">
              <a:lnSpc>
                <a:spcPct val="130000"/>
              </a:lnSpc>
              <a:spcBef>
                <a:spcPts val="200"/>
              </a:spcBef>
              <a:spcAft>
                <a:spcPts val="200"/>
              </a:spcAft>
              <a:buFont typeface="Arial" panose="020B0604020202020204" pitchFamily="34" charset="0"/>
              <a:buChar char="•"/>
              <a:defRPr lang="en-US" sz="1000" dirty="0"/>
            </a:lvl2pPr>
            <a:lvl3pPr marL="360363" indent="-182563">
              <a:lnSpc>
                <a:spcPct val="130000"/>
              </a:lnSpc>
              <a:spcBef>
                <a:spcPts val="200"/>
              </a:spcBef>
              <a:spcAft>
                <a:spcPts val="200"/>
              </a:spcAft>
              <a:defRPr lang="en-US" sz="1000" dirty="0"/>
            </a:lvl3pPr>
            <a:lvl4pPr>
              <a:defRPr lang="en-US" sz="1000" dirty="0"/>
            </a:lvl4pPr>
            <a:lvl5pPr>
              <a:defRPr lang="en-US" sz="1000" dirty="0"/>
            </a:lvl5pPr>
          </a:lstStyle>
          <a:p>
            <a:pPr lvl="0"/>
            <a:r>
              <a:rPr lang="en-US" dirty="0"/>
              <a:t>Click to edit master text styles</a:t>
            </a:r>
          </a:p>
          <a:p>
            <a:pPr lvl="1"/>
            <a:r>
              <a:rPr lang="en-US" dirty="0"/>
              <a:t>Second level</a:t>
            </a:r>
          </a:p>
          <a:p>
            <a:pPr lvl="2"/>
            <a:r>
              <a:rPr lang="en-US" dirty="0"/>
              <a:t>Third level</a:t>
            </a:r>
          </a:p>
        </p:txBody>
      </p:sp>
      <p:sp>
        <p:nvSpPr>
          <p:cNvPr id="18" name="Content Placeholder 2">
            <a:extLst>
              <a:ext uri="{FF2B5EF4-FFF2-40B4-BE49-F238E27FC236}">
                <a16:creationId xmlns:a16="http://schemas.microsoft.com/office/drawing/2014/main" id="{376ABD33-7DE6-932D-F04B-E72ED7FB6DE7}"/>
              </a:ext>
            </a:extLst>
          </p:cNvPr>
          <p:cNvSpPr>
            <a:spLocks noGrp="1"/>
          </p:cNvSpPr>
          <p:nvPr>
            <p:ph idx="22" hasCustomPrompt="1"/>
          </p:nvPr>
        </p:nvSpPr>
        <p:spPr>
          <a:xfrm>
            <a:off x="4225925" y="3105128"/>
            <a:ext cx="3400425" cy="324000"/>
          </a:xfrm>
          <a:solidFill>
            <a:schemeClr val="tx2"/>
          </a:solidFill>
        </p:spPr>
        <p:txBody>
          <a:bodyPr vert="horz" lIns="108000" tIns="45720" rIns="72000" bIns="45720" numCol="1" spcCol="216000" rtlCol="0" anchor="ctr" anchorCtr="0">
            <a:noAutofit/>
          </a:bodyPr>
          <a:lstStyle>
            <a:lvl1pPr>
              <a:defRPr lang="en-US" cap="all" baseline="0" dirty="0">
                <a:solidFill>
                  <a:schemeClr val="accent2"/>
                </a:solidFill>
              </a:defRPr>
            </a:lvl1pPr>
          </a:lstStyle>
          <a:p>
            <a:pPr lvl="0"/>
            <a:r>
              <a:rPr lang="en-US" dirty="0"/>
              <a:t>SUBHEAD</a:t>
            </a:r>
          </a:p>
        </p:txBody>
      </p:sp>
      <p:sp>
        <p:nvSpPr>
          <p:cNvPr id="21" name="Content Placeholder 2">
            <a:extLst>
              <a:ext uri="{FF2B5EF4-FFF2-40B4-BE49-F238E27FC236}">
                <a16:creationId xmlns:a16="http://schemas.microsoft.com/office/drawing/2014/main" id="{B8365A59-2337-7B5E-B124-66D8436B5263}"/>
              </a:ext>
            </a:extLst>
          </p:cNvPr>
          <p:cNvSpPr>
            <a:spLocks noGrp="1"/>
          </p:cNvSpPr>
          <p:nvPr>
            <p:ph idx="25" hasCustomPrompt="1"/>
          </p:nvPr>
        </p:nvSpPr>
        <p:spPr>
          <a:xfrm>
            <a:off x="507999" y="5101983"/>
            <a:ext cx="3400425" cy="1114520"/>
          </a:xfrm>
          <a:solidFill>
            <a:schemeClr val="bg2"/>
          </a:solidFill>
        </p:spPr>
        <p:txBody>
          <a:bodyPr vert="horz" lIns="108000" tIns="72000" rIns="72000" bIns="36000" numCol="1" spcCol="288000" rtlCol="0">
            <a:noAutofit/>
          </a:bodyPr>
          <a:lstStyle>
            <a:lvl1pPr>
              <a:lnSpc>
                <a:spcPct val="130000"/>
              </a:lnSpc>
              <a:spcBef>
                <a:spcPts val="200"/>
              </a:spcBef>
              <a:spcAft>
                <a:spcPts val="200"/>
              </a:spcAft>
              <a:defRPr lang="en-US" sz="1100" dirty="0" smtClean="0">
                <a:solidFill>
                  <a:schemeClr val="tx1"/>
                </a:solidFill>
                <a:latin typeface="+mn-lt"/>
              </a:defRPr>
            </a:lvl1pPr>
            <a:lvl2pPr marL="171450" indent="-171450">
              <a:lnSpc>
                <a:spcPct val="130000"/>
              </a:lnSpc>
              <a:spcBef>
                <a:spcPts val="200"/>
              </a:spcBef>
              <a:spcAft>
                <a:spcPts val="200"/>
              </a:spcAft>
              <a:buFont typeface="Arial" panose="020B0604020202020204" pitchFamily="34" charset="0"/>
              <a:buChar char="•"/>
              <a:defRPr lang="en-US" sz="1000" dirty="0"/>
            </a:lvl2pPr>
            <a:lvl3pPr marL="360363" indent="-182563">
              <a:lnSpc>
                <a:spcPct val="130000"/>
              </a:lnSpc>
              <a:spcBef>
                <a:spcPts val="200"/>
              </a:spcBef>
              <a:spcAft>
                <a:spcPts val="200"/>
              </a:spcAft>
              <a:defRPr lang="en-US" sz="1000" dirty="0"/>
            </a:lvl3pPr>
            <a:lvl4pPr>
              <a:defRPr lang="en-US" sz="1000" dirty="0"/>
            </a:lvl4pPr>
            <a:lvl5pPr>
              <a:defRPr lang="en-US" sz="1000" dirty="0"/>
            </a:lvl5pPr>
          </a:lstStyle>
          <a:p>
            <a:pPr lvl="0"/>
            <a:r>
              <a:rPr lang="en-US" dirty="0"/>
              <a:t>Click to edit master text styles</a:t>
            </a:r>
          </a:p>
          <a:p>
            <a:pPr lvl="1"/>
            <a:r>
              <a:rPr lang="en-US" dirty="0"/>
              <a:t>Second level</a:t>
            </a:r>
          </a:p>
          <a:p>
            <a:pPr lvl="2"/>
            <a:r>
              <a:rPr lang="en-US" dirty="0"/>
              <a:t>Third level</a:t>
            </a:r>
          </a:p>
        </p:txBody>
      </p:sp>
      <p:sp>
        <p:nvSpPr>
          <p:cNvPr id="22" name="Content Placeholder 2">
            <a:extLst>
              <a:ext uri="{FF2B5EF4-FFF2-40B4-BE49-F238E27FC236}">
                <a16:creationId xmlns:a16="http://schemas.microsoft.com/office/drawing/2014/main" id="{74EDE4A7-B395-2B29-E429-599F2CF2BC66}"/>
              </a:ext>
            </a:extLst>
          </p:cNvPr>
          <p:cNvSpPr>
            <a:spLocks noGrp="1"/>
          </p:cNvSpPr>
          <p:nvPr>
            <p:ph idx="26" hasCustomPrompt="1"/>
          </p:nvPr>
        </p:nvSpPr>
        <p:spPr>
          <a:xfrm>
            <a:off x="507999" y="4777982"/>
            <a:ext cx="3400425" cy="324000"/>
          </a:xfrm>
          <a:solidFill>
            <a:schemeClr val="tx2"/>
          </a:solidFill>
        </p:spPr>
        <p:txBody>
          <a:bodyPr vert="horz" lIns="108000" tIns="45720" rIns="72000" bIns="45720" numCol="1" spcCol="216000" rtlCol="0" anchor="ctr" anchorCtr="0">
            <a:noAutofit/>
          </a:bodyPr>
          <a:lstStyle>
            <a:lvl1pPr>
              <a:defRPr lang="en-US" cap="all" baseline="0" dirty="0">
                <a:solidFill>
                  <a:schemeClr val="accent2"/>
                </a:solidFill>
              </a:defRPr>
            </a:lvl1pPr>
          </a:lstStyle>
          <a:p>
            <a:pPr lvl="0"/>
            <a:r>
              <a:rPr lang="en-US" dirty="0"/>
              <a:t>SUBHEAD</a:t>
            </a:r>
          </a:p>
        </p:txBody>
      </p:sp>
      <p:sp>
        <p:nvSpPr>
          <p:cNvPr id="23" name="Content Placeholder 2">
            <a:extLst>
              <a:ext uri="{FF2B5EF4-FFF2-40B4-BE49-F238E27FC236}">
                <a16:creationId xmlns:a16="http://schemas.microsoft.com/office/drawing/2014/main" id="{CF99ABED-044C-C28A-86DC-D97A636A68EE}"/>
              </a:ext>
            </a:extLst>
          </p:cNvPr>
          <p:cNvSpPr>
            <a:spLocks noGrp="1"/>
          </p:cNvSpPr>
          <p:nvPr>
            <p:ph idx="27" hasCustomPrompt="1"/>
          </p:nvPr>
        </p:nvSpPr>
        <p:spPr>
          <a:xfrm>
            <a:off x="4225925" y="5101983"/>
            <a:ext cx="3400425" cy="1114520"/>
          </a:xfrm>
          <a:solidFill>
            <a:schemeClr val="bg2"/>
          </a:solidFill>
        </p:spPr>
        <p:txBody>
          <a:bodyPr vert="horz" lIns="108000" tIns="72000" rIns="72000" bIns="36000" numCol="1" spcCol="288000" rtlCol="0">
            <a:noAutofit/>
          </a:bodyPr>
          <a:lstStyle>
            <a:lvl1pPr>
              <a:lnSpc>
                <a:spcPct val="130000"/>
              </a:lnSpc>
              <a:spcBef>
                <a:spcPts val="200"/>
              </a:spcBef>
              <a:spcAft>
                <a:spcPts val="200"/>
              </a:spcAft>
              <a:defRPr lang="en-US" sz="1100" dirty="0" smtClean="0">
                <a:solidFill>
                  <a:schemeClr val="tx1"/>
                </a:solidFill>
                <a:latin typeface="+mn-lt"/>
              </a:defRPr>
            </a:lvl1pPr>
            <a:lvl2pPr marL="171450" indent="-171450">
              <a:lnSpc>
                <a:spcPct val="130000"/>
              </a:lnSpc>
              <a:spcBef>
                <a:spcPts val="200"/>
              </a:spcBef>
              <a:spcAft>
                <a:spcPts val="200"/>
              </a:spcAft>
              <a:buFont typeface="Arial" panose="020B0604020202020204" pitchFamily="34" charset="0"/>
              <a:buChar char="•"/>
              <a:defRPr lang="en-US" sz="1000" dirty="0"/>
            </a:lvl2pPr>
            <a:lvl3pPr marL="360363" indent="-182563">
              <a:lnSpc>
                <a:spcPct val="130000"/>
              </a:lnSpc>
              <a:spcBef>
                <a:spcPts val="200"/>
              </a:spcBef>
              <a:spcAft>
                <a:spcPts val="200"/>
              </a:spcAft>
              <a:defRPr lang="en-US" sz="1000" dirty="0"/>
            </a:lvl3pPr>
            <a:lvl4pPr>
              <a:defRPr lang="en-US" sz="1000" dirty="0"/>
            </a:lvl4pPr>
            <a:lvl5pPr>
              <a:defRPr lang="en-US" sz="1000" dirty="0"/>
            </a:lvl5pPr>
          </a:lstStyle>
          <a:p>
            <a:pPr lvl="0"/>
            <a:r>
              <a:rPr lang="en-US" dirty="0"/>
              <a:t>Click to edit master text styles</a:t>
            </a:r>
          </a:p>
          <a:p>
            <a:pPr lvl="1"/>
            <a:r>
              <a:rPr lang="en-US" dirty="0"/>
              <a:t>Second level</a:t>
            </a:r>
          </a:p>
          <a:p>
            <a:pPr lvl="2"/>
            <a:r>
              <a:rPr lang="en-US" dirty="0"/>
              <a:t>Third level</a:t>
            </a:r>
          </a:p>
        </p:txBody>
      </p:sp>
      <p:sp>
        <p:nvSpPr>
          <p:cNvPr id="24" name="Content Placeholder 2">
            <a:extLst>
              <a:ext uri="{FF2B5EF4-FFF2-40B4-BE49-F238E27FC236}">
                <a16:creationId xmlns:a16="http://schemas.microsoft.com/office/drawing/2014/main" id="{59C2FBAA-C8E8-1022-B792-35D5DDB21932}"/>
              </a:ext>
            </a:extLst>
          </p:cNvPr>
          <p:cNvSpPr>
            <a:spLocks noGrp="1"/>
          </p:cNvSpPr>
          <p:nvPr>
            <p:ph idx="28" hasCustomPrompt="1"/>
          </p:nvPr>
        </p:nvSpPr>
        <p:spPr>
          <a:xfrm>
            <a:off x="4225925" y="4777982"/>
            <a:ext cx="3400425" cy="324000"/>
          </a:xfrm>
          <a:solidFill>
            <a:schemeClr val="tx2"/>
          </a:solidFill>
        </p:spPr>
        <p:txBody>
          <a:bodyPr vert="horz" lIns="108000" tIns="45720" rIns="72000" bIns="45720" numCol="1" spcCol="216000" rtlCol="0" anchor="ctr" anchorCtr="0">
            <a:noAutofit/>
          </a:bodyPr>
          <a:lstStyle>
            <a:lvl1pPr>
              <a:defRPr lang="en-US" cap="all" baseline="0" dirty="0">
                <a:solidFill>
                  <a:schemeClr val="accent2"/>
                </a:solidFill>
              </a:defRPr>
            </a:lvl1pPr>
          </a:lstStyle>
          <a:p>
            <a:pPr lvl="0"/>
            <a:r>
              <a:rPr lang="en-US" dirty="0"/>
              <a:t>SUBHEAD</a:t>
            </a:r>
          </a:p>
        </p:txBody>
      </p:sp>
      <p:sp>
        <p:nvSpPr>
          <p:cNvPr id="13" name="Content Placeholder 2">
            <a:extLst>
              <a:ext uri="{FF2B5EF4-FFF2-40B4-BE49-F238E27FC236}">
                <a16:creationId xmlns:a16="http://schemas.microsoft.com/office/drawing/2014/main" id="{1814B2D8-4A9D-2AC4-0230-851D9D86EB43}"/>
              </a:ext>
            </a:extLst>
          </p:cNvPr>
          <p:cNvSpPr>
            <a:spLocks noGrp="1"/>
          </p:cNvSpPr>
          <p:nvPr>
            <p:ph idx="45" hasCustomPrompt="1"/>
          </p:nvPr>
        </p:nvSpPr>
        <p:spPr>
          <a:xfrm>
            <a:off x="8737600" y="1776766"/>
            <a:ext cx="2963863" cy="3957531"/>
          </a:xfrm>
        </p:spPr>
        <p:txBody>
          <a:bodyPr vert="horz" lIns="0" tIns="45720" rIns="0" bIns="45720" rtlCol="0">
            <a:normAutofit/>
          </a:bodyPr>
          <a:lstStyle>
            <a:lvl1pPr algn="l" defTabSz="914400" rtl="0" eaLnBrk="1" latinLnBrk="0" hangingPunct="1">
              <a:lnSpc>
                <a:spcPct val="130000"/>
              </a:lnSpc>
              <a:spcBef>
                <a:spcPts val="300"/>
              </a:spcBef>
              <a:spcAft>
                <a:spcPts val="300"/>
              </a:spcAft>
              <a:buFont typeface="Arial" panose="020B0604020202020204" pitchFamily="34" charset="0"/>
              <a:defRPr lang="en-US" sz="1100" kern="1200" dirty="0">
                <a:solidFill>
                  <a:schemeClr val="tx1"/>
                </a:solidFill>
                <a:latin typeface="+mn-lt"/>
                <a:ea typeface="+mn-ea"/>
                <a:cs typeface="+mn-cs"/>
              </a:defRPr>
            </a:lvl1pPr>
            <a:lvl2pPr>
              <a:buClr>
                <a:schemeClr val="tx2"/>
              </a:buClr>
              <a:defRPr lang="en-US" dirty="0">
                <a:solidFill>
                  <a:schemeClr val="tx1"/>
                </a:solidFill>
              </a:defRPr>
            </a:lvl2pPr>
            <a:lvl3pPr>
              <a:buClr>
                <a:schemeClr val="tx2"/>
              </a:buClr>
              <a:defRPr lang="en-US" dirty="0">
                <a:solidFill>
                  <a:schemeClr val="tx1"/>
                </a:solidFill>
              </a:defRPr>
            </a:lvl3pPr>
            <a:lvl4pPr>
              <a:buClr>
                <a:schemeClr val="tx2"/>
              </a:buClr>
              <a:defRPr lang="en-US" dirty="0">
                <a:solidFill>
                  <a:schemeClr val="tx1"/>
                </a:solidFill>
              </a:defRPr>
            </a:lvl4pPr>
            <a:lvl5pPr>
              <a:buClr>
                <a:schemeClr val="tx2"/>
              </a:buClr>
              <a:defRPr lang="en-US" dirty="0">
                <a:solidFill>
                  <a:schemeClr val="tx1"/>
                </a:solidFill>
              </a:defRPr>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14" name="Content Placeholder 2">
            <a:extLst>
              <a:ext uri="{FF2B5EF4-FFF2-40B4-BE49-F238E27FC236}">
                <a16:creationId xmlns:a16="http://schemas.microsoft.com/office/drawing/2014/main" id="{9956D5C9-0795-F74E-DA9A-0729A90E8ACC}"/>
              </a:ext>
            </a:extLst>
          </p:cNvPr>
          <p:cNvSpPr>
            <a:spLocks noGrp="1"/>
          </p:cNvSpPr>
          <p:nvPr>
            <p:ph idx="46" hasCustomPrompt="1"/>
          </p:nvPr>
        </p:nvSpPr>
        <p:spPr>
          <a:xfrm>
            <a:off x="8737600" y="1411005"/>
            <a:ext cx="2946399" cy="365761"/>
          </a:xfrm>
        </p:spPr>
        <p:txBody>
          <a:bodyPr/>
          <a:lstStyle>
            <a:lvl1pPr>
              <a:defRPr cap="all" baseline="0">
                <a:solidFill>
                  <a:schemeClr val="tx2"/>
                </a:solidFill>
              </a:defRPr>
            </a:lvl1pPr>
          </a:lstStyle>
          <a:p>
            <a:pPr lvl="0"/>
            <a:r>
              <a:rPr lang="en-US" dirty="0"/>
              <a:t>subhead</a:t>
            </a:r>
          </a:p>
        </p:txBody>
      </p:sp>
    </p:spTree>
    <p:extLst>
      <p:ext uri="{BB962C8B-B14F-4D97-AF65-F5344CB8AC3E}">
        <p14:creationId xmlns:p14="http://schemas.microsoft.com/office/powerpoint/2010/main" val="3446752057"/>
      </p:ext>
    </p:extLst>
  </p:cSld>
  <p:clrMapOvr>
    <a:masterClrMapping/>
  </p:clrMapOvr>
  <p:transition spd="med">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4 Boxes &amp; Image">
    <p:spTree>
      <p:nvGrpSpPr>
        <p:cNvPr id="1" name=""/>
        <p:cNvGrpSpPr/>
        <p:nvPr/>
      </p:nvGrpSpPr>
      <p:grpSpPr>
        <a:xfrm>
          <a:off x="0" y="0"/>
          <a:ext cx="0" cy="0"/>
          <a:chOff x="0" y="0"/>
          <a:chExt cx="0" cy="0"/>
        </a:xfrm>
      </p:grpSpPr>
      <p:sp>
        <p:nvSpPr>
          <p:cNvPr id="2" name="Picture Placeholder 10">
            <a:extLst>
              <a:ext uri="{FF2B5EF4-FFF2-40B4-BE49-F238E27FC236}">
                <a16:creationId xmlns:a16="http://schemas.microsoft.com/office/drawing/2014/main" id="{6B49C9AF-CB11-15A0-88E9-D799C8E8E6EB}"/>
              </a:ext>
            </a:extLst>
          </p:cNvPr>
          <p:cNvSpPr>
            <a:spLocks noGrp="1"/>
          </p:cNvSpPr>
          <p:nvPr>
            <p:ph type="pic" sz="quarter" idx="13" hasCustomPrompt="1"/>
          </p:nvPr>
        </p:nvSpPr>
        <p:spPr>
          <a:xfrm>
            <a:off x="8126412" y="0"/>
            <a:ext cx="4065587" cy="6858000"/>
          </a:xfrm>
          <a:solidFill>
            <a:schemeClr val="tx1"/>
          </a:solidFill>
        </p:spPr>
        <p:txBody>
          <a:bodyPr vert="horz" lIns="0" tIns="45720" rIns="0" bIns="45720" rtlCol="0" anchor="ctr">
            <a:normAutofit/>
          </a:bodyPr>
          <a:lstStyle>
            <a:lvl1pPr algn="ctr">
              <a:defRPr lang="en-GB" sz="2800" b="0" dirty="0">
                <a:solidFill>
                  <a:schemeClr val="bg1"/>
                </a:solidFill>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US" dirty="0"/>
              <a:t>ADD RELATED </a:t>
            </a:r>
            <a:br>
              <a:rPr lang="en-US" dirty="0"/>
            </a:br>
            <a:r>
              <a:rPr lang="en-US" dirty="0"/>
              <a:t>IMAGE </a:t>
            </a:r>
            <a:br>
              <a:rPr lang="en-US" dirty="0"/>
            </a:br>
            <a:r>
              <a:rPr lang="en-US" dirty="0"/>
              <a:t>FROM HFW </a:t>
            </a:r>
            <a:br>
              <a:rPr lang="en-US" dirty="0"/>
            </a:br>
            <a:r>
              <a:rPr lang="en-US" dirty="0"/>
              <a:t>IMAGE LIBRARY</a:t>
            </a:r>
          </a:p>
        </p:txBody>
      </p:sp>
      <p:sp>
        <p:nvSpPr>
          <p:cNvPr id="3" name="Content Placeholder 2"/>
          <p:cNvSpPr>
            <a:spLocks noGrp="1"/>
          </p:cNvSpPr>
          <p:nvPr>
            <p:ph idx="1" hasCustomPrompt="1"/>
          </p:nvPr>
        </p:nvSpPr>
        <p:spPr>
          <a:xfrm>
            <a:off x="507999" y="1854029"/>
            <a:ext cx="3400425" cy="1790871"/>
          </a:xfrm>
          <a:solidFill>
            <a:schemeClr val="bg2"/>
          </a:solidFill>
        </p:spPr>
        <p:txBody>
          <a:bodyPr vert="horz" lIns="108000" tIns="72000" rIns="72000" bIns="36000" numCol="1" spcCol="288000" rtlCol="0">
            <a:noAutofit/>
          </a:bodyPr>
          <a:lstStyle>
            <a:lvl1pPr>
              <a:lnSpc>
                <a:spcPct val="130000"/>
              </a:lnSpc>
              <a:spcBef>
                <a:spcPts val="200"/>
              </a:spcBef>
              <a:spcAft>
                <a:spcPts val="200"/>
              </a:spcAft>
              <a:defRPr lang="en-US" sz="1100" dirty="0" smtClean="0">
                <a:solidFill>
                  <a:schemeClr val="tx1"/>
                </a:solidFill>
                <a:latin typeface="+mn-lt"/>
              </a:defRPr>
            </a:lvl1pPr>
            <a:lvl2pPr marL="171450" indent="-171450">
              <a:lnSpc>
                <a:spcPct val="130000"/>
              </a:lnSpc>
              <a:spcBef>
                <a:spcPts val="200"/>
              </a:spcBef>
              <a:spcAft>
                <a:spcPts val="200"/>
              </a:spcAft>
              <a:buFont typeface="Arial" panose="020B0604020202020204" pitchFamily="34" charset="0"/>
              <a:buChar char="•"/>
              <a:defRPr lang="en-US" sz="1000" dirty="0"/>
            </a:lvl2pPr>
            <a:lvl3pPr marL="360363" indent="-182563">
              <a:lnSpc>
                <a:spcPct val="130000"/>
              </a:lnSpc>
              <a:spcBef>
                <a:spcPts val="200"/>
              </a:spcBef>
              <a:spcAft>
                <a:spcPts val="200"/>
              </a:spcAft>
              <a:defRPr lang="en-US" sz="1000" dirty="0"/>
            </a:lvl3pPr>
            <a:lvl4pPr>
              <a:defRPr lang="en-US" sz="1000" dirty="0"/>
            </a:lvl4pPr>
            <a:lvl5pPr>
              <a:defRPr lang="en-US" sz="1000" dirty="0"/>
            </a:lvl5pPr>
          </a:lstStyle>
          <a:p>
            <a:pPr lvl="0"/>
            <a:r>
              <a:rPr lang="en-US" dirty="0"/>
              <a:t>Click to edit master text styles</a:t>
            </a:r>
          </a:p>
          <a:p>
            <a:pPr lvl="1"/>
            <a:r>
              <a:rPr lang="en-US" dirty="0"/>
              <a:t>Second level</a:t>
            </a:r>
          </a:p>
          <a:p>
            <a:pPr lvl="2"/>
            <a:r>
              <a:rPr lang="en-US" dirty="0"/>
              <a:t>Third level</a:t>
            </a:r>
          </a:p>
        </p:txBody>
      </p:sp>
      <p:sp>
        <p:nvSpPr>
          <p:cNvPr id="5" name="Footer Placeholder 4"/>
          <p:cNvSpPr>
            <a:spLocks noGrp="1"/>
          </p:cNvSpPr>
          <p:nvPr>
            <p:ph type="ftr" sz="quarter" idx="11"/>
          </p:nvPr>
        </p:nvSpPr>
        <p:spPr/>
        <p:txBody>
          <a:bodyPr/>
          <a:lstStyle/>
          <a:p>
            <a:r>
              <a:rPr lang="en-GB"/>
              <a:t>INSERT FOOTER HER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8CFE0557-AA98-4E6C-B0C3-581794696B68}" type="slidenum">
              <a:rPr lang="en-GB" smtClean="0"/>
              <a:pPr/>
              <a:t>‹#›</a:t>
            </a:fld>
            <a:endParaRPr lang="en-GB"/>
          </a:p>
        </p:txBody>
      </p:sp>
      <p:sp>
        <p:nvSpPr>
          <p:cNvPr id="7" name="Content Placeholder 2">
            <a:extLst>
              <a:ext uri="{FF2B5EF4-FFF2-40B4-BE49-F238E27FC236}">
                <a16:creationId xmlns:a16="http://schemas.microsoft.com/office/drawing/2014/main" id="{B0B00756-BEE2-1E4F-AA11-656D1916E332}"/>
              </a:ext>
            </a:extLst>
          </p:cNvPr>
          <p:cNvSpPr>
            <a:spLocks noGrp="1"/>
          </p:cNvSpPr>
          <p:nvPr>
            <p:ph idx="14" hasCustomPrompt="1"/>
          </p:nvPr>
        </p:nvSpPr>
        <p:spPr>
          <a:xfrm>
            <a:off x="507999" y="1411005"/>
            <a:ext cx="3400425" cy="443024"/>
          </a:xfrm>
          <a:solidFill>
            <a:schemeClr val="accent2"/>
          </a:solidFill>
        </p:spPr>
        <p:txBody>
          <a:bodyPr vert="horz" lIns="108000" tIns="45720" rIns="72000" bIns="45720" numCol="1" spcCol="216000" rtlCol="0" anchor="ctr" anchorCtr="0">
            <a:noAutofit/>
          </a:bodyPr>
          <a:lstStyle>
            <a:lvl1pPr>
              <a:defRPr lang="en-US" sz="1400" cap="all" baseline="0" dirty="0">
                <a:solidFill>
                  <a:schemeClr val="tx2"/>
                </a:solidFill>
              </a:defRPr>
            </a:lvl1pPr>
            <a:lvl2pPr>
              <a:defRPr lang="en-US" sz="900" dirty="0">
                <a:solidFill>
                  <a:schemeClr val="tx1"/>
                </a:solidFill>
              </a:defRPr>
            </a:lvl2pPr>
            <a:lvl3pPr>
              <a:defRPr lang="en-US" sz="800" dirty="0">
                <a:solidFill>
                  <a:schemeClr val="tx1"/>
                </a:solidFill>
              </a:defRPr>
            </a:lvl3pPr>
            <a:lvl4pPr>
              <a:defRPr lang="en-US" sz="700" dirty="0">
                <a:solidFill>
                  <a:schemeClr val="tx1"/>
                </a:solidFill>
              </a:defRPr>
            </a:lvl4pPr>
            <a:lvl5pPr>
              <a:defRPr lang="en-US" sz="700" dirty="0">
                <a:solidFill>
                  <a:schemeClr val="tx1"/>
                </a:solidFill>
              </a:defRPr>
            </a:lvl5pPr>
          </a:lstStyle>
          <a:p>
            <a:pPr lvl="0"/>
            <a:r>
              <a:rPr lang="en-US" dirty="0"/>
              <a:t>SUBHEAD</a:t>
            </a:r>
          </a:p>
        </p:txBody>
      </p:sp>
      <p:sp>
        <p:nvSpPr>
          <p:cNvPr id="4" name="Title 3">
            <a:extLst>
              <a:ext uri="{FF2B5EF4-FFF2-40B4-BE49-F238E27FC236}">
                <a16:creationId xmlns:a16="http://schemas.microsoft.com/office/drawing/2014/main" id="{6729F04B-D5C0-88EC-FA0F-B39A9EACF533}"/>
              </a:ext>
            </a:extLst>
          </p:cNvPr>
          <p:cNvSpPr>
            <a:spLocks noGrp="1"/>
          </p:cNvSpPr>
          <p:nvPr>
            <p:ph type="title" hasCustomPrompt="1"/>
          </p:nvPr>
        </p:nvSpPr>
        <p:spPr>
          <a:xfrm>
            <a:off x="508001" y="454014"/>
            <a:ext cx="7118350" cy="814806"/>
          </a:xfrm>
        </p:spPr>
        <p:txBody>
          <a:bodyPr/>
          <a:lstStyle/>
          <a:p>
            <a:r>
              <a:rPr lang="en-US" dirty="0"/>
              <a:t>TITLE: subtitle</a:t>
            </a:r>
            <a:endParaRPr lang="en-GB" dirty="0"/>
          </a:p>
        </p:txBody>
      </p:sp>
      <p:sp>
        <p:nvSpPr>
          <p:cNvPr id="11" name="Content Placeholder 2">
            <a:extLst>
              <a:ext uri="{FF2B5EF4-FFF2-40B4-BE49-F238E27FC236}">
                <a16:creationId xmlns:a16="http://schemas.microsoft.com/office/drawing/2014/main" id="{0CE1D013-BC17-F297-93DF-A3CE5AC5F6C5}"/>
              </a:ext>
            </a:extLst>
          </p:cNvPr>
          <p:cNvSpPr>
            <a:spLocks noGrp="1"/>
          </p:cNvSpPr>
          <p:nvPr>
            <p:ph idx="15" hasCustomPrompt="1"/>
          </p:nvPr>
        </p:nvSpPr>
        <p:spPr>
          <a:xfrm>
            <a:off x="4225925" y="1854029"/>
            <a:ext cx="3400425" cy="1790871"/>
          </a:xfrm>
          <a:solidFill>
            <a:schemeClr val="bg2"/>
          </a:solidFill>
        </p:spPr>
        <p:txBody>
          <a:bodyPr vert="horz" lIns="108000" tIns="72000" rIns="72000" bIns="36000" numCol="1" spcCol="288000" rtlCol="0">
            <a:noAutofit/>
          </a:bodyPr>
          <a:lstStyle>
            <a:lvl1pPr>
              <a:lnSpc>
                <a:spcPct val="130000"/>
              </a:lnSpc>
              <a:spcBef>
                <a:spcPts val="200"/>
              </a:spcBef>
              <a:spcAft>
                <a:spcPts val="200"/>
              </a:spcAft>
              <a:defRPr lang="en-US" sz="1100" dirty="0" smtClean="0">
                <a:solidFill>
                  <a:schemeClr val="tx1"/>
                </a:solidFill>
                <a:latin typeface="+mn-lt"/>
              </a:defRPr>
            </a:lvl1pPr>
            <a:lvl2pPr marL="171450" indent="-171450">
              <a:lnSpc>
                <a:spcPct val="130000"/>
              </a:lnSpc>
              <a:spcBef>
                <a:spcPts val="200"/>
              </a:spcBef>
              <a:spcAft>
                <a:spcPts val="200"/>
              </a:spcAft>
              <a:buFont typeface="Arial" panose="020B0604020202020204" pitchFamily="34" charset="0"/>
              <a:buChar char="•"/>
              <a:defRPr lang="en-US" sz="1000" dirty="0"/>
            </a:lvl2pPr>
            <a:lvl3pPr marL="360363" indent="-182563">
              <a:lnSpc>
                <a:spcPct val="130000"/>
              </a:lnSpc>
              <a:spcBef>
                <a:spcPts val="200"/>
              </a:spcBef>
              <a:spcAft>
                <a:spcPts val="200"/>
              </a:spcAft>
              <a:defRPr lang="en-US" sz="1000" dirty="0"/>
            </a:lvl3pPr>
            <a:lvl4pPr>
              <a:defRPr lang="en-US" sz="1000" dirty="0"/>
            </a:lvl4pPr>
            <a:lvl5pPr>
              <a:defRPr lang="en-US" sz="1000" dirty="0"/>
            </a:lvl5pPr>
          </a:lstStyle>
          <a:p>
            <a:pPr lvl="0"/>
            <a:r>
              <a:rPr lang="en-US" dirty="0"/>
              <a:t>Click to edit master text styles</a:t>
            </a:r>
          </a:p>
          <a:p>
            <a:pPr lvl="1"/>
            <a:r>
              <a:rPr lang="en-US" dirty="0"/>
              <a:t>Second level</a:t>
            </a:r>
          </a:p>
          <a:p>
            <a:pPr lvl="2"/>
            <a:r>
              <a:rPr lang="en-US" dirty="0"/>
              <a:t>Third level</a:t>
            </a:r>
          </a:p>
        </p:txBody>
      </p:sp>
      <p:sp>
        <p:nvSpPr>
          <p:cNvPr id="12" name="Content Placeholder 2">
            <a:extLst>
              <a:ext uri="{FF2B5EF4-FFF2-40B4-BE49-F238E27FC236}">
                <a16:creationId xmlns:a16="http://schemas.microsoft.com/office/drawing/2014/main" id="{044BC189-C8AB-468D-9AA3-F616D7D61B1C}"/>
              </a:ext>
            </a:extLst>
          </p:cNvPr>
          <p:cNvSpPr>
            <a:spLocks noGrp="1"/>
          </p:cNvSpPr>
          <p:nvPr>
            <p:ph idx="16" hasCustomPrompt="1"/>
          </p:nvPr>
        </p:nvSpPr>
        <p:spPr>
          <a:xfrm>
            <a:off x="4225925" y="1411005"/>
            <a:ext cx="3400425" cy="443024"/>
          </a:xfrm>
          <a:solidFill>
            <a:schemeClr val="accent2"/>
          </a:solidFill>
        </p:spPr>
        <p:txBody>
          <a:bodyPr vert="horz" lIns="108000" tIns="45720" rIns="72000" bIns="45720" numCol="1" spcCol="216000" rtlCol="0" anchor="ctr" anchorCtr="0">
            <a:noAutofit/>
          </a:bodyPr>
          <a:lstStyle>
            <a:lvl1pPr>
              <a:defRPr lang="en-US" sz="1400" cap="all" baseline="0" dirty="0">
                <a:solidFill>
                  <a:schemeClr val="tx2"/>
                </a:solidFill>
              </a:defRPr>
            </a:lvl1pPr>
            <a:lvl2pPr>
              <a:defRPr lang="en-US" sz="900" dirty="0">
                <a:solidFill>
                  <a:schemeClr val="tx1"/>
                </a:solidFill>
              </a:defRPr>
            </a:lvl2pPr>
            <a:lvl3pPr>
              <a:defRPr lang="en-US" sz="800" dirty="0">
                <a:solidFill>
                  <a:schemeClr val="tx1"/>
                </a:solidFill>
              </a:defRPr>
            </a:lvl3pPr>
            <a:lvl4pPr>
              <a:defRPr lang="en-US" sz="700" dirty="0">
                <a:solidFill>
                  <a:schemeClr val="tx1"/>
                </a:solidFill>
              </a:defRPr>
            </a:lvl4pPr>
            <a:lvl5pPr>
              <a:defRPr lang="en-US" sz="700" dirty="0">
                <a:solidFill>
                  <a:schemeClr val="tx1"/>
                </a:solidFill>
              </a:defRPr>
            </a:lvl5pPr>
          </a:lstStyle>
          <a:p>
            <a:pPr lvl="0"/>
            <a:r>
              <a:rPr lang="en-US" dirty="0"/>
              <a:t>SUBHEAD</a:t>
            </a:r>
          </a:p>
        </p:txBody>
      </p:sp>
      <p:sp>
        <p:nvSpPr>
          <p:cNvPr id="15" name="Content Placeholder 2">
            <a:extLst>
              <a:ext uri="{FF2B5EF4-FFF2-40B4-BE49-F238E27FC236}">
                <a16:creationId xmlns:a16="http://schemas.microsoft.com/office/drawing/2014/main" id="{0DBEF8F2-E7A8-CB2A-D6C6-185F68EA57BB}"/>
              </a:ext>
            </a:extLst>
          </p:cNvPr>
          <p:cNvSpPr>
            <a:spLocks noGrp="1"/>
          </p:cNvSpPr>
          <p:nvPr>
            <p:ph idx="19" hasCustomPrompt="1"/>
          </p:nvPr>
        </p:nvSpPr>
        <p:spPr>
          <a:xfrm>
            <a:off x="507999" y="4399652"/>
            <a:ext cx="3400425" cy="1790871"/>
          </a:xfrm>
          <a:solidFill>
            <a:schemeClr val="bg2"/>
          </a:solidFill>
        </p:spPr>
        <p:txBody>
          <a:bodyPr vert="horz" lIns="108000" tIns="72000" rIns="72000" bIns="36000" numCol="1" spcCol="288000" rtlCol="0">
            <a:noAutofit/>
          </a:bodyPr>
          <a:lstStyle>
            <a:lvl1pPr>
              <a:lnSpc>
                <a:spcPct val="130000"/>
              </a:lnSpc>
              <a:spcBef>
                <a:spcPts val="200"/>
              </a:spcBef>
              <a:spcAft>
                <a:spcPts val="200"/>
              </a:spcAft>
              <a:defRPr lang="en-US" sz="1100" dirty="0" smtClean="0">
                <a:solidFill>
                  <a:schemeClr val="tx1"/>
                </a:solidFill>
                <a:latin typeface="+mn-lt"/>
              </a:defRPr>
            </a:lvl1pPr>
            <a:lvl2pPr marL="171450" indent="-171450">
              <a:lnSpc>
                <a:spcPct val="130000"/>
              </a:lnSpc>
              <a:spcBef>
                <a:spcPts val="200"/>
              </a:spcBef>
              <a:spcAft>
                <a:spcPts val="200"/>
              </a:spcAft>
              <a:buFont typeface="Arial" panose="020B0604020202020204" pitchFamily="34" charset="0"/>
              <a:buChar char="•"/>
              <a:defRPr lang="en-US" sz="1000" dirty="0"/>
            </a:lvl2pPr>
            <a:lvl3pPr marL="360363" indent="-182563">
              <a:lnSpc>
                <a:spcPct val="130000"/>
              </a:lnSpc>
              <a:spcBef>
                <a:spcPts val="200"/>
              </a:spcBef>
              <a:spcAft>
                <a:spcPts val="200"/>
              </a:spcAft>
              <a:defRPr lang="en-US" sz="1000" dirty="0"/>
            </a:lvl3pPr>
            <a:lvl4pPr>
              <a:defRPr lang="en-US" sz="1000" dirty="0"/>
            </a:lvl4pPr>
            <a:lvl5pPr>
              <a:defRPr lang="en-US" sz="1000" dirty="0"/>
            </a:lvl5pPr>
          </a:lstStyle>
          <a:p>
            <a:pPr lvl="0"/>
            <a:r>
              <a:rPr lang="en-US" dirty="0"/>
              <a:t>Click to edit master text styles</a:t>
            </a:r>
          </a:p>
          <a:p>
            <a:pPr lvl="1"/>
            <a:r>
              <a:rPr lang="en-US" dirty="0"/>
              <a:t>Second level</a:t>
            </a:r>
          </a:p>
          <a:p>
            <a:pPr lvl="2"/>
            <a:r>
              <a:rPr lang="en-US" dirty="0"/>
              <a:t>Third level</a:t>
            </a:r>
          </a:p>
        </p:txBody>
      </p:sp>
      <p:sp>
        <p:nvSpPr>
          <p:cNvPr id="16" name="Content Placeholder 2">
            <a:extLst>
              <a:ext uri="{FF2B5EF4-FFF2-40B4-BE49-F238E27FC236}">
                <a16:creationId xmlns:a16="http://schemas.microsoft.com/office/drawing/2014/main" id="{62C1633C-AF8C-5672-C8E9-59BF8E705D38}"/>
              </a:ext>
            </a:extLst>
          </p:cNvPr>
          <p:cNvSpPr>
            <a:spLocks noGrp="1"/>
          </p:cNvSpPr>
          <p:nvPr>
            <p:ph idx="20" hasCustomPrompt="1"/>
          </p:nvPr>
        </p:nvSpPr>
        <p:spPr>
          <a:xfrm>
            <a:off x="507999" y="3950042"/>
            <a:ext cx="3400425" cy="443024"/>
          </a:xfrm>
          <a:solidFill>
            <a:schemeClr val="accent2"/>
          </a:solidFill>
        </p:spPr>
        <p:txBody>
          <a:bodyPr vert="horz" lIns="108000" tIns="45720" rIns="72000" bIns="45720" numCol="1" spcCol="216000" rtlCol="0" anchor="ctr" anchorCtr="0">
            <a:noAutofit/>
          </a:bodyPr>
          <a:lstStyle>
            <a:lvl1pPr>
              <a:defRPr lang="en-US" sz="1400" cap="all" baseline="0" dirty="0">
                <a:solidFill>
                  <a:schemeClr val="tx2"/>
                </a:solidFill>
              </a:defRPr>
            </a:lvl1pPr>
            <a:lvl2pPr>
              <a:defRPr lang="en-US" sz="900" dirty="0">
                <a:solidFill>
                  <a:schemeClr val="tx1"/>
                </a:solidFill>
              </a:defRPr>
            </a:lvl2pPr>
            <a:lvl3pPr>
              <a:defRPr lang="en-US" sz="800" dirty="0">
                <a:solidFill>
                  <a:schemeClr val="tx1"/>
                </a:solidFill>
              </a:defRPr>
            </a:lvl3pPr>
            <a:lvl4pPr>
              <a:defRPr lang="en-US" sz="700" dirty="0">
                <a:solidFill>
                  <a:schemeClr val="tx1"/>
                </a:solidFill>
              </a:defRPr>
            </a:lvl4pPr>
            <a:lvl5pPr>
              <a:defRPr lang="en-US" sz="700" dirty="0">
                <a:solidFill>
                  <a:schemeClr val="tx1"/>
                </a:solidFill>
              </a:defRPr>
            </a:lvl5pPr>
          </a:lstStyle>
          <a:p>
            <a:pPr lvl="0"/>
            <a:r>
              <a:rPr lang="en-US" dirty="0"/>
              <a:t>SUBHEAD</a:t>
            </a:r>
          </a:p>
        </p:txBody>
      </p:sp>
      <p:sp>
        <p:nvSpPr>
          <p:cNvPr id="17" name="Content Placeholder 2">
            <a:extLst>
              <a:ext uri="{FF2B5EF4-FFF2-40B4-BE49-F238E27FC236}">
                <a16:creationId xmlns:a16="http://schemas.microsoft.com/office/drawing/2014/main" id="{03927300-C246-F5F7-919E-B25446AA46DA}"/>
              </a:ext>
            </a:extLst>
          </p:cNvPr>
          <p:cNvSpPr>
            <a:spLocks noGrp="1"/>
          </p:cNvSpPr>
          <p:nvPr>
            <p:ph idx="21" hasCustomPrompt="1"/>
          </p:nvPr>
        </p:nvSpPr>
        <p:spPr>
          <a:xfrm>
            <a:off x="4225925" y="4399652"/>
            <a:ext cx="3400425" cy="1790871"/>
          </a:xfrm>
          <a:solidFill>
            <a:schemeClr val="bg2"/>
          </a:solidFill>
        </p:spPr>
        <p:txBody>
          <a:bodyPr vert="horz" lIns="108000" tIns="72000" rIns="72000" bIns="36000" numCol="1" spcCol="288000" rtlCol="0">
            <a:noAutofit/>
          </a:bodyPr>
          <a:lstStyle>
            <a:lvl1pPr>
              <a:lnSpc>
                <a:spcPct val="130000"/>
              </a:lnSpc>
              <a:spcBef>
                <a:spcPts val="200"/>
              </a:spcBef>
              <a:spcAft>
                <a:spcPts val="200"/>
              </a:spcAft>
              <a:defRPr lang="en-US" sz="1100" dirty="0" smtClean="0">
                <a:solidFill>
                  <a:schemeClr val="tx1"/>
                </a:solidFill>
                <a:latin typeface="+mn-lt"/>
              </a:defRPr>
            </a:lvl1pPr>
            <a:lvl2pPr marL="171450" indent="-171450">
              <a:lnSpc>
                <a:spcPct val="130000"/>
              </a:lnSpc>
              <a:spcBef>
                <a:spcPts val="200"/>
              </a:spcBef>
              <a:spcAft>
                <a:spcPts val="200"/>
              </a:spcAft>
              <a:buFont typeface="Arial" panose="020B0604020202020204" pitchFamily="34" charset="0"/>
              <a:buChar char="•"/>
              <a:defRPr lang="en-US" sz="1000" dirty="0"/>
            </a:lvl2pPr>
            <a:lvl3pPr marL="360363" indent="-182563">
              <a:lnSpc>
                <a:spcPct val="130000"/>
              </a:lnSpc>
              <a:spcBef>
                <a:spcPts val="200"/>
              </a:spcBef>
              <a:spcAft>
                <a:spcPts val="200"/>
              </a:spcAft>
              <a:defRPr lang="en-US" sz="1000" dirty="0"/>
            </a:lvl3pPr>
            <a:lvl4pPr>
              <a:defRPr lang="en-US" sz="1000" dirty="0"/>
            </a:lvl4pPr>
            <a:lvl5pPr>
              <a:defRPr lang="en-US" sz="1000" dirty="0"/>
            </a:lvl5pPr>
          </a:lstStyle>
          <a:p>
            <a:pPr lvl="0"/>
            <a:r>
              <a:rPr lang="en-US" dirty="0"/>
              <a:t>Click to edit master text styles</a:t>
            </a:r>
          </a:p>
          <a:p>
            <a:pPr lvl="1"/>
            <a:r>
              <a:rPr lang="en-US" dirty="0"/>
              <a:t>Second level</a:t>
            </a:r>
          </a:p>
          <a:p>
            <a:pPr lvl="2"/>
            <a:r>
              <a:rPr lang="en-US" dirty="0"/>
              <a:t>Third level</a:t>
            </a:r>
          </a:p>
        </p:txBody>
      </p:sp>
      <p:sp>
        <p:nvSpPr>
          <p:cNvPr id="18" name="Content Placeholder 2">
            <a:extLst>
              <a:ext uri="{FF2B5EF4-FFF2-40B4-BE49-F238E27FC236}">
                <a16:creationId xmlns:a16="http://schemas.microsoft.com/office/drawing/2014/main" id="{376ABD33-7DE6-932D-F04B-E72ED7FB6DE7}"/>
              </a:ext>
            </a:extLst>
          </p:cNvPr>
          <p:cNvSpPr>
            <a:spLocks noGrp="1"/>
          </p:cNvSpPr>
          <p:nvPr>
            <p:ph idx="22" hasCustomPrompt="1"/>
          </p:nvPr>
        </p:nvSpPr>
        <p:spPr>
          <a:xfrm>
            <a:off x="4225925" y="3950042"/>
            <a:ext cx="3400425" cy="443024"/>
          </a:xfrm>
          <a:solidFill>
            <a:schemeClr val="accent2"/>
          </a:solidFill>
        </p:spPr>
        <p:txBody>
          <a:bodyPr vert="horz" lIns="108000" tIns="45720" rIns="72000" bIns="45720" numCol="1" spcCol="216000" rtlCol="0" anchor="ctr" anchorCtr="0">
            <a:noAutofit/>
          </a:bodyPr>
          <a:lstStyle>
            <a:lvl1pPr>
              <a:defRPr lang="en-US" sz="1400" cap="all" baseline="0" dirty="0">
                <a:solidFill>
                  <a:schemeClr val="tx2"/>
                </a:solidFill>
              </a:defRPr>
            </a:lvl1pPr>
            <a:lvl2pPr>
              <a:defRPr lang="en-US" sz="900" dirty="0">
                <a:solidFill>
                  <a:schemeClr val="tx1"/>
                </a:solidFill>
              </a:defRPr>
            </a:lvl2pPr>
            <a:lvl3pPr>
              <a:defRPr lang="en-US" sz="800" dirty="0">
                <a:solidFill>
                  <a:schemeClr val="tx1"/>
                </a:solidFill>
              </a:defRPr>
            </a:lvl3pPr>
            <a:lvl4pPr>
              <a:defRPr lang="en-US" sz="700" dirty="0">
                <a:solidFill>
                  <a:schemeClr val="tx1"/>
                </a:solidFill>
              </a:defRPr>
            </a:lvl4pPr>
            <a:lvl5pPr>
              <a:defRPr lang="en-US" sz="700" dirty="0">
                <a:solidFill>
                  <a:schemeClr val="tx1"/>
                </a:solidFill>
              </a:defRPr>
            </a:lvl5pPr>
          </a:lstStyle>
          <a:p>
            <a:pPr lvl="0"/>
            <a:r>
              <a:rPr lang="en-US" dirty="0"/>
              <a:t>SUBHEAD</a:t>
            </a:r>
          </a:p>
        </p:txBody>
      </p:sp>
      <p:sp>
        <p:nvSpPr>
          <p:cNvPr id="8" name="TextBox 4">
            <a:extLst>
              <a:ext uri="{FF2B5EF4-FFF2-40B4-BE49-F238E27FC236}">
                <a16:creationId xmlns:a16="http://schemas.microsoft.com/office/drawing/2014/main" id="{2731D0D2-8DF1-D95A-3252-21A62CF3AB1B}"/>
              </a:ext>
            </a:extLst>
          </p:cNvPr>
          <p:cNvSpPr txBox="1"/>
          <p:nvPr userDrawn="1"/>
        </p:nvSpPr>
        <p:spPr>
          <a:xfrm>
            <a:off x="12346713" y="109538"/>
            <a:ext cx="1934437" cy="31700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INSERTING IMAGES:</a:t>
            </a:r>
          </a:p>
          <a:p>
            <a:pPr marL="179388" indent="-179388">
              <a:spcBef>
                <a:spcPts val="200"/>
              </a:spcBef>
              <a:spcAft>
                <a:spcPts val="200"/>
              </a:spcAft>
              <a:buFont typeface="+mj-lt"/>
              <a:buAutoNum type="arabicPeriod"/>
            </a:pPr>
            <a:r>
              <a:rPr lang="en-US" sz="900" dirty="0">
                <a:solidFill>
                  <a:schemeClr val="tx1"/>
                </a:solidFill>
                <a:latin typeface="+mn-lt"/>
              </a:rPr>
              <a:t>Simply click the image placeholder and select your image.</a:t>
            </a:r>
          </a:p>
          <a:p>
            <a:pPr marL="179388" indent="-179388">
              <a:spcBef>
                <a:spcPts val="200"/>
              </a:spcBef>
              <a:spcAft>
                <a:spcPts val="200"/>
              </a:spcAft>
              <a:buFont typeface="+mj-lt"/>
              <a:buAutoNum type="arabicPeriod"/>
            </a:pPr>
            <a:r>
              <a:rPr lang="en-US" sz="900" dirty="0">
                <a:solidFill>
                  <a:schemeClr val="tx1"/>
                </a:solidFill>
                <a:latin typeface="+mn-lt"/>
              </a:rPr>
              <a:t>Once your image is inserted into the shape it may be distorted. (Stretched or Squashed)</a:t>
            </a:r>
          </a:p>
          <a:p>
            <a:pPr marL="179388" indent="-179388">
              <a:spcBef>
                <a:spcPts val="200"/>
              </a:spcBef>
              <a:spcAft>
                <a:spcPts val="200"/>
              </a:spcAft>
              <a:buFont typeface="+mj-lt"/>
              <a:buAutoNum type="arabicPeriod"/>
            </a:pPr>
            <a:endParaRPr lang="en-US" sz="900" dirty="0">
              <a:solidFill>
                <a:schemeClr val="tx1"/>
              </a:solidFill>
              <a:latin typeface="+mn-lt"/>
            </a:endParaRPr>
          </a:p>
          <a:p>
            <a:pPr>
              <a:spcBef>
                <a:spcPts val="200"/>
              </a:spcBef>
              <a:spcAft>
                <a:spcPts val="200"/>
              </a:spcAft>
            </a:pPr>
            <a:r>
              <a:rPr lang="en-US" sz="900" b="1" dirty="0">
                <a:solidFill>
                  <a:schemeClr val="tx1"/>
                </a:solidFill>
                <a:latin typeface="+mn-lt"/>
              </a:rPr>
              <a:t>To fix this:</a:t>
            </a:r>
          </a:p>
          <a:p>
            <a:pPr marL="179388" indent="-179388">
              <a:spcBef>
                <a:spcPts val="200"/>
              </a:spcBef>
              <a:spcAft>
                <a:spcPts val="200"/>
              </a:spcAft>
              <a:buFont typeface="+mj-lt"/>
              <a:buAutoNum type="arabicPeriod"/>
            </a:pPr>
            <a:r>
              <a:rPr lang="en-US" sz="900" dirty="0">
                <a:solidFill>
                  <a:schemeClr val="tx1"/>
                </a:solidFill>
                <a:latin typeface="+mn-lt"/>
              </a:rPr>
              <a:t>Click on the image and from the top menu under </a:t>
            </a:r>
            <a:r>
              <a:rPr lang="en-US" sz="900" b="1" dirty="0">
                <a:solidFill>
                  <a:schemeClr val="tx1"/>
                </a:solidFill>
                <a:latin typeface="+mn-lt"/>
              </a:rPr>
              <a:t>PICTURE FORMAT </a:t>
            </a:r>
            <a:r>
              <a:rPr lang="en-US" sz="900" dirty="0">
                <a:solidFill>
                  <a:schemeClr val="tx1"/>
                </a:solidFill>
                <a:latin typeface="+mn-lt"/>
              </a:rPr>
              <a:t>select the </a:t>
            </a:r>
            <a:r>
              <a:rPr lang="en-US" sz="900" b="1" dirty="0">
                <a:solidFill>
                  <a:schemeClr val="tx1"/>
                </a:solidFill>
                <a:latin typeface="+mn-lt"/>
              </a:rPr>
              <a:t>CROP</a:t>
            </a:r>
            <a:r>
              <a:rPr lang="en-US" sz="900" dirty="0">
                <a:solidFill>
                  <a:schemeClr val="tx1"/>
                </a:solidFill>
                <a:latin typeface="+mn-lt"/>
              </a:rPr>
              <a:t> on the right and from the drop down menu select </a:t>
            </a:r>
            <a:r>
              <a:rPr lang="en-US" sz="900" b="1" kern="1200" dirty="0">
                <a:solidFill>
                  <a:schemeClr val="tx1"/>
                </a:solidFill>
                <a:latin typeface="+mn-lt"/>
                <a:ea typeface="+mn-ea"/>
                <a:cs typeface="+mn-cs"/>
              </a:rPr>
              <a:t>FILL</a:t>
            </a:r>
          </a:p>
          <a:p>
            <a:pPr marL="179388" indent="-179388">
              <a:spcBef>
                <a:spcPts val="200"/>
              </a:spcBef>
              <a:spcAft>
                <a:spcPts val="200"/>
              </a:spcAft>
              <a:buFont typeface="+mj-lt"/>
              <a:buAutoNum type="arabicPeriod"/>
            </a:pPr>
            <a:r>
              <a:rPr lang="en-US" sz="900" b="0" kern="1200" dirty="0">
                <a:solidFill>
                  <a:schemeClr val="tx1"/>
                </a:solidFill>
                <a:latin typeface="+mn-lt"/>
                <a:ea typeface="+mn-ea"/>
                <a:cs typeface="+mn-cs"/>
              </a:rPr>
              <a:t>From here you can move the image within the shape for best visual appearance</a:t>
            </a:r>
          </a:p>
        </p:txBody>
      </p:sp>
    </p:spTree>
    <p:extLst>
      <p:ext uri="{BB962C8B-B14F-4D97-AF65-F5344CB8AC3E}">
        <p14:creationId xmlns:p14="http://schemas.microsoft.com/office/powerpoint/2010/main" val="642567809"/>
      </p:ext>
    </p:extLst>
  </p:cSld>
  <p:clrMapOvr>
    <a:masterClrMapping/>
  </p:clrMapOvr>
  <p:transition spd="med">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4 Boxes &amp; Pull-out Tex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13A38F1-8D7E-F921-BF1B-D04390FDEC08}"/>
              </a:ext>
            </a:extLst>
          </p:cNvPr>
          <p:cNvSpPr/>
          <p:nvPr userDrawn="1"/>
        </p:nvSpPr>
        <p:spPr>
          <a:xfrm>
            <a:off x="8126413" y="0"/>
            <a:ext cx="40655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p:ph idx="1" hasCustomPrompt="1"/>
          </p:nvPr>
        </p:nvSpPr>
        <p:spPr>
          <a:xfrm>
            <a:off x="507999" y="1854029"/>
            <a:ext cx="3400425" cy="1790871"/>
          </a:xfrm>
          <a:solidFill>
            <a:schemeClr val="bg2"/>
          </a:solidFill>
        </p:spPr>
        <p:txBody>
          <a:bodyPr vert="horz" lIns="108000" tIns="72000" rIns="72000" bIns="36000" numCol="1" spcCol="288000" rtlCol="0">
            <a:noAutofit/>
          </a:bodyPr>
          <a:lstStyle>
            <a:lvl1pPr>
              <a:lnSpc>
                <a:spcPct val="130000"/>
              </a:lnSpc>
              <a:spcBef>
                <a:spcPts val="200"/>
              </a:spcBef>
              <a:spcAft>
                <a:spcPts val="200"/>
              </a:spcAft>
              <a:defRPr lang="en-US" sz="1100" dirty="0" smtClean="0">
                <a:solidFill>
                  <a:schemeClr val="tx1"/>
                </a:solidFill>
                <a:latin typeface="+mn-lt"/>
              </a:defRPr>
            </a:lvl1pPr>
            <a:lvl2pPr marL="171450" indent="-171450">
              <a:lnSpc>
                <a:spcPct val="130000"/>
              </a:lnSpc>
              <a:spcBef>
                <a:spcPts val="200"/>
              </a:spcBef>
              <a:spcAft>
                <a:spcPts val="200"/>
              </a:spcAft>
              <a:buFont typeface="Arial" panose="020B0604020202020204" pitchFamily="34" charset="0"/>
              <a:buChar char="•"/>
              <a:defRPr lang="en-US" sz="1000" dirty="0"/>
            </a:lvl2pPr>
            <a:lvl3pPr marL="360363" indent="-182563">
              <a:lnSpc>
                <a:spcPct val="130000"/>
              </a:lnSpc>
              <a:spcBef>
                <a:spcPts val="200"/>
              </a:spcBef>
              <a:spcAft>
                <a:spcPts val="200"/>
              </a:spcAft>
              <a:defRPr lang="en-US" sz="1000" dirty="0"/>
            </a:lvl3pPr>
            <a:lvl4pPr>
              <a:defRPr lang="en-US" sz="1000" dirty="0"/>
            </a:lvl4pPr>
            <a:lvl5pPr>
              <a:defRPr lang="en-US" sz="1000" dirty="0"/>
            </a:lvl5pPr>
          </a:lstStyle>
          <a:p>
            <a:pPr lvl="0"/>
            <a:r>
              <a:rPr lang="en-US" dirty="0"/>
              <a:t>Click to edit master text styles</a:t>
            </a:r>
          </a:p>
          <a:p>
            <a:pPr lvl="1"/>
            <a:r>
              <a:rPr lang="en-US" dirty="0"/>
              <a:t>Second level</a:t>
            </a:r>
          </a:p>
          <a:p>
            <a:pPr lvl="2"/>
            <a:r>
              <a:rPr lang="en-US" dirty="0"/>
              <a:t>Third level</a:t>
            </a:r>
          </a:p>
        </p:txBody>
      </p:sp>
      <p:sp>
        <p:nvSpPr>
          <p:cNvPr id="5" name="Footer Placeholder 4"/>
          <p:cNvSpPr>
            <a:spLocks noGrp="1"/>
          </p:cNvSpPr>
          <p:nvPr>
            <p:ph type="ftr" sz="quarter" idx="11"/>
          </p:nvPr>
        </p:nvSpPr>
        <p:spPr/>
        <p:txBody>
          <a:bodyPr/>
          <a:lstStyle/>
          <a:p>
            <a:r>
              <a:rPr lang="en-GB"/>
              <a:t>INSERT FOOTER HER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8CFE0557-AA98-4E6C-B0C3-581794696B68}" type="slidenum">
              <a:rPr lang="en-GB" smtClean="0"/>
              <a:pPr/>
              <a:t>‹#›</a:t>
            </a:fld>
            <a:endParaRPr lang="en-GB"/>
          </a:p>
        </p:txBody>
      </p:sp>
      <p:sp>
        <p:nvSpPr>
          <p:cNvPr id="7" name="Content Placeholder 2">
            <a:extLst>
              <a:ext uri="{FF2B5EF4-FFF2-40B4-BE49-F238E27FC236}">
                <a16:creationId xmlns:a16="http://schemas.microsoft.com/office/drawing/2014/main" id="{B0B00756-BEE2-1E4F-AA11-656D1916E332}"/>
              </a:ext>
            </a:extLst>
          </p:cNvPr>
          <p:cNvSpPr>
            <a:spLocks noGrp="1"/>
          </p:cNvSpPr>
          <p:nvPr>
            <p:ph idx="14" hasCustomPrompt="1"/>
          </p:nvPr>
        </p:nvSpPr>
        <p:spPr>
          <a:xfrm>
            <a:off x="507999" y="1411005"/>
            <a:ext cx="3400425" cy="443024"/>
          </a:xfrm>
          <a:solidFill>
            <a:schemeClr val="accent2"/>
          </a:solidFill>
        </p:spPr>
        <p:txBody>
          <a:bodyPr vert="horz" lIns="108000" tIns="45720" rIns="72000" bIns="45720" numCol="1" spcCol="216000" rtlCol="0" anchor="ctr" anchorCtr="0">
            <a:noAutofit/>
          </a:bodyPr>
          <a:lstStyle>
            <a:lvl1pPr>
              <a:defRPr lang="en-US" sz="1400" cap="all" baseline="0" dirty="0">
                <a:solidFill>
                  <a:schemeClr val="tx2"/>
                </a:solidFill>
              </a:defRPr>
            </a:lvl1pPr>
            <a:lvl2pPr>
              <a:defRPr lang="en-US" sz="900" dirty="0">
                <a:solidFill>
                  <a:schemeClr val="tx1"/>
                </a:solidFill>
              </a:defRPr>
            </a:lvl2pPr>
            <a:lvl3pPr>
              <a:defRPr lang="en-US" sz="800" dirty="0">
                <a:solidFill>
                  <a:schemeClr val="tx1"/>
                </a:solidFill>
              </a:defRPr>
            </a:lvl3pPr>
            <a:lvl4pPr>
              <a:defRPr lang="en-US" sz="700" dirty="0">
                <a:solidFill>
                  <a:schemeClr val="tx1"/>
                </a:solidFill>
              </a:defRPr>
            </a:lvl4pPr>
            <a:lvl5pPr>
              <a:defRPr lang="en-US" sz="700" dirty="0">
                <a:solidFill>
                  <a:schemeClr val="tx1"/>
                </a:solidFill>
              </a:defRPr>
            </a:lvl5pPr>
          </a:lstStyle>
          <a:p>
            <a:pPr lvl="0"/>
            <a:r>
              <a:rPr lang="en-US" dirty="0"/>
              <a:t>SUBHEAD</a:t>
            </a:r>
          </a:p>
        </p:txBody>
      </p:sp>
      <p:sp>
        <p:nvSpPr>
          <p:cNvPr id="4" name="Title 3">
            <a:extLst>
              <a:ext uri="{FF2B5EF4-FFF2-40B4-BE49-F238E27FC236}">
                <a16:creationId xmlns:a16="http://schemas.microsoft.com/office/drawing/2014/main" id="{6729F04B-D5C0-88EC-FA0F-B39A9EACF533}"/>
              </a:ext>
            </a:extLst>
          </p:cNvPr>
          <p:cNvSpPr>
            <a:spLocks noGrp="1"/>
          </p:cNvSpPr>
          <p:nvPr>
            <p:ph type="title" hasCustomPrompt="1"/>
          </p:nvPr>
        </p:nvSpPr>
        <p:spPr>
          <a:xfrm>
            <a:off x="508001" y="454014"/>
            <a:ext cx="7118350" cy="814806"/>
          </a:xfrm>
        </p:spPr>
        <p:txBody>
          <a:bodyPr/>
          <a:lstStyle/>
          <a:p>
            <a:r>
              <a:rPr lang="en-US" dirty="0"/>
              <a:t>TITLE: subtitle</a:t>
            </a:r>
            <a:endParaRPr lang="en-GB" dirty="0"/>
          </a:p>
        </p:txBody>
      </p:sp>
      <p:sp>
        <p:nvSpPr>
          <p:cNvPr id="11" name="Content Placeholder 2">
            <a:extLst>
              <a:ext uri="{FF2B5EF4-FFF2-40B4-BE49-F238E27FC236}">
                <a16:creationId xmlns:a16="http://schemas.microsoft.com/office/drawing/2014/main" id="{0CE1D013-BC17-F297-93DF-A3CE5AC5F6C5}"/>
              </a:ext>
            </a:extLst>
          </p:cNvPr>
          <p:cNvSpPr>
            <a:spLocks noGrp="1"/>
          </p:cNvSpPr>
          <p:nvPr>
            <p:ph idx="15" hasCustomPrompt="1"/>
          </p:nvPr>
        </p:nvSpPr>
        <p:spPr>
          <a:xfrm>
            <a:off x="4225925" y="1854029"/>
            <a:ext cx="3400425" cy="1790871"/>
          </a:xfrm>
          <a:solidFill>
            <a:schemeClr val="bg2"/>
          </a:solidFill>
        </p:spPr>
        <p:txBody>
          <a:bodyPr vert="horz" lIns="108000" tIns="72000" rIns="72000" bIns="36000" numCol="1" spcCol="288000" rtlCol="0">
            <a:noAutofit/>
          </a:bodyPr>
          <a:lstStyle>
            <a:lvl1pPr>
              <a:lnSpc>
                <a:spcPct val="130000"/>
              </a:lnSpc>
              <a:spcBef>
                <a:spcPts val="200"/>
              </a:spcBef>
              <a:spcAft>
                <a:spcPts val="200"/>
              </a:spcAft>
              <a:defRPr lang="en-US" sz="1100" dirty="0" smtClean="0">
                <a:solidFill>
                  <a:schemeClr val="tx1"/>
                </a:solidFill>
                <a:latin typeface="+mn-lt"/>
              </a:defRPr>
            </a:lvl1pPr>
            <a:lvl2pPr marL="171450" indent="-171450">
              <a:lnSpc>
                <a:spcPct val="130000"/>
              </a:lnSpc>
              <a:spcBef>
                <a:spcPts val="200"/>
              </a:spcBef>
              <a:spcAft>
                <a:spcPts val="200"/>
              </a:spcAft>
              <a:buFont typeface="Arial" panose="020B0604020202020204" pitchFamily="34" charset="0"/>
              <a:buChar char="•"/>
              <a:defRPr lang="en-US" sz="1000" dirty="0"/>
            </a:lvl2pPr>
            <a:lvl3pPr marL="360363" indent="-182563">
              <a:lnSpc>
                <a:spcPct val="130000"/>
              </a:lnSpc>
              <a:spcBef>
                <a:spcPts val="200"/>
              </a:spcBef>
              <a:spcAft>
                <a:spcPts val="200"/>
              </a:spcAft>
              <a:defRPr lang="en-US" sz="1000" dirty="0"/>
            </a:lvl3pPr>
            <a:lvl4pPr>
              <a:defRPr lang="en-US" sz="1000" dirty="0"/>
            </a:lvl4pPr>
            <a:lvl5pPr>
              <a:defRPr lang="en-US" sz="1000" dirty="0"/>
            </a:lvl5pPr>
          </a:lstStyle>
          <a:p>
            <a:pPr lvl="0"/>
            <a:r>
              <a:rPr lang="en-US" dirty="0"/>
              <a:t>Click to edit master text styles</a:t>
            </a:r>
          </a:p>
          <a:p>
            <a:pPr lvl="1"/>
            <a:r>
              <a:rPr lang="en-US" dirty="0"/>
              <a:t>Second level</a:t>
            </a:r>
          </a:p>
          <a:p>
            <a:pPr lvl="2"/>
            <a:r>
              <a:rPr lang="en-US" dirty="0"/>
              <a:t>Third level</a:t>
            </a:r>
          </a:p>
        </p:txBody>
      </p:sp>
      <p:sp>
        <p:nvSpPr>
          <p:cNvPr id="12" name="Content Placeholder 2">
            <a:extLst>
              <a:ext uri="{FF2B5EF4-FFF2-40B4-BE49-F238E27FC236}">
                <a16:creationId xmlns:a16="http://schemas.microsoft.com/office/drawing/2014/main" id="{044BC189-C8AB-468D-9AA3-F616D7D61B1C}"/>
              </a:ext>
            </a:extLst>
          </p:cNvPr>
          <p:cNvSpPr>
            <a:spLocks noGrp="1"/>
          </p:cNvSpPr>
          <p:nvPr>
            <p:ph idx="16" hasCustomPrompt="1"/>
          </p:nvPr>
        </p:nvSpPr>
        <p:spPr>
          <a:xfrm>
            <a:off x="4225925" y="1411005"/>
            <a:ext cx="3400425" cy="443024"/>
          </a:xfrm>
          <a:solidFill>
            <a:schemeClr val="accent2"/>
          </a:solidFill>
        </p:spPr>
        <p:txBody>
          <a:bodyPr vert="horz" lIns="108000" tIns="45720" rIns="72000" bIns="45720" numCol="1" spcCol="216000" rtlCol="0" anchor="ctr" anchorCtr="0">
            <a:noAutofit/>
          </a:bodyPr>
          <a:lstStyle>
            <a:lvl1pPr>
              <a:defRPr lang="en-US" sz="1400" cap="all" baseline="0" dirty="0">
                <a:solidFill>
                  <a:schemeClr val="tx2"/>
                </a:solidFill>
              </a:defRPr>
            </a:lvl1pPr>
            <a:lvl2pPr>
              <a:defRPr lang="en-US" sz="900" dirty="0">
                <a:solidFill>
                  <a:schemeClr val="tx1"/>
                </a:solidFill>
              </a:defRPr>
            </a:lvl2pPr>
            <a:lvl3pPr>
              <a:defRPr lang="en-US" sz="800" dirty="0">
                <a:solidFill>
                  <a:schemeClr val="tx1"/>
                </a:solidFill>
              </a:defRPr>
            </a:lvl3pPr>
            <a:lvl4pPr>
              <a:defRPr lang="en-US" sz="700" dirty="0">
                <a:solidFill>
                  <a:schemeClr val="tx1"/>
                </a:solidFill>
              </a:defRPr>
            </a:lvl4pPr>
            <a:lvl5pPr>
              <a:defRPr lang="en-US" sz="700" dirty="0">
                <a:solidFill>
                  <a:schemeClr val="tx1"/>
                </a:solidFill>
              </a:defRPr>
            </a:lvl5pPr>
          </a:lstStyle>
          <a:p>
            <a:pPr lvl="0"/>
            <a:r>
              <a:rPr lang="en-US" dirty="0"/>
              <a:t>SUBHEAD</a:t>
            </a:r>
          </a:p>
        </p:txBody>
      </p:sp>
      <p:sp>
        <p:nvSpPr>
          <p:cNvPr id="15" name="Content Placeholder 2">
            <a:extLst>
              <a:ext uri="{FF2B5EF4-FFF2-40B4-BE49-F238E27FC236}">
                <a16:creationId xmlns:a16="http://schemas.microsoft.com/office/drawing/2014/main" id="{0DBEF8F2-E7A8-CB2A-D6C6-185F68EA57BB}"/>
              </a:ext>
            </a:extLst>
          </p:cNvPr>
          <p:cNvSpPr>
            <a:spLocks noGrp="1"/>
          </p:cNvSpPr>
          <p:nvPr>
            <p:ph idx="19" hasCustomPrompt="1"/>
          </p:nvPr>
        </p:nvSpPr>
        <p:spPr>
          <a:xfrm>
            <a:off x="507999" y="4399652"/>
            <a:ext cx="3400425" cy="1790871"/>
          </a:xfrm>
          <a:solidFill>
            <a:schemeClr val="bg2"/>
          </a:solidFill>
        </p:spPr>
        <p:txBody>
          <a:bodyPr vert="horz" lIns="108000" tIns="72000" rIns="72000" bIns="36000" numCol="1" spcCol="288000" rtlCol="0">
            <a:noAutofit/>
          </a:bodyPr>
          <a:lstStyle>
            <a:lvl1pPr>
              <a:lnSpc>
                <a:spcPct val="130000"/>
              </a:lnSpc>
              <a:spcBef>
                <a:spcPts val="200"/>
              </a:spcBef>
              <a:spcAft>
                <a:spcPts val="200"/>
              </a:spcAft>
              <a:defRPr lang="en-US" sz="1100" dirty="0" smtClean="0">
                <a:solidFill>
                  <a:schemeClr val="tx1"/>
                </a:solidFill>
                <a:latin typeface="+mn-lt"/>
              </a:defRPr>
            </a:lvl1pPr>
            <a:lvl2pPr marL="171450" indent="-171450">
              <a:lnSpc>
                <a:spcPct val="130000"/>
              </a:lnSpc>
              <a:spcBef>
                <a:spcPts val="200"/>
              </a:spcBef>
              <a:spcAft>
                <a:spcPts val="200"/>
              </a:spcAft>
              <a:buFont typeface="Arial" panose="020B0604020202020204" pitchFamily="34" charset="0"/>
              <a:buChar char="•"/>
              <a:defRPr lang="en-US" sz="1000" dirty="0"/>
            </a:lvl2pPr>
            <a:lvl3pPr marL="360363" indent="-182563">
              <a:lnSpc>
                <a:spcPct val="130000"/>
              </a:lnSpc>
              <a:spcBef>
                <a:spcPts val="200"/>
              </a:spcBef>
              <a:spcAft>
                <a:spcPts val="200"/>
              </a:spcAft>
              <a:defRPr lang="en-US" sz="1000" dirty="0"/>
            </a:lvl3pPr>
            <a:lvl4pPr>
              <a:defRPr lang="en-US" sz="1000" dirty="0"/>
            </a:lvl4pPr>
            <a:lvl5pPr>
              <a:defRPr lang="en-US" sz="1000" dirty="0"/>
            </a:lvl5pPr>
          </a:lstStyle>
          <a:p>
            <a:pPr lvl="0"/>
            <a:r>
              <a:rPr lang="en-US" dirty="0"/>
              <a:t>Click to edit master text styles</a:t>
            </a:r>
          </a:p>
          <a:p>
            <a:pPr lvl="1"/>
            <a:r>
              <a:rPr lang="en-US" dirty="0"/>
              <a:t>Second level</a:t>
            </a:r>
          </a:p>
          <a:p>
            <a:pPr lvl="2"/>
            <a:r>
              <a:rPr lang="en-US" dirty="0"/>
              <a:t>Third level</a:t>
            </a:r>
          </a:p>
        </p:txBody>
      </p:sp>
      <p:sp>
        <p:nvSpPr>
          <p:cNvPr id="16" name="Content Placeholder 2">
            <a:extLst>
              <a:ext uri="{FF2B5EF4-FFF2-40B4-BE49-F238E27FC236}">
                <a16:creationId xmlns:a16="http://schemas.microsoft.com/office/drawing/2014/main" id="{62C1633C-AF8C-5672-C8E9-59BF8E705D38}"/>
              </a:ext>
            </a:extLst>
          </p:cNvPr>
          <p:cNvSpPr>
            <a:spLocks noGrp="1"/>
          </p:cNvSpPr>
          <p:nvPr>
            <p:ph idx="20" hasCustomPrompt="1"/>
          </p:nvPr>
        </p:nvSpPr>
        <p:spPr>
          <a:xfrm>
            <a:off x="507999" y="3950042"/>
            <a:ext cx="3400425" cy="443024"/>
          </a:xfrm>
          <a:solidFill>
            <a:schemeClr val="accent2"/>
          </a:solidFill>
        </p:spPr>
        <p:txBody>
          <a:bodyPr vert="horz" lIns="108000" tIns="45720" rIns="72000" bIns="45720" numCol="1" spcCol="216000" rtlCol="0" anchor="ctr" anchorCtr="0">
            <a:noAutofit/>
          </a:bodyPr>
          <a:lstStyle>
            <a:lvl1pPr>
              <a:defRPr lang="en-US" sz="1400" cap="all" baseline="0" dirty="0">
                <a:solidFill>
                  <a:schemeClr val="tx2"/>
                </a:solidFill>
              </a:defRPr>
            </a:lvl1pPr>
            <a:lvl2pPr>
              <a:defRPr lang="en-US" sz="900" dirty="0">
                <a:solidFill>
                  <a:schemeClr val="tx1"/>
                </a:solidFill>
              </a:defRPr>
            </a:lvl2pPr>
            <a:lvl3pPr>
              <a:defRPr lang="en-US" sz="800" dirty="0">
                <a:solidFill>
                  <a:schemeClr val="tx1"/>
                </a:solidFill>
              </a:defRPr>
            </a:lvl3pPr>
            <a:lvl4pPr>
              <a:defRPr lang="en-US" sz="700" dirty="0">
                <a:solidFill>
                  <a:schemeClr val="tx1"/>
                </a:solidFill>
              </a:defRPr>
            </a:lvl4pPr>
            <a:lvl5pPr>
              <a:defRPr lang="en-US" sz="700" dirty="0">
                <a:solidFill>
                  <a:schemeClr val="tx1"/>
                </a:solidFill>
              </a:defRPr>
            </a:lvl5pPr>
          </a:lstStyle>
          <a:p>
            <a:pPr lvl="0"/>
            <a:r>
              <a:rPr lang="en-US" dirty="0"/>
              <a:t>SUBHEAD</a:t>
            </a:r>
          </a:p>
        </p:txBody>
      </p:sp>
      <p:sp>
        <p:nvSpPr>
          <p:cNvPr id="17" name="Content Placeholder 2">
            <a:extLst>
              <a:ext uri="{FF2B5EF4-FFF2-40B4-BE49-F238E27FC236}">
                <a16:creationId xmlns:a16="http://schemas.microsoft.com/office/drawing/2014/main" id="{03927300-C246-F5F7-919E-B25446AA46DA}"/>
              </a:ext>
            </a:extLst>
          </p:cNvPr>
          <p:cNvSpPr>
            <a:spLocks noGrp="1"/>
          </p:cNvSpPr>
          <p:nvPr>
            <p:ph idx="21" hasCustomPrompt="1"/>
          </p:nvPr>
        </p:nvSpPr>
        <p:spPr>
          <a:xfrm>
            <a:off x="4225925" y="4399652"/>
            <a:ext cx="3400425" cy="1790871"/>
          </a:xfrm>
          <a:solidFill>
            <a:schemeClr val="bg2"/>
          </a:solidFill>
        </p:spPr>
        <p:txBody>
          <a:bodyPr vert="horz" lIns="108000" tIns="72000" rIns="72000" bIns="36000" numCol="1" spcCol="288000" rtlCol="0">
            <a:noAutofit/>
          </a:bodyPr>
          <a:lstStyle>
            <a:lvl1pPr>
              <a:lnSpc>
                <a:spcPct val="130000"/>
              </a:lnSpc>
              <a:spcBef>
                <a:spcPts val="200"/>
              </a:spcBef>
              <a:spcAft>
                <a:spcPts val="200"/>
              </a:spcAft>
              <a:defRPr lang="en-US" sz="1100" dirty="0" smtClean="0">
                <a:solidFill>
                  <a:schemeClr val="tx1"/>
                </a:solidFill>
                <a:latin typeface="+mn-lt"/>
              </a:defRPr>
            </a:lvl1pPr>
            <a:lvl2pPr marL="171450" indent="-171450">
              <a:lnSpc>
                <a:spcPct val="130000"/>
              </a:lnSpc>
              <a:spcBef>
                <a:spcPts val="200"/>
              </a:spcBef>
              <a:spcAft>
                <a:spcPts val="200"/>
              </a:spcAft>
              <a:buFont typeface="Arial" panose="020B0604020202020204" pitchFamily="34" charset="0"/>
              <a:buChar char="•"/>
              <a:defRPr lang="en-US" sz="1000" dirty="0"/>
            </a:lvl2pPr>
            <a:lvl3pPr marL="360363" indent="-182563">
              <a:lnSpc>
                <a:spcPct val="130000"/>
              </a:lnSpc>
              <a:spcBef>
                <a:spcPts val="200"/>
              </a:spcBef>
              <a:spcAft>
                <a:spcPts val="200"/>
              </a:spcAft>
              <a:defRPr lang="en-US" sz="1000" dirty="0"/>
            </a:lvl3pPr>
            <a:lvl4pPr>
              <a:defRPr lang="en-US" sz="1000" dirty="0"/>
            </a:lvl4pPr>
            <a:lvl5pPr>
              <a:defRPr lang="en-US" sz="1000" dirty="0"/>
            </a:lvl5pPr>
          </a:lstStyle>
          <a:p>
            <a:pPr lvl="0"/>
            <a:r>
              <a:rPr lang="en-US" dirty="0"/>
              <a:t>Click to edit master text styles</a:t>
            </a:r>
          </a:p>
          <a:p>
            <a:pPr lvl="1"/>
            <a:r>
              <a:rPr lang="en-US" dirty="0"/>
              <a:t>Second level</a:t>
            </a:r>
          </a:p>
          <a:p>
            <a:pPr lvl="2"/>
            <a:r>
              <a:rPr lang="en-US" dirty="0"/>
              <a:t>Third level</a:t>
            </a:r>
          </a:p>
        </p:txBody>
      </p:sp>
      <p:sp>
        <p:nvSpPr>
          <p:cNvPr id="18" name="Content Placeholder 2">
            <a:extLst>
              <a:ext uri="{FF2B5EF4-FFF2-40B4-BE49-F238E27FC236}">
                <a16:creationId xmlns:a16="http://schemas.microsoft.com/office/drawing/2014/main" id="{376ABD33-7DE6-932D-F04B-E72ED7FB6DE7}"/>
              </a:ext>
            </a:extLst>
          </p:cNvPr>
          <p:cNvSpPr>
            <a:spLocks noGrp="1"/>
          </p:cNvSpPr>
          <p:nvPr>
            <p:ph idx="22" hasCustomPrompt="1"/>
          </p:nvPr>
        </p:nvSpPr>
        <p:spPr>
          <a:xfrm>
            <a:off x="4225925" y="3950042"/>
            <a:ext cx="3400425" cy="443024"/>
          </a:xfrm>
          <a:solidFill>
            <a:schemeClr val="accent2"/>
          </a:solidFill>
        </p:spPr>
        <p:txBody>
          <a:bodyPr vert="horz" lIns="108000" tIns="45720" rIns="72000" bIns="45720" numCol="1" spcCol="216000" rtlCol="0" anchor="ctr" anchorCtr="0">
            <a:noAutofit/>
          </a:bodyPr>
          <a:lstStyle>
            <a:lvl1pPr>
              <a:defRPr lang="en-US" sz="1400" cap="all" baseline="0" dirty="0">
                <a:solidFill>
                  <a:schemeClr val="tx2"/>
                </a:solidFill>
              </a:defRPr>
            </a:lvl1pPr>
            <a:lvl2pPr>
              <a:defRPr lang="en-US" sz="900" dirty="0">
                <a:solidFill>
                  <a:schemeClr val="tx1"/>
                </a:solidFill>
              </a:defRPr>
            </a:lvl2pPr>
            <a:lvl3pPr>
              <a:defRPr lang="en-US" sz="800" dirty="0">
                <a:solidFill>
                  <a:schemeClr val="tx1"/>
                </a:solidFill>
              </a:defRPr>
            </a:lvl3pPr>
            <a:lvl4pPr>
              <a:defRPr lang="en-US" sz="700" dirty="0">
                <a:solidFill>
                  <a:schemeClr val="tx1"/>
                </a:solidFill>
              </a:defRPr>
            </a:lvl4pPr>
            <a:lvl5pPr>
              <a:defRPr lang="en-US" sz="700" dirty="0">
                <a:solidFill>
                  <a:schemeClr val="tx1"/>
                </a:solidFill>
              </a:defRPr>
            </a:lvl5pPr>
          </a:lstStyle>
          <a:p>
            <a:pPr lvl="0"/>
            <a:r>
              <a:rPr lang="en-US" dirty="0"/>
              <a:t>SUBHEAD</a:t>
            </a:r>
          </a:p>
        </p:txBody>
      </p:sp>
      <p:sp>
        <p:nvSpPr>
          <p:cNvPr id="2" name="Content Placeholder 2">
            <a:extLst>
              <a:ext uri="{FF2B5EF4-FFF2-40B4-BE49-F238E27FC236}">
                <a16:creationId xmlns:a16="http://schemas.microsoft.com/office/drawing/2014/main" id="{105904A5-D0B1-744A-87B7-649366788064}"/>
              </a:ext>
            </a:extLst>
          </p:cNvPr>
          <p:cNvSpPr>
            <a:spLocks noGrp="1"/>
          </p:cNvSpPr>
          <p:nvPr>
            <p:ph idx="45" hasCustomPrompt="1"/>
          </p:nvPr>
        </p:nvSpPr>
        <p:spPr>
          <a:xfrm>
            <a:off x="8737600" y="1776766"/>
            <a:ext cx="2963863" cy="3957531"/>
          </a:xfrm>
        </p:spPr>
        <p:txBody>
          <a:bodyPr vert="horz" lIns="0" tIns="45720" rIns="0" bIns="45720" rtlCol="0">
            <a:normAutofit/>
          </a:bodyPr>
          <a:lstStyle>
            <a:lvl1pPr algn="l" defTabSz="914400" rtl="0" eaLnBrk="1" latinLnBrk="0" hangingPunct="1">
              <a:lnSpc>
                <a:spcPct val="130000"/>
              </a:lnSpc>
              <a:spcBef>
                <a:spcPts val="300"/>
              </a:spcBef>
              <a:spcAft>
                <a:spcPts val="300"/>
              </a:spcAft>
              <a:buFont typeface="Arial" panose="020B0604020202020204" pitchFamily="34" charset="0"/>
              <a:defRPr lang="en-US" sz="1100" kern="1200" dirty="0">
                <a:solidFill>
                  <a:schemeClr val="bg1"/>
                </a:solidFill>
                <a:latin typeface="+mn-lt"/>
                <a:ea typeface="+mn-ea"/>
                <a:cs typeface="+mn-cs"/>
              </a:defRPr>
            </a:lvl1pPr>
            <a:lvl2pPr>
              <a:buClr>
                <a:schemeClr val="bg1"/>
              </a:buClr>
              <a:defRPr lang="en-US" dirty="0">
                <a:solidFill>
                  <a:schemeClr val="bg1"/>
                </a:solidFill>
              </a:defRPr>
            </a:lvl2pPr>
            <a:lvl3pPr>
              <a:buClr>
                <a:schemeClr val="bg1"/>
              </a:buClr>
              <a:defRPr lang="en-US" dirty="0">
                <a:solidFill>
                  <a:schemeClr val="bg1"/>
                </a:solidFill>
              </a:defRPr>
            </a:lvl3pPr>
            <a:lvl4pPr>
              <a:buClr>
                <a:schemeClr val="bg1"/>
              </a:buClr>
              <a:defRPr lang="en-US" dirty="0">
                <a:solidFill>
                  <a:schemeClr val="bg1"/>
                </a:solidFill>
              </a:defRPr>
            </a:lvl4pPr>
            <a:lvl5pPr>
              <a:buClr>
                <a:schemeClr val="bg1"/>
              </a:buClr>
              <a:defRPr lang="en-US" dirty="0">
                <a:solidFill>
                  <a:schemeClr val="bg1"/>
                </a:solidFill>
              </a:defRPr>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8" name="Content Placeholder 2">
            <a:extLst>
              <a:ext uri="{FF2B5EF4-FFF2-40B4-BE49-F238E27FC236}">
                <a16:creationId xmlns:a16="http://schemas.microsoft.com/office/drawing/2014/main" id="{F0BB4A57-CC7D-71EF-F84F-9CE42656F7EA}"/>
              </a:ext>
            </a:extLst>
          </p:cNvPr>
          <p:cNvSpPr>
            <a:spLocks noGrp="1"/>
          </p:cNvSpPr>
          <p:nvPr>
            <p:ph idx="46" hasCustomPrompt="1"/>
          </p:nvPr>
        </p:nvSpPr>
        <p:spPr>
          <a:xfrm>
            <a:off x="8737600" y="1411005"/>
            <a:ext cx="2946399" cy="365761"/>
          </a:xfrm>
        </p:spPr>
        <p:txBody>
          <a:bodyPr/>
          <a:lstStyle>
            <a:lvl1pPr>
              <a:defRPr cap="all" baseline="0">
                <a:solidFill>
                  <a:schemeClr val="accent2"/>
                </a:solidFill>
              </a:defRPr>
            </a:lvl1pPr>
          </a:lstStyle>
          <a:p>
            <a:pPr lvl="0"/>
            <a:r>
              <a:rPr lang="en-US" dirty="0"/>
              <a:t>subhead</a:t>
            </a:r>
          </a:p>
        </p:txBody>
      </p:sp>
    </p:spTree>
    <p:extLst>
      <p:ext uri="{BB962C8B-B14F-4D97-AF65-F5344CB8AC3E}">
        <p14:creationId xmlns:p14="http://schemas.microsoft.com/office/powerpoint/2010/main" val="726531803"/>
      </p:ext>
    </p:extLst>
  </p:cSld>
  <p:clrMapOvr>
    <a:masterClrMapping/>
  </p:clrMapOvr>
  <p:transition spd="med">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3 Column">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r>
              <a:rPr lang="en-GB"/>
              <a:t>INSERT FOOTER HERE</a:t>
            </a:r>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8CFE0557-AA98-4E6C-B0C3-581794696B68}" type="slidenum">
              <a:rPr lang="en-GB" smtClean="0"/>
              <a:pPr/>
              <a:t>‹#›</a:t>
            </a:fld>
            <a:endParaRPr lang="en-GB"/>
          </a:p>
        </p:txBody>
      </p:sp>
      <p:sp>
        <p:nvSpPr>
          <p:cNvPr id="10" name="Content Placeholder 2">
            <a:extLst>
              <a:ext uri="{FF2B5EF4-FFF2-40B4-BE49-F238E27FC236}">
                <a16:creationId xmlns:a16="http://schemas.microsoft.com/office/drawing/2014/main" id="{182B4A0E-C187-E12F-BB7B-7E465EDEEA4C}"/>
              </a:ext>
            </a:extLst>
          </p:cNvPr>
          <p:cNvSpPr>
            <a:spLocks noGrp="1"/>
          </p:cNvSpPr>
          <p:nvPr>
            <p:ph idx="1" hasCustomPrompt="1"/>
          </p:nvPr>
        </p:nvSpPr>
        <p:spPr>
          <a:xfrm>
            <a:off x="507999" y="1244882"/>
            <a:ext cx="11172953" cy="291662"/>
          </a:xfrm>
        </p:spPr>
        <p:txBody>
          <a:bodyPr vert="horz" lIns="0" tIns="45720" rIns="0" bIns="45720" numCol="1" spcCol="288000" rtlCol="0">
            <a:noAutofit/>
          </a:bodyPr>
          <a:lstStyle>
            <a:lvl1pPr>
              <a:defRPr lang="en-US" cap="all" baseline="0" dirty="0" smtClean="0"/>
            </a:lvl1pPr>
            <a:lvl2pPr>
              <a:defRPr lang="en-US" dirty="0"/>
            </a:lvl2pPr>
            <a:lvl3pPr>
              <a:defRPr lang="en-US" dirty="0"/>
            </a:lvl3pPr>
            <a:lvl4pPr>
              <a:defRPr lang="en-US" dirty="0"/>
            </a:lvl4pPr>
            <a:lvl5pPr>
              <a:defRPr lang="en-US" dirty="0"/>
            </a:lvl5pPr>
          </a:lstStyle>
          <a:p>
            <a:pPr lvl="0"/>
            <a:r>
              <a:rPr lang="en-US" dirty="0"/>
              <a:t>subhead</a:t>
            </a:r>
          </a:p>
        </p:txBody>
      </p:sp>
      <p:sp>
        <p:nvSpPr>
          <p:cNvPr id="12" name="Content Placeholder 2">
            <a:extLst>
              <a:ext uri="{FF2B5EF4-FFF2-40B4-BE49-F238E27FC236}">
                <a16:creationId xmlns:a16="http://schemas.microsoft.com/office/drawing/2014/main" id="{79AF8CE8-F801-FBFD-7F6F-0BE65F72C036}"/>
              </a:ext>
            </a:extLst>
          </p:cNvPr>
          <p:cNvSpPr>
            <a:spLocks noGrp="1"/>
          </p:cNvSpPr>
          <p:nvPr>
            <p:ph idx="16" hasCustomPrompt="1"/>
          </p:nvPr>
        </p:nvSpPr>
        <p:spPr>
          <a:xfrm>
            <a:off x="508000" y="1613017"/>
            <a:ext cx="3400425" cy="4606808"/>
          </a:xfrm>
        </p:spPr>
        <p:txBody>
          <a:bodyPr vert="horz" lIns="0" tIns="45720" rIns="0" bIns="4572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4" name="Content Placeholder 2">
            <a:extLst>
              <a:ext uri="{FF2B5EF4-FFF2-40B4-BE49-F238E27FC236}">
                <a16:creationId xmlns:a16="http://schemas.microsoft.com/office/drawing/2014/main" id="{53C28725-2311-B24F-68FE-D0071B9D9FA2}"/>
              </a:ext>
            </a:extLst>
          </p:cNvPr>
          <p:cNvSpPr>
            <a:spLocks noGrp="1"/>
          </p:cNvSpPr>
          <p:nvPr>
            <p:ph idx="18" hasCustomPrompt="1"/>
          </p:nvPr>
        </p:nvSpPr>
        <p:spPr>
          <a:xfrm>
            <a:off x="4229229" y="1613017"/>
            <a:ext cx="3738434" cy="4606808"/>
          </a:xfrm>
        </p:spPr>
        <p:txBody>
          <a:bodyPr vert="horz" lIns="0" tIns="45720" rIns="0" bIns="4572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2" name="Content Placeholder 2">
            <a:extLst>
              <a:ext uri="{FF2B5EF4-FFF2-40B4-BE49-F238E27FC236}">
                <a16:creationId xmlns:a16="http://schemas.microsoft.com/office/drawing/2014/main" id="{D23A5666-8DD2-548E-5D9A-6FD367CE67AA}"/>
              </a:ext>
            </a:extLst>
          </p:cNvPr>
          <p:cNvSpPr>
            <a:spLocks noGrp="1"/>
          </p:cNvSpPr>
          <p:nvPr>
            <p:ph idx="19" hasCustomPrompt="1"/>
          </p:nvPr>
        </p:nvSpPr>
        <p:spPr>
          <a:xfrm>
            <a:off x="8283575" y="1613017"/>
            <a:ext cx="3397379" cy="4606808"/>
          </a:xfrm>
        </p:spPr>
        <p:txBody>
          <a:bodyPr vert="horz" lIns="0" tIns="45720" rIns="0" bIns="4572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14" name="Title 13">
            <a:extLst>
              <a:ext uri="{FF2B5EF4-FFF2-40B4-BE49-F238E27FC236}">
                <a16:creationId xmlns:a16="http://schemas.microsoft.com/office/drawing/2014/main" id="{63E94817-0C58-38AB-715B-9E31472F57FC}"/>
              </a:ext>
            </a:extLst>
          </p:cNvPr>
          <p:cNvSpPr>
            <a:spLocks noGrp="1"/>
          </p:cNvSpPr>
          <p:nvPr>
            <p:ph type="title" hasCustomPrompt="1"/>
          </p:nvPr>
        </p:nvSpPr>
        <p:spPr>
          <a:xfrm>
            <a:off x="508000" y="454013"/>
            <a:ext cx="11174413" cy="790869"/>
          </a:xfrm>
        </p:spPr>
        <p:txBody>
          <a:bodyPr/>
          <a:lstStyle>
            <a:lvl1pPr>
              <a:defRPr/>
            </a:lvl1pPr>
          </a:lstStyle>
          <a:p>
            <a:r>
              <a:rPr lang="en-US" dirty="0"/>
              <a:t>TITLE: subtitle</a:t>
            </a:r>
            <a:endParaRPr lang="en-GB" dirty="0"/>
          </a:p>
        </p:txBody>
      </p:sp>
    </p:spTree>
    <p:extLst>
      <p:ext uri="{BB962C8B-B14F-4D97-AF65-F5344CB8AC3E}">
        <p14:creationId xmlns:p14="http://schemas.microsoft.com/office/powerpoint/2010/main" val="1898837327"/>
      </p:ext>
    </p:extLst>
  </p:cSld>
  <p:clrMapOvr>
    <a:masterClrMapping/>
  </p:clrMapOvr>
  <p:transition spd="med">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2 Column">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r>
              <a:rPr lang="en-GB"/>
              <a:t>INSERT FOOTER HERE</a:t>
            </a:r>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8CFE0557-AA98-4E6C-B0C3-581794696B68}" type="slidenum">
              <a:rPr lang="en-GB" smtClean="0"/>
              <a:pPr/>
              <a:t>‹#›</a:t>
            </a:fld>
            <a:endParaRPr lang="en-GB"/>
          </a:p>
        </p:txBody>
      </p:sp>
      <p:sp>
        <p:nvSpPr>
          <p:cNvPr id="10" name="Content Placeholder 2">
            <a:extLst>
              <a:ext uri="{FF2B5EF4-FFF2-40B4-BE49-F238E27FC236}">
                <a16:creationId xmlns:a16="http://schemas.microsoft.com/office/drawing/2014/main" id="{182B4A0E-C187-E12F-BB7B-7E465EDEEA4C}"/>
              </a:ext>
            </a:extLst>
          </p:cNvPr>
          <p:cNvSpPr>
            <a:spLocks noGrp="1"/>
          </p:cNvSpPr>
          <p:nvPr>
            <p:ph idx="1" hasCustomPrompt="1"/>
          </p:nvPr>
        </p:nvSpPr>
        <p:spPr>
          <a:xfrm>
            <a:off x="507999" y="1244882"/>
            <a:ext cx="11172953" cy="291662"/>
          </a:xfrm>
        </p:spPr>
        <p:txBody>
          <a:bodyPr vert="horz" lIns="0" tIns="45720" rIns="0" bIns="45720" numCol="1" spcCol="288000" rtlCol="0">
            <a:noAutofit/>
          </a:bodyPr>
          <a:lstStyle>
            <a:lvl1pPr>
              <a:defRPr lang="en-US" cap="all" baseline="0" dirty="0" smtClean="0"/>
            </a:lvl1pPr>
            <a:lvl2pPr>
              <a:defRPr lang="en-US" dirty="0"/>
            </a:lvl2pPr>
            <a:lvl3pPr>
              <a:defRPr lang="en-US" dirty="0"/>
            </a:lvl3pPr>
            <a:lvl4pPr>
              <a:defRPr lang="en-US" dirty="0"/>
            </a:lvl4pPr>
            <a:lvl5pPr>
              <a:defRPr lang="en-US" dirty="0"/>
            </a:lvl5pPr>
          </a:lstStyle>
          <a:p>
            <a:pPr lvl="0"/>
            <a:r>
              <a:rPr lang="en-US" dirty="0"/>
              <a:t>subhead</a:t>
            </a:r>
          </a:p>
        </p:txBody>
      </p:sp>
      <p:sp>
        <p:nvSpPr>
          <p:cNvPr id="12" name="Content Placeholder 2">
            <a:extLst>
              <a:ext uri="{FF2B5EF4-FFF2-40B4-BE49-F238E27FC236}">
                <a16:creationId xmlns:a16="http://schemas.microsoft.com/office/drawing/2014/main" id="{79AF8CE8-F801-FBFD-7F6F-0BE65F72C036}"/>
              </a:ext>
            </a:extLst>
          </p:cNvPr>
          <p:cNvSpPr>
            <a:spLocks noGrp="1"/>
          </p:cNvSpPr>
          <p:nvPr>
            <p:ph idx="16" hasCustomPrompt="1"/>
          </p:nvPr>
        </p:nvSpPr>
        <p:spPr>
          <a:xfrm>
            <a:off x="508000" y="1613017"/>
            <a:ext cx="5429250" cy="4606808"/>
          </a:xfrm>
        </p:spPr>
        <p:txBody>
          <a:bodyPr vert="horz" lIns="0" tIns="45720" rIns="0" bIns="4572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14" name="Title 13">
            <a:extLst>
              <a:ext uri="{FF2B5EF4-FFF2-40B4-BE49-F238E27FC236}">
                <a16:creationId xmlns:a16="http://schemas.microsoft.com/office/drawing/2014/main" id="{63E94817-0C58-38AB-715B-9E31472F57FC}"/>
              </a:ext>
            </a:extLst>
          </p:cNvPr>
          <p:cNvSpPr>
            <a:spLocks noGrp="1"/>
          </p:cNvSpPr>
          <p:nvPr>
            <p:ph type="title" hasCustomPrompt="1"/>
          </p:nvPr>
        </p:nvSpPr>
        <p:spPr>
          <a:xfrm>
            <a:off x="508000" y="454013"/>
            <a:ext cx="11174413" cy="790869"/>
          </a:xfrm>
        </p:spPr>
        <p:txBody>
          <a:bodyPr/>
          <a:lstStyle>
            <a:lvl1pPr>
              <a:defRPr/>
            </a:lvl1pPr>
          </a:lstStyle>
          <a:p>
            <a:r>
              <a:rPr lang="en-US" dirty="0"/>
              <a:t>TITLE: subtitle</a:t>
            </a:r>
            <a:endParaRPr lang="en-GB" dirty="0"/>
          </a:p>
        </p:txBody>
      </p:sp>
      <p:sp>
        <p:nvSpPr>
          <p:cNvPr id="7" name="Content Placeholder 2">
            <a:extLst>
              <a:ext uri="{FF2B5EF4-FFF2-40B4-BE49-F238E27FC236}">
                <a16:creationId xmlns:a16="http://schemas.microsoft.com/office/drawing/2014/main" id="{2189928A-C058-D4E4-0D1E-ADB2E7F07931}"/>
              </a:ext>
            </a:extLst>
          </p:cNvPr>
          <p:cNvSpPr>
            <a:spLocks noGrp="1"/>
          </p:cNvSpPr>
          <p:nvPr>
            <p:ph idx="17" hasCustomPrompt="1"/>
          </p:nvPr>
        </p:nvSpPr>
        <p:spPr>
          <a:xfrm>
            <a:off x="6251702" y="1613017"/>
            <a:ext cx="5429250" cy="4606808"/>
          </a:xfrm>
        </p:spPr>
        <p:txBody>
          <a:bodyPr vert="horz" lIns="0" tIns="45720" rIns="0" bIns="4572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Tree>
    <p:extLst>
      <p:ext uri="{BB962C8B-B14F-4D97-AF65-F5344CB8AC3E}">
        <p14:creationId xmlns:p14="http://schemas.microsoft.com/office/powerpoint/2010/main" val="1834143599"/>
      </p:ext>
    </p:extLst>
  </p:cSld>
  <p:clrMapOvr>
    <a:masterClrMapping/>
  </p:clrMapOvr>
  <p:transition spd="med">
    <p:fade/>
  </p:transition>
  <p:extLst>
    <p:ext uri="{DCECCB84-F9BA-43D5-87BE-67443E8EF086}">
      <p15:sldGuideLst xmlns:p15="http://schemas.microsoft.com/office/powerpoint/2012/main">
        <p15:guide id="1" pos="3840">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3 Column with Highlighted 3rd">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r>
              <a:rPr lang="en-GB"/>
              <a:t>INSERT FOOTER HERE</a:t>
            </a:r>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8CFE0557-AA98-4E6C-B0C3-581794696B68}" type="slidenum">
              <a:rPr lang="en-GB" smtClean="0"/>
              <a:pPr/>
              <a:t>‹#›</a:t>
            </a:fld>
            <a:endParaRPr lang="en-GB"/>
          </a:p>
        </p:txBody>
      </p:sp>
      <p:sp>
        <p:nvSpPr>
          <p:cNvPr id="10" name="Content Placeholder 2">
            <a:extLst>
              <a:ext uri="{FF2B5EF4-FFF2-40B4-BE49-F238E27FC236}">
                <a16:creationId xmlns:a16="http://schemas.microsoft.com/office/drawing/2014/main" id="{182B4A0E-C187-E12F-BB7B-7E465EDEEA4C}"/>
              </a:ext>
            </a:extLst>
          </p:cNvPr>
          <p:cNvSpPr>
            <a:spLocks noGrp="1"/>
          </p:cNvSpPr>
          <p:nvPr>
            <p:ph idx="1" hasCustomPrompt="1"/>
          </p:nvPr>
        </p:nvSpPr>
        <p:spPr>
          <a:xfrm>
            <a:off x="507999" y="1244882"/>
            <a:ext cx="11172953" cy="291662"/>
          </a:xfrm>
        </p:spPr>
        <p:txBody>
          <a:bodyPr vert="horz" lIns="0" tIns="45720" rIns="0" bIns="45720" numCol="1" spcCol="288000" rtlCol="0">
            <a:noAutofit/>
          </a:bodyPr>
          <a:lstStyle>
            <a:lvl1pPr>
              <a:defRPr lang="en-US" cap="all" baseline="0" dirty="0" smtClean="0"/>
            </a:lvl1pPr>
            <a:lvl2pPr>
              <a:defRPr lang="en-US" dirty="0"/>
            </a:lvl2pPr>
            <a:lvl3pPr>
              <a:defRPr lang="en-US" dirty="0"/>
            </a:lvl3pPr>
            <a:lvl4pPr>
              <a:defRPr lang="en-US" dirty="0"/>
            </a:lvl4pPr>
            <a:lvl5pPr>
              <a:defRPr lang="en-US" dirty="0"/>
            </a:lvl5pPr>
          </a:lstStyle>
          <a:p>
            <a:pPr lvl="0"/>
            <a:r>
              <a:rPr lang="en-US" dirty="0"/>
              <a:t>subhead</a:t>
            </a:r>
          </a:p>
        </p:txBody>
      </p:sp>
      <p:sp>
        <p:nvSpPr>
          <p:cNvPr id="12" name="Content Placeholder 2">
            <a:extLst>
              <a:ext uri="{FF2B5EF4-FFF2-40B4-BE49-F238E27FC236}">
                <a16:creationId xmlns:a16="http://schemas.microsoft.com/office/drawing/2014/main" id="{79AF8CE8-F801-FBFD-7F6F-0BE65F72C036}"/>
              </a:ext>
            </a:extLst>
          </p:cNvPr>
          <p:cNvSpPr>
            <a:spLocks noGrp="1"/>
          </p:cNvSpPr>
          <p:nvPr>
            <p:ph idx="16" hasCustomPrompt="1"/>
          </p:nvPr>
        </p:nvSpPr>
        <p:spPr>
          <a:xfrm>
            <a:off x="508000" y="1613017"/>
            <a:ext cx="3400425" cy="4606808"/>
          </a:xfrm>
        </p:spPr>
        <p:txBody>
          <a:bodyPr vert="horz" lIns="0" tIns="45720" rIns="0" bIns="4572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4" name="Content Placeholder 2">
            <a:extLst>
              <a:ext uri="{FF2B5EF4-FFF2-40B4-BE49-F238E27FC236}">
                <a16:creationId xmlns:a16="http://schemas.microsoft.com/office/drawing/2014/main" id="{53C28725-2311-B24F-68FE-D0071B9D9FA2}"/>
              </a:ext>
            </a:extLst>
          </p:cNvPr>
          <p:cNvSpPr>
            <a:spLocks noGrp="1"/>
          </p:cNvSpPr>
          <p:nvPr>
            <p:ph idx="18" hasCustomPrompt="1"/>
          </p:nvPr>
        </p:nvSpPr>
        <p:spPr>
          <a:xfrm>
            <a:off x="4229229" y="1613017"/>
            <a:ext cx="3738434" cy="4606808"/>
          </a:xfrm>
        </p:spPr>
        <p:txBody>
          <a:bodyPr vert="horz" lIns="0" tIns="45720" rIns="0" bIns="4572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14" name="Title 13">
            <a:extLst>
              <a:ext uri="{FF2B5EF4-FFF2-40B4-BE49-F238E27FC236}">
                <a16:creationId xmlns:a16="http://schemas.microsoft.com/office/drawing/2014/main" id="{63E94817-0C58-38AB-715B-9E31472F57FC}"/>
              </a:ext>
            </a:extLst>
          </p:cNvPr>
          <p:cNvSpPr>
            <a:spLocks noGrp="1"/>
          </p:cNvSpPr>
          <p:nvPr>
            <p:ph type="title" hasCustomPrompt="1"/>
          </p:nvPr>
        </p:nvSpPr>
        <p:spPr>
          <a:xfrm>
            <a:off x="508000" y="454013"/>
            <a:ext cx="11174413" cy="790869"/>
          </a:xfrm>
        </p:spPr>
        <p:txBody>
          <a:bodyPr/>
          <a:lstStyle>
            <a:lvl1pPr>
              <a:defRPr/>
            </a:lvl1pPr>
          </a:lstStyle>
          <a:p>
            <a:r>
              <a:rPr lang="en-US" dirty="0"/>
              <a:t>TITLE: subtitle</a:t>
            </a:r>
            <a:endParaRPr lang="en-GB" dirty="0"/>
          </a:p>
        </p:txBody>
      </p:sp>
      <p:sp>
        <p:nvSpPr>
          <p:cNvPr id="7" name="Content Placeholder 2">
            <a:extLst>
              <a:ext uri="{FF2B5EF4-FFF2-40B4-BE49-F238E27FC236}">
                <a16:creationId xmlns:a16="http://schemas.microsoft.com/office/drawing/2014/main" id="{ECCE7C76-2A17-FC5C-FB70-D6C8A26FBC28}"/>
              </a:ext>
            </a:extLst>
          </p:cNvPr>
          <p:cNvSpPr>
            <a:spLocks noGrp="1"/>
          </p:cNvSpPr>
          <p:nvPr>
            <p:ph idx="19" hasCustomPrompt="1"/>
          </p:nvPr>
        </p:nvSpPr>
        <p:spPr>
          <a:xfrm>
            <a:off x="8280527" y="1613017"/>
            <a:ext cx="3400425" cy="4606808"/>
          </a:xfrm>
          <a:solidFill>
            <a:srgbClr val="F9F5F4"/>
          </a:solidFill>
        </p:spPr>
        <p:txBody>
          <a:bodyPr vert="horz" lIns="144000" tIns="108000" rIns="144000" bIns="10800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Tree>
    <p:extLst>
      <p:ext uri="{BB962C8B-B14F-4D97-AF65-F5344CB8AC3E}">
        <p14:creationId xmlns:p14="http://schemas.microsoft.com/office/powerpoint/2010/main" val="3714470541"/>
      </p:ext>
    </p:extLst>
  </p:cSld>
  <p:clrMapOvr>
    <a:masterClrMapping/>
  </p:clrMapOvr>
  <p:transition spd="med">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STRUCTION Boilerplate">
    <p:spTree>
      <p:nvGrpSpPr>
        <p:cNvPr id="1" name=""/>
        <p:cNvGrpSpPr/>
        <p:nvPr/>
      </p:nvGrpSpPr>
      <p:grpSpPr>
        <a:xfrm>
          <a:off x="0" y="0"/>
          <a:ext cx="0" cy="0"/>
          <a:chOff x="0" y="0"/>
          <a:chExt cx="0" cy="0"/>
        </a:xfrm>
      </p:grpSpPr>
      <p:pic>
        <p:nvPicPr>
          <p:cNvPr id="45" name="Graphic 44">
            <a:extLst>
              <a:ext uri="{FF2B5EF4-FFF2-40B4-BE49-F238E27FC236}">
                <a16:creationId xmlns:a16="http://schemas.microsoft.com/office/drawing/2014/main" id="{C28DC792-CA01-3AC6-45B6-65A196373F07}"/>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66653"/>
          <a:stretch/>
        </p:blipFill>
        <p:spPr>
          <a:xfrm>
            <a:off x="8126412" y="0"/>
            <a:ext cx="4065587" cy="6858000"/>
          </a:xfrm>
          <a:prstGeom prst="rect">
            <a:avLst/>
          </a:prstGeom>
        </p:spPr>
      </p:pic>
      <p:sp>
        <p:nvSpPr>
          <p:cNvPr id="41" name="TextBox 40">
            <a:extLst>
              <a:ext uri="{FF2B5EF4-FFF2-40B4-BE49-F238E27FC236}">
                <a16:creationId xmlns:a16="http://schemas.microsoft.com/office/drawing/2014/main" id="{A9C91699-1593-B0C2-00DA-1351CC5229CB}"/>
              </a:ext>
            </a:extLst>
          </p:cNvPr>
          <p:cNvSpPr txBox="1"/>
          <p:nvPr userDrawn="1"/>
        </p:nvSpPr>
        <p:spPr>
          <a:xfrm>
            <a:off x="8839200" y="1123947"/>
            <a:ext cx="2843213" cy="1447800"/>
          </a:xfrm>
          <a:prstGeom prst="rect">
            <a:avLst/>
          </a:prstGeom>
        </p:spPr>
        <p:txBody>
          <a:bodyPr vert="horz" wrap="square" lIns="0" tIns="45720" rIns="0" bIns="45720" rtlCol="0">
            <a:normAutofit/>
          </a:bodyPr>
          <a:lstStyle/>
          <a:p>
            <a:pPr algn="l">
              <a:lnSpc>
                <a:spcPct val="80000"/>
              </a:lnSpc>
            </a:pPr>
            <a:r>
              <a:rPr lang="en-GB" sz="7200" dirty="0">
                <a:solidFill>
                  <a:schemeClr val="bg1"/>
                </a:solidFill>
                <a:latin typeface="+mj-lt"/>
              </a:rPr>
              <a:t>20</a:t>
            </a:r>
          </a:p>
          <a:p>
            <a:pPr algn="l">
              <a:lnSpc>
                <a:spcPct val="80000"/>
              </a:lnSpc>
            </a:pPr>
            <a:r>
              <a:rPr lang="en-GB" sz="3200" dirty="0">
                <a:solidFill>
                  <a:schemeClr val="accent2"/>
                </a:solidFill>
                <a:latin typeface="+mn-lt"/>
              </a:rPr>
              <a:t>partners</a:t>
            </a:r>
            <a:endParaRPr lang="en-GB" sz="8000" kern="1200" dirty="0">
              <a:solidFill>
                <a:schemeClr val="accent2"/>
              </a:solidFill>
              <a:latin typeface="+mj-lt"/>
              <a:ea typeface="+mn-ea"/>
              <a:cs typeface="+mn-cs"/>
            </a:endParaRPr>
          </a:p>
        </p:txBody>
      </p:sp>
      <p:sp>
        <p:nvSpPr>
          <p:cNvPr id="42" name="TextBox 41">
            <a:extLst>
              <a:ext uri="{FF2B5EF4-FFF2-40B4-BE49-F238E27FC236}">
                <a16:creationId xmlns:a16="http://schemas.microsoft.com/office/drawing/2014/main" id="{BD2A86C9-A52D-18F4-15DD-161A0EDB7D33}"/>
              </a:ext>
            </a:extLst>
          </p:cNvPr>
          <p:cNvSpPr txBox="1"/>
          <p:nvPr userDrawn="1"/>
        </p:nvSpPr>
        <p:spPr>
          <a:xfrm>
            <a:off x="8839200" y="2819215"/>
            <a:ext cx="2843213" cy="1447800"/>
          </a:xfrm>
          <a:prstGeom prst="rect">
            <a:avLst/>
          </a:prstGeom>
        </p:spPr>
        <p:txBody>
          <a:bodyPr vert="horz" wrap="square" lIns="0" tIns="45720" rIns="0" bIns="45720" rtlCol="0">
            <a:normAutofit/>
          </a:bodyPr>
          <a:lstStyle/>
          <a:p>
            <a:pPr algn="l">
              <a:lnSpc>
                <a:spcPct val="80000"/>
              </a:lnSpc>
            </a:pPr>
            <a:r>
              <a:rPr lang="en-GB" sz="7200" dirty="0">
                <a:solidFill>
                  <a:schemeClr val="bg1"/>
                </a:solidFill>
                <a:latin typeface="+mj-lt"/>
              </a:rPr>
              <a:t>85+</a:t>
            </a:r>
          </a:p>
          <a:p>
            <a:pPr algn="l">
              <a:lnSpc>
                <a:spcPct val="80000"/>
              </a:lnSpc>
            </a:pPr>
            <a:r>
              <a:rPr lang="en-GB" sz="3200" dirty="0">
                <a:solidFill>
                  <a:schemeClr val="accent2"/>
                </a:solidFill>
                <a:latin typeface="+mn-lt"/>
              </a:rPr>
              <a:t>lawyers</a:t>
            </a:r>
            <a:endParaRPr lang="en-GB" sz="8000" kern="1200" dirty="0">
              <a:solidFill>
                <a:schemeClr val="accent2"/>
              </a:solidFill>
              <a:latin typeface="+mj-lt"/>
              <a:ea typeface="+mn-ea"/>
              <a:cs typeface="+mn-cs"/>
            </a:endParaRPr>
          </a:p>
        </p:txBody>
      </p:sp>
      <p:sp>
        <p:nvSpPr>
          <p:cNvPr id="43" name="TextBox 42">
            <a:extLst>
              <a:ext uri="{FF2B5EF4-FFF2-40B4-BE49-F238E27FC236}">
                <a16:creationId xmlns:a16="http://schemas.microsoft.com/office/drawing/2014/main" id="{95102ACB-94B6-CC02-A71C-556A25A6112F}"/>
              </a:ext>
            </a:extLst>
          </p:cNvPr>
          <p:cNvSpPr txBox="1"/>
          <p:nvPr userDrawn="1"/>
        </p:nvSpPr>
        <p:spPr>
          <a:xfrm>
            <a:off x="8778240" y="4546753"/>
            <a:ext cx="2843213" cy="1775416"/>
          </a:xfrm>
          <a:prstGeom prst="rect">
            <a:avLst/>
          </a:prstGeom>
        </p:spPr>
        <p:txBody>
          <a:bodyPr vert="horz" wrap="square" lIns="0" tIns="45720" rIns="0" bIns="45720" rtlCol="0">
            <a:normAutofit/>
          </a:bodyPr>
          <a:lstStyle/>
          <a:p>
            <a:pPr marL="92075" indent="-92075" algn="l">
              <a:lnSpc>
                <a:spcPct val="100000"/>
              </a:lnSpc>
              <a:spcBef>
                <a:spcPts val="200"/>
              </a:spcBef>
              <a:spcAft>
                <a:spcPts val="200"/>
              </a:spcAft>
            </a:pPr>
            <a:r>
              <a:rPr lang="en-US" sz="1600" dirty="0">
                <a:solidFill>
                  <a:schemeClr val="bg1"/>
                </a:solidFill>
                <a:latin typeface="+mj-lt"/>
              </a:rPr>
              <a:t>“The HFW team are </a:t>
            </a:r>
            <a:br>
              <a:rPr lang="en-US" sz="1600" dirty="0">
                <a:solidFill>
                  <a:schemeClr val="bg1"/>
                </a:solidFill>
                <a:latin typeface="+mj-lt"/>
              </a:rPr>
            </a:br>
            <a:r>
              <a:rPr lang="en-US" sz="1600" dirty="0">
                <a:solidFill>
                  <a:schemeClr val="bg1"/>
                </a:solidFill>
                <a:latin typeface="+mj-lt"/>
              </a:rPr>
              <a:t>true experts in this </a:t>
            </a:r>
            <a:br>
              <a:rPr lang="en-US" sz="1600" dirty="0">
                <a:solidFill>
                  <a:schemeClr val="bg1"/>
                </a:solidFill>
                <a:latin typeface="+mj-lt"/>
              </a:rPr>
            </a:br>
            <a:r>
              <a:rPr lang="en-US" sz="1600" dirty="0">
                <a:solidFill>
                  <a:schemeClr val="bg1"/>
                </a:solidFill>
                <a:latin typeface="+mj-lt"/>
              </a:rPr>
              <a:t>area and their depth </a:t>
            </a:r>
            <a:br>
              <a:rPr lang="en-US" sz="1600" dirty="0">
                <a:solidFill>
                  <a:schemeClr val="bg1"/>
                </a:solidFill>
                <a:latin typeface="+mj-lt"/>
              </a:rPr>
            </a:br>
            <a:r>
              <a:rPr lang="en-US" sz="1600" dirty="0">
                <a:solidFill>
                  <a:schemeClr val="bg1"/>
                </a:solidFill>
                <a:latin typeface="+mj-lt"/>
              </a:rPr>
              <a:t>of knowledge is </a:t>
            </a:r>
            <a:br>
              <a:rPr lang="en-US" sz="1600" dirty="0">
                <a:solidFill>
                  <a:schemeClr val="bg1"/>
                </a:solidFill>
                <a:latin typeface="+mj-lt"/>
              </a:rPr>
            </a:br>
            <a:r>
              <a:rPr lang="en-US" sz="1600" dirty="0">
                <a:solidFill>
                  <a:schemeClr val="bg1"/>
                </a:solidFill>
                <a:latin typeface="+mj-lt"/>
              </a:rPr>
              <a:t>readily apparent.”</a:t>
            </a:r>
          </a:p>
          <a:p>
            <a:pPr marL="92075" indent="0" algn="l">
              <a:lnSpc>
                <a:spcPct val="100000"/>
              </a:lnSpc>
              <a:spcBef>
                <a:spcPts val="200"/>
              </a:spcBef>
              <a:spcAft>
                <a:spcPts val="200"/>
              </a:spcAft>
            </a:pPr>
            <a:r>
              <a:rPr lang="en-US" sz="1200" dirty="0">
                <a:solidFill>
                  <a:schemeClr val="accent2"/>
                </a:solidFill>
                <a:latin typeface="+mj-lt"/>
              </a:rPr>
              <a:t>CONSTRUCTION CLIENT</a:t>
            </a:r>
            <a:endParaRPr lang="en-GB" sz="1400" kern="1200" dirty="0">
              <a:solidFill>
                <a:schemeClr val="accent2"/>
              </a:solidFill>
              <a:latin typeface="+mj-lt"/>
              <a:ea typeface="+mn-ea"/>
              <a:cs typeface="+mn-cs"/>
            </a:endParaRPr>
          </a:p>
        </p:txBody>
      </p:sp>
      <p:sp>
        <p:nvSpPr>
          <p:cNvPr id="5" name="Footer Placeholder 4"/>
          <p:cNvSpPr>
            <a:spLocks noGrp="1"/>
          </p:cNvSpPr>
          <p:nvPr>
            <p:ph type="ftr" sz="quarter" idx="11"/>
          </p:nvPr>
        </p:nvSpPr>
        <p:spPr/>
        <p:txBody>
          <a:bodyPr/>
          <a:lstStyle/>
          <a:p>
            <a:r>
              <a:rPr lang="en-GB"/>
              <a:t>INSERT FOOTER HER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8CFE0557-AA98-4E6C-B0C3-581794696B68}" type="slidenum">
              <a:rPr lang="en-GB" smtClean="0"/>
              <a:pPr/>
              <a:t>‹#›</a:t>
            </a:fld>
            <a:endParaRPr lang="en-GB" dirty="0"/>
          </a:p>
        </p:txBody>
      </p:sp>
      <p:sp>
        <p:nvSpPr>
          <p:cNvPr id="23" name="Title 3">
            <a:extLst>
              <a:ext uri="{FF2B5EF4-FFF2-40B4-BE49-F238E27FC236}">
                <a16:creationId xmlns:a16="http://schemas.microsoft.com/office/drawing/2014/main" id="{8AB09B44-EDBF-17A6-8435-B2F4F07AB3F6}"/>
              </a:ext>
            </a:extLst>
          </p:cNvPr>
          <p:cNvSpPr txBox="1">
            <a:spLocks/>
          </p:cNvSpPr>
          <p:nvPr userDrawn="1"/>
        </p:nvSpPr>
        <p:spPr>
          <a:xfrm>
            <a:off x="508000" y="454014"/>
            <a:ext cx="7134225" cy="669934"/>
          </a:xfrm>
          <a:prstGeom prst="rect">
            <a:avLst/>
          </a:prstGeom>
        </p:spPr>
        <p:txBody>
          <a:bodyPr vert="horz" lIns="0" tIns="0" rIns="0" bIns="72000" rtlCol="0" anchor="t" anchorCtr="0">
            <a:noAutofit/>
          </a:bodyPr>
          <a:lstStyle>
            <a:lvl1pPr algn="l" defTabSz="914400" rtl="0" eaLnBrk="1" latinLnBrk="0" hangingPunct="1">
              <a:lnSpc>
                <a:spcPct val="90000"/>
              </a:lnSpc>
              <a:spcBef>
                <a:spcPct val="0"/>
              </a:spcBef>
              <a:buNone/>
              <a:defRPr sz="3200" kern="1200" cap="all" baseline="0">
                <a:solidFill>
                  <a:schemeClr val="tx2"/>
                </a:solidFill>
                <a:latin typeface="+mn-lt"/>
                <a:ea typeface="+mj-ea"/>
                <a:cs typeface="+mj-cs"/>
              </a:defRPr>
            </a:lvl1pPr>
          </a:lstStyle>
          <a:p>
            <a:r>
              <a:rPr lang="en-US" dirty="0"/>
              <a:t>CONSTRUCTION</a:t>
            </a:r>
            <a:endParaRPr lang="en-GB" dirty="0"/>
          </a:p>
        </p:txBody>
      </p:sp>
      <p:sp>
        <p:nvSpPr>
          <p:cNvPr id="25" name="TextBox 24">
            <a:extLst>
              <a:ext uri="{FF2B5EF4-FFF2-40B4-BE49-F238E27FC236}">
                <a16:creationId xmlns:a16="http://schemas.microsoft.com/office/drawing/2014/main" id="{A5EA36E1-4129-FEF6-9C2F-9D7197C7629D}"/>
              </a:ext>
            </a:extLst>
          </p:cNvPr>
          <p:cNvSpPr txBox="1"/>
          <p:nvPr userDrawn="1"/>
        </p:nvSpPr>
        <p:spPr>
          <a:xfrm>
            <a:off x="504826" y="1123946"/>
            <a:ext cx="7183961" cy="1027119"/>
          </a:xfrm>
          <a:prstGeom prst="rect">
            <a:avLst/>
          </a:prstGeom>
        </p:spPr>
        <p:txBody>
          <a:bodyPr vert="horz" wrap="square" lIns="0" tIns="45720" rIns="0" bIns="45720" rtlCol="0">
            <a:noAutofit/>
          </a:bodyPr>
          <a:lstStyle/>
          <a:p>
            <a:pPr marL="0" lvl="0" indent="0" algn="l" defTabSz="914400" rtl="0" eaLnBrk="1" latinLnBrk="0" hangingPunct="1">
              <a:lnSpc>
                <a:spcPct val="110000"/>
              </a:lnSpc>
              <a:spcBef>
                <a:spcPts val="300"/>
              </a:spcBef>
              <a:spcAft>
                <a:spcPts val="300"/>
              </a:spcAft>
              <a:buFont typeface="Arial" panose="020B0604020202020204" pitchFamily="34" charset="0"/>
              <a:buNone/>
            </a:pPr>
            <a:r>
              <a:rPr lang="en-US" sz="2000" kern="1200" dirty="0">
                <a:solidFill>
                  <a:schemeClr val="accent2"/>
                </a:solidFill>
                <a:latin typeface="+mj-lt"/>
                <a:ea typeface="+mn-ea"/>
                <a:cs typeface="+mn-cs"/>
              </a:rPr>
              <a:t>Our construction team advises on procurement, </a:t>
            </a:r>
            <a:br>
              <a:rPr lang="en-US" sz="2000" kern="1200" dirty="0">
                <a:solidFill>
                  <a:schemeClr val="accent2"/>
                </a:solidFill>
                <a:latin typeface="+mj-lt"/>
                <a:ea typeface="+mn-ea"/>
                <a:cs typeface="+mn-cs"/>
              </a:rPr>
            </a:br>
            <a:r>
              <a:rPr lang="en-US" sz="2000" kern="1200" dirty="0">
                <a:solidFill>
                  <a:schemeClr val="accent2"/>
                </a:solidFill>
                <a:latin typeface="+mj-lt"/>
                <a:ea typeface="+mn-ea"/>
                <a:cs typeface="+mn-cs"/>
              </a:rPr>
              <a:t>risk management and disputes for a wide range </a:t>
            </a:r>
            <a:br>
              <a:rPr lang="en-US" sz="2000" kern="1200" dirty="0">
                <a:solidFill>
                  <a:schemeClr val="accent2"/>
                </a:solidFill>
                <a:latin typeface="+mj-lt"/>
                <a:ea typeface="+mn-ea"/>
                <a:cs typeface="+mn-cs"/>
              </a:rPr>
            </a:br>
            <a:r>
              <a:rPr lang="en-US" sz="2000" kern="1200" dirty="0">
                <a:solidFill>
                  <a:schemeClr val="accent2"/>
                </a:solidFill>
                <a:latin typeface="+mj-lt"/>
                <a:ea typeface="+mn-ea"/>
                <a:cs typeface="+mn-cs"/>
              </a:rPr>
              <a:t>of clients, including contractors, owners, </a:t>
            </a:r>
            <a:br>
              <a:rPr lang="en-US" sz="2000" kern="1200" dirty="0">
                <a:solidFill>
                  <a:schemeClr val="accent2"/>
                </a:solidFill>
                <a:latin typeface="+mj-lt"/>
                <a:ea typeface="+mn-ea"/>
                <a:cs typeface="+mn-cs"/>
              </a:rPr>
            </a:br>
            <a:r>
              <a:rPr lang="en-US" sz="2000" kern="1200" dirty="0">
                <a:solidFill>
                  <a:schemeClr val="accent2"/>
                </a:solidFill>
                <a:latin typeface="+mj-lt"/>
                <a:ea typeface="+mn-ea"/>
                <a:cs typeface="+mn-cs"/>
              </a:rPr>
              <a:t>consultants and insurers.</a:t>
            </a:r>
          </a:p>
        </p:txBody>
      </p:sp>
      <p:sp>
        <p:nvSpPr>
          <p:cNvPr id="26" name="TextBox 25">
            <a:extLst>
              <a:ext uri="{FF2B5EF4-FFF2-40B4-BE49-F238E27FC236}">
                <a16:creationId xmlns:a16="http://schemas.microsoft.com/office/drawing/2014/main" id="{FDFD0AFD-8043-093A-16C9-665D20AE7490}"/>
              </a:ext>
            </a:extLst>
          </p:cNvPr>
          <p:cNvSpPr txBox="1"/>
          <p:nvPr userDrawn="1"/>
        </p:nvSpPr>
        <p:spPr>
          <a:xfrm>
            <a:off x="504826" y="2195825"/>
            <a:ext cx="3403599" cy="4022429"/>
          </a:xfrm>
          <a:prstGeom prst="rect">
            <a:avLst/>
          </a:prstGeom>
        </p:spPr>
        <p:txBody>
          <a:bodyPr vert="horz" lIns="0" tIns="45720" rIns="0" bIns="45720" rtlCol="0">
            <a:normAutofit/>
          </a:bodyPr>
          <a:lstStyle>
            <a:lvl1pPr indent="0" defTabSz="914400">
              <a:lnSpc>
                <a:spcPct val="130000"/>
              </a:lnSpc>
              <a:spcBef>
                <a:spcPts val="300"/>
              </a:spcBef>
              <a:spcAft>
                <a:spcPts val="300"/>
              </a:spcAft>
              <a:buFont typeface="Arial" panose="020B0604020202020204" pitchFamily="34" charset="0"/>
              <a:buNone/>
              <a:defRPr sz="1400">
                <a:solidFill>
                  <a:schemeClr val="tx2"/>
                </a:solidFill>
                <a:latin typeface="+mj-lt"/>
              </a:defRPr>
            </a:lvl1pPr>
            <a:lvl2pPr marL="0" lvl="1" indent="0" defTabSz="914400">
              <a:lnSpc>
                <a:spcPct val="130000"/>
              </a:lnSpc>
              <a:spcBef>
                <a:spcPts val="300"/>
              </a:spcBef>
              <a:spcAft>
                <a:spcPts val="300"/>
              </a:spcAft>
              <a:buFont typeface="Arial" panose="020B0604020202020204" pitchFamily="34" charset="0"/>
              <a:buNone/>
              <a:defRPr sz="1100"/>
            </a:lvl2pPr>
            <a:lvl3pPr marL="180975" indent="-180975" defTabSz="914400">
              <a:lnSpc>
                <a:spcPct val="130000"/>
              </a:lnSpc>
              <a:spcBef>
                <a:spcPts val="300"/>
              </a:spcBef>
              <a:spcAft>
                <a:spcPts val="300"/>
              </a:spcAft>
              <a:buClr>
                <a:schemeClr val="tx2"/>
              </a:buClr>
              <a:buSzPct val="105000"/>
              <a:buFont typeface="Arial" panose="020B0604020202020204" pitchFamily="34" charset="0"/>
              <a:buChar char="•"/>
              <a:defRPr sz="1100"/>
            </a:lvl3pPr>
            <a:lvl4pPr marL="539750" indent="-180975" defTabSz="914400">
              <a:lnSpc>
                <a:spcPct val="130000"/>
              </a:lnSpc>
              <a:spcBef>
                <a:spcPts val="300"/>
              </a:spcBef>
              <a:spcAft>
                <a:spcPts val="300"/>
              </a:spcAft>
              <a:buClr>
                <a:schemeClr val="tx2"/>
              </a:buClr>
              <a:buSzPct val="105000"/>
              <a:buFont typeface="Arial" panose="020B0604020202020204" pitchFamily="34" charset="0"/>
              <a:buChar char="•"/>
              <a:defRPr sz="1050"/>
            </a:lvl4pPr>
            <a:lvl5pPr marL="898525" indent="-180975" defTabSz="914400">
              <a:lnSpc>
                <a:spcPct val="130000"/>
              </a:lnSpc>
              <a:spcBef>
                <a:spcPts val="300"/>
              </a:spcBef>
              <a:spcAft>
                <a:spcPts val="300"/>
              </a:spcAft>
              <a:buClr>
                <a:schemeClr val="tx2"/>
              </a:buClr>
              <a:buSzPct val="105000"/>
              <a:buFont typeface="Arial" panose="020B0604020202020204" pitchFamily="34" charset="0"/>
              <a:buChar char="•"/>
              <a:defRPr sz="105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1"/>
            <a:endParaRPr lang="en-US" dirty="0"/>
          </a:p>
          <a:p>
            <a:pPr lvl="1"/>
            <a:endParaRPr lang="en-US" dirty="0"/>
          </a:p>
          <a:p>
            <a:pPr lvl="1"/>
            <a:r>
              <a:rPr lang="en-US" dirty="0"/>
              <a:t>We have worked on some of the largest and most technically complex projects across a wide range of international markets and industries, including the energy, infrastructure </a:t>
            </a:r>
            <a:r>
              <a:rPr lang="en-GB" dirty="0"/>
              <a:t>and property sectors.</a:t>
            </a:r>
          </a:p>
          <a:p>
            <a:pPr lvl="1"/>
            <a:r>
              <a:rPr lang="en-US" dirty="0"/>
              <a:t>We advise major EPC contractors, owners, </a:t>
            </a:r>
            <a:r>
              <a:rPr lang="en-GB" dirty="0"/>
              <a:t>global infrastructure consultants, insurers, </a:t>
            </a:r>
            <a:r>
              <a:rPr lang="en-US" dirty="0"/>
              <a:t>property developers, financiers and investors (both private and institutional) on every aspect of the construction process, from project establishment and procurement to claim resolution. We also offer a project monitoring service to support clients on legal and contractual issues – areas that we also help our clients by providing training to their people.</a:t>
            </a:r>
            <a:endParaRPr lang="en-GB" dirty="0"/>
          </a:p>
        </p:txBody>
      </p:sp>
      <p:sp>
        <p:nvSpPr>
          <p:cNvPr id="27" name="TextBox 26">
            <a:extLst>
              <a:ext uri="{FF2B5EF4-FFF2-40B4-BE49-F238E27FC236}">
                <a16:creationId xmlns:a16="http://schemas.microsoft.com/office/drawing/2014/main" id="{530F07B0-065E-C879-CBA7-03096D29DFC1}"/>
              </a:ext>
            </a:extLst>
          </p:cNvPr>
          <p:cNvSpPr txBox="1"/>
          <p:nvPr userDrawn="1"/>
        </p:nvSpPr>
        <p:spPr>
          <a:xfrm>
            <a:off x="4233546" y="2195825"/>
            <a:ext cx="3403599" cy="4022429"/>
          </a:xfrm>
          <a:prstGeom prst="rect">
            <a:avLst/>
          </a:prstGeom>
        </p:spPr>
        <p:txBody>
          <a:bodyPr vert="horz" lIns="0" tIns="45720" rIns="0" bIns="45720" rtlCol="0">
            <a:normAutofit/>
          </a:bodyPr>
          <a:lstStyle>
            <a:lvl1pPr indent="0" defTabSz="914400">
              <a:lnSpc>
                <a:spcPct val="130000"/>
              </a:lnSpc>
              <a:spcBef>
                <a:spcPts val="300"/>
              </a:spcBef>
              <a:spcAft>
                <a:spcPts val="300"/>
              </a:spcAft>
              <a:buFont typeface="Arial" panose="020B0604020202020204" pitchFamily="34" charset="0"/>
              <a:buNone/>
              <a:defRPr sz="1400">
                <a:solidFill>
                  <a:schemeClr val="tx2"/>
                </a:solidFill>
                <a:latin typeface="+mj-lt"/>
              </a:defRPr>
            </a:lvl1pPr>
            <a:lvl2pPr marL="0" lvl="1" indent="0" defTabSz="914400">
              <a:lnSpc>
                <a:spcPct val="130000"/>
              </a:lnSpc>
              <a:spcBef>
                <a:spcPts val="300"/>
              </a:spcBef>
              <a:spcAft>
                <a:spcPts val="300"/>
              </a:spcAft>
              <a:buFont typeface="Arial" panose="020B0604020202020204" pitchFamily="34" charset="0"/>
              <a:buNone/>
              <a:defRPr sz="1100"/>
            </a:lvl2pPr>
            <a:lvl3pPr marL="180975" indent="-180975" defTabSz="914400">
              <a:lnSpc>
                <a:spcPct val="130000"/>
              </a:lnSpc>
              <a:spcBef>
                <a:spcPts val="300"/>
              </a:spcBef>
              <a:spcAft>
                <a:spcPts val="300"/>
              </a:spcAft>
              <a:buClr>
                <a:schemeClr val="tx2"/>
              </a:buClr>
              <a:buSzPct val="105000"/>
              <a:buFont typeface="Arial" panose="020B0604020202020204" pitchFamily="34" charset="0"/>
              <a:buChar char="•"/>
              <a:defRPr sz="1100"/>
            </a:lvl3pPr>
            <a:lvl4pPr marL="539750" indent="-180975" defTabSz="914400">
              <a:lnSpc>
                <a:spcPct val="130000"/>
              </a:lnSpc>
              <a:spcBef>
                <a:spcPts val="300"/>
              </a:spcBef>
              <a:spcAft>
                <a:spcPts val="300"/>
              </a:spcAft>
              <a:buClr>
                <a:schemeClr val="tx2"/>
              </a:buClr>
              <a:buSzPct val="105000"/>
              <a:buFont typeface="Arial" panose="020B0604020202020204" pitchFamily="34" charset="0"/>
              <a:buChar char="•"/>
              <a:defRPr sz="1050"/>
            </a:lvl4pPr>
            <a:lvl5pPr marL="898525" indent="-180975" defTabSz="914400">
              <a:lnSpc>
                <a:spcPct val="130000"/>
              </a:lnSpc>
              <a:spcBef>
                <a:spcPts val="300"/>
              </a:spcBef>
              <a:spcAft>
                <a:spcPts val="300"/>
              </a:spcAft>
              <a:buClr>
                <a:schemeClr val="tx2"/>
              </a:buClr>
              <a:buSzPct val="105000"/>
              <a:buFont typeface="Arial" panose="020B0604020202020204" pitchFamily="34" charset="0"/>
              <a:buChar char="•"/>
              <a:defRPr sz="105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2"/>
            <a:endParaRPr lang="en-US" dirty="0"/>
          </a:p>
          <a:p>
            <a:pPr lvl="2"/>
            <a:endParaRPr lang="en-US" dirty="0"/>
          </a:p>
          <a:p>
            <a:pPr lvl="1"/>
            <a:r>
              <a:rPr lang="en-US" dirty="0"/>
              <a:t>Our team spans the globe, with particular </a:t>
            </a:r>
            <a:r>
              <a:rPr lang="en-GB" dirty="0"/>
              <a:t>hubs in London, Dubai, Kuwait, Hong Kong, </a:t>
            </a:r>
            <a:r>
              <a:rPr lang="en-US" dirty="0"/>
              <a:t>Sydney, Melbourne and Perth and we have advised on more than half of all offshore UK windfarm projects, including the world’s </a:t>
            </a:r>
            <a:r>
              <a:rPr lang="en-GB" dirty="0"/>
              <a:t>largest offshore wind project.</a:t>
            </a:r>
          </a:p>
        </p:txBody>
      </p:sp>
    </p:spTree>
    <p:extLst>
      <p:ext uri="{BB962C8B-B14F-4D97-AF65-F5344CB8AC3E}">
        <p14:creationId xmlns:p14="http://schemas.microsoft.com/office/powerpoint/2010/main" val="3343242242"/>
      </p:ext>
    </p:extLst>
  </p:cSld>
  <p:clrMapOvr>
    <a:masterClrMapping/>
  </p:clrMapOvr>
  <p:transition spd="med">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3 Column with Highlighted 1s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r>
              <a:rPr lang="en-GB"/>
              <a:t>INSERT FOOTER HERE</a:t>
            </a:r>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8CFE0557-AA98-4E6C-B0C3-581794696B68}" type="slidenum">
              <a:rPr lang="en-GB" smtClean="0"/>
              <a:pPr/>
              <a:t>‹#›</a:t>
            </a:fld>
            <a:endParaRPr lang="en-GB"/>
          </a:p>
        </p:txBody>
      </p:sp>
      <p:sp>
        <p:nvSpPr>
          <p:cNvPr id="10" name="Content Placeholder 2">
            <a:extLst>
              <a:ext uri="{FF2B5EF4-FFF2-40B4-BE49-F238E27FC236}">
                <a16:creationId xmlns:a16="http://schemas.microsoft.com/office/drawing/2014/main" id="{182B4A0E-C187-E12F-BB7B-7E465EDEEA4C}"/>
              </a:ext>
            </a:extLst>
          </p:cNvPr>
          <p:cNvSpPr>
            <a:spLocks noGrp="1"/>
          </p:cNvSpPr>
          <p:nvPr>
            <p:ph idx="1" hasCustomPrompt="1"/>
          </p:nvPr>
        </p:nvSpPr>
        <p:spPr>
          <a:xfrm>
            <a:off x="507999" y="1244882"/>
            <a:ext cx="11172953" cy="291662"/>
          </a:xfrm>
        </p:spPr>
        <p:txBody>
          <a:bodyPr vert="horz" lIns="0" tIns="45720" rIns="0" bIns="45720" numCol="1" spcCol="288000" rtlCol="0">
            <a:noAutofit/>
          </a:bodyPr>
          <a:lstStyle>
            <a:lvl1pPr>
              <a:defRPr lang="en-US" cap="all" baseline="0" dirty="0" smtClean="0"/>
            </a:lvl1pPr>
            <a:lvl2pPr>
              <a:defRPr lang="en-US" dirty="0"/>
            </a:lvl2pPr>
            <a:lvl3pPr>
              <a:defRPr lang="en-US" dirty="0"/>
            </a:lvl3pPr>
            <a:lvl4pPr>
              <a:defRPr lang="en-US" dirty="0"/>
            </a:lvl4pPr>
            <a:lvl5pPr>
              <a:defRPr lang="en-US" dirty="0"/>
            </a:lvl5pPr>
          </a:lstStyle>
          <a:p>
            <a:pPr lvl="0"/>
            <a:r>
              <a:rPr lang="en-US" dirty="0"/>
              <a:t>subhead</a:t>
            </a:r>
          </a:p>
        </p:txBody>
      </p:sp>
      <p:sp>
        <p:nvSpPr>
          <p:cNvPr id="12" name="Content Placeholder 2">
            <a:extLst>
              <a:ext uri="{FF2B5EF4-FFF2-40B4-BE49-F238E27FC236}">
                <a16:creationId xmlns:a16="http://schemas.microsoft.com/office/drawing/2014/main" id="{79AF8CE8-F801-FBFD-7F6F-0BE65F72C036}"/>
              </a:ext>
            </a:extLst>
          </p:cNvPr>
          <p:cNvSpPr>
            <a:spLocks noGrp="1"/>
          </p:cNvSpPr>
          <p:nvPr>
            <p:ph idx="16" hasCustomPrompt="1"/>
          </p:nvPr>
        </p:nvSpPr>
        <p:spPr>
          <a:xfrm>
            <a:off x="508000" y="1613017"/>
            <a:ext cx="3400425" cy="4606808"/>
          </a:xfrm>
          <a:solidFill>
            <a:srgbClr val="F9F5F4"/>
          </a:solidFill>
        </p:spPr>
        <p:txBody>
          <a:bodyPr vert="horz" lIns="144000" tIns="108000" rIns="144000" bIns="10800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4" name="Content Placeholder 2">
            <a:extLst>
              <a:ext uri="{FF2B5EF4-FFF2-40B4-BE49-F238E27FC236}">
                <a16:creationId xmlns:a16="http://schemas.microsoft.com/office/drawing/2014/main" id="{53C28725-2311-B24F-68FE-D0071B9D9FA2}"/>
              </a:ext>
            </a:extLst>
          </p:cNvPr>
          <p:cNvSpPr>
            <a:spLocks noGrp="1"/>
          </p:cNvSpPr>
          <p:nvPr>
            <p:ph idx="18" hasCustomPrompt="1"/>
          </p:nvPr>
        </p:nvSpPr>
        <p:spPr>
          <a:xfrm>
            <a:off x="4229229" y="1613017"/>
            <a:ext cx="3738434" cy="4606808"/>
          </a:xfrm>
        </p:spPr>
        <p:txBody>
          <a:bodyPr vert="horz" lIns="0" tIns="45720" rIns="0" bIns="4572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14" name="Title 13">
            <a:extLst>
              <a:ext uri="{FF2B5EF4-FFF2-40B4-BE49-F238E27FC236}">
                <a16:creationId xmlns:a16="http://schemas.microsoft.com/office/drawing/2014/main" id="{63E94817-0C58-38AB-715B-9E31472F57FC}"/>
              </a:ext>
            </a:extLst>
          </p:cNvPr>
          <p:cNvSpPr>
            <a:spLocks noGrp="1"/>
          </p:cNvSpPr>
          <p:nvPr>
            <p:ph type="title" hasCustomPrompt="1"/>
          </p:nvPr>
        </p:nvSpPr>
        <p:spPr>
          <a:xfrm>
            <a:off x="508000" y="454013"/>
            <a:ext cx="11174413" cy="790869"/>
          </a:xfrm>
        </p:spPr>
        <p:txBody>
          <a:bodyPr/>
          <a:lstStyle>
            <a:lvl1pPr>
              <a:defRPr/>
            </a:lvl1pPr>
          </a:lstStyle>
          <a:p>
            <a:r>
              <a:rPr lang="en-US" dirty="0"/>
              <a:t>TITLE: subtitle</a:t>
            </a:r>
            <a:endParaRPr lang="en-GB" dirty="0"/>
          </a:p>
        </p:txBody>
      </p:sp>
      <p:sp>
        <p:nvSpPr>
          <p:cNvPr id="3" name="Content Placeholder 2">
            <a:extLst>
              <a:ext uri="{FF2B5EF4-FFF2-40B4-BE49-F238E27FC236}">
                <a16:creationId xmlns:a16="http://schemas.microsoft.com/office/drawing/2014/main" id="{135B80D4-4401-870E-D7F7-86712A857FD6}"/>
              </a:ext>
            </a:extLst>
          </p:cNvPr>
          <p:cNvSpPr>
            <a:spLocks noGrp="1"/>
          </p:cNvSpPr>
          <p:nvPr>
            <p:ph idx="19" hasCustomPrompt="1"/>
          </p:nvPr>
        </p:nvSpPr>
        <p:spPr>
          <a:xfrm>
            <a:off x="8288467" y="1613017"/>
            <a:ext cx="3386802" cy="4606808"/>
          </a:xfrm>
        </p:spPr>
        <p:txBody>
          <a:bodyPr vert="horz" lIns="0" tIns="45720" rIns="0" bIns="4572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Tree>
    <p:extLst>
      <p:ext uri="{BB962C8B-B14F-4D97-AF65-F5344CB8AC3E}">
        <p14:creationId xmlns:p14="http://schemas.microsoft.com/office/powerpoint/2010/main" val="4260267334"/>
      </p:ext>
    </p:extLst>
  </p:cSld>
  <p:clrMapOvr>
    <a:masterClrMapping/>
  </p:clrMapOvr>
  <p:transition spd="med">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Standard Text Split &amp; Image">
    <p:spTree>
      <p:nvGrpSpPr>
        <p:cNvPr id="1" name=""/>
        <p:cNvGrpSpPr/>
        <p:nvPr/>
      </p:nvGrpSpPr>
      <p:grpSpPr>
        <a:xfrm>
          <a:off x="0" y="0"/>
          <a:ext cx="0" cy="0"/>
          <a:chOff x="0" y="0"/>
          <a:chExt cx="0" cy="0"/>
        </a:xfrm>
      </p:grpSpPr>
      <p:sp>
        <p:nvSpPr>
          <p:cNvPr id="3" name="Picture Placeholder 10">
            <a:extLst>
              <a:ext uri="{FF2B5EF4-FFF2-40B4-BE49-F238E27FC236}">
                <a16:creationId xmlns:a16="http://schemas.microsoft.com/office/drawing/2014/main" id="{468D94C4-A5BB-D564-C824-050D19725E9B}"/>
              </a:ext>
            </a:extLst>
          </p:cNvPr>
          <p:cNvSpPr>
            <a:spLocks noGrp="1"/>
          </p:cNvSpPr>
          <p:nvPr>
            <p:ph type="pic" sz="quarter" idx="13" hasCustomPrompt="1"/>
          </p:nvPr>
        </p:nvSpPr>
        <p:spPr>
          <a:xfrm>
            <a:off x="6096000" y="0"/>
            <a:ext cx="6095999" cy="6858000"/>
          </a:xfrm>
          <a:solidFill>
            <a:schemeClr val="tx1"/>
          </a:solidFill>
        </p:spPr>
        <p:txBody>
          <a:bodyPr vert="horz" lIns="0" tIns="45720" rIns="0" bIns="45720" rtlCol="0" anchor="ctr">
            <a:normAutofit/>
          </a:bodyPr>
          <a:lstStyle>
            <a:lvl1pPr algn="ctr">
              <a:defRPr lang="en-GB" sz="2800" b="0" dirty="0">
                <a:solidFill>
                  <a:schemeClr val="bg1"/>
                </a:solidFill>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US" dirty="0"/>
              <a:t>ADD RELATED </a:t>
            </a:r>
            <a:br>
              <a:rPr lang="en-US" dirty="0"/>
            </a:br>
            <a:r>
              <a:rPr lang="en-US" dirty="0"/>
              <a:t>IMAGE </a:t>
            </a:r>
            <a:br>
              <a:rPr lang="en-US" dirty="0"/>
            </a:br>
            <a:r>
              <a:rPr lang="en-US" dirty="0"/>
              <a:t>FROM HFW </a:t>
            </a:r>
            <a:br>
              <a:rPr lang="en-US" dirty="0"/>
            </a:br>
            <a:r>
              <a:rPr lang="en-US" dirty="0"/>
              <a:t>IMAGE LIBRARY</a:t>
            </a:r>
          </a:p>
        </p:txBody>
      </p:sp>
      <p:sp>
        <p:nvSpPr>
          <p:cNvPr id="5" name="Footer Placeholder 4"/>
          <p:cNvSpPr>
            <a:spLocks noGrp="1"/>
          </p:cNvSpPr>
          <p:nvPr>
            <p:ph type="ftr" sz="quarter" idx="11"/>
          </p:nvPr>
        </p:nvSpPr>
        <p:spPr/>
        <p:txBody>
          <a:bodyPr/>
          <a:lstStyle/>
          <a:p>
            <a:r>
              <a:rPr lang="en-GB"/>
              <a:t>INSERT FOOTER HER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8CFE0557-AA98-4E6C-B0C3-581794696B68}" type="slidenum">
              <a:rPr lang="en-GB" smtClean="0"/>
              <a:pPr/>
              <a:t>‹#›</a:t>
            </a:fld>
            <a:endParaRPr lang="en-GB"/>
          </a:p>
        </p:txBody>
      </p:sp>
      <p:sp>
        <p:nvSpPr>
          <p:cNvPr id="12" name="Content Placeholder 2">
            <a:extLst>
              <a:ext uri="{FF2B5EF4-FFF2-40B4-BE49-F238E27FC236}">
                <a16:creationId xmlns:a16="http://schemas.microsoft.com/office/drawing/2014/main" id="{79AF8CE8-F801-FBFD-7F6F-0BE65F72C036}"/>
              </a:ext>
            </a:extLst>
          </p:cNvPr>
          <p:cNvSpPr>
            <a:spLocks noGrp="1"/>
          </p:cNvSpPr>
          <p:nvPr>
            <p:ph idx="16" hasCustomPrompt="1"/>
          </p:nvPr>
        </p:nvSpPr>
        <p:spPr>
          <a:xfrm>
            <a:off x="508001" y="1947329"/>
            <a:ext cx="2442772" cy="4272496"/>
          </a:xfrm>
        </p:spPr>
        <p:txBody>
          <a:bodyPr vert="horz" lIns="0" tIns="45720" rIns="0" bIns="4572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7" name="TextBox 4">
            <a:extLst>
              <a:ext uri="{FF2B5EF4-FFF2-40B4-BE49-F238E27FC236}">
                <a16:creationId xmlns:a16="http://schemas.microsoft.com/office/drawing/2014/main" id="{ECC1AF18-C7ED-CAA0-D1D3-14DEFC5E2590}"/>
              </a:ext>
            </a:extLst>
          </p:cNvPr>
          <p:cNvSpPr txBox="1"/>
          <p:nvPr userDrawn="1"/>
        </p:nvSpPr>
        <p:spPr>
          <a:xfrm>
            <a:off x="12346713" y="109538"/>
            <a:ext cx="1934437" cy="31700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INSERTING IMAGES:</a:t>
            </a:r>
          </a:p>
          <a:p>
            <a:pPr marL="179388" indent="-179388">
              <a:spcBef>
                <a:spcPts val="200"/>
              </a:spcBef>
              <a:spcAft>
                <a:spcPts val="200"/>
              </a:spcAft>
              <a:buFont typeface="+mj-lt"/>
              <a:buAutoNum type="arabicPeriod"/>
            </a:pPr>
            <a:r>
              <a:rPr lang="en-US" sz="900" dirty="0">
                <a:solidFill>
                  <a:schemeClr val="tx1"/>
                </a:solidFill>
                <a:latin typeface="+mn-lt"/>
              </a:rPr>
              <a:t>Simply click the image placeholder and select your image.</a:t>
            </a:r>
          </a:p>
          <a:p>
            <a:pPr marL="179388" indent="-179388">
              <a:spcBef>
                <a:spcPts val="200"/>
              </a:spcBef>
              <a:spcAft>
                <a:spcPts val="200"/>
              </a:spcAft>
              <a:buFont typeface="+mj-lt"/>
              <a:buAutoNum type="arabicPeriod"/>
            </a:pPr>
            <a:r>
              <a:rPr lang="en-US" sz="900" dirty="0">
                <a:solidFill>
                  <a:schemeClr val="tx1"/>
                </a:solidFill>
                <a:latin typeface="+mn-lt"/>
              </a:rPr>
              <a:t>Once your image is inserted into the shape it may be distorted. (Stretched or Squashed)</a:t>
            </a:r>
          </a:p>
          <a:p>
            <a:pPr marL="179388" indent="-179388">
              <a:spcBef>
                <a:spcPts val="200"/>
              </a:spcBef>
              <a:spcAft>
                <a:spcPts val="200"/>
              </a:spcAft>
              <a:buFont typeface="+mj-lt"/>
              <a:buAutoNum type="arabicPeriod"/>
            </a:pPr>
            <a:endParaRPr lang="en-US" sz="900" dirty="0">
              <a:solidFill>
                <a:schemeClr val="tx1"/>
              </a:solidFill>
              <a:latin typeface="+mn-lt"/>
            </a:endParaRPr>
          </a:p>
          <a:p>
            <a:pPr>
              <a:spcBef>
                <a:spcPts val="200"/>
              </a:spcBef>
              <a:spcAft>
                <a:spcPts val="200"/>
              </a:spcAft>
            </a:pPr>
            <a:r>
              <a:rPr lang="en-US" sz="900" b="1" dirty="0">
                <a:solidFill>
                  <a:schemeClr val="tx1"/>
                </a:solidFill>
                <a:latin typeface="+mn-lt"/>
              </a:rPr>
              <a:t>To fix this:</a:t>
            </a:r>
          </a:p>
          <a:p>
            <a:pPr marL="179388" indent="-179388">
              <a:spcBef>
                <a:spcPts val="200"/>
              </a:spcBef>
              <a:spcAft>
                <a:spcPts val="200"/>
              </a:spcAft>
              <a:buFont typeface="+mj-lt"/>
              <a:buAutoNum type="arabicPeriod"/>
            </a:pPr>
            <a:r>
              <a:rPr lang="en-US" sz="900" dirty="0">
                <a:solidFill>
                  <a:schemeClr val="tx1"/>
                </a:solidFill>
                <a:latin typeface="+mn-lt"/>
              </a:rPr>
              <a:t>Click on the image and from the top menu under </a:t>
            </a:r>
            <a:r>
              <a:rPr lang="en-US" sz="900" b="1" dirty="0">
                <a:solidFill>
                  <a:schemeClr val="tx1"/>
                </a:solidFill>
                <a:latin typeface="+mn-lt"/>
              </a:rPr>
              <a:t>PICTURE FORMAT </a:t>
            </a:r>
            <a:r>
              <a:rPr lang="en-US" sz="900" dirty="0">
                <a:solidFill>
                  <a:schemeClr val="tx1"/>
                </a:solidFill>
                <a:latin typeface="+mn-lt"/>
              </a:rPr>
              <a:t>select the </a:t>
            </a:r>
            <a:r>
              <a:rPr lang="en-US" sz="900" b="1" dirty="0">
                <a:solidFill>
                  <a:schemeClr val="tx1"/>
                </a:solidFill>
                <a:latin typeface="+mn-lt"/>
              </a:rPr>
              <a:t>CROP</a:t>
            </a:r>
            <a:r>
              <a:rPr lang="en-US" sz="900" dirty="0">
                <a:solidFill>
                  <a:schemeClr val="tx1"/>
                </a:solidFill>
                <a:latin typeface="+mn-lt"/>
              </a:rPr>
              <a:t> on the right and from the drop down menu select </a:t>
            </a:r>
            <a:r>
              <a:rPr lang="en-US" sz="900" b="1" kern="1200" dirty="0">
                <a:solidFill>
                  <a:schemeClr val="tx1"/>
                </a:solidFill>
                <a:latin typeface="+mn-lt"/>
                <a:ea typeface="+mn-ea"/>
                <a:cs typeface="+mn-cs"/>
              </a:rPr>
              <a:t>FILL</a:t>
            </a:r>
          </a:p>
          <a:p>
            <a:pPr marL="179388" indent="-179388">
              <a:spcBef>
                <a:spcPts val="200"/>
              </a:spcBef>
              <a:spcAft>
                <a:spcPts val="200"/>
              </a:spcAft>
              <a:buFont typeface="+mj-lt"/>
              <a:buAutoNum type="arabicPeriod"/>
            </a:pPr>
            <a:r>
              <a:rPr lang="en-US" sz="900" b="0" kern="1200" dirty="0">
                <a:solidFill>
                  <a:schemeClr val="tx1"/>
                </a:solidFill>
                <a:latin typeface="+mn-lt"/>
                <a:ea typeface="+mn-ea"/>
                <a:cs typeface="+mn-cs"/>
              </a:rPr>
              <a:t>From here you can move the image within the shape for best visual appearance</a:t>
            </a:r>
          </a:p>
        </p:txBody>
      </p:sp>
      <p:sp>
        <p:nvSpPr>
          <p:cNvPr id="11" name="Content Placeholder 2">
            <a:extLst>
              <a:ext uri="{FF2B5EF4-FFF2-40B4-BE49-F238E27FC236}">
                <a16:creationId xmlns:a16="http://schemas.microsoft.com/office/drawing/2014/main" id="{1D0E0659-A1B3-7765-59B2-CBBE223071B6}"/>
              </a:ext>
            </a:extLst>
          </p:cNvPr>
          <p:cNvSpPr>
            <a:spLocks noGrp="1"/>
          </p:cNvSpPr>
          <p:nvPr>
            <p:ph idx="17" hasCustomPrompt="1"/>
          </p:nvPr>
        </p:nvSpPr>
        <p:spPr>
          <a:xfrm>
            <a:off x="3330899" y="1947329"/>
            <a:ext cx="2442772" cy="4272496"/>
          </a:xfrm>
        </p:spPr>
        <p:txBody>
          <a:bodyPr vert="horz" lIns="0" tIns="45720" rIns="0" bIns="4572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14" name="Content Placeholder 2">
            <a:extLst>
              <a:ext uri="{FF2B5EF4-FFF2-40B4-BE49-F238E27FC236}">
                <a16:creationId xmlns:a16="http://schemas.microsoft.com/office/drawing/2014/main" id="{9DA1E0B5-2C10-FE54-679B-A84829FC9EE2}"/>
              </a:ext>
            </a:extLst>
          </p:cNvPr>
          <p:cNvSpPr>
            <a:spLocks noGrp="1"/>
          </p:cNvSpPr>
          <p:nvPr>
            <p:ph idx="19" hasCustomPrompt="1"/>
          </p:nvPr>
        </p:nvSpPr>
        <p:spPr>
          <a:xfrm>
            <a:off x="508001" y="1123947"/>
            <a:ext cx="5265670" cy="626992"/>
          </a:xfrm>
        </p:spPr>
        <p:txBody>
          <a:bodyPr vert="horz" lIns="0" tIns="0" rIns="0" bIns="0" numCol="1" spcCol="216000" rtlCol="0">
            <a:noAutofit/>
          </a:bodyPr>
          <a:lstStyle>
            <a:lvl1pPr>
              <a:lnSpc>
                <a:spcPct val="110000"/>
              </a:lnSpc>
              <a:defRPr lang="en-US" sz="2000" dirty="0">
                <a:solidFill>
                  <a:schemeClr val="accent2"/>
                </a:solidFill>
              </a:defRPr>
            </a:lvl1pPr>
            <a:lvl2pPr>
              <a:defRPr lang="en-US" sz="900" dirty="0">
                <a:solidFill>
                  <a:schemeClr val="tx1"/>
                </a:solidFill>
              </a:defRPr>
            </a:lvl2pPr>
            <a:lvl3pPr>
              <a:defRPr lang="en-US" sz="800" dirty="0">
                <a:solidFill>
                  <a:schemeClr val="tx1"/>
                </a:solidFill>
              </a:defRPr>
            </a:lvl3pPr>
            <a:lvl4pPr>
              <a:defRPr lang="en-US" sz="700" dirty="0">
                <a:solidFill>
                  <a:schemeClr val="tx1"/>
                </a:solidFill>
              </a:defRPr>
            </a:lvl4pPr>
            <a:lvl5pPr>
              <a:defRPr lang="en-US" sz="700" dirty="0">
                <a:solidFill>
                  <a:schemeClr val="tx1"/>
                </a:solidFill>
              </a:defRPr>
            </a:lvl5pPr>
          </a:lstStyle>
          <a:p>
            <a:pPr lvl="0"/>
            <a:r>
              <a:rPr lang="en-US" dirty="0"/>
              <a:t>Intro paragraph text goes here</a:t>
            </a:r>
          </a:p>
        </p:txBody>
      </p:sp>
      <p:sp>
        <p:nvSpPr>
          <p:cNvPr id="15" name="Title 14">
            <a:extLst>
              <a:ext uri="{FF2B5EF4-FFF2-40B4-BE49-F238E27FC236}">
                <a16:creationId xmlns:a16="http://schemas.microsoft.com/office/drawing/2014/main" id="{7E46BD7E-2B65-4F41-6E17-88DFF977ADB1}"/>
              </a:ext>
            </a:extLst>
          </p:cNvPr>
          <p:cNvSpPr>
            <a:spLocks noGrp="1"/>
          </p:cNvSpPr>
          <p:nvPr>
            <p:ph type="title" hasCustomPrompt="1"/>
          </p:nvPr>
        </p:nvSpPr>
        <p:spPr>
          <a:xfrm>
            <a:off x="508001" y="454014"/>
            <a:ext cx="5265670" cy="669934"/>
          </a:xfrm>
        </p:spPr>
        <p:txBody>
          <a:bodyPr/>
          <a:lstStyle/>
          <a:p>
            <a:r>
              <a:rPr lang="en-US" dirty="0"/>
              <a:t>TITLE: subtitle</a:t>
            </a:r>
            <a:endParaRPr lang="en-GB" dirty="0"/>
          </a:p>
        </p:txBody>
      </p:sp>
    </p:spTree>
    <p:extLst>
      <p:ext uri="{BB962C8B-B14F-4D97-AF65-F5344CB8AC3E}">
        <p14:creationId xmlns:p14="http://schemas.microsoft.com/office/powerpoint/2010/main" val="1965439300"/>
      </p:ext>
    </p:extLst>
  </p:cSld>
  <p:clrMapOvr>
    <a:masterClrMapping/>
  </p:clrMapOvr>
  <p:transition spd="med">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2 Column &amp; Pull-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19F902B-8D6F-6480-DFA1-3A496C61CD07}"/>
              </a:ext>
            </a:extLst>
          </p:cNvPr>
          <p:cNvSpPr/>
          <p:nvPr userDrawn="1"/>
        </p:nvSpPr>
        <p:spPr>
          <a:xfrm>
            <a:off x="8126413" y="0"/>
            <a:ext cx="40655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Footer Placeholder 4"/>
          <p:cNvSpPr>
            <a:spLocks noGrp="1"/>
          </p:cNvSpPr>
          <p:nvPr>
            <p:ph type="ftr" sz="quarter" idx="11"/>
          </p:nvPr>
        </p:nvSpPr>
        <p:spPr/>
        <p:txBody>
          <a:bodyPr/>
          <a:lstStyle/>
          <a:p>
            <a:r>
              <a:rPr lang="en-GB"/>
              <a:t>INSERT FOOTER HER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8CFE0557-AA98-4E6C-B0C3-581794696B68}" type="slidenum">
              <a:rPr lang="en-GB" smtClean="0"/>
              <a:pPr/>
              <a:t>‹#›</a:t>
            </a:fld>
            <a:endParaRPr lang="en-GB"/>
          </a:p>
        </p:txBody>
      </p:sp>
      <p:sp>
        <p:nvSpPr>
          <p:cNvPr id="10" name="Content Placeholder 2">
            <a:extLst>
              <a:ext uri="{FF2B5EF4-FFF2-40B4-BE49-F238E27FC236}">
                <a16:creationId xmlns:a16="http://schemas.microsoft.com/office/drawing/2014/main" id="{182B4A0E-C187-E12F-BB7B-7E465EDEEA4C}"/>
              </a:ext>
            </a:extLst>
          </p:cNvPr>
          <p:cNvSpPr>
            <a:spLocks noGrp="1"/>
          </p:cNvSpPr>
          <p:nvPr>
            <p:ph idx="1" hasCustomPrompt="1"/>
          </p:nvPr>
        </p:nvSpPr>
        <p:spPr>
          <a:xfrm>
            <a:off x="508000" y="1244882"/>
            <a:ext cx="7125758" cy="291662"/>
          </a:xfrm>
        </p:spPr>
        <p:txBody>
          <a:bodyPr vert="horz" lIns="0" tIns="45720" rIns="0" bIns="45720" numCol="1" spcCol="288000" rtlCol="0">
            <a:noAutofit/>
          </a:bodyPr>
          <a:lstStyle>
            <a:lvl1pPr>
              <a:defRPr lang="en-US" cap="all" baseline="0" dirty="0" smtClean="0"/>
            </a:lvl1pPr>
            <a:lvl2pPr>
              <a:defRPr lang="en-US" dirty="0"/>
            </a:lvl2pPr>
            <a:lvl3pPr>
              <a:defRPr lang="en-US" dirty="0"/>
            </a:lvl3pPr>
            <a:lvl4pPr>
              <a:defRPr lang="en-US" dirty="0"/>
            </a:lvl4pPr>
            <a:lvl5pPr>
              <a:defRPr lang="en-US" dirty="0"/>
            </a:lvl5pPr>
          </a:lstStyle>
          <a:p>
            <a:pPr lvl="0"/>
            <a:r>
              <a:rPr lang="en-US" dirty="0"/>
              <a:t>subhead</a:t>
            </a:r>
          </a:p>
        </p:txBody>
      </p:sp>
      <p:sp>
        <p:nvSpPr>
          <p:cNvPr id="12" name="Content Placeholder 2">
            <a:extLst>
              <a:ext uri="{FF2B5EF4-FFF2-40B4-BE49-F238E27FC236}">
                <a16:creationId xmlns:a16="http://schemas.microsoft.com/office/drawing/2014/main" id="{79AF8CE8-F801-FBFD-7F6F-0BE65F72C036}"/>
              </a:ext>
            </a:extLst>
          </p:cNvPr>
          <p:cNvSpPr>
            <a:spLocks noGrp="1"/>
          </p:cNvSpPr>
          <p:nvPr>
            <p:ph idx="16" hasCustomPrompt="1"/>
          </p:nvPr>
        </p:nvSpPr>
        <p:spPr>
          <a:xfrm>
            <a:off x="508000" y="1613017"/>
            <a:ext cx="3400425" cy="4606808"/>
          </a:xfrm>
        </p:spPr>
        <p:txBody>
          <a:bodyPr vert="horz" lIns="0" tIns="45720" rIns="0" bIns="4572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9" name="Content Placeholder 2">
            <a:extLst>
              <a:ext uri="{FF2B5EF4-FFF2-40B4-BE49-F238E27FC236}">
                <a16:creationId xmlns:a16="http://schemas.microsoft.com/office/drawing/2014/main" id="{7984ED17-F93D-B353-1923-A8C66F3C7E40}"/>
              </a:ext>
            </a:extLst>
          </p:cNvPr>
          <p:cNvSpPr>
            <a:spLocks noGrp="1"/>
          </p:cNvSpPr>
          <p:nvPr>
            <p:ph idx="24" hasCustomPrompt="1"/>
          </p:nvPr>
        </p:nvSpPr>
        <p:spPr>
          <a:xfrm>
            <a:off x="4233333" y="1613017"/>
            <a:ext cx="3400425" cy="4606808"/>
          </a:xfrm>
        </p:spPr>
        <p:txBody>
          <a:bodyPr vert="horz" lIns="0" tIns="45720" rIns="0" bIns="4572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11" name="Title 10">
            <a:extLst>
              <a:ext uri="{FF2B5EF4-FFF2-40B4-BE49-F238E27FC236}">
                <a16:creationId xmlns:a16="http://schemas.microsoft.com/office/drawing/2014/main" id="{209BE74C-A460-6AB9-CBDD-AF4AE8B26A14}"/>
              </a:ext>
            </a:extLst>
          </p:cNvPr>
          <p:cNvSpPr>
            <a:spLocks noGrp="1"/>
          </p:cNvSpPr>
          <p:nvPr>
            <p:ph type="title" hasCustomPrompt="1"/>
          </p:nvPr>
        </p:nvSpPr>
        <p:spPr>
          <a:xfrm>
            <a:off x="508001" y="454013"/>
            <a:ext cx="7125758" cy="790869"/>
          </a:xfrm>
        </p:spPr>
        <p:txBody>
          <a:bodyPr/>
          <a:lstStyle/>
          <a:p>
            <a:r>
              <a:rPr lang="en-US" dirty="0"/>
              <a:t>TITLE: subtitle</a:t>
            </a:r>
            <a:endParaRPr lang="en-GB" dirty="0"/>
          </a:p>
        </p:txBody>
      </p:sp>
      <p:sp>
        <p:nvSpPr>
          <p:cNvPr id="2" name="Content Placeholder 2">
            <a:extLst>
              <a:ext uri="{FF2B5EF4-FFF2-40B4-BE49-F238E27FC236}">
                <a16:creationId xmlns:a16="http://schemas.microsoft.com/office/drawing/2014/main" id="{D34960CF-F07A-BFA1-55AF-6ADEB26BA934}"/>
              </a:ext>
            </a:extLst>
          </p:cNvPr>
          <p:cNvSpPr>
            <a:spLocks noGrp="1"/>
          </p:cNvSpPr>
          <p:nvPr>
            <p:ph idx="45" hasCustomPrompt="1"/>
          </p:nvPr>
        </p:nvSpPr>
        <p:spPr>
          <a:xfrm>
            <a:off x="8737600" y="1613017"/>
            <a:ext cx="2963863" cy="4606808"/>
          </a:xfrm>
        </p:spPr>
        <p:txBody>
          <a:bodyPr vert="horz" lIns="0" tIns="45720" rIns="0" bIns="45720" rtlCol="0">
            <a:normAutofit/>
          </a:bodyPr>
          <a:lstStyle>
            <a:lvl1pPr algn="l" defTabSz="914400" rtl="0" eaLnBrk="1" latinLnBrk="0" hangingPunct="1">
              <a:lnSpc>
                <a:spcPct val="130000"/>
              </a:lnSpc>
              <a:spcBef>
                <a:spcPts val="300"/>
              </a:spcBef>
              <a:spcAft>
                <a:spcPts val="300"/>
              </a:spcAft>
              <a:buFont typeface="Arial" panose="020B0604020202020204" pitchFamily="34" charset="0"/>
              <a:defRPr lang="en-US" sz="1100" kern="1200" dirty="0">
                <a:solidFill>
                  <a:schemeClr val="bg1"/>
                </a:solidFill>
                <a:latin typeface="+mn-lt"/>
                <a:ea typeface="+mn-ea"/>
                <a:cs typeface="+mn-cs"/>
              </a:defRPr>
            </a:lvl1pPr>
            <a:lvl2pPr>
              <a:buClr>
                <a:schemeClr val="bg1"/>
              </a:buClr>
              <a:defRPr lang="en-US" dirty="0">
                <a:solidFill>
                  <a:schemeClr val="bg1"/>
                </a:solidFill>
              </a:defRPr>
            </a:lvl2pPr>
            <a:lvl3pPr>
              <a:buClr>
                <a:schemeClr val="bg1"/>
              </a:buClr>
              <a:defRPr lang="en-US" dirty="0">
                <a:solidFill>
                  <a:schemeClr val="bg1"/>
                </a:solidFill>
              </a:defRPr>
            </a:lvl3pPr>
            <a:lvl4pPr>
              <a:buClr>
                <a:schemeClr val="bg1"/>
              </a:buClr>
              <a:defRPr lang="en-US" dirty="0">
                <a:solidFill>
                  <a:schemeClr val="bg1"/>
                </a:solidFill>
              </a:defRPr>
            </a:lvl4pPr>
            <a:lvl5pPr>
              <a:buClr>
                <a:schemeClr val="bg1"/>
              </a:buClr>
              <a:defRPr lang="en-US" dirty="0">
                <a:solidFill>
                  <a:schemeClr val="bg1"/>
                </a:solidFill>
              </a:defRPr>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4" name="Content Placeholder 2">
            <a:extLst>
              <a:ext uri="{FF2B5EF4-FFF2-40B4-BE49-F238E27FC236}">
                <a16:creationId xmlns:a16="http://schemas.microsoft.com/office/drawing/2014/main" id="{0803153E-A2B0-73CA-CD3A-2CDDA389AAC3}"/>
              </a:ext>
            </a:extLst>
          </p:cNvPr>
          <p:cNvSpPr>
            <a:spLocks noGrp="1"/>
          </p:cNvSpPr>
          <p:nvPr>
            <p:ph idx="46" hasCustomPrompt="1"/>
          </p:nvPr>
        </p:nvSpPr>
        <p:spPr>
          <a:xfrm>
            <a:off x="8737600" y="1244882"/>
            <a:ext cx="2946399" cy="346762"/>
          </a:xfrm>
        </p:spPr>
        <p:txBody>
          <a:bodyPr vert="horz" lIns="0" tIns="45720" rIns="0" bIns="45720" numCol="1" spcCol="288000" rtlCol="0">
            <a:noAutofit/>
          </a:bodyPr>
          <a:lstStyle>
            <a:lvl1pPr>
              <a:defRPr lang="en-US" cap="all" baseline="0" dirty="0">
                <a:solidFill>
                  <a:schemeClr val="accent2"/>
                </a:solidFill>
              </a:defRPr>
            </a:lvl1pPr>
          </a:lstStyle>
          <a:p>
            <a:pPr lvl="0"/>
            <a:r>
              <a:rPr lang="en-US" dirty="0"/>
              <a:t>subhead</a:t>
            </a:r>
          </a:p>
        </p:txBody>
      </p:sp>
    </p:spTree>
    <p:extLst>
      <p:ext uri="{BB962C8B-B14F-4D97-AF65-F5344CB8AC3E}">
        <p14:creationId xmlns:p14="http://schemas.microsoft.com/office/powerpoint/2010/main" val="1270133548"/>
      </p:ext>
    </p:extLst>
  </p:cSld>
  <p:clrMapOvr>
    <a:masterClrMapping/>
  </p:clrMapOvr>
  <p:transition spd="med">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2 Column &amp; Pull-out v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50C79E6-4107-372A-0C4E-A19A8E5415F6}"/>
              </a:ext>
            </a:extLst>
          </p:cNvPr>
          <p:cNvSpPr/>
          <p:nvPr userDrawn="1"/>
        </p:nvSpPr>
        <p:spPr>
          <a:xfrm>
            <a:off x="8126413" y="0"/>
            <a:ext cx="4065587"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Footer Placeholder 4"/>
          <p:cNvSpPr>
            <a:spLocks noGrp="1"/>
          </p:cNvSpPr>
          <p:nvPr>
            <p:ph type="ftr" sz="quarter" idx="11"/>
          </p:nvPr>
        </p:nvSpPr>
        <p:spPr/>
        <p:txBody>
          <a:bodyPr/>
          <a:lstStyle/>
          <a:p>
            <a:r>
              <a:rPr lang="en-GB"/>
              <a:t>INSERT FOOTER HERE</a:t>
            </a:r>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8CFE0557-AA98-4E6C-B0C3-581794696B68}" type="slidenum">
              <a:rPr lang="en-GB" smtClean="0"/>
              <a:pPr/>
              <a:t>‹#›</a:t>
            </a:fld>
            <a:endParaRPr lang="en-GB"/>
          </a:p>
        </p:txBody>
      </p:sp>
      <p:sp>
        <p:nvSpPr>
          <p:cNvPr id="10" name="Content Placeholder 2">
            <a:extLst>
              <a:ext uri="{FF2B5EF4-FFF2-40B4-BE49-F238E27FC236}">
                <a16:creationId xmlns:a16="http://schemas.microsoft.com/office/drawing/2014/main" id="{182B4A0E-C187-E12F-BB7B-7E465EDEEA4C}"/>
              </a:ext>
            </a:extLst>
          </p:cNvPr>
          <p:cNvSpPr>
            <a:spLocks noGrp="1"/>
          </p:cNvSpPr>
          <p:nvPr>
            <p:ph idx="1" hasCustomPrompt="1"/>
          </p:nvPr>
        </p:nvSpPr>
        <p:spPr>
          <a:xfrm>
            <a:off x="508000" y="1244882"/>
            <a:ext cx="7125758" cy="291662"/>
          </a:xfrm>
        </p:spPr>
        <p:txBody>
          <a:bodyPr vert="horz" lIns="0" tIns="45720" rIns="0" bIns="45720" numCol="1" spcCol="288000" rtlCol="0">
            <a:noAutofit/>
          </a:bodyPr>
          <a:lstStyle>
            <a:lvl1pPr>
              <a:defRPr lang="en-US" cap="all" baseline="0" dirty="0" smtClean="0"/>
            </a:lvl1pPr>
            <a:lvl2pPr>
              <a:defRPr lang="en-US" dirty="0"/>
            </a:lvl2pPr>
            <a:lvl3pPr>
              <a:defRPr lang="en-US" dirty="0"/>
            </a:lvl3pPr>
            <a:lvl4pPr>
              <a:defRPr lang="en-US" dirty="0"/>
            </a:lvl4pPr>
            <a:lvl5pPr>
              <a:defRPr lang="en-US" dirty="0"/>
            </a:lvl5pPr>
          </a:lstStyle>
          <a:p>
            <a:pPr lvl="0"/>
            <a:r>
              <a:rPr lang="en-US" dirty="0"/>
              <a:t>subhead</a:t>
            </a:r>
          </a:p>
        </p:txBody>
      </p:sp>
      <p:sp>
        <p:nvSpPr>
          <p:cNvPr id="12" name="Content Placeholder 2">
            <a:extLst>
              <a:ext uri="{FF2B5EF4-FFF2-40B4-BE49-F238E27FC236}">
                <a16:creationId xmlns:a16="http://schemas.microsoft.com/office/drawing/2014/main" id="{79AF8CE8-F801-FBFD-7F6F-0BE65F72C036}"/>
              </a:ext>
            </a:extLst>
          </p:cNvPr>
          <p:cNvSpPr>
            <a:spLocks noGrp="1"/>
          </p:cNvSpPr>
          <p:nvPr>
            <p:ph idx="16" hasCustomPrompt="1"/>
          </p:nvPr>
        </p:nvSpPr>
        <p:spPr>
          <a:xfrm>
            <a:off x="508000" y="1613017"/>
            <a:ext cx="3400425" cy="4606808"/>
          </a:xfrm>
        </p:spPr>
        <p:txBody>
          <a:bodyPr vert="horz" lIns="0" tIns="45720" rIns="0" bIns="4572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9" name="Content Placeholder 2">
            <a:extLst>
              <a:ext uri="{FF2B5EF4-FFF2-40B4-BE49-F238E27FC236}">
                <a16:creationId xmlns:a16="http://schemas.microsoft.com/office/drawing/2014/main" id="{7984ED17-F93D-B353-1923-A8C66F3C7E40}"/>
              </a:ext>
            </a:extLst>
          </p:cNvPr>
          <p:cNvSpPr>
            <a:spLocks noGrp="1"/>
          </p:cNvSpPr>
          <p:nvPr>
            <p:ph idx="24" hasCustomPrompt="1"/>
          </p:nvPr>
        </p:nvSpPr>
        <p:spPr>
          <a:xfrm>
            <a:off x="4233333" y="1613017"/>
            <a:ext cx="3400425" cy="4606808"/>
          </a:xfrm>
        </p:spPr>
        <p:txBody>
          <a:bodyPr vert="horz" lIns="0" tIns="45720" rIns="0" bIns="4572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11" name="Title 10">
            <a:extLst>
              <a:ext uri="{FF2B5EF4-FFF2-40B4-BE49-F238E27FC236}">
                <a16:creationId xmlns:a16="http://schemas.microsoft.com/office/drawing/2014/main" id="{B5E3AFFD-B40F-32E3-6AA3-50A72C6FC7A7}"/>
              </a:ext>
            </a:extLst>
          </p:cNvPr>
          <p:cNvSpPr>
            <a:spLocks noGrp="1"/>
          </p:cNvSpPr>
          <p:nvPr>
            <p:ph type="title" hasCustomPrompt="1"/>
          </p:nvPr>
        </p:nvSpPr>
        <p:spPr>
          <a:xfrm>
            <a:off x="508001" y="454013"/>
            <a:ext cx="7125758" cy="790869"/>
          </a:xfrm>
        </p:spPr>
        <p:txBody>
          <a:bodyPr/>
          <a:lstStyle/>
          <a:p>
            <a:r>
              <a:rPr lang="en-US" dirty="0"/>
              <a:t>TITLE: subtitle</a:t>
            </a:r>
            <a:endParaRPr lang="en-GB" dirty="0"/>
          </a:p>
        </p:txBody>
      </p:sp>
      <p:sp>
        <p:nvSpPr>
          <p:cNvPr id="4" name="Content Placeholder 2">
            <a:extLst>
              <a:ext uri="{FF2B5EF4-FFF2-40B4-BE49-F238E27FC236}">
                <a16:creationId xmlns:a16="http://schemas.microsoft.com/office/drawing/2014/main" id="{61C5A3C4-AF03-5692-6D26-608927BA7B5C}"/>
              </a:ext>
            </a:extLst>
          </p:cNvPr>
          <p:cNvSpPr>
            <a:spLocks noGrp="1"/>
          </p:cNvSpPr>
          <p:nvPr>
            <p:ph idx="45" hasCustomPrompt="1"/>
          </p:nvPr>
        </p:nvSpPr>
        <p:spPr>
          <a:xfrm>
            <a:off x="8737600" y="1613017"/>
            <a:ext cx="2963863" cy="4606808"/>
          </a:xfrm>
        </p:spPr>
        <p:txBody>
          <a:bodyPr vert="horz" lIns="0" tIns="45720" rIns="0" bIns="45720" rtlCol="0">
            <a:normAutofit/>
          </a:bodyPr>
          <a:lstStyle>
            <a:lvl1pPr algn="l" defTabSz="914400" rtl="0" eaLnBrk="1" latinLnBrk="0" hangingPunct="1">
              <a:lnSpc>
                <a:spcPct val="130000"/>
              </a:lnSpc>
              <a:spcBef>
                <a:spcPts val="300"/>
              </a:spcBef>
              <a:spcAft>
                <a:spcPts val="300"/>
              </a:spcAft>
              <a:buFont typeface="Arial" panose="020B0604020202020204" pitchFamily="34" charset="0"/>
              <a:defRPr lang="en-US" sz="1100" kern="1200" dirty="0">
                <a:solidFill>
                  <a:schemeClr val="tx1"/>
                </a:solidFill>
                <a:latin typeface="+mn-lt"/>
                <a:ea typeface="+mn-ea"/>
                <a:cs typeface="+mn-cs"/>
              </a:defRPr>
            </a:lvl1pPr>
            <a:lvl2pPr>
              <a:buClr>
                <a:schemeClr val="tx1"/>
              </a:buClr>
              <a:defRPr lang="en-US" dirty="0">
                <a:solidFill>
                  <a:schemeClr val="tx1"/>
                </a:solidFill>
              </a:defRPr>
            </a:lvl2pPr>
            <a:lvl3pPr>
              <a:buClr>
                <a:schemeClr val="tx1"/>
              </a:buClr>
              <a:defRPr lang="en-US" dirty="0">
                <a:solidFill>
                  <a:schemeClr val="tx1"/>
                </a:solidFill>
              </a:defRPr>
            </a:lvl3pPr>
            <a:lvl4pPr>
              <a:buClr>
                <a:schemeClr val="tx1"/>
              </a:buClr>
              <a:defRPr lang="en-US" dirty="0">
                <a:solidFill>
                  <a:schemeClr val="tx1"/>
                </a:solidFill>
              </a:defRPr>
            </a:lvl4pPr>
            <a:lvl5pPr>
              <a:buClr>
                <a:schemeClr val="tx1"/>
              </a:buClr>
              <a:defRPr lang="en-US" dirty="0">
                <a:solidFill>
                  <a:schemeClr val="tx1"/>
                </a:solidFill>
              </a:defRPr>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8" name="Content Placeholder 2">
            <a:extLst>
              <a:ext uri="{FF2B5EF4-FFF2-40B4-BE49-F238E27FC236}">
                <a16:creationId xmlns:a16="http://schemas.microsoft.com/office/drawing/2014/main" id="{2A672D64-98BD-BEF0-03D7-C5E98CEADCF4}"/>
              </a:ext>
            </a:extLst>
          </p:cNvPr>
          <p:cNvSpPr>
            <a:spLocks noGrp="1"/>
          </p:cNvSpPr>
          <p:nvPr>
            <p:ph idx="46" hasCustomPrompt="1"/>
          </p:nvPr>
        </p:nvSpPr>
        <p:spPr>
          <a:xfrm>
            <a:off x="8737600" y="1244882"/>
            <a:ext cx="2946399" cy="346762"/>
          </a:xfrm>
        </p:spPr>
        <p:txBody>
          <a:bodyPr vert="horz" lIns="0" tIns="45720" rIns="0" bIns="45720" numCol="1" spcCol="288000" rtlCol="0">
            <a:noAutofit/>
          </a:bodyPr>
          <a:lstStyle>
            <a:lvl1pPr>
              <a:defRPr lang="en-US" cap="all" baseline="0" dirty="0">
                <a:solidFill>
                  <a:schemeClr val="tx2"/>
                </a:solidFill>
              </a:defRPr>
            </a:lvl1pPr>
          </a:lstStyle>
          <a:p>
            <a:pPr lvl="0"/>
            <a:r>
              <a:rPr lang="en-US" dirty="0"/>
              <a:t>subhead</a:t>
            </a:r>
          </a:p>
        </p:txBody>
      </p:sp>
    </p:spTree>
    <p:extLst>
      <p:ext uri="{BB962C8B-B14F-4D97-AF65-F5344CB8AC3E}">
        <p14:creationId xmlns:p14="http://schemas.microsoft.com/office/powerpoint/2010/main" val="529459333"/>
      </p:ext>
    </p:extLst>
  </p:cSld>
  <p:clrMapOvr>
    <a:masterClrMapping/>
  </p:clrMapOvr>
  <p:transition spd="med">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2 Column, Image &amp; Quote">
    <p:spTree>
      <p:nvGrpSpPr>
        <p:cNvPr id="1" name=""/>
        <p:cNvGrpSpPr/>
        <p:nvPr/>
      </p:nvGrpSpPr>
      <p:grpSpPr>
        <a:xfrm>
          <a:off x="0" y="0"/>
          <a:ext cx="0" cy="0"/>
          <a:chOff x="0" y="0"/>
          <a:chExt cx="0" cy="0"/>
        </a:xfrm>
      </p:grpSpPr>
      <p:sp>
        <p:nvSpPr>
          <p:cNvPr id="2" name="Picture Placeholder 10">
            <a:extLst>
              <a:ext uri="{FF2B5EF4-FFF2-40B4-BE49-F238E27FC236}">
                <a16:creationId xmlns:a16="http://schemas.microsoft.com/office/drawing/2014/main" id="{D53D8445-8BD1-3C9C-D21A-2D350DF86AFF}"/>
              </a:ext>
            </a:extLst>
          </p:cNvPr>
          <p:cNvSpPr>
            <a:spLocks noGrp="1"/>
          </p:cNvSpPr>
          <p:nvPr>
            <p:ph type="pic" sz="quarter" idx="13" hasCustomPrompt="1"/>
          </p:nvPr>
        </p:nvSpPr>
        <p:spPr>
          <a:xfrm>
            <a:off x="8126412" y="0"/>
            <a:ext cx="4065587" cy="6858000"/>
          </a:xfrm>
          <a:solidFill>
            <a:schemeClr val="tx1"/>
          </a:solidFill>
        </p:spPr>
        <p:txBody>
          <a:bodyPr vert="horz" lIns="0" tIns="45720" rIns="0" bIns="45720" rtlCol="0" anchor="ctr">
            <a:normAutofit/>
          </a:bodyPr>
          <a:lstStyle>
            <a:lvl1pPr algn="ctr">
              <a:defRPr lang="en-GB" sz="2800" b="0" dirty="0">
                <a:solidFill>
                  <a:schemeClr val="bg1"/>
                </a:solidFill>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US" dirty="0"/>
              <a:t>ADD RELATED </a:t>
            </a:r>
            <a:br>
              <a:rPr lang="en-US" dirty="0"/>
            </a:br>
            <a:r>
              <a:rPr lang="en-US" dirty="0"/>
              <a:t>IMAGE </a:t>
            </a:r>
            <a:br>
              <a:rPr lang="en-US" dirty="0"/>
            </a:br>
            <a:r>
              <a:rPr lang="en-US" dirty="0"/>
              <a:t>FROM HFW </a:t>
            </a:r>
            <a:br>
              <a:rPr lang="en-US" dirty="0"/>
            </a:br>
            <a:r>
              <a:rPr lang="en-US" dirty="0"/>
              <a:t>IMAGE LIBRARY</a:t>
            </a:r>
          </a:p>
        </p:txBody>
      </p:sp>
      <p:sp>
        <p:nvSpPr>
          <p:cNvPr id="5" name="Footer Placeholder 4"/>
          <p:cNvSpPr>
            <a:spLocks noGrp="1"/>
          </p:cNvSpPr>
          <p:nvPr>
            <p:ph type="ftr" sz="quarter" idx="11"/>
          </p:nvPr>
        </p:nvSpPr>
        <p:spPr/>
        <p:txBody>
          <a:bodyPr/>
          <a:lstStyle/>
          <a:p>
            <a:r>
              <a:rPr lang="en-GB"/>
              <a:t>INSERT FOOTER HER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8CFE0557-AA98-4E6C-B0C3-581794696B68}" type="slidenum">
              <a:rPr lang="en-GB" smtClean="0"/>
              <a:pPr/>
              <a:t>‹#›</a:t>
            </a:fld>
            <a:endParaRPr lang="en-GB"/>
          </a:p>
        </p:txBody>
      </p:sp>
      <p:sp>
        <p:nvSpPr>
          <p:cNvPr id="10" name="Content Placeholder 2">
            <a:extLst>
              <a:ext uri="{FF2B5EF4-FFF2-40B4-BE49-F238E27FC236}">
                <a16:creationId xmlns:a16="http://schemas.microsoft.com/office/drawing/2014/main" id="{182B4A0E-C187-E12F-BB7B-7E465EDEEA4C}"/>
              </a:ext>
            </a:extLst>
          </p:cNvPr>
          <p:cNvSpPr>
            <a:spLocks noGrp="1"/>
          </p:cNvSpPr>
          <p:nvPr>
            <p:ph idx="1" hasCustomPrompt="1"/>
          </p:nvPr>
        </p:nvSpPr>
        <p:spPr>
          <a:xfrm>
            <a:off x="508000" y="1244882"/>
            <a:ext cx="7125758" cy="291662"/>
          </a:xfrm>
        </p:spPr>
        <p:txBody>
          <a:bodyPr vert="horz" lIns="0" tIns="45720" rIns="0" bIns="45720" numCol="1" spcCol="288000" rtlCol="0">
            <a:noAutofit/>
          </a:bodyPr>
          <a:lstStyle>
            <a:lvl1pPr>
              <a:defRPr lang="en-US" cap="all" baseline="0" dirty="0" smtClean="0"/>
            </a:lvl1pPr>
            <a:lvl2pPr>
              <a:defRPr lang="en-US" dirty="0"/>
            </a:lvl2pPr>
            <a:lvl3pPr>
              <a:defRPr lang="en-US" dirty="0"/>
            </a:lvl3pPr>
            <a:lvl4pPr>
              <a:defRPr lang="en-US" dirty="0"/>
            </a:lvl4pPr>
            <a:lvl5pPr>
              <a:defRPr lang="en-US" dirty="0"/>
            </a:lvl5pPr>
          </a:lstStyle>
          <a:p>
            <a:pPr lvl="0"/>
            <a:r>
              <a:rPr lang="en-US" dirty="0"/>
              <a:t>subhead</a:t>
            </a:r>
          </a:p>
        </p:txBody>
      </p:sp>
      <p:sp>
        <p:nvSpPr>
          <p:cNvPr id="12" name="Content Placeholder 2">
            <a:extLst>
              <a:ext uri="{FF2B5EF4-FFF2-40B4-BE49-F238E27FC236}">
                <a16:creationId xmlns:a16="http://schemas.microsoft.com/office/drawing/2014/main" id="{79AF8CE8-F801-FBFD-7F6F-0BE65F72C036}"/>
              </a:ext>
            </a:extLst>
          </p:cNvPr>
          <p:cNvSpPr>
            <a:spLocks noGrp="1"/>
          </p:cNvSpPr>
          <p:nvPr>
            <p:ph idx="16" hasCustomPrompt="1"/>
          </p:nvPr>
        </p:nvSpPr>
        <p:spPr>
          <a:xfrm>
            <a:off x="508000" y="1613017"/>
            <a:ext cx="3400425" cy="3577050"/>
          </a:xfrm>
        </p:spPr>
        <p:txBody>
          <a:bodyPr vert="horz" lIns="0" tIns="45720" rIns="0" bIns="4572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7" name="TextBox 4">
            <a:extLst>
              <a:ext uri="{FF2B5EF4-FFF2-40B4-BE49-F238E27FC236}">
                <a16:creationId xmlns:a16="http://schemas.microsoft.com/office/drawing/2014/main" id="{ECC1AF18-C7ED-CAA0-D1D3-14DEFC5E2590}"/>
              </a:ext>
            </a:extLst>
          </p:cNvPr>
          <p:cNvSpPr txBox="1"/>
          <p:nvPr userDrawn="1"/>
        </p:nvSpPr>
        <p:spPr>
          <a:xfrm>
            <a:off x="12346713" y="109538"/>
            <a:ext cx="1934437" cy="31700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INSERTING IMAGES:</a:t>
            </a:r>
          </a:p>
          <a:p>
            <a:pPr marL="179388" indent="-179388">
              <a:spcBef>
                <a:spcPts val="200"/>
              </a:spcBef>
              <a:spcAft>
                <a:spcPts val="200"/>
              </a:spcAft>
              <a:buFont typeface="+mj-lt"/>
              <a:buAutoNum type="arabicPeriod"/>
            </a:pPr>
            <a:r>
              <a:rPr lang="en-US" sz="900" dirty="0">
                <a:solidFill>
                  <a:schemeClr val="tx1"/>
                </a:solidFill>
                <a:latin typeface="+mn-lt"/>
              </a:rPr>
              <a:t>Simply click the image placeholder and select your image.</a:t>
            </a:r>
          </a:p>
          <a:p>
            <a:pPr marL="179388" indent="-179388">
              <a:spcBef>
                <a:spcPts val="200"/>
              </a:spcBef>
              <a:spcAft>
                <a:spcPts val="200"/>
              </a:spcAft>
              <a:buFont typeface="+mj-lt"/>
              <a:buAutoNum type="arabicPeriod"/>
            </a:pPr>
            <a:r>
              <a:rPr lang="en-US" sz="900" dirty="0">
                <a:solidFill>
                  <a:schemeClr val="tx1"/>
                </a:solidFill>
                <a:latin typeface="+mn-lt"/>
              </a:rPr>
              <a:t>Once your image is inserted into the shape it may be distorted. (Stretched or Squashed)</a:t>
            </a:r>
          </a:p>
          <a:p>
            <a:pPr marL="179388" indent="-179388">
              <a:spcBef>
                <a:spcPts val="200"/>
              </a:spcBef>
              <a:spcAft>
                <a:spcPts val="200"/>
              </a:spcAft>
              <a:buFont typeface="+mj-lt"/>
              <a:buAutoNum type="arabicPeriod"/>
            </a:pPr>
            <a:endParaRPr lang="en-US" sz="900" dirty="0">
              <a:solidFill>
                <a:schemeClr val="tx1"/>
              </a:solidFill>
              <a:latin typeface="+mn-lt"/>
            </a:endParaRPr>
          </a:p>
          <a:p>
            <a:pPr>
              <a:spcBef>
                <a:spcPts val="200"/>
              </a:spcBef>
              <a:spcAft>
                <a:spcPts val="200"/>
              </a:spcAft>
            </a:pPr>
            <a:r>
              <a:rPr lang="en-US" sz="900" b="1" dirty="0">
                <a:solidFill>
                  <a:schemeClr val="tx1"/>
                </a:solidFill>
                <a:latin typeface="+mn-lt"/>
              </a:rPr>
              <a:t>To fix this:</a:t>
            </a:r>
          </a:p>
          <a:p>
            <a:pPr marL="179388" indent="-179388">
              <a:spcBef>
                <a:spcPts val="200"/>
              </a:spcBef>
              <a:spcAft>
                <a:spcPts val="200"/>
              </a:spcAft>
              <a:buFont typeface="+mj-lt"/>
              <a:buAutoNum type="arabicPeriod"/>
            </a:pPr>
            <a:r>
              <a:rPr lang="en-US" sz="900" dirty="0">
                <a:solidFill>
                  <a:schemeClr val="tx1"/>
                </a:solidFill>
                <a:latin typeface="+mn-lt"/>
              </a:rPr>
              <a:t>Click on the image and from the top menu under </a:t>
            </a:r>
            <a:r>
              <a:rPr lang="en-US" sz="900" b="1" dirty="0">
                <a:solidFill>
                  <a:schemeClr val="tx1"/>
                </a:solidFill>
                <a:latin typeface="+mn-lt"/>
              </a:rPr>
              <a:t>PICTURE FORMAT </a:t>
            </a:r>
            <a:r>
              <a:rPr lang="en-US" sz="900" dirty="0">
                <a:solidFill>
                  <a:schemeClr val="tx1"/>
                </a:solidFill>
                <a:latin typeface="+mn-lt"/>
              </a:rPr>
              <a:t>select the </a:t>
            </a:r>
            <a:r>
              <a:rPr lang="en-US" sz="900" b="1" dirty="0">
                <a:solidFill>
                  <a:schemeClr val="tx1"/>
                </a:solidFill>
                <a:latin typeface="+mn-lt"/>
              </a:rPr>
              <a:t>CROP</a:t>
            </a:r>
            <a:r>
              <a:rPr lang="en-US" sz="900" dirty="0">
                <a:solidFill>
                  <a:schemeClr val="tx1"/>
                </a:solidFill>
                <a:latin typeface="+mn-lt"/>
              </a:rPr>
              <a:t> on the right and from the drop down menu select </a:t>
            </a:r>
            <a:r>
              <a:rPr lang="en-US" sz="900" b="1" kern="1200" dirty="0">
                <a:solidFill>
                  <a:schemeClr val="tx1"/>
                </a:solidFill>
                <a:latin typeface="+mn-lt"/>
                <a:ea typeface="+mn-ea"/>
                <a:cs typeface="+mn-cs"/>
              </a:rPr>
              <a:t>FILL</a:t>
            </a:r>
          </a:p>
          <a:p>
            <a:pPr marL="179388" indent="-179388">
              <a:spcBef>
                <a:spcPts val="200"/>
              </a:spcBef>
              <a:spcAft>
                <a:spcPts val="200"/>
              </a:spcAft>
              <a:buFont typeface="+mj-lt"/>
              <a:buAutoNum type="arabicPeriod"/>
            </a:pPr>
            <a:r>
              <a:rPr lang="en-US" sz="900" b="0" kern="1200" dirty="0">
                <a:solidFill>
                  <a:schemeClr val="tx1"/>
                </a:solidFill>
                <a:latin typeface="+mn-lt"/>
                <a:ea typeface="+mn-ea"/>
                <a:cs typeface="+mn-cs"/>
              </a:rPr>
              <a:t>From here you can move the image within the shape for best visual appearance</a:t>
            </a:r>
          </a:p>
        </p:txBody>
      </p:sp>
      <p:sp>
        <p:nvSpPr>
          <p:cNvPr id="9" name="Content Placeholder 2">
            <a:extLst>
              <a:ext uri="{FF2B5EF4-FFF2-40B4-BE49-F238E27FC236}">
                <a16:creationId xmlns:a16="http://schemas.microsoft.com/office/drawing/2014/main" id="{7984ED17-F93D-B353-1923-A8C66F3C7E40}"/>
              </a:ext>
            </a:extLst>
          </p:cNvPr>
          <p:cNvSpPr>
            <a:spLocks noGrp="1"/>
          </p:cNvSpPr>
          <p:nvPr>
            <p:ph idx="24" hasCustomPrompt="1"/>
          </p:nvPr>
        </p:nvSpPr>
        <p:spPr>
          <a:xfrm>
            <a:off x="4233333" y="1613017"/>
            <a:ext cx="3400425" cy="3577050"/>
          </a:xfrm>
        </p:spPr>
        <p:txBody>
          <a:bodyPr vert="horz" lIns="0" tIns="45720" rIns="0" bIns="4572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11" name="Title 10">
            <a:extLst>
              <a:ext uri="{FF2B5EF4-FFF2-40B4-BE49-F238E27FC236}">
                <a16:creationId xmlns:a16="http://schemas.microsoft.com/office/drawing/2014/main" id="{0E84146F-9D33-6497-CA74-8D097DEB0125}"/>
              </a:ext>
            </a:extLst>
          </p:cNvPr>
          <p:cNvSpPr>
            <a:spLocks noGrp="1"/>
          </p:cNvSpPr>
          <p:nvPr>
            <p:ph type="title" hasCustomPrompt="1"/>
          </p:nvPr>
        </p:nvSpPr>
        <p:spPr>
          <a:xfrm>
            <a:off x="508001" y="454013"/>
            <a:ext cx="7125758" cy="790869"/>
          </a:xfrm>
        </p:spPr>
        <p:txBody>
          <a:bodyPr/>
          <a:lstStyle/>
          <a:p>
            <a:r>
              <a:rPr lang="en-US" dirty="0"/>
              <a:t>TITLE: subtitle</a:t>
            </a:r>
            <a:endParaRPr lang="en-GB" dirty="0"/>
          </a:p>
        </p:txBody>
      </p:sp>
      <p:sp>
        <p:nvSpPr>
          <p:cNvPr id="3" name="Text Placeholder 12">
            <a:extLst>
              <a:ext uri="{FF2B5EF4-FFF2-40B4-BE49-F238E27FC236}">
                <a16:creationId xmlns:a16="http://schemas.microsoft.com/office/drawing/2014/main" id="{FC566C1D-B706-6846-8673-FB51D6F4C8F3}"/>
              </a:ext>
            </a:extLst>
          </p:cNvPr>
          <p:cNvSpPr>
            <a:spLocks noGrp="1"/>
          </p:cNvSpPr>
          <p:nvPr>
            <p:ph type="body" sz="quarter" idx="18" hasCustomPrompt="1"/>
          </p:nvPr>
        </p:nvSpPr>
        <p:spPr>
          <a:xfrm>
            <a:off x="508000" y="5334846"/>
            <a:ext cx="7127876" cy="681779"/>
          </a:xfrm>
        </p:spPr>
        <p:txBody>
          <a:bodyPr vert="horz" lIns="0" tIns="45720" rIns="0" bIns="0" rtlCol="0" anchor="b" anchorCtr="0">
            <a:noAutofit/>
          </a:bodyPr>
          <a:lstStyle>
            <a:lvl1pPr marL="108000" indent="-108000">
              <a:lnSpc>
                <a:spcPct val="110000"/>
              </a:lnSpc>
              <a:spcBef>
                <a:spcPts val="0"/>
              </a:spcBef>
              <a:spcAft>
                <a:spcPts val="0"/>
              </a:spcAft>
              <a:defRPr lang="en-US" sz="2000" dirty="0">
                <a:solidFill>
                  <a:schemeClr val="accent2"/>
                </a:solidFill>
              </a:defRPr>
            </a:lvl1pPr>
            <a:lvl2pPr>
              <a:defRPr lang="en-US" sz="1400" dirty="0">
                <a:solidFill>
                  <a:schemeClr val="tx2"/>
                </a:solidFill>
                <a:latin typeface="+mj-lt"/>
              </a:defRPr>
            </a:lvl2pPr>
          </a:lstStyle>
          <a:p>
            <a:pPr marL="108000" lvl="0" indent="-108000">
              <a:lnSpc>
                <a:spcPct val="100000"/>
              </a:lnSpc>
              <a:spcBef>
                <a:spcPts val="200"/>
              </a:spcBef>
              <a:spcAft>
                <a:spcPts val="200"/>
              </a:spcAft>
            </a:pPr>
            <a:r>
              <a:rPr lang="en-US" dirty="0"/>
              <a:t>“Quote goes here.”</a:t>
            </a:r>
          </a:p>
        </p:txBody>
      </p:sp>
      <p:sp>
        <p:nvSpPr>
          <p:cNvPr id="8" name="Text Placeholder 7">
            <a:extLst>
              <a:ext uri="{FF2B5EF4-FFF2-40B4-BE49-F238E27FC236}">
                <a16:creationId xmlns:a16="http://schemas.microsoft.com/office/drawing/2014/main" id="{A26DD0D0-77D5-B0A5-A1F1-C2308D1AA474}"/>
              </a:ext>
            </a:extLst>
          </p:cNvPr>
          <p:cNvSpPr>
            <a:spLocks noGrp="1"/>
          </p:cNvSpPr>
          <p:nvPr>
            <p:ph type="body" sz="quarter" idx="34" hasCustomPrompt="1"/>
          </p:nvPr>
        </p:nvSpPr>
        <p:spPr>
          <a:xfrm>
            <a:off x="508000" y="6047121"/>
            <a:ext cx="7127876" cy="215444"/>
          </a:xfrm>
        </p:spPr>
        <p:txBody>
          <a:bodyPr wrap="square" tIns="0" bIns="0" anchor="b" anchorCtr="0">
            <a:spAutoFit/>
          </a:bodyPr>
          <a:lstStyle>
            <a:lvl1pPr marL="108000">
              <a:lnSpc>
                <a:spcPct val="100000"/>
              </a:lnSpc>
              <a:defRPr sz="1400" cap="all" baseline="0">
                <a:solidFill>
                  <a:schemeClr val="tx2"/>
                </a:solidFill>
                <a:latin typeface="+mj-lt"/>
              </a:defRPr>
            </a:lvl1pPr>
            <a:lvl2pPr marL="108000">
              <a:lnSpc>
                <a:spcPct val="100000"/>
              </a:lnSpc>
              <a:defRPr sz="1400" cap="all" baseline="0">
                <a:solidFill>
                  <a:schemeClr val="tx2"/>
                </a:solidFill>
                <a:latin typeface="+mj-lt"/>
              </a:defRPr>
            </a:lvl2pPr>
            <a:lvl3pPr marL="108000">
              <a:lnSpc>
                <a:spcPct val="100000"/>
              </a:lnSpc>
              <a:defRPr sz="1400" cap="all" baseline="0">
                <a:solidFill>
                  <a:schemeClr val="tx2"/>
                </a:solidFill>
                <a:latin typeface="+mj-lt"/>
              </a:defRPr>
            </a:lvl3pPr>
            <a:lvl4pPr marL="108000">
              <a:lnSpc>
                <a:spcPct val="100000"/>
              </a:lnSpc>
              <a:defRPr sz="1400" cap="all" baseline="0">
                <a:solidFill>
                  <a:schemeClr val="tx2"/>
                </a:solidFill>
                <a:latin typeface="+mj-lt"/>
              </a:defRPr>
            </a:lvl4pPr>
            <a:lvl5pPr marL="108000">
              <a:lnSpc>
                <a:spcPct val="100000"/>
              </a:lnSpc>
              <a:defRPr sz="1400" cap="all" baseline="0">
                <a:solidFill>
                  <a:schemeClr val="tx2"/>
                </a:solidFill>
                <a:latin typeface="+mj-lt"/>
              </a:defRPr>
            </a:lvl5pPr>
          </a:lstStyle>
          <a:p>
            <a:pPr lvl="0"/>
            <a:r>
              <a:rPr lang="en-US" dirty="0"/>
              <a:t>quote author</a:t>
            </a:r>
            <a:endParaRPr lang="en-GB" dirty="0"/>
          </a:p>
        </p:txBody>
      </p:sp>
    </p:spTree>
    <p:extLst>
      <p:ext uri="{BB962C8B-B14F-4D97-AF65-F5344CB8AC3E}">
        <p14:creationId xmlns:p14="http://schemas.microsoft.com/office/powerpoint/2010/main" val="1324238089"/>
      </p:ext>
    </p:extLst>
  </p:cSld>
  <p:clrMapOvr>
    <a:masterClrMapping/>
  </p:clrMapOvr>
  <p:transition spd="med">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2 Column &amp; Image">
    <p:spTree>
      <p:nvGrpSpPr>
        <p:cNvPr id="1" name=""/>
        <p:cNvGrpSpPr/>
        <p:nvPr/>
      </p:nvGrpSpPr>
      <p:grpSpPr>
        <a:xfrm>
          <a:off x="0" y="0"/>
          <a:ext cx="0" cy="0"/>
          <a:chOff x="0" y="0"/>
          <a:chExt cx="0" cy="0"/>
        </a:xfrm>
      </p:grpSpPr>
      <p:sp>
        <p:nvSpPr>
          <p:cNvPr id="2" name="Picture Placeholder 10">
            <a:extLst>
              <a:ext uri="{FF2B5EF4-FFF2-40B4-BE49-F238E27FC236}">
                <a16:creationId xmlns:a16="http://schemas.microsoft.com/office/drawing/2014/main" id="{D53D8445-8BD1-3C9C-D21A-2D350DF86AFF}"/>
              </a:ext>
            </a:extLst>
          </p:cNvPr>
          <p:cNvSpPr>
            <a:spLocks noGrp="1"/>
          </p:cNvSpPr>
          <p:nvPr>
            <p:ph type="pic" sz="quarter" idx="13" hasCustomPrompt="1"/>
          </p:nvPr>
        </p:nvSpPr>
        <p:spPr>
          <a:xfrm>
            <a:off x="8126412" y="0"/>
            <a:ext cx="4065587" cy="6858000"/>
          </a:xfrm>
          <a:solidFill>
            <a:schemeClr val="tx1"/>
          </a:solidFill>
        </p:spPr>
        <p:txBody>
          <a:bodyPr vert="horz" lIns="0" tIns="45720" rIns="0" bIns="45720" rtlCol="0" anchor="ctr">
            <a:normAutofit/>
          </a:bodyPr>
          <a:lstStyle>
            <a:lvl1pPr algn="ctr">
              <a:defRPr lang="en-GB" sz="2800" b="0" dirty="0">
                <a:solidFill>
                  <a:schemeClr val="bg1"/>
                </a:solidFill>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US" dirty="0"/>
              <a:t>ADD RELATED </a:t>
            </a:r>
            <a:br>
              <a:rPr lang="en-US" dirty="0"/>
            </a:br>
            <a:r>
              <a:rPr lang="en-US" dirty="0"/>
              <a:t>IMAGE </a:t>
            </a:r>
            <a:br>
              <a:rPr lang="en-US" dirty="0"/>
            </a:br>
            <a:r>
              <a:rPr lang="en-US" dirty="0"/>
              <a:t>FROM HFW </a:t>
            </a:r>
            <a:br>
              <a:rPr lang="en-US" dirty="0"/>
            </a:br>
            <a:r>
              <a:rPr lang="en-US" dirty="0"/>
              <a:t>IMAGE LIBRARY</a:t>
            </a:r>
          </a:p>
        </p:txBody>
      </p:sp>
      <p:sp>
        <p:nvSpPr>
          <p:cNvPr id="5" name="Footer Placeholder 4"/>
          <p:cNvSpPr>
            <a:spLocks noGrp="1"/>
          </p:cNvSpPr>
          <p:nvPr>
            <p:ph type="ftr" sz="quarter" idx="11"/>
          </p:nvPr>
        </p:nvSpPr>
        <p:spPr/>
        <p:txBody>
          <a:bodyPr/>
          <a:lstStyle/>
          <a:p>
            <a:r>
              <a:rPr lang="en-GB"/>
              <a:t>INSERT FOOTER HER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8CFE0557-AA98-4E6C-B0C3-581794696B68}" type="slidenum">
              <a:rPr lang="en-GB" smtClean="0"/>
              <a:pPr/>
              <a:t>‹#›</a:t>
            </a:fld>
            <a:endParaRPr lang="en-GB"/>
          </a:p>
        </p:txBody>
      </p:sp>
      <p:sp>
        <p:nvSpPr>
          <p:cNvPr id="10" name="Content Placeholder 2">
            <a:extLst>
              <a:ext uri="{FF2B5EF4-FFF2-40B4-BE49-F238E27FC236}">
                <a16:creationId xmlns:a16="http://schemas.microsoft.com/office/drawing/2014/main" id="{182B4A0E-C187-E12F-BB7B-7E465EDEEA4C}"/>
              </a:ext>
            </a:extLst>
          </p:cNvPr>
          <p:cNvSpPr>
            <a:spLocks noGrp="1"/>
          </p:cNvSpPr>
          <p:nvPr>
            <p:ph idx="1" hasCustomPrompt="1"/>
          </p:nvPr>
        </p:nvSpPr>
        <p:spPr>
          <a:xfrm>
            <a:off x="508000" y="1244882"/>
            <a:ext cx="7125758" cy="291662"/>
          </a:xfrm>
        </p:spPr>
        <p:txBody>
          <a:bodyPr vert="horz" lIns="0" tIns="45720" rIns="0" bIns="45720" numCol="1" spcCol="288000" rtlCol="0">
            <a:noAutofit/>
          </a:bodyPr>
          <a:lstStyle>
            <a:lvl1pPr>
              <a:defRPr lang="en-US" cap="all" baseline="0" dirty="0" smtClean="0"/>
            </a:lvl1pPr>
            <a:lvl2pPr>
              <a:defRPr lang="en-US" dirty="0"/>
            </a:lvl2pPr>
            <a:lvl3pPr>
              <a:defRPr lang="en-US" dirty="0"/>
            </a:lvl3pPr>
            <a:lvl4pPr>
              <a:defRPr lang="en-US" dirty="0"/>
            </a:lvl4pPr>
            <a:lvl5pPr>
              <a:defRPr lang="en-US" dirty="0"/>
            </a:lvl5pPr>
          </a:lstStyle>
          <a:p>
            <a:pPr lvl="0"/>
            <a:r>
              <a:rPr lang="en-US" dirty="0"/>
              <a:t>subhead</a:t>
            </a:r>
          </a:p>
        </p:txBody>
      </p:sp>
      <p:sp>
        <p:nvSpPr>
          <p:cNvPr id="12" name="Content Placeholder 2">
            <a:extLst>
              <a:ext uri="{FF2B5EF4-FFF2-40B4-BE49-F238E27FC236}">
                <a16:creationId xmlns:a16="http://schemas.microsoft.com/office/drawing/2014/main" id="{79AF8CE8-F801-FBFD-7F6F-0BE65F72C036}"/>
              </a:ext>
            </a:extLst>
          </p:cNvPr>
          <p:cNvSpPr>
            <a:spLocks noGrp="1"/>
          </p:cNvSpPr>
          <p:nvPr>
            <p:ph idx="16" hasCustomPrompt="1"/>
          </p:nvPr>
        </p:nvSpPr>
        <p:spPr>
          <a:xfrm>
            <a:off x="508000" y="1613017"/>
            <a:ext cx="3400425" cy="4606808"/>
          </a:xfrm>
        </p:spPr>
        <p:txBody>
          <a:bodyPr vert="horz" lIns="0" tIns="45720" rIns="0" bIns="4572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7" name="TextBox 4">
            <a:extLst>
              <a:ext uri="{FF2B5EF4-FFF2-40B4-BE49-F238E27FC236}">
                <a16:creationId xmlns:a16="http://schemas.microsoft.com/office/drawing/2014/main" id="{ECC1AF18-C7ED-CAA0-D1D3-14DEFC5E2590}"/>
              </a:ext>
            </a:extLst>
          </p:cNvPr>
          <p:cNvSpPr txBox="1"/>
          <p:nvPr userDrawn="1"/>
        </p:nvSpPr>
        <p:spPr>
          <a:xfrm>
            <a:off x="12346713" y="109538"/>
            <a:ext cx="1934437" cy="31700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INSERTING IMAGES:</a:t>
            </a:r>
          </a:p>
          <a:p>
            <a:pPr marL="179388" indent="-179388">
              <a:spcBef>
                <a:spcPts val="200"/>
              </a:spcBef>
              <a:spcAft>
                <a:spcPts val="200"/>
              </a:spcAft>
              <a:buFont typeface="+mj-lt"/>
              <a:buAutoNum type="arabicPeriod"/>
            </a:pPr>
            <a:r>
              <a:rPr lang="en-US" sz="900" dirty="0">
                <a:solidFill>
                  <a:schemeClr val="tx1"/>
                </a:solidFill>
                <a:latin typeface="+mn-lt"/>
              </a:rPr>
              <a:t>Simply click the image placeholder and select your image.</a:t>
            </a:r>
          </a:p>
          <a:p>
            <a:pPr marL="179388" indent="-179388">
              <a:spcBef>
                <a:spcPts val="200"/>
              </a:spcBef>
              <a:spcAft>
                <a:spcPts val="200"/>
              </a:spcAft>
              <a:buFont typeface="+mj-lt"/>
              <a:buAutoNum type="arabicPeriod"/>
            </a:pPr>
            <a:r>
              <a:rPr lang="en-US" sz="900" dirty="0">
                <a:solidFill>
                  <a:schemeClr val="tx1"/>
                </a:solidFill>
                <a:latin typeface="+mn-lt"/>
              </a:rPr>
              <a:t>Once your image is inserted into the shape it may be distorted. (Stretched or Squashed)</a:t>
            </a:r>
          </a:p>
          <a:p>
            <a:pPr marL="179388" indent="-179388">
              <a:spcBef>
                <a:spcPts val="200"/>
              </a:spcBef>
              <a:spcAft>
                <a:spcPts val="200"/>
              </a:spcAft>
              <a:buFont typeface="+mj-lt"/>
              <a:buAutoNum type="arabicPeriod"/>
            </a:pPr>
            <a:endParaRPr lang="en-US" sz="900" dirty="0">
              <a:solidFill>
                <a:schemeClr val="tx1"/>
              </a:solidFill>
              <a:latin typeface="+mn-lt"/>
            </a:endParaRPr>
          </a:p>
          <a:p>
            <a:pPr>
              <a:spcBef>
                <a:spcPts val="200"/>
              </a:spcBef>
              <a:spcAft>
                <a:spcPts val="200"/>
              </a:spcAft>
            </a:pPr>
            <a:r>
              <a:rPr lang="en-US" sz="900" b="1" dirty="0">
                <a:solidFill>
                  <a:schemeClr val="tx1"/>
                </a:solidFill>
                <a:latin typeface="+mn-lt"/>
              </a:rPr>
              <a:t>To fix this:</a:t>
            </a:r>
          </a:p>
          <a:p>
            <a:pPr marL="179388" indent="-179388">
              <a:spcBef>
                <a:spcPts val="200"/>
              </a:spcBef>
              <a:spcAft>
                <a:spcPts val="200"/>
              </a:spcAft>
              <a:buFont typeface="+mj-lt"/>
              <a:buAutoNum type="arabicPeriod"/>
            </a:pPr>
            <a:r>
              <a:rPr lang="en-US" sz="900" dirty="0">
                <a:solidFill>
                  <a:schemeClr val="tx1"/>
                </a:solidFill>
                <a:latin typeface="+mn-lt"/>
              </a:rPr>
              <a:t>Click on the image and from the top menu under </a:t>
            </a:r>
            <a:r>
              <a:rPr lang="en-US" sz="900" b="1" dirty="0">
                <a:solidFill>
                  <a:schemeClr val="tx1"/>
                </a:solidFill>
                <a:latin typeface="+mn-lt"/>
              </a:rPr>
              <a:t>PICTURE FORMAT </a:t>
            </a:r>
            <a:r>
              <a:rPr lang="en-US" sz="900" dirty="0">
                <a:solidFill>
                  <a:schemeClr val="tx1"/>
                </a:solidFill>
                <a:latin typeface="+mn-lt"/>
              </a:rPr>
              <a:t>select the </a:t>
            </a:r>
            <a:r>
              <a:rPr lang="en-US" sz="900" b="1" dirty="0">
                <a:solidFill>
                  <a:schemeClr val="tx1"/>
                </a:solidFill>
                <a:latin typeface="+mn-lt"/>
              </a:rPr>
              <a:t>CROP</a:t>
            </a:r>
            <a:r>
              <a:rPr lang="en-US" sz="900" dirty="0">
                <a:solidFill>
                  <a:schemeClr val="tx1"/>
                </a:solidFill>
                <a:latin typeface="+mn-lt"/>
              </a:rPr>
              <a:t> on the right and from the drop down menu select </a:t>
            </a:r>
            <a:r>
              <a:rPr lang="en-US" sz="900" b="1" kern="1200" dirty="0">
                <a:solidFill>
                  <a:schemeClr val="tx1"/>
                </a:solidFill>
                <a:latin typeface="+mn-lt"/>
                <a:ea typeface="+mn-ea"/>
                <a:cs typeface="+mn-cs"/>
              </a:rPr>
              <a:t>FILL</a:t>
            </a:r>
          </a:p>
          <a:p>
            <a:pPr marL="179388" indent="-179388">
              <a:spcBef>
                <a:spcPts val="200"/>
              </a:spcBef>
              <a:spcAft>
                <a:spcPts val="200"/>
              </a:spcAft>
              <a:buFont typeface="+mj-lt"/>
              <a:buAutoNum type="arabicPeriod"/>
            </a:pPr>
            <a:r>
              <a:rPr lang="en-US" sz="900" b="0" kern="1200" dirty="0">
                <a:solidFill>
                  <a:schemeClr val="tx1"/>
                </a:solidFill>
                <a:latin typeface="+mn-lt"/>
                <a:ea typeface="+mn-ea"/>
                <a:cs typeface="+mn-cs"/>
              </a:rPr>
              <a:t>From here you can move the image within the shape for best visual appearance</a:t>
            </a:r>
          </a:p>
        </p:txBody>
      </p:sp>
      <p:sp>
        <p:nvSpPr>
          <p:cNvPr id="9" name="Content Placeholder 2">
            <a:extLst>
              <a:ext uri="{FF2B5EF4-FFF2-40B4-BE49-F238E27FC236}">
                <a16:creationId xmlns:a16="http://schemas.microsoft.com/office/drawing/2014/main" id="{7984ED17-F93D-B353-1923-A8C66F3C7E40}"/>
              </a:ext>
            </a:extLst>
          </p:cNvPr>
          <p:cNvSpPr>
            <a:spLocks noGrp="1"/>
          </p:cNvSpPr>
          <p:nvPr>
            <p:ph idx="24" hasCustomPrompt="1"/>
          </p:nvPr>
        </p:nvSpPr>
        <p:spPr>
          <a:xfrm>
            <a:off x="4233333" y="1613017"/>
            <a:ext cx="3400425" cy="4606808"/>
          </a:xfrm>
        </p:spPr>
        <p:txBody>
          <a:bodyPr vert="horz" lIns="0" tIns="45720" rIns="0" bIns="4572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11" name="Title 10">
            <a:extLst>
              <a:ext uri="{FF2B5EF4-FFF2-40B4-BE49-F238E27FC236}">
                <a16:creationId xmlns:a16="http://schemas.microsoft.com/office/drawing/2014/main" id="{0E84146F-9D33-6497-CA74-8D097DEB0125}"/>
              </a:ext>
            </a:extLst>
          </p:cNvPr>
          <p:cNvSpPr>
            <a:spLocks noGrp="1"/>
          </p:cNvSpPr>
          <p:nvPr>
            <p:ph type="title" hasCustomPrompt="1"/>
          </p:nvPr>
        </p:nvSpPr>
        <p:spPr>
          <a:xfrm>
            <a:off x="508001" y="454014"/>
            <a:ext cx="7125758" cy="790868"/>
          </a:xfrm>
        </p:spPr>
        <p:txBody>
          <a:bodyPr/>
          <a:lstStyle/>
          <a:p>
            <a:r>
              <a:rPr lang="en-US" dirty="0"/>
              <a:t>TITLE: subtitle</a:t>
            </a:r>
            <a:endParaRPr lang="en-GB" dirty="0"/>
          </a:p>
        </p:txBody>
      </p:sp>
    </p:spTree>
    <p:extLst>
      <p:ext uri="{BB962C8B-B14F-4D97-AF65-F5344CB8AC3E}">
        <p14:creationId xmlns:p14="http://schemas.microsoft.com/office/powerpoint/2010/main" val="2712511899"/>
      </p:ext>
    </p:extLst>
  </p:cSld>
  <p:clrMapOvr>
    <a:masterClrMapping/>
  </p:clrMapOvr>
  <p:transition spd="med">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2 Column Case Study &amp; Image">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D2E13DD3-C80B-AC4C-39A4-528D2E52AF49}"/>
              </a:ext>
            </a:extLst>
          </p:cNvPr>
          <p:cNvSpPr>
            <a:spLocks noGrp="1"/>
          </p:cNvSpPr>
          <p:nvPr>
            <p:ph idx="25" hasCustomPrompt="1"/>
          </p:nvPr>
        </p:nvSpPr>
        <p:spPr>
          <a:xfrm>
            <a:off x="508000" y="1278467"/>
            <a:ext cx="7125757" cy="758614"/>
          </a:xfrm>
        </p:spPr>
        <p:txBody>
          <a:bodyPr vert="horz" lIns="0" tIns="45720" rIns="0" bIns="45720" numCol="1" spcCol="288000" rtlCol="0">
            <a:noAutofit/>
          </a:bodyPr>
          <a:lstStyle>
            <a:lvl1pPr>
              <a:lnSpc>
                <a:spcPct val="110000"/>
              </a:lnSpc>
              <a:defRPr lang="en-US" sz="2000" dirty="0" smtClean="0">
                <a:solidFill>
                  <a:schemeClr val="accent2"/>
                </a:solidFill>
              </a:defRPr>
            </a:lvl1pPr>
            <a:lvl2pPr>
              <a:defRPr lang="en-US" sz="1400" dirty="0">
                <a:solidFill>
                  <a:schemeClr val="tx2"/>
                </a:solidFill>
                <a:latin typeface="+mj-lt"/>
              </a:defRPr>
            </a:lvl2pPr>
            <a:lvl3pPr>
              <a:defRPr lang="en-US" dirty="0"/>
            </a:lvl3pPr>
            <a:lvl4pPr>
              <a:defRPr lang="en-US" dirty="0"/>
            </a:lvl4pPr>
            <a:lvl5pPr>
              <a:defRPr lang="en-US" dirty="0"/>
            </a:lvl5pPr>
          </a:lstStyle>
          <a:p>
            <a:pPr marL="0" marR="0" lvl="0" indent="0" algn="l" defTabSz="914400" rtl="0" eaLnBrk="1" fontAlgn="auto" latinLnBrk="0" hangingPunct="1">
              <a:lnSpc>
                <a:spcPct val="130000"/>
              </a:lnSpc>
              <a:spcBef>
                <a:spcPts val="300"/>
              </a:spcBef>
              <a:spcAft>
                <a:spcPts val="300"/>
              </a:spcAft>
              <a:buClrTx/>
              <a:buSzTx/>
              <a:buFont typeface="Arial" panose="020B0604020202020204" pitchFamily="34" charset="0"/>
              <a:buNone/>
              <a:tabLst/>
              <a:defRPr/>
            </a:pPr>
            <a:r>
              <a:rPr lang="en-US" dirty="0"/>
              <a:t>Intro paragraph text goes here</a:t>
            </a:r>
          </a:p>
        </p:txBody>
      </p:sp>
      <p:sp>
        <p:nvSpPr>
          <p:cNvPr id="2" name="Picture Placeholder 10">
            <a:extLst>
              <a:ext uri="{FF2B5EF4-FFF2-40B4-BE49-F238E27FC236}">
                <a16:creationId xmlns:a16="http://schemas.microsoft.com/office/drawing/2014/main" id="{D53D8445-8BD1-3C9C-D21A-2D350DF86AFF}"/>
              </a:ext>
            </a:extLst>
          </p:cNvPr>
          <p:cNvSpPr>
            <a:spLocks noGrp="1"/>
          </p:cNvSpPr>
          <p:nvPr>
            <p:ph type="pic" sz="quarter" idx="13" hasCustomPrompt="1"/>
          </p:nvPr>
        </p:nvSpPr>
        <p:spPr>
          <a:xfrm>
            <a:off x="8126412" y="0"/>
            <a:ext cx="4065587" cy="6858000"/>
          </a:xfrm>
          <a:solidFill>
            <a:schemeClr val="tx1"/>
          </a:solidFill>
        </p:spPr>
        <p:txBody>
          <a:bodyPr vert="horz" lIns="0" tIns="45720" rIns="0" bIns="45720" rtlCol="0" anchor="ctr">
            <a:normAutofit/>
          </a:bodyPr>
          <a:lstStyle>
            <a:lvl1pPr algn="ctr">
              <a:defRPr lang="en-GB" sz="2800" b="0" dirty="0">
                <a:solidFill>
                  <a:schemeClr val="bg1"/>
                </a:solidFill>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US" dirty="0"/>
              <a:t>ADD RELATED </a:t>
            </a:r>
            <a:br>
              <a:rPr lang="en-US" dirty="0"/>
            </a:br>
            <a:r>
              <a:rPr lang="en-US" dirty="0"/>
              <a:t>IMAGE </a:t>
            </a:r>
            <a:br>
              <a:rPr lang="en-US" dirty="0"/>
            </a:br>
            <a:r>
              <a:rPr lang="en-US" dirty="0"/>
              <a:t>FROM HFW </a:t>
            </a:r>
            <a:br>
              <a:rPr lang="en-US" dirty="0"/>
            </a:br>
            <a:r>
              <a:rPr lang="en-US" dirty="0"/>
              <a:t>IMAGE LIBRARY</a:t>
            </a:r>
          </a:p>
        </p:txBody>
      </p:sp>
      <p:sp>
        <p:nvSpPr>
          <p:cNvPr id="5" name="Footer Placeholder 4"/>
          <p:cNvSpPr>
            <a:spLocks noGrp="1"/>
          </p:cNvSpPr>
          <p:nvPr>
            <p:ph type="ftr" sz="quarter" idx="11"/>
          </p:nvPr>
        </p:nvSpPr>
        <p:spPr/>
        <p:txBody>
          <a:bodyPr/>
          <a:lstStyle/>
          <a:p>
            <a:r>
              <a:rPr lang="en-GB"/>
              <a:t>INSERT FOOTER HER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8CFE0557-AA98-4E6C-B0C3-581794696B68}" type="slidenum">
              <a:rPr lang="en-GB" smtClean="0"/>
              <a:pPr/>
              <a:t>‹#›</a:t>
            </a:fld>
            <a:endParaRPr lang="en-GB"/>
          </a:p>
        </p:txBody>
      </p:sp>
      <p:sp>
        <p:nvSpPr>
          <p:cNvPr id="12" name="Content Placeholder 2">
            <a:extLst>
              <a:ext uri="{FF2B5EF4-FFF2-40B4-BE49-F238E27FC236}">
                <a16:creationId xmlns:a16="http://schemas.microsoft.com/office/drawing/2014/main" id="{79AF8CE8-F801-FBFD-7F6F-0BE65F72C036}"/>
              </a:ext>
            </a:extLst>
          </p:cNvPr>
          <p:cNvSpPr>
            <a:spLocks noGrp="1"/>
          </p:cNvSpPr>
          <p:nvPr>
            <p:ph idx="16" hasCustomPrompt="1"/>
          </p:nvPr>
        </p:nvSpPr>
        <p:spPr>
          <a:xfrm>
            <a:off x="508000" y="2362201"/>
            <a:ext cx="3400425" cy="3857624"/>
          </a:xfrm>
        </p:spPr>
        <p:txBody>
          <a:bodyPr vert="horz" lIns="0" tIns="45720" rIns="0" bIns="4572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9" name="Content Placeholder 2">
            <a:extLst>
              <a:ext uri="{FF2B5EF4-FFF2-40B4-BE49-F238E27FC236}">
                <a16:creationId xmlns:a16="http://schemas.microsoft.com/office/drawing/2014/main" id="{7984ED17-F93D-B353-1923-A8C66F3C7E40}"/>
              </a:ext>
            </a:extLst>
          </p:cNvPr>
          <p:cNvSpPr>
            <a:spLocks noGrp="1"/>
          </p:cNvSpPr>
          <p:nvPr>
            <p:ph idx="24" hasCustomPrompt="1"/>
          </p:nvPr>
        </p:nvSpPr>
        <p:spPr>
          <a:xfrm>
            <a:off x="4233333" y="2362201"/>
            <a:ext cx="3400425" cy="3857624"/>
          </a:xfrm>
        </p:spPr>
        <p:txBody>
          <a:bodyPr vert="horz" lIns="0" tIns="45720" rIns="0" bIns="4572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14" name="Title 13">
            <a:extLst>
              <a:ext uri="{FF2B5EF4-FFF2-40B4-BE49-F238E27FC236}">
                <a16:creationId xmlns:a16="http://schemas.microsoft.com/office/drawing/2014/main" id="{B0F8216B-FC74-7405-979A-69470541923D}"/>
              </a:ext>
            </a:extLst>
          </p:cNvPr>
          <p:cNvSpPr>
            <a:spLocks noGrp="1"/>
          </p:cNvSpPr>
          <p:nvPr>
            <p:ph type="title" hasCustomPrompt="1"/>
          </p:nvPr>
        </p:nvSpPr>
        <p:spPr>
          <a:xfrm>
            <a:off x="508000" y="454013"/>
            <a:ext cx="7125757" cy="824453"/>
          </a:xfrm>
        </p:spPr>
        <p:txBody>
          <a:bodyPr/>
          <a:lstStyle/>
          <a:p>
            <a:r>
              <a:rPr lang="en-GB" dirty="0"/>
              <a:t>CASE STUDY: CLIENT NAME</a:t>
            </a:r>
          </a:p>
        </p:txBody>
      </p:sp>
      <p:sp>
        <p:nvSpPr>
          <p:cNvPr id="3" name="Content Placeholder 2">
            <a:extLst>
              <a:ext uri="{FF2B5EF4-FFF2-40B4-BE49-F238E27FC236}">
                <a16:creationId xmlns:a16="http://schemas.microsoft.com/office/drawing/2014/main" id="{FFEE1141-3055-31A6-39E0-48D76F2F5DCF}"/>
              </a:ext>
            </a:extLst>
          </p:cNvPr>
          <p:cNvSpPr>
            <a:spLocks noGrp="1"/>
          </p:cNvSpPr>
          <p:nvPr>
            <p:ph idx="1" hasCustomPrompt="1"/>
          </p:nvPr>
        </p:nvSpPr>
        <p:spPr>
          <a:xfrm>
            <a:off x="508000" y="2037081"/>
            <a:ext cx="7125757" cy="291662"/>
          </a:xfrm>
        </p:spPr>
        <p:txBody>
          <a:bodyPr vert="horz" lIns="0" tIns="45720" rIns="0" bIns="45720" numCol="1" spcCol="288000" rtlCol="0">
            <a:noAutofit/>
          </a:bodyPr>
          <a:lstStyle>
            <a:lvl1pPr>
              <a:defRPr lang="en-US" cap="all" baseline="0" dirty="0" smtClean="0"/>
            </a:lvl1pPr>
            <a:lvl2pPr>
              <a:defRPr lang="en-US" dirty="0"/>
            </a:lvl2pPr>
            <a:lvl3pPr>
              <a:defRPr lang="en-US" dirty="0"/>
            </a:lvl3pPr>
            <a:lvl4pPr>
              <a:defRPr lang="en-US" dirty="0"/>
            </a:lvl4pPr>
            <a:lvl5pPr>
              <a:defRPr lang="en-US" dirty="0"/>
            </a:lvl5pPr>
          </a:lstStyle>
          <a:p>
            <a:pPr lvl="0"/>
            <a:r>
              <a:rPr lang="en-US" dirty="0"/>
              <a:t>subhead</a:t>
            </a:r>
          </a:p>
        </p:txBody>
      </p:sp>
      <p:sp>
        <p:nvSpPr>
          <p:cNvPr id="4" name="Rectangle 3">
            <a:extLst>
              <a:ext uri="{FF2B5EF4-FFF2-40B4-BE49-F238E27FC236}">
                <a16:creationId xmlns:a16="http://schemas.microsoft.com/office/drawing/2014/main" id="{53D89625-F7F7-21FB-722F-99DD2732E1BB}"/>
              </a:ext>
            </a:extLst>
          </p:cNvPr>
          <p:cNvSpPr/>
          <p:nvPr userDrawn="1"/>
        </p:nvSpPr>
        <p:spPr>
          <a:xfrm>
            <a:off x="12352867" y="0"/>
            <a:ext cx="1947333" cy="201506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b="1" i="0" dirty="0">
                <a:solidFill>
                  <a:schemeClr val="bg1"/>
                </a:solidFill>
                <a:effectLst/>
                <a:latin typeface="+mn-lt"/>
                <a:ea typeface="Calibri" panose="020F0502020204030204" pitchFamily="34" charset="0"/>
              </a:rPr>
              <a:t>NOTE:</a:t>
            </a:r>
          </a:p>
          <a:p>
            <a:r>
              <a:rPr lang="en-GB" sz="1200" i="1" dirty="0">
                <a:solidFill>
                  <a:schemeClr val="bg1"/>
                </a:solidFill>
                <a:effectLst/>
                <a:latin typeface="+mn-lt"/>
                <a:ea typeface="Calibri" panose="020F0502020204030204" pitchFamily="34" charset="0"/>
              </a:rPr>
              <a:t>You may only include a client logo if the client has provided express written permission to use it, and has shared a logo file (jpeg or </a:t>
            </a:r>
            <a:r>
              <a:rPr lang="en-GB" sz="1200" i="1" dirty="0" err="1">
                <a:solidFill>
                  <a:schemeClr val="bg1"/>
                </a:solidFill>
                <a:effectLst/>
                <a:latin typeface="+mn-lt"/>
                <a:ea typeface="Calibri" panose="020F0502020204030204" pitchFamily="34" charset="0"/>
              </a:rPr>
              <a:t>png</a:t>
            </a:r>
            <a:r>
              <a:rPr lang="en-GB" sz="1200" i="1" dirty="0">
                <a:solidFill>
                  <a:schemeClr val="bg1"/>
                </a:solidFill>
                <a:effectLst/>
                <a:latin typeface="+mn-lt"/>
                <a:ea typeface="Calibri" panose="020F0502020204030204" pitchFamily="34" charset="0"/>
              </a:rPr>
              <a:t>) for your use.</a:t>
            </a:r>
            <a:endParaRPr lang="en-GB" sz="1200" dirty="0">
              <a:solidFill>
                <a:schemeClr val="bg1"/>
              </a:solidFill>
              <a:effectLst/>
              <a:latin typeface="+mn-lt"/>
              <a:ea typeface="Calibri" panose="020F0502020204030204" pitchFamily="34" charset="0"/>
            </a:endParaRPr>
          </a:p>
        </p:txBody>
      </p:sp>
      <p:sp>
        <p:nvSpPr>
          <p:cNvPr id="8" name="TextBox 4">
            <a:extLst>
              <a:ext uri="{FF2B5EF4-FFF2-40B4-BE49-F238E27FC236}">
                <a16:creationId xmlns:a16="http://schemas.microsoft.com/office/drawing/2014/main" id="{68955A82-9F6C-4161-D939-1363C6826998}"/>
              </a:ext>
            </a:extLst>
          </p:cNvPr>
          <p:cNvSpPr txBox="1"/>
          <p:nvPr userDrawn="1"/>
        </p:nvSpPr>
        <p:spPr>
          <a:xfrm>
            <a:off x="12346713" y="2175601"/>
            <a:ext cx="1934437" cy="31700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INSERTING IMAGES:</a:t>
            </a:r>
          </a:p>
          <a:p>
            <a:pPr marL="179388" indent="-179388">
              <a:spcBef>
                <a:spcPts val="200"/>
              </a:spcBef>
              <a:spcAft>
                <a:spcPts val="200"/>
              </a:spcAft>
              <a:buFont typeface="+mj-lt"/>
              <a:buAutoNum type="arabicPeriod"/>
            </a:pPr>
            <a:r>
              <a:rPr lang="en-US" sz="900" dirty="0">
                <a:solidFill>
                  <a:schemeClr val="tx1"/>
                </a:solidFill>
                <a:latin typeface="+mn-lt"/>
              </a:rPr>
              <a:t>Simply click the image placeholder and select your image.</a:t>
            </a:r>
          </a:p>
          <a:p>
            <a:pPr marL="179388" indent="-179388">
              <a:spcBef>
                <a:spcPts val="200"/>
              </a:spcBef>
              <a:spcAft>
                <a:spcPts val="200"/>
              </a:spcAft>
              <a:buFont typeface="+mj-lt"/>
              <a:buAutoNum type="arabicPeriod"/>
            </a:pPr>
            <a:r>
              <a:rPr lang="en-US" sz="900" dirty="0">
                <a:solidFill>
                  <a:schemeClr val="tx1"/>
                </a:solidFill>
                <a:latin typeface="+mn-lt"/>
              </a:rPr>
              <a:t>Once your image is inserted into the shape it may be distorted. (Stretched or Squashed)</a:t>
            </a:r>
          </a:p>
          <a:p>
            <a:pPr marL="179388" indent="-179388">
              <a:spcBef>
                <a:spcPts val="200"/>
              </a:spcBef>
              <a:spcAft>
                <a:spcPts val="200"/>
              </a:spcAft>
              <a:buFont typeface="+mj-lt"/>
              <a:buAutoNum type="arabicPeriod"/>
            </a:pPr>
            <a:endParaRPr lang="en-US" sz="900" dirty="0">
              <a:solidFill>
                <a:schemeClr val="tx1"/>
              </a:solidFill>
              <a:latin typeface="+mn-lt"/>
            </a:endParaRPr>
          </a:p>
          <a:p>
            <a:pPr>
              <a:spcBef>
                <a:spcPts val="200"/>
              </a:spcBef>
              <a:spcAft>
                <a:spcPts val="200"/>
              </a:spcAft>
            </a:pPr>
            <a:r>
              <a:rPr lang="en-US" sz="900" b="1" dirty="0">
                <a:solidFill>
                  <a:schemeClr val="tx1"/>
                </a:solidFill>
                <a:latin typeface="+mn-lt"/>
              </a:rPr>
              <a:t>To fix this:</a:t>
            </a:r>
          </a:p>
          <a:p>
            <a:pPr marL="179388" indent="-179388">
              <a:spcBef>
                <a:spcPts val="200"/>
              </a:spcBef>
              <a:spcAft>
                <a:spcPts val="200"/>
              </a:spcAft>
              <a:buFont typeface="+mj-lt"/>
              <a:buAutoNum type="arabicPeriod"/>
            </a:pPr>
            <a:r>
              <a:rPr lang="en-US" sz="900" dirty="0">
                <a:solidFill>
                  <a:schemeClr val="tx1"/>
                </a:solidFill>
                <a:latin typeface="+mn-lt"/>
              </a:rPr>
              <a:t>Click on the image and from the top menu under </a:t>
            </a:r>
            <a:r>
              <a:rPr lang="en-US" sz="900" b="1" dirty="0">
                <a:solidFill>
                  <a:schemeClr val="tx1"/>
                </a:solidFill>
                <a:latin typeface="+mn-lt"/>
              </a:rPr>
              <a:t>PICTURE FORMAT </a:t>
            </a:r>
            <a:r>
              <a:rPr lang="en-US" sz="900" dirty="0">
                <a:solidFill>
                  <a:schemeClr val="tx1"/>
                </a:solidFill>
                <a:latin typeface="+mn-lt"/>
              </a:rPr>
              <a:t>select the </a:t>
            </a:r>
            <a:r>
              <a:rPr lang="en-US" sz="900" b="1" dirty="0">
                <a:solidFill>
                  <a:schemeClr val="tx1"/>
                </a:solidFill>
                <a:latin typeface="+mn-lt"/>
              </a:rPr>
              <a:t>CROP</a:t>
            </a:r>
            <a:r>
              <a:rPr lang="en-US" sz="900" dirty="0">
                <a:solidFill>
                  <a:schemeClr val="tx1"/>
                </a:solidFill>
                <a:latin typeface="+mn-lt"/>
              </a:rPr>
              <a:t> on the right and from the drop down menu select </a:t>
            </a:r>
            <a:r>
              <a:rPr lang="en-US" sz="900" b="1" kern="1200" dirty="0">
                <a:solidFill>
                  <a:schemeClr val="tx1"/>
                </a:solidFill>
                <a:latin typeface="+mn-lt"/>
                <a:ea typeface="+mn-ea"/>
                <a:cs typeface="+mn-cs"/>
              </a:rPr>
              <a:t>FILL</a:t>
            </a:r>
          </a:p>
          <a:p>
            <a:pPr marL="179388" indent="-179388">
              <a:spcBef>
                <a:spcPts val="200"/>
              </a:spcBef>
              <a:spcAft>
                <a:spcPts val="200"/>
              </a:spcAft>
              <a:buFont typeface="+mj-lt"/>
              <a:buAutoNum type="arabicPeriod"/>
            </a:pPr>
            <a:r>
              <a:rPr lang="en-US" sz="900" b="0" kern="1200" dirty="0">
                <a:solidFill>
                  <a:schemeClr val="tx1"/>
                </a:solidFill>
                <a:latin typeface="+mn-lt"/>
                <a:ea typeface="+mn-ea"/>
                <a:cs typeface="+mn-cs"/>
              </a:rPr>
              <a:t>From here you can move the image within the shape for best visual appearance</a:t>
            </a:r>
          </a:p>
        </p:txBody>
      </p:sp>
    </p:spTree>
    <p:extLst>
      <p:ext uri="{BB962C8B-B14F-4D97-AF65-F5344CB8AC3E}">
        <p14:creationId xmlns:p14="http://schemas.microsoft.com/office/powerpoint/2010/main" val="3840116355"/>
      </p:ext>
    </p:extLst>
  </p:cSld>
  <p:clrMapOvr>
    <a:masterClrMapping/>
  </p:clrMapOvr>
  <p:transition spd="med">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3 Column Case Study">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r>
              <a:rPr lang="en-GB"/>
              <a:t>INSERT FOOTER HERE</a:t>
            </a:r>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8CFE0557-AA98-4E6C-B0C3-581794696B68}" type="slidenum">
              <a:rPr lang="en-GB" smtClean="0"/>
              <a:pPr/>
              <a:t>‹#›</a:t>
            </a:fld>
            <a:endParaRPr lang="en-GB"/>
          </a:p>
        </p:txBody>
      </p:sp>
      <p:sp>
        <p:nvSpPr>
          <p:cNvPr id="12" name="Content Placeholder 2">
            <a:extLst>
              <a:ext uri="{FF2B5EF4-FFF2-40B4-BE49-F238E27FC236}">
                <a16:creationId xmlns:a16="http://schemas.microsoft.com/office/drawing/2014/main" id="{79AF8CE8-F801-FBFD-7F6F-0BE65F72C036}"/>
              </a:ext>
            </a:extLst>
          </p:cNvPr>
          <p:cNvSpPr>
            <a:spLocks noGrp="1"/>
          </p:cNvSpPr>
          <p:nvPr>
            <p:ph idx="16" hasCustomPrompt="1"/>
          </p:nvPr>
        </p:nvSpPr>
        <p:spPr>
          <a:xfrm>
            <a:off x="508000" y="2362201"/>
            <a:ext cx="3400425" cy="3857624"/>
          </a:xfrm>
        </p:spPr>
        <p:txBody>
          <a:bodyPr vert="horz" lIns="0" tIns="45720" rIns="0" bIns="4572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9" name="Content Placeholder 2">
            <a:extLst>
              <a:ext uri="{FF2B5EF4-FFF2-40B4-BE49-F238E27FC236}">
                <a16:creationId xmlns:a16="http://schemas.microsoft.com/office/drawing/2014/main" id="{7984ED17-F93D-B353-1923-A8C66F3C7E40}"/>
              </a:ext>
            </a:extLst>
          </p:cNvPr>
          <p:cNvSpPr>
            <a:spLocks noGrp="1"/>
          </p:cNvSpPr>
          <p:nvPr>
            <p:ph idx="24" hasCustomPrompt="1"/>
          </p:nvPr>
        </p:nvSpPr>
        <p:spPr>
          <a:xfrm>
            <a:off x="4233333" y="2362201"/>
            <a:ext cx="3734330" cy="3857624"/>
          </a:xfrm>
        </p:spPr>
        <p:txBody>
          <a:bodyPr vert="horz" lIns="0" tIns="45720" rIns="0" bIns="4572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3" name="Content Placeholder 2">
            <a:extLst>
              <a:ext uri="{FF2B5EF4-FFF2-40B4-BE49-F238E27FC236}">
                <a16:creationId xmlns:a16="http://schemas.microsoft.com/office/drawing/2014/main" id="{590E5256-017F-7BF4-B2B4-030AB9601D4D}"/>
              </a:ext>
            </a:extLst>
          </p:cNvPr>
          <p:cNvSpPr>
            <a:spLocks noGrp="1"/>
          </p:cNvSpPr>
          <p:nvPr>
            <p:ph idx="26" hasCustomPrompt="1"/>
          </p:nvPr>
        </p:nvSpPr>
        <p:spPr>
          <a:xfrm>
            <a:off x="8280400" y="2362201"/>
            <a:ext cx="3400425" cy="3857624"/>
          </a:xfrm>
        </p:spPr>
        <p:txBody>
          <a:bodyPr vert="horz" lIns="0" tIns="45720" rIns="0" bIns="4572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4" name="Title 3">
            <a:extLst>
              <a:ext uri="{FF2B5EF4-FFF2-40B4-BE49-F238E27FC236}">
                <a16:creationId xmlns:a16="http://schemas.microsoft.com/office/drawing/2014/main" id="{71818607-C6C5-1C56-C74F-B905FAA1B40B}"/>
              </a:ext>
            </a:extLst>
          </p:cNvPr>
          <p:cNvSpPr>
            <a:spLocks noGrp="1"/>
          </p:cNvSpPr>
          <p:nvPr>
            <p:ph type="title" hasCustomPrompt="1"/>
          </p:nvPr>
        </p:nvSpPr>
        <p:spPr>
          <a:xfrm>
            <a:off x="508000" y="454013"/>
            <a:ext cx="11172825" cy="824453"/>
          </a:xfrm>
        </p:spPr>
        <p:txBody>
          <a:bodyPr/>
          <a:lstStyle/>
          <a:p>
            <a:r>
              <a:rPr lang="en-GB" dirty="0"/>
              <a:t>CASE STUDY: CLIENT NAME</a:t>
            </a:r>
          </a:p>
        </p:txBody>
      </p:sp>
      <p:sp>
        <p:nvSpPr>
          <p:cNvPr id="2" name="Content Placeholder 2">
            <a:extLst>
              <a:ext uri="{FF2B5EF4-FFF2-40B4-BE49-F238E27FC236}">
                <a16:creationId xmlns:a16="http://schemas.microsoft.com/office/drawing/2014/main" id="{5BC42152-94B2-E331-F6B7-CC99A6B7282A}"/>
              </a:ext>
            </a:extLst>
          </p:cNvPr>
          <p:cNvSpPr>
            <a:spLocks noGrp="1"/>
          </p:cNvSpPr>
          <p:nvPr>
            <p:ph idx="25" hasCustomPrompt="1"/>
          </p:nvPr>
        </p:nvSpPr>
        <p:spPr>
          <a:xfrm>
            <a:off x="508000" y="1278467"/>
            <a:ext cx="11174413" cy="758614"/>
          </a:xfrm>
        </p:spPr>
        <p:txBody>
          <a:bodyPr vert="horz" lIns="0" tIns="45720" rIns="0" bIns="45720" numCol="1" spcCol="288000" rtlCol="0">
            <a:noAutofit/>
          </a:bodyPr>
          <a:lstStyle>
            <a:lvl1pPr>
              <a:lnSpc>
                <a:spcPct val="110000"/>
              </a:lnSpc>
              <a:defRPr lang="en-US" sz="2000" dirty="0" smtClean="0">
                <a:solidFill>
                  <a:schemeClr val="accent2"/>
                </a:solidFill>
              </a:defRPr>
            </a:lvl1pPr>
            <a:lvl2pPr>
              <a:defRPr lang="en-US" sz="1400" dirty="0">
                <a:solidFill>
                  <a:schemeClr val="tx2"/>
                </a:solidFill>
                <a:latin typeface="+mj-lt"/>
              </a:defRPr>
            </a:lvl2pPr>
            <a:lvl3pPr>
              <a:defRPr lang="en-US" dirty="0"/>
            </a:lvl3pPr>
            <a:lvl4pPr>
              <a:defRPr lang="en-US" dirty="0"/>
            </a:lvl4pPr>
            <a:lvl5pPr>
              <a:defRPr lang="en-US" dirty="0"/>
            </a:lvl5pPr>
          </a:lstStyle>
          <a:p>
            <a:pPr marL="0" marR="0" lvl="0" indent="0" algn="l" defTabSz="914400" rtl="0" eaLnBrk="1" fontAlgn="auto" latinLnBrk="0" hangingPunct="1">
              <a:lnSpc>
                <a:spcPct val="130000"/>
              </a:lnSpc>
              <a:spcBef>
                <a:spcPts val="300"/>
              </a:spcBef>
              <a:spcAft>
                <a:spcPts val="300"/>
              </a:spcAft>
              <a:buClrTx/>
              <a:buSzTx/>
              <a:buFont typeface="Arial" panose="020B0604020202020204" pitchFamily="34" charset="0"/>
              <a:buNone/>
              <a:tabLst/>
              <a:defRPr/>
            </a:pPr>
            <a:r>
              <a:rPr lang="en-US" dirty="0"/>
              <a:t>Intro paragraph text goes here</a:t>
            </a:r>
          </a:p>
        </p:txBody>
      </p:sp>
      <p:sp>
        <p:nvSpPr>
          <p:cNvPr id="7" name="Content Placeholder 2">
            <a:extLst>
              <a:ext uri="{FF2B5EF4-FFF2-40B4-BE49-F238E27FC236}">
                <a16:creationId xmlns:a16="http://schemas.microsoft.com/office/drawing/2014/main" id="{E2A5140D-BEB3-7F54-3199-65AFC008010D}"/>
              </a:ext>
            </a:extLst>
          </p:cNvPr>
          <p:cNvSpPr>
            <a:spLocks noGrp="1"/>
          </p:cNvSpPr>
          <p:nvPr>
            <p:ph idx="1" hasCustomPrompt="1"/>
          </p:nvPr>
        </p:nvSpPr>
        <p:spPr>
          <a:xfrm>
            <a:off x="508000" y="2037081"/>
            <a:ext cx="11174413" cy="291662"/>
          </a:xfrm>
        </p:spPr>
        <p:txBody>
          <a:bodyPr vert="horz" lIns="0" tIns="45720" rIns="0" bIns="45720" numCol="1" spcCol="288000" rtlCol="0">
            <a:noAutofit/>
          </a:bodyPr>
          <a:lstStyle>
            <a:lvl1pPr>
              <a:defRPr lang="en-US" cap="all" baseline="0" dirty="0" smtClean="0"/>
            </a:lvl1pPr>
            <a:lvl2pPr>
              <a:defRPr lang="en-US" dirty="0"/>
            </a:lvl2pPr>
            <a:lvl3pPr>
              <a:defRPr lang="en-US" dirty="0"/>
            </a:lvl3pPr>
            <a:lvl4pPr>
              <a:defRPr lang="en-US" dirty="0"/>
            </a:lvl4pPr>
            <a:lvl5pPr>
              <a:defRPr lang="en-US" dirty="0"/>
            </a:lvl5pPr>
          </a:lstStyle>
          <a:p>
            <a:pPr lvl="0"/>
            <a:r>
              <a:rPr lang="en-US" dirty="0"/>
              <a:t>subhead</a:t>
            </a:r>
          </a:p>
        </p:txBody>
      </p:sp>
      <p:sp>
        <p:nvSpPr>
          <p:cNvPr id="8" name="Rectangle 7">
            <a:extLst>
              <a:ext uri="{FF2B5EF4-FFF2-40B4-BE49-F238E27FC236}">
                <a16:creationId xmlns:a16="http://schemas.microsoft.com/office/drawing/2014/main" id="{89A4295F-78A3-FA0A-3626-1A0BF9DB5793}"/>
              </a:ext>
            </a:extLst>
          </p:cNvPr>
          <p:cNvSpPr/>
          <p:nvPr userDrawn="1"/>
        </p:nvSpPr>
        <p:spPr>
          <a:xfrm>
            <a:off x="12352867" y="0"/>
            <a:ext cx="1947333" cy="201506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b="1" i="0" dirty="0">
                <a:solidFill>
                  <a:schemeClr val="bg1"/>
                </a:solidFill>
                <a:effectLst/>
                <a:latin typeface="+mn-lt"/>
                <a:ea typeface="Calibri" panose="020F0502020204030204" pitchFamily="34" charset="0"/>
              </a:rPr>
              <a:t>NOTE:</a:t>
            </a:r>
          </a:p>
          <a:p>
            <a:r>
              <a:rPr lang="en-GB" sz="1200" i="1" dirty="0">
                <a:solidFill>
                  <a:schemeClr val="bg1"/>
                </a:solidFill>
                <a:effectLst/>
                <a:latin typeface="+mn-lt"/>
                <a:ea typeface="Calibri" panose="020F0502020204030204" pitchFamily="34" charset="0"/>
              </a:rPr>
              <a:t>You may only include a client logo if the client has provided express written permission to use it, and has shared a logo file (jpeg or </a:t>
            </a:r>
            <a:r>
              <a:rPr lang="en-GB" sz="1200" i="1" dirty="0" err="1">
                <a:solidFill>
                  <a:schemeClr val="bg1"/>
                </a:solidFill>
                <a:effectLst/>
                <a:latin typeface="+mn-lt"/>
                <a:ea typeface="Calibri" panose="020F0502020204030204" pitchFamily="34" charset="0"/>
              </a:rPr>
              <a:t>png</a:t>
            </a:r>
            <a:r>
              <a:rPr lang="en-GB" sz="1200" i="1" dirty="0">
                <a:solidFill>
                  <a:schemeClr val="bg1"/>
                </a:solidFill>
                <a:effectLst/>
                <a:latin typeface="+mn-lt"/>
                <a:ea typeface="Calibri" panose="020F0502020204030204" pitchFamily="34" charset="0"/>
              </a:rPr>
              <a:t>) for your use.</a:t>
            </a:r>
            <a:endParaRPr lang="en-GB" sz="1200" dirty="0">
              <a:solidFill>
                <a:schemeClr val="bg1"/>
              </a:solidFill>
              <a:effectLst/>
              <a:latin typeface="+mn-lt"/>
              <a:ea typeface="Calibri" panose="020F0502020204030204" pitchFamily="34" charset="0"/>
            </a:endParaRPr>
          </a:p>
        </p:txBody>
      </p:sp>
      <p:sp>
        <p:nvSpPr>
          <p:cNvPr id="10" name="TextBox 4">
            <a:extLst>
              <a:ext uri="{FF2B5EF4-FFF2-40B4-BE49-F238E27FC236}">
                <a16:creationId xmlns:a16="http://schemas.microsoft.com/office/drawing/2014/main" id="{30BF520F-22FB-8BDE-A442-99CE5E5D9D5A}"/>
              </a:ext>
            </a:extLst>
          </p:cNvPr>
          <p:cNvSpPr txBox="1"/>
          <p:nvPr userDrawn="1"/>
        </p:nvSpPr>
        <p:spPr>
          <a:xfrm>
            <a:off x="12346713" y="2175601"/>
            <a:ext cx="1934437" cy="31700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INSERTING IMAGES:</a:t>
            </a:r>
          </a:p>
          <a:p>
            <a:pPr marL="179388" indent="-179388">
              <a:spcBef>
                <a:spcPts val="200"/>
              </a:spcBef>
              <a:spcAft>
                <a:spcPts val="200"/>
              </a:spcAft>
              <a:buFont typeface="+mj-lt"/>
              <a:buAutoNum type="arabicPeriod"/>
            </a:pPr>
            <a:r>
              <a:rPr lang="en-US" sz="900" dirty="0">
                <a:solidFill>
                  <a:schemeClr val="tx1"/>
                </a:solidFill>
                <a:latin typeface="+mn-lt"/>
              </a:rPr>
              <a:t>Simply click the image placeholder and select your image.</a:t>
            </a:r>
          </a:p>
          <a:p>
            <a:pPr marL="179388" indent="-179388">
              <a:spcBef>
                <a:spcPts val="200"/>
              </a:spcBef>
              <a:spcAft>
                <a:spcPts val="200"/>
              </a:spcAft>
              <a:buFont typeface="+mj-lt"/>
              <a:buAutoNum type="arabicPeriod"/>
            </a:pPr>
            <a:r>
              <a:rPr lang="en-US" sz="900" dirty="0">
                <a:solidFill>
                  <a:schemeClr val="tx1"/>
                </a:solidFill>
                <a:latin typeface="+mn-lt"/>
              </a:rPr>
              <a:t>Once your image is inserted into the shape it may be distorted. (Stretched or Squashed)</a:t>
            </a:r>
          </a:p>
          <a:p>
            <a:pPr marL="179388" indent="-179388">
              <a:spcBef>
                <a:spcPts val="200"/>
              </a:spcBef>
              <a:spcAft>
                <a:spcPts val="200"/>
              </a:spcAft>
              <a:buFont typeface="+mj-lt"/>
              <a:buAutoNum type="arabicPeriod"/>
            </a:pPr>
            <a:endParaRPr lang="en-US" sz="900" dirty="0">
              <a:solidFill>
                <a:schemeClr val="tx1"/>
              </a:solidFill>
              <a:latin typeface="+mn-lt"/>
            </a:endParaRPr>
          </a:p>
          <a:p>
            <a:pPr>
              <a:spcBef>
                <a:spcPts val="200"/>
              </a:spcBef>
              <a:spcAft>
                <a:spcPts val="200"/>
              </a:spcAft>
            </a:pPr>
            <a:r>
              <a:rPr lang="en-US" sz="900" b="1" dirty="0">
                <a:solidFill>
                  <a:schemeClr val="tx1"/>
                </a:solidFill>
                <a:latin typeface="+mn-lt"/>
              </a:rPr>
              <a:t>To fix this:</a:t>
            </a:r>
          </a:p>
          <a:p>
            <a:pPr marL="179388" indent="-179388">
              <a:spcBef>
                <a:spcPts val="200"/>
              </a:spcBef>
              <a:spcAft>
                <a:spcPts val="200"/>
              </a:spcAft>
              <a:buFont typeface="+mj-lt"/>
              <a:buAutoNum type="arabicPeriod"/>
            </a:pPr>
            <a:r>
              <a:rPr lang="en-US" sz="900" dirty="0">
                <a:solidFill>
                  <a:schemeClr val="tx1"/>
                </a:solidFill>
                <a:latin typeface="+mn-lt"/>
              </a:rPr>
              <a:t>Click on the image and from the top menu under </a:t>
            </a:r>
            <a:r>
              <a:rPr lang="en-US" sz="900" b="1" dirty="0">
                <a:solidFill>
                  <a:schemeClr val="tx1"/>
                </a:solidFill>
                <a:latin typeface="+mn-lt"/>
              </a:rPr>
              <a:t>PICTURE FORMAT </a:t>
            </a:r>
            <a:r>
              <a:rPr lang="en-US" sz="900" dirty="0">
                <a:solidFill>
                  <a:schemeClr val="tx1"/>
                </a:solidFill>
                <a:latin typeface="+mn-lt"/>
              </a:rPr>
              <a:t>select the </a:t>
            </a:r>
            <a:r>
              <a:rPr lang="en-US" sz="900" b="1" dirty="0">
                <a:solidFill>
                  <a:schemeClr val="tx1"/>
                </a:solidFill>
                <a:latin typeface="+mn-lt"/>
              </a:rPr>
              <a:t>CROP</a:t>
            </a:r>
            <a:r>
              <a:rPr lang="en-US" sz="900" dirty="0">
                <a:solidFill>
                  <a:schemeClr val="tx1"/>
                </a:solidFill>
                <a:latin typeface="+mn-lt"/>
              </a:rPr>
              <a:t> on the right and from the drop down menu select </a:t>
            </a:r>
            <a:r>
              <a:rPr lang="en-US" sz="900" b="1" kern="1200" dirty="0">
                <a:solidFill>
                  <a:schemeClr val="tx1"/>
                </a:solidFill>
                <a:latin typeface="+mn-lt"/>
                <a:ea typeface="+mn-ea"/>
                <a:cs typeface="+mn-cs"/>
              </a:rPr>
              <a:t>FILL</a:t>
            </a:r>
          </a:p>
          <a:p>
            <a:pPr marL="179388" indent="-179388">
              <a:spcBef>
                <a:spcPts val="200"/>
              </a:spcBef>
              <a:spcAft>
                <a:spcPts val="200"/>
              </a:spcAft>
              <a:buFont typeface="+mj-lt"/>
              <a:buAutoNum type="arabicPeriod"/>
            </a:pPr>
            <a:r>
              <a:rPr lang="en-US" sz="900" b="0" kern="1200" dirty="0">
                <a:solidFill>
                  <a:schemeClr val="tx1"/>
                </a:solidFill>
                <a:latin typeface="+mn-lt"/>
                <a:ea typeface="+mn-ea"/>
                <a:cs typeface="+mn-cs"/>
              </a:rPr>
              <a:t>From here you can move the image within the shape for best visual appearance</a:t>
            </a:r>
          </a:p>
        </p:txBody>
      </p:sp>
    </p:spTree>
    <p:extLst>
      <p:ext uri="{BB962C8B-B14F-4D97-AF65-F5344CB8AC3E}">
        <p14:creationId xmlns:p14="http://schemas.microsoft.com/office/powerpoint/2010/main" val="692481641"/>
      </p:ext>
    </p:extLst>
  </p:cSld>
  <p:clrMapOvr>
    <a:masterClrMapping/>
  </p:clrMapOvr>
  <p:transition spd="med">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Content &amp; Image AEROSPAC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261A4C7-E98D-3660-5C37-C13B3A230A80}"/>
              </a:ext>
            </a:extLst>
          </p:cNvPr>
          <p:cNvSpPr/>
          <p:nvPr userDrawn="1"/>
        </p:nvSpPr>
        <p:spPr>
          <a:xfrm>
            <a:off x="8126413" y="0"/>
            <a:ext cx="40655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Footer Placeholder 4"/>
          <p:cNvSpPr>
            <a:spLocks noGrp="1"/>
          </p:cNvSpPr>
          <p:nvPr>
            <p:ph type="ftr" sz="quarter" idx="11"/>
          </p:nvPr>
        </p:nvSpPr>
        <p:spPr/>
        <p:txBody>
          <a:bodyPr/>
          <a:lstStyle/>
          <a:p>
            <a:r>
              <a:rPr lang="en-GB"/>
              <a:t>INSERT FOOTER HER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8CFE0557-AA98-4E6C-B0C3-581794696B68}" type="slidenum">
              <a:rPr lang="en-GB" smtClean="0"/>
              <a:pPr/>
              <a:t>‹#›</a:t>
            </a:fld>
            <a:endParaRPr lang="en-GB"/>
          </a:p>
        </p:txBody>
      </p:sp>
      <p:sp>
        <p:nvSpPr>
          <p:cNvPr id="10" name="Content Placeholder 2">
            <a:extLst>
              <a:ext uri="{FF2B5EF4-FFF2-40B4-BE49-F238E27FC236}">
                <a16:creationId xmlns:a16="http://schemas.microsoft.com/office/drawing/2014/main" id="{182B4A0E-C187-E12F-BB7B-7E465EDEEA4C}"/>
              </a:ext>
            </a:extLst>
          </p:cNvPr>
          <p:cNvSpPr>
            <a:spLocks noGrp="1"/>
          </p:cNvSpPr>
          <p:nvPr>
            <p:ph idx="1" hasCustomPrompt="1"/>
          </p:nvPr>
        </p:nvSpPr>
        <p:spPr>
          <a:xfrm>
            <a:off x="508000" y="1244882"/>
            <a:ext cx="7142820" cy="291662"/>
          </a:xfrm>
        </p:spPr>
        <p:txBody>
          <a:bodyPr vert="horz" lIns="0" tIns="45720" rIns="0" bIns="45720" numCol="1" spcCol="288000" rtlCol="0">
            <a:noAutofit/>
          </a:bodyPr>
          <a:lstStyle>
            <a:lvl1pPr>
              <a:defRPr lang="en-US" cap="all" baseline="0" dirty="0" smtClean="0"/>
            </a:lvl1pPr>
            <a:lvl2pPr>
              <a:defRPr lang="en-US" dirty="0"/>
            </a:lvl2pPr>
            <a:lvl3pPr>
              <a:defRPr lang="en-US" dirty="0"/>
            </a:lvl3pPr>
            <a:lvl4pPr>
              <a:defRPr lang="en-US" dirty="0"/>
            </a:lvl4pPr>
            <a:lvl5pPr>
              <a:defRPr lang="en-US" dirty="0"/>
            </a:lvl5pPr>
          </a:lstStyle>
          <a:p>
            <a:pPr lvl="0"/>
            <a:r>
              <a:rPr lang="en-US" dirty="0"/>
              <a:t>subhead</a:t>
            </a:r>
          </a:p>
        </p:txBody>
      </p:sp>
      <p:sp>
        <p:nvSpPr>
          <p:cNvPr id="12" name="Content Placeholder 2">
            <a:extLst>
              <a:ext uri="{FF2B5EF4-FFF2-40B4-BE49-F238E27FC236}">
                <a16:creationId xmlns:a16="http://schemas.microsoft.com/office/drawing/2014/main" id="{79AF8CE8-F801-FBFD-7F6F-0BE65F72C036}"/>
              </a:ext>
            </a:extLst>
          </p:cNvPr>
          <p:cNvSpPr>
            <a:spLocks noGrp="1"/>
          </p:cNvSpPr>
          <p:nvPr>
            <p:ph idx="16" hasCustomPrompt="1"/>
          </p:nvPr>
        </p:nvSpPr>
        <p:spPr>
          <a:xfrm>
            <a:off x="508000" y="1613017"/>
            <a:ext cx="3400425" cy="4606808"/>
          </a:xfrm>
        </p:spPr>
        <p:txBody>
          <a:bodyPr vert="horz" lIns="0" tIns="45720" rIns="0" bIns="4572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7" name="TextBox 4">
            <a:extLst>
              <a:ext uri="{FF2B5EF4-FFF2-40B4-BE49-F238E27FC236}">
                <a16:creationId xmlns:a16="http://schemas.microsoft.com/office/drawing/2014/main" id="{ECC1AF18-C7ED-CAA0-D1D3-14DEFC5E2590}"/>
              </a:ext>
            </a:extLst>
          </p:cNvPr>
          <p:cNvSpPr txBox="1"/>
          <p:nvPr userDrawn="1"/>
        </p:nvSpPr>
        <p:spPr>
          <a:xfrm>
            <a:off x="12346713" y="109538"/>
            <a:ext cx="1934437" cy="31700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INSERTING IMAGES:</a:t>
            </a:r>
          </a:p>
          <a:p>
            <a:pPr marL="179388" indent="-179388">
              <a:spcBef>
                <a:spcPts val="200"/>
              </a:spcBef>
              <a:spcAft>
                <a:spcPts val="200"/>
              </a:spcAft>
              <a:buFont typeface="+mj-lt"/>
              <a:buAutoNum type="arabicPeriod"/>
            </a:pPr>
            <a:r>
              <a:rPr lang="en-US" sz="900" dirty="0">
                <a:solidFill>
                  <a:schemeClr val="tx1"/>
                </a:solidFill>
                <a:latin typeface="+mn-lt"/>
              </a:rPr>
              <a:t>Simply click the image placeholder and select your image.</a:t>
            </a:r>
          </a:p>
          <a:p>
            <a:pPr marL="179388" indent="-179388">
              <a:spcBef>
                <a:spcPts val="200"/>
              </a:spcBef>
              <a:spcAft>
                <a:spcPts val="200"/>
              </a:spcAft>
              <a:buFont typeface="+mj-lt"/>
              <a:buAutoNum type="arabicPeriod"/>
            </a:pPr>
            <a:r>
              <a:rPr lang="en-US" sz="900" dirty="0">
                <a:solidFill>
                  <a:schemeClr val="tx1"/>
                </a:solidFill>
                <a:latin typeface="+mn-lt"/>
              </a:rPr>
              <a:t>Once your image is inserted into the shape it may be distorted. (Stretched or Squashed)</a:t>
            </a:r>
          </a:p>
          <a:p>
            <a:pPr marL="179388" indent="-179388">
              <a:spcBef>
                <a:spcPts val="200"/>
              </a:spcBef>
              <a:spcAft>
                <a:spcPts val="200"/>
              </a:spcAft>
              <a:buFont typeface="+mj-lt"/>
              <a:buAutoNum type="arabicPeriod"/>
            </a:pPr>
            <a:endParaRPr lang="en-US" sz="900" dirty="0">
              <a:solidFill>
                <a:schemeClr val="tx1"/>
              </a:solidFill>
              <a:latin typeface="+mn-lt"/>
            </a:endParaRPr>
          </a:p>
          <a:p>
            <a:pPr>
              <a:spcBef>
                <a:spcPts val="200"/>
              </a:spcBef>
              <a:spcAft>
                <a:spcPts val="200"/>
              </a:spcAft>
            </a:pPr>
            <a:r>
              <a:rPr lang="en-US" sz="900" b="1" dirty="0">
                <a:solidFill>
                  <a:schemeClr val="tx1"/>
                </a:solidFill>
                <a:latin typeface="+mn-lt"/>
              </a:rPr>
              <a:t>To fix this:</a:t>
            </a:r>
          </a:p>
          <a:p>
            <a:pPr marL="179388" indent="-179388">
              <a:spcBef>
                <a:spcPts val="200"/>
              </a:spcBef>
              <a:spcAft>
                <a:spcPts val="200"/>
              </a:spcAft>
              <a:buFont typeface="+mj-lt"/>
              <a:buAutoNum type="arabicPeriod"/>
            </a:pPr>
            <a:r>
              <a:rPr lang="en-US" sz="900" dirty="0">
                <a:solidFill>
                  <a:schemeClr val="tx1"/>
                </a:solidFill>
                <a:latin typeface="+mn-lt"/>
              </a:rPr>
              <a:t>Click on the image and from the top menu under </a:t>
            </a:r>
            <a:r>
              <a:rPr lang="en-US" sz="900" b="1" dirty="0">
                <a:solidFill>
                  <a:schemeClr val="tx1"/>
                </a:solidFill>
                <a:latin typeface="+mn-lt"/>
              </a:rPr>
              <a:t>PICTURE FORMAT </a:t>
            </a:r>
            <a:r>
              <a:rPr lang="en-US" sz="900" dirty="0">
                <a:solidFill>
                  <a:schemeClr val="tx1"/>
                </a:solidFill>
                <a:latin typeface="+mn-lt"/>
              </a:rPr>
              <a:t>select the </a:t>
            </a:r>
            <a:r>
              <a:rPr lang="en-US" sz="900" b="1" dirty="0">
                <a:solidFill>
                  <a:schemeClr val="tx1"/>
                </a:solidFill>
                <a:latin typeface="+mn-lt"/>
              </a:rPr>
              <a:t>CROP</a:t>
            </a:r>
            <a:r>
              <a:rPr lang="en-US" sz="900" dirty="0">
                <a:solidFill>
                  <a:schemeClr val="tx1"/>
                </a:solidFill>
                <a:latin typeface="+mn-lt"/>
              </a:rPr>
              <a:t> on the right and from the drop down menu select </a:t>
            </a:r>
            <a:r>
              <a:rPr lang="en-US" sz="900" b="1" kern="1200" dirty="0">
                <a:solidFill>
                  <a:schemeClr val="tx1"/>
                </a:solidFill>
                <a:latin typeface="+mn-lt"/>
                <a:ea typeface="+mn-ea"/>
                <a:cs typeface="+mn-cs"/>
              </a:rPr>
              <a:t>FILL</a:t>
            </a:r>
          </a:p>
          <a:p>
            <a:pPr marL="179388" indent="-179388">
              <a:spcBef>
                <a:spcPts val="200"/>
              </a:spcBef>
              <a:spcAft>
                <a:spcPts val="200"/>
              </a:spcAft>
              <a:buFont typeface="+mj-lt"/>
              <a:buAutoNum type="arabicPeriod"/>
            </a:pPr>
            <a:r>
              <a:rPr lang="en-US" sz="900" b="0" kern="1200" dirty="0">
                <a:solidFill>
                  <a:schemeClr val="tx1"/>
                </a:solidFill>
                <a:latin typeface="+mn-lt"/>
                <a:ea typeface="+mn-ea"/>
                <a:cs typeface="+mn-cs"/>
              </a:rPr>
              <a:t>From here you can move the image within the shape for best visual appearance</a:t>
            </a:r>
          </a:p>
        </p:txBody>
      </p:sp>
      <p:sp>
        <p:nvSpPr>
          <p:cNvPr id="4" name="Content Placeholder 2">
            <a:extLst>
              <a:ext uri="{FF2B5EF4-FFF2-40B4-BE49-F238E27FC236}">
                <a16:creationId xmlns:a16="http://schemas.microsoft.com/office/drawing/2014/main" id="{53C28725-2311-B24F-68FE-D0071B9D9FA2}"/>
              </a:ext>
            </a:extLst>
          </p:cNvPr>
          <p:cNvSpPr>
            <a:spLocks noGrp="1"/>
          </p:cNvSpPr>
          <p:nvPr>
            <p:ph idx="18" hasCustomPrompt="1"/>
          </p:nvPr>
        </p:nvSpPr>
        <p:spPr>
          <a:xfrm>
            <a:off x="4229229" y="1613017"/>
            <a:ext cx="3421591" cy="4606808"/>
          </a:xfrm>
        </p:spPr>
        <p:txBody>
          <a:bodyPr vert="horz" lIns="0" tIns="45720" rIns="0" bIns="4572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2" name="Title 1">
            <a:extLst>
              <a:ext uri="{FF2B5EF4-FFF2-40B4-BE49-F238E27FC236}">
                <a16:creationId xmlns:a16="http://schemas.microsoft.com/office/drawing/2014/main" id="{F716C1E4-4130-ED05-3440-416A4549A61B}"/>
              </a:ext>
            </a:extLst>
          </p:cNvPr>
          <p:cNvSpPr>
            <a:spLocks noGrp="1"/>
          </p:cNvSpPr>
          <p:nvPr>
            <p:ph type="title" hasCustomPrompt="1"/>
          </p:nvPr>
        </p:nvSpPr>
        <p:spPr>
          <a:xfrm>
            <a:off x="508001" y="454013"/>
            <a:ext cx="7142820" cy="790869"/>
          </a:xfrm>
        </p:spPr>
        <p:txBody>
          <a:bodyPr/>
          <a:lstStyle/>
          <a:p>
            <a:r>
              <a:rPr lang="en-US" dirty="0"/>
              <a:t>TITLE: subtitle</a:t>
            </a:r>
            <a:endParaRPr lang="en-GB" dirty="0"/>
          </a:p>
        </p:txBody>
      </p:sp>
      <p:sp>
        <p:nvSpPr>
          <p:cNvPr id="9" name="Content Placeholder 2">
            <a:extLst>
              <a:ext uri="{FF2B5EF4-FFF2-40B4-BE49-F238E27FC236}">
                <a16:creationId xmlns:a16="http://schemas.microsoft.com/office/drawing/2014/main" id="{50857AC0-932F-5BAA-C619-2F239FED9BE2}"/>
              </a:ext>
            </a:extLst>
          </p:cNvPr>
          <p:cNvSpPr>
            <a:spLocks noGrp="1"/>
          </p:cNvSpPr>
          <p:nvPr>
            <p:ph idx="45" hasCustomPrompt="1"/>
          </p:nvPr>
        </p:nvSpPr>
        <p:spPr>
          <a:xfrm>
            <a:off x="8737600" y="2660686"/>
            <a:ext cx="2944813" cy="3559139"/>
          </a:xfrm>
        </p:spPr>
        <p:txBody>
          <a:bodyPr vert="horz" lIns="0" tIns="45720" rIns="0" bIns="45720" rtlCol="0">
            <a:normAutofit/>
          </a:bodyPr>
          <a:lstStyle>
            <a:lvl1pPr algn="l" defTabSz="914400" rtl="0" eaLnBrk="1" latinLnBrk="0" hangingPunct="1">
              <a:lnSpc>
                <a:spcPct val="130000"/>
              </a:lnSpc>
              <a:spcBef>
                <a:spcPts val="300"/>
              </a:spcBef>
              <a:spcAft>
                <a:spcPts val="300"/>
              </a:spcAft>
              <a:buFont typeface="Arial" panose="020B0604020202020204" pitchFamily="34" charset="0"/>
              <a:defRPr lang="en-US" sz="1100" kern="1200" dirty="0">
                <a:solidFill>
                  <a:schemeClr val="bg1"/>
                </a:solidFill>
                <a:latin typeface="+mn-lt"/>
                <a:ea typeface="+mn-ea"/>
                <a:cs typeface="+mn-cs"/>
              </a:defRPr>
            </a:lvl1pPr>
            <a:lvl2pPr>
              <a:buClr>
                <a:schemeClr val="bg1"/>
              </a:buClr>
              <a:defRPr lang="en-US" dirty="0">
                <a:solidFill>
                  <a:schemeClr val="bg1"/>
                </a:solidFill>
              </a:defRPr>
            </a:lvl2pPr>
            <a:lvl3pPr>
              <a:buClr>
                <a:schemeClr val="bg1"/>
              </a:buClr>
              <a:defRPr lang="en-US" dirty="0">
                <a:solidFill>
                  <a:schemeClr val="bg1"/>
                </a:solidFill>
              </a:defRPr>
            </a:lvl3pPr>
            <a:lvl4pPr>
              <a:buClr>
                <a:schemeClr val="bg1"/>
              </a:buClr>
              <a:defRPr lang="en-US" dirty="0">
                <a:solidFill>
                  <a:schemeClr val="bg1"/>
                </a:solidFill>
              </a:defRPr>
            </a:lvl4pPr>
            <a:lvl5pPr>
              <a:buClr>
                <a:schemeClr val="bg1"/>
              </a:buClr>
              <a:defRPr lang="en-US" dirty="0">
                <a:solidFill>
                  <a:schemeClr val="bg1"/>
                </a:solidFill>
              </a:defRPr>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11" name="Content Placeholder 2">
            <a:extLst>
              <a:ext uri="{FF2B5EF4-FFF2-40B4-BE49-F238E27FC236}">
                <a16:creationId xmlns:a16="http://schemas.microsoft.com/office/drawing/2014/main" id="{1C0E041C-792C-A30B-955E-9CBF9DBE0507}"/>
              </a:ext>
            </a:extLst>
          </p:cNvPr>
          <p:cNvSpPr>
            <a:spLocks noGrp="1"/>
          </p:cNvSpPr>
          <p:nvPr>
            <p:ph idx="46" hasCustomPrompt="1"/>
          </p:nvPr>
        </p:nvSpPr>
        <p:spPr>
          <a:xfrm>
            <a:off x="8737600" y="2294925"/>
            <a:ext cx="2946399" cy="365761"/>
          </a:xfrm>
        </p:spPr>
        <p:txBody>
          <a:bodyPr/>
          <a:lstStyle>
            <a:lvl1pPr>
              <a:defRPr cap="all" baseline="0">
                <a:solidFill>
                  <a:schemeClr val="accent2"/>
                </a:solidFill>
              </a:defRPr>
            </a:lvl1pPr>
          </a:lstStyle>
          <a:p>
            <a:pPr lvl="0"/>
            <a:r>
              <a:rPr lang="en-US" dirty="0"/>
              <a:t>subhead</a:t>
            </a:r>
          </a:p>
        </p:txBody>
      </p:sp>
      <p:sp>
        <p:nvSpPr>
          <p:cNvPr id="3" name="Freeform: Shape 2">
            <a:extLst>
              <a:ext uri="{FF2B5EF4-FFF2-40B4-BE49-F238E27FC236}">
                <a16:creationId xmlns:a16="http://schemas.microsoft.com/office/drawing/2014/main" id="{3F2E28E8-3492-ACD4-95E7-7997FBD5AE2B}"/>
              </a:ext>
            </a:extLst>
          </p:cNvPr>
          <p:cNvSpPr/>
          <p:nvPr userDrawn="1"/>
        </p:nvSpPr>
        <p:spPr>
          <a:xfrm>
            <a:off x="9422818" y="508495"/>
            <a:ext cx="1472776" cy="1472774"/>
          </a:xfrm>
          <a:custGeom>
            <a:avLst/>
            <a:gdLst>
              <a:gd name="connsiteX0" fmla="*/ 367928 w 586449"/>
              <a:gd name="connsiteY0" fmla="*/ 313206 h 586450"/>
              <a:gd name="connsiteX1" fmla="*/ 322304 w 586449"/>
              <a:gd name="connsiteY1" fmla="*/ 336793 h 586450"/>
              <a:gd name="connsiteX2" fmla="*/ 322270 w 586449"/>
              <a:gd name="connsiteY2" fmla="*/ 336827 h 586450"/>
              <a:gd name="connsiteX3" fmla="*/ 322337 w 586449"/>
              <a:gd name="connsiteY3" fmla="*/ 338040 h 586450"/>
              <a:gd name="connsiteX4" fmla="*/ 322270 w 586449"/>
              <a:gd name="connsiteY4" fmla="*/ 338074 h 586450"/>
              <a:gd name="connsiteX5" fmla="*/ 328908 w 586449"/>
              <a:gd name="connsiteY5" fmla="*/ 450350 h 586450"/>
              <a:gd name="connsiteX6" fmla="*/ 332042 w 586449"/>
              <a:gd name="connsiteY6" fmla="*/ 448598 h 586450"/>
              <a:gd name="connsiteX7" fmla="*/ 351889 w 586449"/>
              <a:gd name="connsiteY7" fmla="*/ 415205 h 586450"/>
              <a:gd name="connsiteX8" fmla="*/ 367928 w 586449"/>
              <a:gd name="connsiteY8" fmla="*/ 314487 h 586450"/>
              <a:gd name="connsiteX9" fmla="*/ 367693 w 586449"/>
              <a:gd name="connsiteY9" fmla="*/ 314588 h 586450"/>
              <a:gd name="connsiteX10" fmla="*/ 367928 w 586449"/>
              <a:gd name="connsiteY10" fmla="*/ 313206 h 586450"/>
              <a:gd name="connsiteX11" fmla="*/ 133390 w 586449"/>
              <a:gd name="connsiteY11" fmla="*/ 168822 h 586450"/>
              <a:gd name="connsiteX12" fmla="*/ 116521 w 586449"/>
              <a:gd name="connsiteY12" fmla="*/ 175355 h 586450"/>
              <a:gd name="connsiteX13" fmla="*/ 113690 w 586449"/>
              <a:gd name="connsiteY13" fmla="*/ 177882 h 586450"/>
              <a:gd name="connsiteX14" fmla="*/ 248340 w 586449"/>
              <a:gd name="connsiteY14" fmla="*/ 256495 h 586450"/>
              <a:gd name="connsiteX15" fmla="*/ 248340 w 586449"/>
              <a:gd name="connsiteY15" fmla="*/ 256462 h 586450"/>
              <a:gd name="connsiteX16" fmla="*/ 314250 w 586449"/>
              <a:gd name="connsiteY16" fmla="*/ 221451 h 586450"/>
              <a:gd name="connsiteX17" fmla="*/ 155036 w 586449"/>
              <a:gd name="connsiteY17" fmla="*/ 172726 h 586450"/>
              <a:gd name="connsiteX18" fmla="*/ 133390 w 586449"/>
              <a:gd name="connsiteY18" fmla="*/ 168822 h 586450"/>
              <a:gd name="connsiteX19" fmla="*/ 486977 w 586449"/>
              <a:gd name="connsiteY19" fmla="*/ 168253 h 586450"/>
              <a:gd name="connsiteX20" fmla="*/ 463996 w 586449"/>
              <a:gd name="connsiteY20" fmla="*/ 170199 h 586450"/>
              <a:gd name="connsiteX21" fmla="*/ 171681 w 586449"/>
              <a:gd name="connsiteY21" fmla="*/ 321260 h 586450"/>
              <a:gd name="connsiteX22" fmla="*/ 154699 w 586449"/>
              <a:gd name="connsiteY22" fmla="*/ 322304 h 586450"/>
              <a:gd name="connsiteX23" fmla="*/ 90137 w 586449"/>
              <a:gd name="connsiteY23" fmla="*/ 303131 h 586450"/>
              <a:gd name="connsiteX24" fmla="*/ 74333 w 586449"/>
              <a:gd name="connsiteY24" fmla="*/ 311319 h 586450"/>
              <a:gd name="connsiteX25" fmla="*/ 170367 w 586449"/>
              <a:gd name="connsiteY25" fmla="*/ 376387 h 586450"/>
              <a:gd name="connsiteX26" fmla="*/ 195168 w 586449"/>
              <a:gd name="connsiteY26" fmla="*/ 376926 h 586450"/>
              <a:gd name="connsiteX27" fmla="*/ 491661 w 586449"/>
              <a:gd name="connsiteY27" fmla="*/ 223709 h 586450"/>
              <a:gd name="connsiteX28" fmla="*/ 504600 w 586449"/>
              <a:gd name="connsiteY28" fmla="*/ 183139 h 586450"/>
              <a:gd name="connsiteX29" fmla="*/ 486977 w 586449"/>
              <a:gd name="connsiteY29" fmla="*/ 168253 h 586450"/>
              <a:gd name="connsiteX30" fmla="*/ 293225 w 586449"/>
              <a:gd name="connsiteY30" fmla="*/ 0 h 586450"/>
              <a:gd name="connsiteX31" fmla="*/ 586449 w 586449"/>
              <a:gd name="connsiteY31" fmla="*/ 293225 h 586450"/>
              <a:gd name="connsiteX32" fmla="*/ 293225 w 586449"/>
              <a:gd name="connsiteY32" fmla="*/ 586450 h 586450"/>
              <a:gd name="connsiteX33" fmla="*/ 0 w 586449"/>
              <a:gd name="connsiteY33" fmla="*/ 293225 h 586450"/>
              <a:gd name="connsiteX34" fmla="*/ 293225 w 586449"/>
              <a:gd name="connsiteY34" fmla="*/ 0 h 586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86449" h="586450">
                <a:moveTo>
                  <a:pt x="367928" y="313206"/>
                </a:moveTo>
                <a:cubicBezTo>
                  <a:pt x="358460" y="318092"/>
                  <a:pt x="328066" y="333795"/>
                  <a:pt x="322304" y="336793"/>
                </a:cubicBezTo>
                <a:lnTo>
                  <a:pt x="322270" y="336827"/>
                </a:lnTo>
                <a:cubicBezTo>
                  <a:pt x="322270" y="337097"/>
                  <a:pt x="322337" y="337703"/>
                  <a:pt x="322337" y="338040"/>
                </a:cubicBezTo>
                <a:cubicBezTo>
                  <a:pt x="322337" y="338040"/>
                  <a:pt x="322270" y="338040"/>
                  <a:pt x="322270" y="338074"/>
                </a:cubicBezTo>
                <a:cubicBezTo>
                  <a:pt x="323247" y="353877"/>
                  <a:pt x="327594" y="427302"/>
                  <a:pt x="328908" y="450350"/>
                </a:cubicBezTo>
                <a:cubicBezTo>
                  <a:pt x="329919" y="449743"/>
                  <a:pt x="330930" y="449171"/>
                  <a:pt x="332042" y="448598"/>
                </a:cubicBezTo>
                <a:cubicBezTo>
                  <a:pt x="344071" y="442364"/>
                  <a:pt x="349429" y="433300"/>
                  <a:pt x="351889" y="415205"/>
                </a:cubicBezTo>
                <a:cubicBezTo>
                  <a:pt x="356708" y="378981"/>
                  <a:pt x="362133" y="347408"/>
                  <a:pt x="367928" y="314487"/>
                </a:cubicBezTo>
                <a:cubicBezTo>
                  <a:pt x="367861" y="314487"/>
                  <a:pt x="367760" y="314588"/>
                  <a:pt x="367693" y="314588"/>
                </a:cubicBezTo>
                <a:cubicBezTo>
                  <a:pt x="367794" y="314150"/>
                  <a:pt x="367861" y="313678"/>
                  <a:pt x="367928" y="313206"/>
                </a:cubicBezTo>
                <a:close/>
                <a:moveTo>
                  <a:pt x="133390" y="168822"/>
                </a:moveTo>
                <a:cubicBezTo>
                  <a:pt x="127287" y="169189"/>
                  <a:pt x="121980" y="171295"/>
                  <a:pt x="116521" y="175355"/>
                </a:cubicBezTo>
                <a:cubicBezTo>
                  <a:pt x="115577" y="176029"/>
                  <a:pt x="114735" y="176804"/>
                  <a:pt x="113690" y="177882"/>
                </a:cubicBezTo>
                <a:cubicBezTo>
                  <a:pt x="113690" y="177882"/>
                  <a:pt x="223675" y="242612"/>
                  <a:pt x="248340" y="256495"/>
                </a:cubicBezTo>
                <a:lnTo>
                  <a:pt x="248340" y="256462"/>
                </a:lnTo>
                <a:lnTo>
                  <a:pt x="314250" y="221451"/>
                </a:lnTo>
                <a:cubicBezTo>
                  <a:pt x="300839" y="217441"/>
                  <a:pt x="169761" y="177646"/>
                  <a:pt x="155036" y="172726"/>
                </a:cubicBezTo>
                <a:cubicBezTo>
                  <a:pt x="146393" y="169829"/>
                  <a:pt x="139493" y="168456"/>
                  <a:pt x="133390" y="168822"/>
                </a:cubicBezTo>
                <a:close/>
                <a:moveTo>
                  <a:pt x="486977" y="168253"/>
                </a:moveTo>
                <a:cubicBezTo>
                  <a:pt x="479631" y="165911"/>
                  <a:pt x="471393" y="166375"/>
                  <a:pt x="463996" y="170199"/>
                </a:cubicBezTo>
                <a:cubicBezTo>
                  <a:pt x="463356" y="170536"/>
                  <a:pt x="194730" y="309365"/>
                  <a:pt x="171681" y="321260"/>
                </a:cubicBezTo>
                <a:cubicBezTo>
                  <a:pt x="164673" y="324865"/>
                  <a:pt x="156889" y="322911"/>
                  <a:pt x="154699" y="322304"/>
                </a:cubicBezTo>
                <a:cubicBezTo>
                  <a:pt x="144152" y="319170"/>
                  <a:pt x="90137" y="303131"/>
                  <a:pt x="90137" y="303131"/>
                </a:cubicBezTo>
                <a:cubicBezTo>
                  <a:pt x="84374" y="306130"/>
                  <a:pt x="79758" y="308489"/>
                  <a:pt x="74333" y="311319"/>
                </a:cubicBezTo>
                <a:cubicBezTo>
                  <a:pt x="74333" y="311319"/>
                  <a:pt x="142972" y="357786"/>
                  <a:pt x="170367" y="376387"/>
                </a:cubicBezTo>
                <a:cubicBezTo>
                  <a:pt x="178421" y="381845"/>
                  <a:pt x="184958" y="382149"/>
                  <a:pt x="195168" y="376926"/>
                </a:cubicBezTo>
                <a:cubicBezTo>
                  <a:pt x="215385" y="366547"/>
                  <a:pt x="480508" y="229437"/>
                  <a:pt x="491661" y="223709"/>
                </a:cubicBezTo>
                <a:cubicBezTo>
                  <a:pt x="506420" y="216127"/>
                  <a:pt x="512216" y="197897"/>
                  <a:pt x="504600" y="183139"/>
                </a:cubicBezTo>
                <a:cubicBezTo>
                  <a:pt x="500776" y="175743"/>
                  <a:pt x="494323" y="170595"/>
                  <a:pt x="486977" y="168253"/>
                </a:cubicBezTo>
                <a:close/>
                <a:moveTo>
                  <a:pt x="293225" y="0"/>
                </a:moveTo>
                <a:cubicBezTo>
                  <a:pt x="455169" y="0"/>
                  <a:pt x="586449" y="131281"/>
                  <a:pt x="586449" y="293225"/>
                </a:cubicBezTo>
                <a:cubicBezTo>
                  <a:pt x="586449" y="455169"/>
                  <a:pt x="455169" y="586450"/>
                  <a:pt x="293225" y="586450"/>
                </a:cubicBezTo>
                <a:cubicBezTo>
                  <a:pt x="131281" y="586450"/>
                  <a:pt x="0" y="455169"/>
                  <a:pt x="0" y="293225"/>
                </a:cubicBezTo>
                <a:cubicBezTo>
                  <a:pt x="0" y="131281"/>
                  <a:pt x="131281" y="0"/>
                  <a:pt x="293225" y="0"/>
                </a:cubicBezTo>
                <a:close/>
              </a:path>
            </a:pathLst>
          </a:custGeom>
          <a:solidFill>
            <a:srgbClr val="FFFFFF"/>
          </a:solidFill>
          <a:ln w="3364" cap="flat">
            <a:noFill/>
            <a:prstDash val="solid"/>
            <a:miter/>
          </a:ln>
        </p:spPr>
        <p:txBody>
          <a:bodyPr wrap="square" rtlCol="0" anchor="ctr">
            <a:noAutofit/>
          </a:bodyPr>
          <a:lstStyle/>
          <a:p>
            <a:endParaRPr lang="en-GB"/>
          </a:p>
        </p:txBody>
      </p:sp>
    </p:spTree>
    <p:extLst>
      <p:ext uri="{BB962C8B-B14F-4D97-AF65-F5344CB8AC3E}">
        <p14:creationId xmlns:p14="http://schemas.microsoft.com/office/powerpoint/2010/main" val="988286311"/>
      </p:ext>
    </p:extLst>
  </p:cSld>
  <p:clrMapOvr>
    <a:masterClrMapping/>
  </p:clrMapOvr>
  <p:transition spd="med">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Content &amp; Image COMMODITIE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261A4C7-E98D-3660-5C37-C13B3A230A80}"/>
              </a:ext>
            </a:extLst>
          </p:cNvPr>
          <p:cNvSpPr/>
          <p:nvPr userDrawn="1"/>
        </p:nvSpPr>
        <p:spPr>
          <a:xfrm>
            <a:off x="8126413" y="0"/>
            <a:ext cx="40655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Footer Placeholder 4"/>
          <p:cNvSpPr>
            <a:spLocks noGrp="1"/>
          </p:cNvSpPr>
          <p:nvPr>
            <p:ph type="ftr" sz="quarter" idx="11"/>
          </p:nvPr>
        </p:nvSpPr>
        <p:spPr/>
        <p:txBody>
          <a:bodyPr/>
          <a:lstStyle/>
          <a:p>
            <a:r>
              <a:rPr lang="en-GB"/>
              <a:t>INSERT FOOTER HER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8CFE0557-AA98-4E6C-B0C3-581794696B68}" type="slidenum">
              <a:rPr lang="en-GB" smtClean="0"/>
              <a:pPr/>
              <a:t>‹#›</a:t>
            </a:fld>
            <a:endParaRPr lang="en-GB"/>
          </a:p>
        </p:txBody>
      </p:sp>
      <p:sp>
        <p:nvSpPr>
          <p:cNvPr id="10" name="Content Placeholder 2">
            <a:extLst>
              <a:ext uri="{FF2B5EF4-FFF2-40B4-BE49-F238E27FC236}">
                <a16:creationId xmlns:a16="http://schemas.microsoft.com/office/drawing/2014/main" id="{182B4A0E-C187-E12F-BB7B-7E465EDEEA4C}"/>
              </a:ext>
            </a:extLst>
          </p:cNvPr>
          <p:cNvSpPr>
            <a:spLocks noGrp="1"/>
          </p:cNvSpPr>
          <p:nvPr>
            <p:ph idx="1" hasCustomPrompt="1"/>
          </p:nvPr>
        </p:nvSpPr>
        <p:spPr>
          <a:xfrm>
            <a:off x="508000" y="1244882"/>
            <a:ext cx="7142820" cy="291662"/>
          </a:xfrm>
        </p:spPr>
        <p:txBody>
          <a:bodyPr vert="horz" lIns="0" tIns="45720" rIns="0" bIns="45720" numCol="1" spcCol="288000" rtlCol="0">
            <a:noAutofit/>
          </a:bodyPr>
          <a:lstStyle>
            <a:lvl1pPr>
              <a:defRPr lang="en-US" cap="all" baseline="0" dirty="0" smtClean="0"/>
            </a:lvl1pPr>
            <a:lvl2pPr>
              <a:defRPr lang="en-US" dirty="0"/>
            </a:lvl2pPr>
            <a:lvl3pPr>
              <a:defRPr lang="en-US" dirty="0"/>
            </a:lvl3pPr>
            <a:lvl4pPr>
              <a:defRPr lang="en-US" dirty="0"/>
            </a:lvl4pPr>
            <a:lvl5pPr>
              <a:defRPr lang="en-US" dirty="0"/>
            </a:lvl5pPr>
          </a:lstStyle>
          <a:p>
            <a:pPr lvl="0"/>
            <a:r>
              <a:rPr lang="en-US" dirty="0"/>
              <a:t>subhead</a:t>
            </a:r>
          </a:p>
        </p:txBody>
      </p:sp>
      <p:sp>
        <p:nvSpPr>
          <p:cNvPr id="12" name="Content Placeholder 2">
            <a:extLst>
              <a:ext uri="{FF2B5EF4-FFF2-40B4-BE49-F238E27FC236}">
                <a16:creationId xmlns:a16="http://schemas.microsoft.com/office/drawing/2014/main" id="{79AF8CE8-F801-FBFD-7F6F-0BE65F72C036}"/>
              </a:ext>
            </a:extLst>
          </p:cNvPr>
          <p:cNvSpPr>
            <a:spLocks noGrp="1"/>
          </p:cNvSpPr>
          <p:nvPr>
            <p:ph idx="16" hasCustomPrompt="1"/>
          </p:nvPr>
        </p:nvSpPr>
        <p:spPr>
          <a:xfrm>
            <a:off x="508000" y="1613017"/>
            <a:ext cx="3400425" cy="4606808"/>
          </a:xfrm>
        </p:spPr>
        <p:txBody>
          <a:bodyPr vert="horz" lIns="0" tIns="45720" rIns="0" bIns="4572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7" name="TextBox 4">
            <a:extLst>
              <a:ext uri="{FF2B5EF4-FFF2-40B4-BE49-F238E27FC236}">
                <a16:creationId xmlns:a16="http://schemas.microsoft.com/office/drawing/2014/main" id="{ECC1AF18-C7ED-CAA0-D1D3-14DEFC5E2590}"/>
              </a:ext>
            </a:extLst>
          </p:cNvPr>
          <p:cNvSpPr txBox="1"/>
          <p:nvPr userDrawn="1"/>
        </p:nvSpPr>
        <p:spPr>
          <a:xfrm>
            <a:off x="12346713" y="109538"/>
            <a:ext cx="1934437" cy="31700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INSERTING IMAGES:</a:t>
            </a:r>
          </a:p>
          <a:p>
            <a:pPr marL="179388" indent="-179388">
              <a:spcBef>
                <a:spcPts val="200"/>
              </a:spcBef>
              <a:spcAft>
                <a:spcPts val="200"/>
              </a:spcAft>
              <a:buFont typeface="+mj-lt"/>
              <a:buAutoNum type="arabicPeriod"/>
            </a:pPr>
            <a:r>
              <a:rPr lang="en-US" sz="900" dirty="0">
                <a:solidFill>
                  <a:schemeClr val="tx1"/>
                </a:solidFill>
                <a:latin typeface="+mn-lt"/>
              </a:rPr>
              <a:t>Simply click the image placeholder and select your image.</a:t>
            </a:r>
          </a:p>
          <a:p>
            <a:pPr marL="179388" indent="-179388">
              <a:spcBef>
                <a:spcPts val="200"/>
              </a:spcBef>
              <a:spcAft>
                <a:spcPts val="200"/>
              </a:spcAft>
              <a:buFont typeface="+mj-lt"/>
              <a:buAutoNum type="arabicPeriod"/>
            </a:pPr>
            <a:r>
              <a:rPr lang="en-US" sz="900" dirty="0">
                <a:solidFill>
                  <a:schemeClr val="tx1"/>
                </a:solidFill>
                <a:latin typeface="+mn-lt"/>
              </a:rPr>
              <a:t>Once your image is inserted into the shape it may be distorted. (Stretched or Squashed)</a:t>
            </a:r>
          </a:p>
          <a:p>
            <a:pPr marL="179388" indent="-179388">
              <a:spcBef>
                <a:spcPts val="200"/>
              </a:spcBef>
              <a:spcAft>
                <a:spcPts val="200"/>
              </a:spcAft>
              <a:buFont typeface="+mj-lt"/>
              <a:buAutoNum type="arabicPeriod"/>
            </a:pPr>
            <a:endParaRPr lang="en-US" sz="900" dirty="0">
              <a:solidFill>
                <a:schemeClr val="tx1"/>
              </a:solidFill>
              <a:latin typeface="+mn-lt"/>
            </a:endParaRPr>
          </a:p>
          <a:p>
            <a:pPr>
              <a:spcBef>
                <a:spcPts val="200"/>
              </a:spcBef>
              <a:spcAft>
                <a:spcPts val="200"/>
              </a:spcAft>
            </a:pPr>
            <a:r>
              <a:rPr lang="en-US" sz="900" b="1" dirty="0">
                <a:solidFill>
                  <a:schemeClr val="tx1"/>
                </a:solidFill>
                <a:latin typeface="+mn-lt"/>
              </a:rPr>
              <a:t>To fix this:</a:t>
            </a:r>
          </a:p>
          <a:p>
            <a:pPr marL="179388" indent="-179388">
              <a:spcBef>
                <a:spcPts val="200"/>
              </a:spcBef>
              <a:spcAft>
                <a:spcPts val="200"/>
              </a:spcAft>
              <a:buFont typeface="+mj-lt"/>
              <a:buAutoNum type="arabicPeriod"/>
            </a:pPr>
            <a:r>
              <a:rPr lang="en-US" sz="900" dirty="0">
                <a:solidFill>
                  <a:schemeClr val="tx1"/>
                </a:solidFill>
                <a:latin typeface="+mn-lt"/>
              </a:rPr>
              <a:t>Click on the image and from the top menu under </a:t>
            </a:r>
            <a:r>
              <a:rPr lang="en-US" sz="900" b="1" dirty="0">
                <a:solidFill>
                  <a:schemeClr val="tx1"/>
                </a:solidFill>
                <a:latin typeface="+mn-lt"/>
              </a:rPr>
              <a:t>PICTURE FORMAT </a:t>
            </a:r>
            <a:r>
              <a:rPr lang="en-US" sz="900" dirty="0">
                <a:solidFill>
                  <a:schemeClr val="tx1"/>
                </a:solidFill>
                <a:latin typeface="+mn-lt"/>
              </a:rPr>
              <a:t>select the </a:t>
            </a:r>
            <a:r>
              <a:rPr lang="en-US" sz="900" b="1" dirty="0">
                <a:solidFill>
                  <a:schemeClr val="tx1"/>
                </a:solidFill>
                <a:latin typeface="+mn-lt"/>
              </a:rPr>
              <a:t>CROP</a:t>
            </a:r>
            <a:r>
              <a:rPr lang="en-US" sz="900" dirty="0">
                <a:solidFill>
                  <a:schemeClr val="tx1"/>
                </a:solidFill>
                <a:latin typeface="+mn-lt"/>
              </a:rPr>
              <a:t> on the right and from the drop down menu select </a:t>
            </a:r>
            <a:r>
              <a:rPr lang="en-US" sz="900" b="1" kern="1200" dirty="0">
                <a:solidFill>
                  <a:schemeClr val="tx1"/>
                </a:solidFill>
                <a:latin typeface="+mn-lt"/>
                <a:ea typeface="+mn-ea"/>
                <a:cs typeface="+mn-cs"/>
              </a:rPr>
              <a:t>FILL</a:t>
            </a:r>
          </a:p>
          <a:p>
            <a:pPr marL="179388" indent="-179388">
              <a:spcBef>
                <a:spcPts val="200"/>
              </a:spcBef>
              <a:spcAft>
                <a:spcPts val="200"/>
              </a:spcAft>
              <a:buFont typeface="+mj-lt"/>
              <a:buAutoNum type="arabicPeriod"/>
            </a:pPr>
            <a:r>
              <a:rPr lang="en-US" sz="900" b="0" kern="1200" dirty="0">
                <a:solidFill>
                  <a:schemeClr val="tx1"/>
                </a:solidFill>
                <a:latin typeface="+mn-lt"/>
                <a:ea typeface="+mn-ea"/>
                <a:cs typeface="+mn-cs"/>
              </a:rPr>
              <a:t>From here you can move the image within the shape for best visual appearance</a:t>
            </a:r>
          </a:p>
        </p:txBody>
      </p:sp>
      <p:sp>
        <p:nvSpPr>
          <p:cNvPr id="4" name="Content Placeholder 2">
            <a:extLst>
              <a:ext uri="{FF2B5EF4-FFF2-40B4-BE49-F238E27FC236}">
                <a16:creationId xmlns:a16="http://schemas.microsoft.com/office/drawing/2014/main" id="{53C28725-2311-B24F-68FE-D0071B9D9FA2}"/>
              </a:ext>
            </a:extLst>
          </p:cNvPr>
          <p:cNvSpPr>
            <a:spLocks noGrp="1"/>
          </p:cNvSpPr>
          <p:nvPr>
            <p:ph idx="18" hasCustomPrompt="1"/>
          </p:nvPr>
        </p:nvSpPr>
        <p:spPr>
          <a:xfrm>
            <a:off x="4229229" y="1613017"/>
            <a:ext cx="3421591" cy="4606808"/>
          </a:xfrm>
        </p:spPr>
        <p:txBody>
          <a:bodyPr vert="horz" lIns="0" tIns="45720" rIns="0" bIns="4572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2" name="Title 1">
            <a:extLst>
              <a:ext uri="{FF2B5EF4-FFF2-40B4-BE49-F238E27FC236}">
                <a16:creationId xmlns:a16="http://schemas.microsoft.com/office/drawing/2014/main" id="{F716C1E4-4130-ED05-3440-416A4549A61B}"/>
              </a:ext>
            </a:extLst>
          </p:cNvPr>
          <p:cNvSpPr>
            <a:spLocks noGrp="1"/>
          </p:cNvSpPr>
          <p:nvPr>
            <p:ph type="title" hasCustomPrompt="1"/>
          </p:nvPr>
        </p:nvSpPr>
        <p:spPr>
          <a:xfrm>
            <a:off x="508001" y="454013"/>
            <a:ext cx="7142820" cy="790869"/>
          </a:xfrm>
        </p:spPr>
        <p:txBody>
          <a:bodyPr/>
          <a:lstStyle/>
          <a:p>
            <a:r>
              <a:rPr lang="en-US" dirty="0"/>
              <a:t>TITLE: subtitle</a:t>
            </a:r>
            <a:endParaRPr lang="en-GB" dirty="0"/>
          </a:p>
        </p:txBody>
      </p:sp>
      <p:sp>
        <p:nvSpPr>
          <p:cNvPr id="9" name="Content Placeholder 2">
            <a:extLst>
              <a:ext uri="{FF2B5EF4-FFF2-40B4-BE49-F238E27FC236}">
                <a16:creationId xmlns:a16="http://schemas.microsoft.com/office/drawing/2014/main" id="{50857AC0-932F-5BAA-C619-2F239FED9BE2}"/>
              </a:ext>
            </a:extLst>
          </p:cNvPr>
          <p:cNvSpPr>
            <a:spLocks noGrp="1"/>
          </p:cNvSpPr>
          <p:nvPr>
            <p:ph idx="45" hasCustomPrompt="1"/>
          </p:nvPr>
        </p:nvSpPr>
        <p:spPr>
          <a:xfrm>
            <a:off x="8737600" y="2660686"/>
            <a:ext cx="2944813" cy="3559139"/>
          </a:xfrm>
        </p:spPr>
        <p:txBody>
          <a:bodyPr vert="horz" lIns="0" tIns="45720" rIns="0" bIns="45720" rtlCol="0">
            <a:normAutofit/>
          </a:bodyPr>
          <a:lstStyle>
            <a:lvl1pPr algn="l" defTabSz="914400" rtl="0" eaLnBrk="1" latinLnBrk="0" hangingPunct="1">
              <a:lnSpc>
                <a:spcPct val="130000"/>
              </a:lnSpc>
              <a:spcBef>
                <a:spcPts val="300"/>
              </a:spcBef>
              <a:spcAft>
                <a:spcPts val="300"/>
              </a:spcAft>
              <a:buFont typeface="Arial" panose="020B0604020202020204" pitchFamily="34" charset="0"/>
              <a:defRPr lang="en-US" sz="1100" kern="1200" dirty="0">
                <a:solidFill>
                  <a:schemeClr val="bg1"/>
                </a:solidFill>
                <a:latin typeface="+mn-lt"/>
                <a:ea typeface="+mn-ea"/>
                <a:cs typeface="+mn-cs"/>
              </a:defRPr>
            </a:lvl1pPr>
            <a:lvl2pPr>
              <a:buClr>
                <a:schemeClr val="bg1"/>
              </a:buClr>
              <a:defRPr lang="en-US" dirty="0">
                <a:solidFill>
                  <a:schemeClr val="bg1"/>
                </a:solidFill>
              </a:defRPr>
            </a:lvl2pPr>
            <a:lvl3pPr>
              <a:buClr>
                <a:schemeClr val="bg1"/>
              </a:buClr>
              <a:defRPr lang="en-US" dirty="0">
                <a:solidFill>
                  <a:schemeClr val="bg1"/>
                </a:solidFill>
              </a:defRPr>
            </a:lvl3pPr>
            <a:lvl4pPr>
              <a:buClr>
                <a:schemeClr val="bg1"/>
              </a:buClr>
              <a:defRPr lang="en-US" dirty="0">
                <a:solidFill>
                  <a:schemeClr val="bg1"/>
                </a:solidFill>
              </a:defRPr>
            </a:lvl4pPr>
            <a:lvl5pPr>
              <a:buClr>
                <a:schemeClr val="bg1"/>
              </a:buClr>
              <a:defRPr lang="en-US" dirty="0">
                <a:solidFill>
                  <a:schemeClr val="bg1"/>
                </a:solidFill>
              </a:defRPr>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11" name="Content Placeholder 2">
            <a:extLst>
              <a:ext uri="{FF2B5EF4-FFF2-40B4-BE49-F238E27FC236}">
                <a16:creationId xmlns:a16="http://schemas.microsoft.com/office/drawing/2014/main" id="{1C0E041C-792C-A30B-955E-9CBF9DBE0507}"/>
              </a:ext>
            </a:extLst>
          </p:cNvPr>
          <p:cNvSpPr>
            <a:spLocks noGrp="1"/>
          </p:cNvSpPr>
          <p:nvPr>
            <p:ph idx="46" hasCustomPrompt="1"/>
          </p:nvPr>
        </p:nvSpPr>
        <p:spPr>
          <a:xfrm>
            <a:off x="8737600" y="2294925"/>
            <a:ext cx="2946399" cy="365761"/>
          </a:xfrm>
        </p:spPr>
        <p:txBody>
          <a:bodyPr/>
          <a:lstStyle>
            <a:lvl1pPr>
              <a:defRPr cap="all" baseline="0">
                <a:solidFill>
                  <a:schemeClr val="accent2"/>
                </a:solidFill>
              </a:defRPr>
            </a:lvl1pPr>
          </a:lstStyle>
          <a:p>
            <a:pPr lvl="0"/>
            <a:r>
              <a:rPr lang="en-US" dirty="0"/>
              <a:t>subhead</a:t>
            </a:r>
          </a:p>
        </p:txBody>
      </p:sp>
      <p:sp>
        <p:nvSpPr>
          <p:cNvPr id="13" name="Freeform: Shape 12">
            <a:extLst>
              <a:ext uri="{FF2B5EF4-FFF2-40B4-BE49-F238E27FC236}">
                <a16:creationId xmlns:a16="http://schemas.microsoft.com/office/drawing/2014/main" id="{E65D672F-2553-DE02-24EC-0BBD8675222E}"/>
              </a:ext>
            </a:extLst>
          </p:cNvPr>
          <p:cNvSpPr/>
          <p:nvPr userDrawn="1"/>
        </p:nvSpPr>
        <p:spPr>
          <a:xfrm>
            <a:off x="9422818" y="508495"/>
            <a:ext cx="1472776" cy="1472774"/>
          </a:xfrm>
          <a:custGeom>
            <a:avLst/>
            <a:gdLst>
              <a:gd name="connsiteX0" fmla="*/ 347543 w 586450"/>
              <a:gd name="connsiteY0" fmla="*/ 286182 h 586450"/>
              <a:gd name="connsiteX1" fmla="*/ 306131 w 586450"/>
              <a:gd name="connsiteY1" fmla="*/ 411229 h 586450"/>
              <a:gd name="connsiteX2" fmla="*/ 449137 w 586450"/>
              <a:gd name="connsiteY2" fmla="*/ 411229 h 586450"/>
              <a:gd name="connsiteX3" fmla="*/ 449137 w 586450"/>
              <a:gd name="connsiteY3" fmla="*/ 286182 h 586450"/>
              <a:gd name="connsiteX4" fmla="*/ 470737 w 586450"/>
              <a:gd name="connsiteY4" fmla="*/ 286148 h 586450"/>
              <a:gd name="connsiteX5" fmla="*/ 470737 w 586450"/>
              <a:gd name="connsiteY5" fmla="*/ 411195 h 586450"/>
              <a:gd name="connsiteX6" fmla="*/ 512149 w 586450"/>
              <a:gd name="connsiteY6" fmla="*/ 411195 h 586450"/>
              <a:gd name="connsiteX7" fmla="*/ 238839 w 586450"/>
              <a:gd name="connsiteY7" fmla="*/ 285407 h 586450"/>
              <a:gd name="connsiteX8" fmla="*/ 238839 w 586450"/>
              <a:gd name="connsiteY8" fmla="*/ 410386 h 586450"/>
              <a:gd name="connsiteX9" fmla="*/ 280252 w 586450"/>
              <a:gd name="connsiteY9" fmla="*/ 410386 h 586450"/>
              <a:gd name="connsiteX10" fmla="*/ 115646 w 586450"/>
              <a:gd name="connsiteY10" fmla="*/ 285407 h 586450"/>
              <a:gd name="connsiteX11" fmla="*/ 74233 w 586450"/>
              <a:gd name="connsiteY11" fmla="*/ 410386 h 586450"/>
              <a:gd name="connsiteX12" fmla="*/ 217240 w 586450"/>
              <a:gd name="connsiteY12" fmla="*/ 410386 h 586450"/>
              <a:gd name="connsiteX13" fmla="*/ 217240 w 586450"/>
              <a:gd name="connsiteY13" fmla="*/ 285407 h 586450"/>
              <a:gd name="connsiteX14" fmla="*/ 353710 w 586450"/>
              <a:gd name="connsiteY14" fmla="*/ 137413 h 586450"/>
              <a:gd name="connsiteX15" fmla="*/ 353710 w 586450"/>
              <a:gd name="connsiteY15" fmla="*/ 262392 h 586450"/>
              <a:gd name="connsiteX16" fmla="*/ 395122 w 586450"/>
              <a:gd name="connsiteY16" fmla="*/ 262392 h 586450"/>
              <a:gd name="connsiteX17" fmla="*/ 230482 w 586450"/>
              <a:gd name="connsiteY17" fmla="*/ 137413 h 586450"/>
              <a:gd name="connsiteX18" fmla="*/ 221519 w 586450"/>
              <a:gd name="connsiteY18" fmla="*/ 164404 h 586450"/>
              <a:gd name="connsiteX19" fmla="*/ 217274 w 586450"/>
              <a:gd name="connsiteY19" fmla="*/ 177309 h 586450"/>
              <a:gd name="connsiteX20" fmla="*/ 189103 w 586450"/>
              <a:gd name="connsiteY20" fmla="*/ 262392 h 586450"/>
              <a:gd name="connsiteX21" fmla="*/ 332110 w 586450"/>
              <a:gd name="connsiteY21" fmla="*/ 262392 h 586450"/>
              <a:gd name="connsiteX22" fmla="*/ 332110 w 586450"/>
              <a:gd name="connsiteY22" fmla="*/ 137413 h 586450"/>
              <a:gd name="connsiteX23" fmla="*/ 332077 w 586450"/>
              <a:gd name="connsiteY23" fmla="*/ 137413 h 586450"/>
              <a:gd name="connsiteX24" fmla="*/ 293225 w 586450"/>
              <a:gd name="connsiteY24" fmla="*/ 0 h 586450"/>
              <a:gd name="connsiteX25" fmla="*/ 586450 w 586450"/>
              <a:gd name="connsiteY25" fmla="*/ 293225 h 586450"/>
              <a:gd name="connsiteX26" fmla="*/ 293225 w 586450"/>
              <a:gd name="connsiteY26" fmla="*/ 586450 h 586450"/>
              <a:gd name="connsiteX27" fmla="*/ 0 w 586450"/>
              <a:gd name="connsiteY27" fmla="*/ 293225 h 586450"/>
              <a:gd name="connsiteX28" fmla="*/ 293225 w 586450"/>
              <a:gd name="connsiteY28" fmla="*/ 0 h 586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6450" h="586450">
                <a:moveTo>
                  <a:pt x="347543" y="286182"/>
                </a:moveTo>
                <a:lnTo>
                  <a:pt x="306131" y="411229"/>
                </a:lnTo>
                <a:lnTo>
                  <a:pt x="449137" y="411229"/>
                </a:lnTo>
                <a:lnTo>
                  <a:pt x="449137" y="286182"/>
                </a:lnTo>
                <a:close/>
                <a:moveTo>
                  <a:pt x="470737" y="286148"/>
                </a:moveTo>
                <a:lnTo>
                  <a:pt x="470737" y="411195"/>
                </a:lnTo>
                <a:lnTo>
                  <a:pt x="512149" y="411195"/>
                </a:lnTo>
                <a:close/>
                <a:moveTo>
                  <a:pt x="238839" y="285407"/>
                </a:moveTo>
                <a:lnTo>
                  <a:pt x="238839" y="410386"/>
                </a:lnTo>
                <a:lnTo>
                  <a:pt x="280252" y="410386"/>
                </a:lnTo>
                <a:close/>
                <a:moveTo>
                  <a:pt x="115646" y="285407"/>
                </a:moveTo>
                <a:lnTo>
                  <a:pt x="74233" y="410386"/>
                </a:lnTo>
                <a:lnTo>
                  <a:pt x="217240" y="410386"/>
                </a:lnTo>
                <a:lnTo>
                  <a:pt x="217240" y="285407"/>
                </a:lnTo>
                <a:close/>
                <a:moveTo>
                  <a:pt x="353710" y="137413"/>
                </a:moveTo>
                <a:lnTo>
                  <a:pt x="353710" y="262392"/>
                </a:lnTo>
                <a:lnTo>
                  <a:pt x="395122" y="262392"/>
                </a:lnTo>
                <a:close/>
                <a:moveTo>
                  <a:pt x="230482" y="137413"/>
                </a:moveTo>
                <a:lnTo>
                  <a:pt x="221519" y="164404"/>
                </a:lnTo>
                <a:lnTo>
                  <a:pt x="217274" y="177309"/>
                </a:lnTo>
                <a:lnTo>
                  <a:pt x="189103" y="262392"/>
                </a:lnTo>
                <a:lnTo>
                  <a:pt x="332110" y="262392"/>
                </a:lnTo>
                <a:lnTo>
                  <a:pt x="332110" y="137413"/>
                </a:lnTo>
                <a:lnTo>
                  <a:pt x="332077" y="137413"/>
                </a:lnTo>
                <a:close/>
                <a:moveTo>
                  <a:pt x="293225" y="0"/>
                </a:moveTo>
                <a:cubicBezTo>
                  <a:pt x="455169" y="0"/>
                  <a:pt x="586450" y="131281"/>
                  <a:pt x="586450" y="293225"/>
                </a:cubicBezTo>
                <a:cubicBezTo>
                  <a:pt x="586450" y="455169"/>
                  <a:pt x="455169" y="586450"/>
                  <a:pt x="293225" y="586450"/>
                </a:cubicBezTo>
                <a:cubicBezTo>
                  <a:pt x="131281" y="586450"/>
                  <a:pt x="0" y="455169"/>
                  <a:pt x="0" y="293225"/>
                </a:cubicBezTo>
                <a:cubicBezTo>
                  <a:pt x="0" y="131281"/>
                  <a:pt x="131281" y="0"/>
                  <a:pt x="293225" y="0"/>
                </a:cubicBezTo>
                <a:close/>
              </a:path>
            </a:pathLst>
          </a:custGeom>
          <a:solidFill>
            <a:srgbClr val="FFFFFF"/>
          </a:solidFill>
          <a:ln w="3364" cap="flat">
            <a:noFill/>
            <a:prstDash val="solid"/>
            <a:miter/>
          </a:ln>
        </p:spPr>
        <p:txBody>
          <a:bodyPr wrap="square" rtlCol="0" anchor="ctr">
            <a:noAutofit/>
          </a:bodyPr>
          <a:lstStyle/>
          <a:p>
            <a:endParaRPr lang="en-GB"/>
          </a:p>
        </p:txBody>
      </p:sp>
    </p:spTree>
    <p:extLst>
      <p:ext uri="{BB962C8B-B14F-4D97-AF65-F5344CB8AC3E}">
        <p14:creationId xmlns:p14="http://schemas.microsoft.com/office/powerpoint/2010/main" val="4245832980"/>
      </p:ext>
    </p:extLst>
  </p:cSld>
  <p:clrMapOvr>
    <a:masterClrMapping/>
  </p:clrMapOvr>
  <p:transition spd="med">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ENERGY Boilerplate">
    <p:spTree>
      <p:nvGrpSpPr>
        <p:cNvPr id="1" name=""/>
        <p:cNvGrpSpPr/>
        <p:nvPr/>
      </p:nvGrpSpPr>
      <p:grpSpPr>
        <a:xfrm>
          <a:off x="0" y="0"/>
          <a:ext cx="0" cy="0"/>
          <a:chOff x="0" y="0"/>
          <a:chExt cx="0" cy="0"/>
        </a:xfrm>
      </p:grpSpPr>
      <p:pic>
        <p:nvPicPr>
          <p:cNvPr id="45" name="Graphic 44">
            <a:extLst>
              <a:ext uri="{FF2B5EF4-FFF2-40B4-BE49-F238E27FC236}">
                <a16:creationId xmlns:a16="http://schemas.microsoft.com/office/drawing/2014/main" id="{1995BAC9-BFD5-0EF7-125E-6520F0E01F87}"/>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66653"/>
          <a:stretch/>
        </p:blipFill>
        <p:spPr>
          <a:xfrm>
            <a:off x="8126412" y="0"/>
            <a:ext cx="4065587" cy="6858000"/>
          </a:xfrm>
          <a:prstGeom prst="rect">
            <a:avLst/>
          </a:prstGeom>
        </p:spPr>
      </p:pic>
      <p:sp>
        <p:nvSpPr>
          <p:cNvPr id="19" name="TextBox 18">
            <a:extLst>
              <a:ext uri="{FF2B5EF4-FFF2-40B4-BE49-F238E27FC236}">
                <a16:creationId xmlns:a16="http://schemas.microsoft.com/office/drawing/2014/main" id="{321023D8-6962-F90B-9D73-DE4F18E738A7}"/>
              </a:ext>
            </a:extLst>
          </p:cNvPr>
          <p:cNvSpPr txBox="1"/>
          <p:nvPr userDrawn="1"/>
        </p:nvSpPr>
        <p:spPr>
          <a:xfrm>
            <a:off x="8839200" y="1123947"/>
            <a:ext cx="2843213" cy="1447800"/>
          </a:xfrm>
          <a:prstGeom prst="rect">
            <a:avLst/>
          </a:prstGeom>
        </p:spPr>
        <p:txBody>
          <a:bodyPr vert="horz" wrap="square" lIns="0" tIns="45720" rIns="0" bIns="45720" rtlCol="0">
            <a:normAutofit/>
          </a:bodyPr>
          <a:lstStyle/>
          <a:p>
            <a:pPr algn="l">
              <a:lnSpc>
                <a:spcPct val="80000"/>
              </a:lnSpc>
            </a:pPr>
            <a:r>
              <a:rPr lang="en-GB" sz="7200" dirty="0">
                <a:solidFill>
                  <a:schemeClr val="bg1"/>
                </a:solidFill>
                <a:latin typeface="+mj-lt"/>
              </a:rPr>
              <a:t>20</a:t>
            </a:r>
          </a:p>
          <a:p>
            <a:pPr algn="l">
              <a:lnSpc>
                <a:spcPct val="80000"/>
              </a:lnSpc>
            </a:pPr>
            <a:r>
              <a:rPr lang="en-GB" sz="3200" dirty="0">
                <a:solidFill>
                  <a:schemeClr val="accent2"/>
                </a:solidFill>
                <a:latin typeface="+mn-lt"/>
              </a:rPr>
              <a:t>partners</a:t>
            </a:r>
            <a:endParaRPr lang="en-GB" sz="8000" kern="1200" dirty="0">
              <a:solidFill>
                <a:schemeClr val="accent2"/>
              </a:solidFill>
              <a:latin typeface="+mj-lt"/>
              <a:ea typeface="+mn-ea"/>
              <a:cs typeface="+mn-cs"/>
            </a:endParaRPr>
          </a:p>
        </p:txBody>
      </p:sp>
      <p:sp>
        <p:nvSpPr>
          <p:cNvPr id="20" name="TextBox 19">
            <a:extLst>
              <a:ext uri="{FF2B5EF4-FFF2-40B4-BE49-F238E27FC236}">
                <a16:creationId xmlns:a16="http://schemas.microsoft.com/office/drawing/2014/main" id="{4D5F9C77-3B6E-59A9-FCB2-2DEE08536477}"/>
              </a:ext>
            </a:extLst>
          </p:cNvPr>
          <p:cNvSpPr txBox="1"/>
          <p:nvPr userDrawn="1"/>
        </p:nvSpPr>
        <p:spPr>
          <a:xfrm>
            <a:off x="8839200" y="2819215"/>
            <a:ext cx="2843213" cy="1447800"/>
          </a:xfrm>
          <a:prstGeom prst="rect">
            <a:avLst/>
          </a:prstGeom>
        </p:spPr>
        <p:txBody>
          <a:bodyPr vert="horz" wrap="square" lIns="0" tIns="45720" rIns="0" bIns="45720" rtlCol="0">
            <a:normAutofit/>
          </a:bodyPr>
          <a:lstStyle/>
          <a:p>
            <a:pPr algn="l">
              <a:lnSpc>
                <a:spcPct val="80000"/>
              </a:lnSpc>
            </a:pPr>
            <a:r>
              <a:rPr lang="en-GB" sz="7200" dirty="0">
                <a:solidFill>
                  <a:schemeClr val="bg1"/>
                </a:solidFill>
                <a:latin typeface="+mj-lt"/>
              </a:rPr>
              <a:t>50</a:t>
            </a:r>
          </a:p>
          <a:p>
            <a:pPr algn="l">
              <a:lnSpc>
                <a:spcPct val="80000"/>
              </a:lnSpc>
            </a:pPr>
            <a:r>
              <a:rPr lang="en-GB" sz="3200" dirty="0">
                <a:solidFill>
                  <a:schemeClr val="accent2"/>
                </a:solidFill>
                <a:latin typeface="+mn-lt"/>
              </a:rPr>
              <a:t>lawyers</a:t>
            </a:r>
            <a:endParaRPr lang="en-GB" sz="8000" kern="1200" dirty="0">
              <a:solidFill>
                <a:schemeClr val="accent2"/>
              </a:solidFill>
              <a:latin typeface="+mj-lt"/>
              <a:ea typeface="+mn-ea"/>
              <a:cs typeface="+mn-cs"/>
            </a:endParaRPr>
          </a:p>
        </p:txBody>
      </p:sp>
      <p:sp>
        <p:nvSpPr>
          <p:cNvPr id="21" name="TextBox 20">
            <a:extLst>
              <a:ext uri="{FF2B5EF4-FFF2-40B4-BE49-F238E27FC236}">
                <a16:creationId xmlns:a16="http://schemas.microsoft.com/office/drawing/2014/main" id="{355EA073-A097-D59F-20E3-E21134F1AD99}"/>
              </a:ext>
            </a:extLst>
          </p:cNvPr>
          <p:cNvSpPr txBox="1"/>
          <p:nvPr userDrawn="1"/>
        </p:nvSpPr>
        <p:spPr>
          <a:xfrm>
            <a:off x="8778240" y="4546753"/>
            <a:ext cx="2843213" cy="1775416"/>
          </a:xfrm>
          <a:prstGeom prst="rect">
            <a:avLst/>
          </a:prstGeom>
        </p:spPr>
        <p:txBody>
          <a:bodyPr vert="horz" wrap="square" lIns="0" tIns="45720" rIns="0" bIns="45720" rtlCol="0">
            <a:normAutofit/>
          </a:bodyPr>
          <a:lstStyle/>
          <a:p>
            <a:pPr marL="92075" indent="-92075" algn="l">
              <a:lnSpc>
                <a:spcPct val="100000"/>
              </a:lnSpc>
              <a:spcBef>
                <a:spcPts val="200"/>
              </a:spcBef>
              <a:spcAft>
                <a:spcPts val="200"/>
              </a:spcAft>
            </a:pPr>
            <a:r>
              <a:rPr lang="en-US" sz="1600" dirty="0">
                <a:solidFill>
                  <a:schemeClr val="bg1"/>
                </a:solidFill>
                <a:latin typeface="+mj-lt"/>
              </a:rPr>
              <a:t>“HFW’s attention to </a:t>
            </a:r>
            <a:br>
              <a:rPr lang="en-US" sz="1600" dirty="0">
                <a:solidFill>
                  <a:schemeClr val="bg1"/>
                </a:solidFill>
                <a:latin typeface="+mj-lt"/>
              </a:rPr>
            </a:br>
            <a:r>
              <a:rPr lang="en-US" sz="1600" dirty="0">
                <a:solidFill>
                  <a:schemeClr val="bg1"/>
                </a:solidFill>
                <a:latin typeface="+mj-lt"/>
              </a:rPr>
              <a:t>detail is second to none. A much more hands-on approach than </a:t>
            </a:r>
            <a:br>
              <a:rPr lang="en-US" sz="1600" dirty="0">
                <a:solidFill>
                  <a:schemeClr val="bg1"/>
                </a:solidFill>
                <a:latin typeface="+mj-lt"/>
              </a:rPr>
            </a:br>
            <a:r>
              <a:rPr lang="en-US" sz="1600" dirty="0">
                <a:solidFill>
                  <a:schemeClr val="bg1"/>
                </a:solidFill>
                <a:latin typeface="+mj-lt"/>
              </a:rPr>
              <a:t>their competitors.”</a:t>
            </a:r>
          </a:p>
          <a:p>
            <a:pPr marL="92075" indent="0" algn="l">
              <a:lnSpc>
                <a:spcPct val="100000"/>
              </a:lnSpc>
              <a:spcBef>
                <a:spcPts val="200"/>
              </a:spcBef>
              <a:spcAft>
                <a:spcPts val="200"/>
              </a:spcAft>
            </a:pPr>
            <a:r>
              <a:rPr lang="en-US" sz="1200" dirty="0">
                <a:solidFill>
                  <a:schemeClr val="accent2"/>
                </a:solidFill>
                <a:latin typeface="+mj-lt"/>
              </a:rPr>
              <a:t>ENERGY CLIENT</a:t>
            </a:r>
            <a:endParaRPr lang="en-GB" sz="1400" kern="1200" dirty="0">
              <a:solidFill>
                <a:schemeClr val="accent2"/>
              </a:solidFill>
              <a:latin typeface="+mj-lt"/>
              <a:ea typeface="+mn-ea"/>
              <a:cs typeface="+mn-cs"/>
            </a:endParaRPr>
          </a:p>
        </p:txBody>
      </p:sp>
      <p:sp>
        <p:nvSpPr>
          <p:cNvPr id="5" name="Footer Placeholder 4"/>
          <p:cNvSpPr>
            <a:spLocks noGrp="1"/>
          </p:cNvSpPr>
          <p:nvPr>
            <p:ph type="ftr" sz="quarter" idx="11"/>
          </p:nvPr>
        </p:nvSpPr>
        <p:spPr/>
        <p:txBody>
          <a:bodyPr/>
          <a:lstStyle/>
          <a:p>
            <a:r>
              <a:rPr lang="en-GB"/>
              <a:t>INSERT FOOTER HER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8CFE0557-AA98-4E6C-B0C3-581794696B68}" type="slidenum">
              <a:rPr lang="en-GB" smtClean="0"/>
              <a:pPr/>
              <a:t>‹#›</a:t>
            </a:fld>
            <a:endParaRPr lang="en-GB" dirty="0"/>
          </a:p>
        </p:txBody>
      </p:sp>
      <p:sp>
        <p:nvSpPr>
          <p:cNvPr id="23" name="Title 3">
            <a:extLst>
              <a:ext uri="{FF2B5EF4-FFF2-40B4-BE49-F238E27FC236}">
                <a16:creationId xmlns:a16="http://schemas.microsoft.com/office/drawing/2014/main" id="{8AB09B44-EDBF-17A6-8435-B2F4F07AB3F6}"/>
              </a:ext>
            </a:extLst>
          </p:cNvPr>
          <p:cNvSpPr txBox="1">
            <a:spLocks/>
          </p:cNvSpPr>
          <p:nvPr userDrawn="1"/>
        </p:nvSpPr>
        <p:spPr>
          <a:xfrm>
            <a:off x="508000" y="454014"/>
            <a:ext cx="7134225" cy="669934"/>
          </a:xfrm>
          <a:prstGeom prst="rect">
            <a:avLst/>
          </a:prstGeom>
        </p:spPr>
        <p:txBody>
          <a:bodyPr vert="horz" lIns="0" tIns="0" rIns="0" bIns="72000" rtlCol="0" anchor="t" anchorCtr="0">
            <a:noAutofit/>
          </a:bodyPr>
          <a:lstStyle>
            <a:lvl1pPr algn="l" defTabSz="914400" rtl="0" eaLnBrk="1" latinLnBrk="0" hangingPunct="1">
              <a:lnSpc>
                <a:spcPct val="90000"/>
              </a:lnSpc>
              <a:spcBef>
                <a:spcPct val="0"/>
              </a:spcBef>
              <a:buNone/>
              <a:defRPr sz="3200" kern="1200" cap="all" baseline="0">
                <a:solidFill>
                  <a:schemeClr val="tx2"/>
                </a:solidFill>
                <a:latin typeface="+mn-lt"/>
                <a:ea typeface="+mj-ea"/>
                <a:cs typeface="+mj-cs"/>
              </a:defRPr>
            </a:lvl1pPr>
          </a:lstStyle>
          <a:p>
            <a:r>
              <a:rPr lang="en-US" dirty="0"/>
              <a:t>ENERGY</a:t>
            </a:r>
            <a:endParaRPr lang="en-GB" dirty="0"/>
          </a:p>
        </p:txBody>
      </p:sp>
      <p:sp>
        <p:nvSpPr>
          <p:cNvPr id="25" name="TextBox 24">
            <a:extLst>
              <a:ext uri="{FF2B5EF4-FFF2-40B4-BE49-F238E27FC236}">
                <a16:creationId xmlns:a16="http://schemas.microsoft.com/office/drawing/2014/main" id="{A5EA36E1-4129-FEF6-9C2F-9D7197C7629D}"/>
              </a:ext>
            </a:extLst>
          </p:cNvPr>
          <p:cNvSpPr txBox="1"/>
          <p:nvPr userDrawn="1"/>
        </p:nvSpPr>
        <p:spPr>
          <a:xfrm>
            <a:off x="504826" y="1123946"/>
            <a:ext cx="7183961" cy="1027119"/>
          </a:xfrm>
          <a:prstGeom prst="rect">
            <a:avLst/>
          </a:prstGeom>
        </p:spPr>
        <p:txBody>
          <a:bodyPr vert="horz" wrap="square" lIns="0" tIns="45720" rIns="0" bIns="45720" rtlCol="0">
            <a:noAutofit/>
          </a:bodyPr>
          <a:lstStyle/>
          <a:p>
            <a:pPr marL="0" lvl="0" indent="0" algn="l" defTabSz="914400" rtl="0" eaLnBrk="1" latinLnBrk="0" hangingPunct="1">
              <a:lnSpc>
                <a:spcPct val="110000"/>
              </a:lnSpc>
              <a:spcBef>
                <a:spcPts val="300"/>
              </a:spcBef>
              <a:spcAft>
                <a:spcPts val="300"/>
              </a:spcAft>
              <a:buFont typeface="Arial" panose="020B0604020202020204" pitchFamily="34" charset="0"/>
              <a:buNone/>
            </a:pPr>
            <a:r>
              <a:rPr lang="en-US" sz="2000" kern="1200" dirty="0">
                <a:solidFill>
                  <a:schemeClr val="accent2"/>
                </a:solidFill>
                <a:latin typeface="+mj-lt"/>
                <a:ea typeface="+mn-ea"/>
                <a:cs typeface="+mn-cs"/>
              </a:rPr>
              <a:t>Our specialist team of transactional and dispute resolution lawyers advise clients at every stage of the energy chain, including exploration and production; storage and transportation; LNG; refining, trading and sale of oil and gas; electricity generation; and energy management.</a:t>
            </a:r>
          </a:p>
        </p:txBody>
      </p:sp>
      <p:sp>
        <p:nvSpPr>
          <p:cNvPr id="26" name="TextBox 25">
            <a:extLst>
              <a:ext uri="{FF2B5EF4-FFF2-40B4-BE49-F238E27FC236}">
                <a16:creationId xmlns:a16="http://schemas.microsoft.com/office/drawing/2014/main" id="{FDFD0AFD-8043-093A-16C9-665D20AE7490}"/>
              </a:ext>
            </a:extLst>
          </p:cNvPr>
          <p:cNvSpPr txBox="1"/>
          <p:nvPr userDrawn="1"/>
        </p:nvSpPr>
        <p:spPr>
          <a:xfrm>
            <a:off x="504826" y="2195825"/>
            <a:ext cx="3403599" cy="4022429"/>
          </a:xfrm>
          <a:prstGeom prst="rect">
            <a:avLst/>
          </a:prstGeom>
        </p:spPr>
        <p:txBody>
          <a:bodyPr vert="horz" lIns="0" tIns="45720" rIns="0" bIns="45720" rtlCol="0">
            <a:normAutofit/>
          </a:bodyPr>
          <a:lstStyle>
            <a:lvl1pPr indent="0" defTabSz="914400">
              <a:lnSpc>
                <a:spcPct val="130000"/>
              </a:lnSpc>
              <a:spcBef>
                <a:spcPts val="300"/>
              </a:spcBef>
              <a:spcAft>
                <a:spcPts val="300"/>
              </a:spcAft>
              <a:buFont typeface="Arial" panose="020B0604020202020204" pitchFamily="34" charset="0"/>
              <a:buNone/>
              <a:defRPr sz="1400">
                <a:solidFill>
                  <a:schemeClr val="tx2"/>
                </a:solidFill>
                <a:latin typeface="+mj-lt"/>
              </a:defRPr>
            </a:lvl1pPr>
            <a:lvl2pPr marL="0" lvl="1" indent="0" defTabSz="914400">
              <a:lnSpc>
                <a:spcPct val="130000"/>
              </a:lnSpc>
              <a:spcBef>
                <a:spcPts val="300"/>
              </a:spcBef>
              <a:spcAft>
                <a:spcPts val="300"/>
              </a:spcAft>
              <a:buFont typeface="Arial" panose="020B0604020202020204" pitchFamily="34" charset="0"/>
              <a:buNone/>
              <a:defRPr sz="1100"/>
            </a:lvl2pPr>
            <a:lvl3pPr marL="180975" indent="-180975" defTabSz="914400">
              <a:lnSpc>
                <a:spcPct val="130000"/>
              </a:lnSpc>
              <a:spcBef>
                <a:spcPts val="300"/>
              </a:spcBef>
              <a:spcAft>
                <a:spcPts val="300"/>
              </a:spcAft>
              <a:buClr>
                <a:schemeClr val="tx2"/>
              </a:buClr>
              <a:buSzPct val="105000"/>
              <a:buFont typeface="Arial" panose="020B0604020202020204" pitchFamily="34" charset="0"/>
              <a:buChar char="•"/>
              <a:defRPr sz="1100"/>
            </a:lvl3pPr>
            <a:lvl4pPr marL="539750" indent="-180975" defTabSz="914400">
              <a:lnSpc>
                <a:spcPct val="130000"/>
              </a:lnSpc>
              <a:spcBef>
                <a:spcPts val="300"/>
              </a:spcBef>
              <a:spcAft>
                <a:spcPts val="300"/>
              </a:spcAft>
              <a:buClr>
                <a:schemeClr val="tx2"/>
              </a:buClr>
              <a:buSzPct val="105000"/>
              <a:buFont typeface="Arial" panose="020B0604020202020204" pitchFamily="34" charset="0"/>
              <a:buChar char="•"/>
              <a:defRPr sz="1050"/>
            </a:lvl4pPr>
            <a:lvl5pPr marL="898525" indent="-180975" defTabSz="914400">
              <a:lnSpc>
                <a:spcPct val="130000"/>
              </a:lnSpc>
              <a:spcBef>
                <a:spcPts val="300"/>
              </a:spcBef>
              <a:spcAft>
                <a:spcPts val="300"/>
              </a:spcAft>
              <a:buClr>
                <a:schemeClr val="tx2"/>
              </a:buClr>
              <a:buSzPct val="105000"/>
              <a:buFont typeface="Arial" panose="020B0604020202020204" pitchFamily="34" charset="0"/>
              <a:buChar char="•"/>
              <a:defRPr sz="105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1"/>
            <a:endParaRPr lang="en-US" dirty="0"/>
          </a:p>
          <a:p>
            <a:pPr lvl="1"/>
            <a:endParaRPr lang="en-US" dirty="0"/>
          </a:p>
          <a:p>
            <a:pPr lvl="1"/>
            <a:endParaRPr lang="en-US" dirty="0"/>
          </a:p>
          <a:p>
            <a:pPr lvl="1"/>
            <a:endParaRPr lang="en-US" dirty="0"/>
          </a:p>
          <a:p>
            <a:pPr lvl="1"/>
            <a:r>
              <a:rPr lang="en-US" dirty="0"/>
              <a:t>We also have expertise in renewables, carbon trading and mining, and have an emergency response team who are experienced in advising on all aspects of offshore casualties and disasters.</a:t>
            </a:r>
          </a:p>
          <a:p>
            <a:pPr lvl="1"/>
            <a:r>
              <a:rPr lang="en-US" dirty="0"/>
              <a:t>As true sector specialists, many of whom having experience of working in industry, our team are able to provide clients with clear, practical and commercially focused advice.</a:t>
            </a:r>
            <a:endParaRPr lang="en-GB" dirty="0"/>
          </a:p>
        </p:txBody>
      </p:sp>
    </p:spTree>
    <p:extLst>
      <p:ext uri="{BB962C8B-B14F-4D97-AF65-F5344CB8AC3E}">
        <p14:creationId xmlns:p14="http://schemas.microsoft.com/office/powerpoint/2010/main" val="3947939908"/>
      </p:ext>
    </p:extLst>
  </p:cSld>
  <p:clrMapOvr>
    <a:masterClrMapping/>
  </p:clrMapOvr>
  <p:transition spd="med">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2_Content &amp; Image CONSTRUC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261A4C7-E98D-3660-5C37-C13B3A230A80}"/>
              </a:ext>
            </a:extLst>
          </p:cNvPr>
          <p:cNvSpPr/>
          <p:nvPr userDrawn="1"/>
        </p:nvSpPr>
        <p:spPr>
          <a:xfrm>
            <a:off x="8126413" y="0"/>
            <a:ext cx="40655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Footer Placeholder 4"/>
          <p:cNvSpPr>
            <a:spLocks noGrp="1"/>
          </p:cNvSpPr>
          <p:nvPr>
            <p:ph type="ftr" sz="quarter" idx="11"/>
          </p:nvPr>
        </p:nvSpPr>
        <p:spPr/>
        <p:txBody>
          <a:bodyPr/>
          <a:lstStyle/>
          <a:p>
            <a:r>
              <a:rPr lang="en-GB"/>
              <a:t>INSERT FOOTER HER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8CFE0557-AA98-4E6C-B0C3-581794696B68}" type="slidenum">
              <a:rPr lang="en-GB" smtClean="0"/>
              <a:pPr/>
              <a:t>‹#›</a:t>
            </a:fld>
            <a:endParaRPr lang="en-GB"/>
          </a:p>
        </p:txBody>
      </p:sp>
      <p:sp>
        <p:nvSpPr>
          <p:cNvPr id="10" name="Content Placeholder 2">
            <a:extLst>
              <a:ext uri="{FF2B5EF4-FFF2-40B4-BE49-F238E27FC236}">
                <a16:creationId xmlns:a16="http://schemas.microsoft.com/office/drawing/2014/main" id="{182B4A0E-C187-E12F-BB7B-7E465EDEEA4C}"/>
              </a:ext>
            </a:extLst>
          </p:cNvPr>
          <p:cNvSpPr>
            <a:spLocks noGrp="1"/>
          </p:cNvSpPr>
          <p:nvPr>
            <p:ph idx="1" hasCustomPrompt="1"/>
          </p:nvPr>
        </p:nvSpPr>
        <p:spPr>
          <a:xfrm>
            <a:off x="508000" y="1244882"/>
            <a:ext cx="7142820" cy="291662"/>
          </a:xfrm>
        </p:spPr>
        <p:txBody>
          <a:bodyPr vert="horz" lIns="0" tIns="45720" rIns="0" bIns="45720" numCol="1" spcCol="288000" rtlCol="0">
            <a:noAutofit/>
          </a:bodyPr>
          <a:lstStyle>
            <a:lvl1pPr>
              <a:defRPr lang="en-US" cap="all" baseline="0" dirty="0" smtClean="0"/>
            </a:lvl1pPr>
            <a:lvl2pPr>
              <a:defRPr lang="en-US" dirty="0"/>
            </a:lvl2pPr>
            <a:lvl3pPr>
              <a:defRPr lang="en-US" dirty="0"/>
            </a:lvl3pPr>
            <a:lvl4pPr>
              <a:defRPr lang="en-US" dirty="0"/>
            </a:lvl4pPr>
            <a:lvl5pPr>
              <a:defRPr lang="en-US" dirty="0"/>
            </a:lvl5pPr>
          </a:lstStyle>
          <a:p>
            <a:pPr lvl="0"/>
            <a:r>
              <a:rPr lang="en-US" dirty="0"/>
              <a:t>subhead</a:t>
            </a:r>
          </a:p>
        </p:txBody>
      </p:sp>
      <p:sp>
        <p:nvSpPr>
          <p:cNvPr id="12" name="Content Placeholder 2">
            <a:extLst>
              <a:ext uri="{FF2B5EF4-FFF2-40B4-BE49-F238E27FC236}">
                <a16:creationId xmlns:a16="http://schemas.microsoft.com/office/drawing/2014/main" id="{79AF8CE8-F801-FBFD-7F6F-0BE65F72C036}"/>
              </a:ext>
            </a:extLst>
          </p:cNvPr>
          <p:cNvSpPr>
            <a:spLocks noGrp="1"/>
          </p:cNvSpPr>
          <p:nvPr>
            <p:ph idx="16" hasCustomPrompt="1"/>
          </p:nvPr>
        </p:nvSpPr>
        <p:spPr>
          <a:xfrm>
            <a:off x="508000" y="1613017"/>
            <a:ext cx="3400425" cy="4606808"/>
          </a:xfrm>
        </p:spPr>
        <p:txBody>
          <a:bodyPr vert="horz" lIns="0" tIns="45720" rIns="0" bIns="4572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7" name="TextBox 4">
            <a:extLst>
              <a:ext uri="{FF2B5EF4-FFF2-40B4-BE49-F238E27FC236}">
                <a16:creationId xmlns:a16="http://schemas.microsoft.com/office/drawing/2014/main" id="{ECC1AF18-C7ED-CAA0-D1D3-14DEFC5E2590}"/>
              </a:ext>
            </a:extLst>
          </p:cNvPr>
          <p:cNvSpPr txBox="1"/>
          <p:nvPr userDrawn="1"/>
        </p:nvSpPr>
        <p:spPr>
          <a:xfrm>
            <a:off x="12346713" y="109538"/>
            <a:ext cx="1934437" cy="31700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INSERTING IMAGES:</a:t>
            </a:r>
          </a:p>
          <a:p>
            <a:pPr marL="179388" indent="-179388">
              <a:spcBef>
                <a:spcPts val="200"/>
              </a:spcBef>
              <a:spcAft>
                <a:spcPts val="200"/>
              </a:spcAft>
              <a:buFont typeface="+mj-lt"/>
              <a:buAutoNum type="arabicPeriod"/>
            </a:pPr>
            <a:r>
              <a:rPr lang="en-US" sz="900" dirty="0">
                <a:solidFill>
                  <a:schemeClr val="tx1"/>
                </a:solidFill>
                <a:latin typeface="+mn-lt"/>
              </a:rPr>
              <a:t>Simply click the image placeholder and select your image.</a:t>
            </a:r>
          </a:p>
          <a:p>
            <a:pPr marL="179388" indent="-179388">
              <a:spcBef>
                <a:spcPts val="200"/>
              </a:spcBef>
              <a:spcAft>
                <a:spcPts val="200"/>
              </a:spcAft>
              <a:buFont typeface="+mj-lt"/>
              <a:buAutoNum type="arabicPeriod"/>
            </a:pPr>
            <a:r>
              <a:rPr lang="en-US" sz="900" dirty="0">
                <a:solidFill>
                  <a:schemeClr val="tx1"/>
                </a:solidFill>
                <a:latin typeface="+mn-lt"/>
              </a:rPr>
              <a:t>Once your image is inserted into the shape it may be distorted. (Stretched or Squashed)</a:t>
            </a:r>
          </a:p>
          <a:p>
            <a:pPr marL="179388" indent="-179388">
              <a:spcBef>
                <a:spcPts val="200"/>
              </a:spcBef>
              <a:spcAft>
                <a:spcPts val="200"/>
              </a:spcAft>
              <a:buFont typeface="+mj-lt"/>
              <a:buAutoNum type="arabicPeriod"/>
            </a:pPr>
            <a:endParaRPr lang="en-US" sz="900" dirty="0">
              <a:solidFill>
                <a:schemeClr val="tx1"/>
              </a:solidFill>
              <a:latin typeface="+mn-lt"/>
            </a:endParaRPr>
          </a:p>
          <a:p>
            <a:pPr>
              <a:spcBef>
                <a:spcPts val="200"/>
              </a:spcBef>
              <a:spcAft>
                <a:spcPts val="200"/>
              </a:spcAft>
            </a:pPr>
            <a:r>
              <a:rPr lang="en-US" sz="900" b="1" dirty="0">
                <a:solidFill>
                  <a:schemeClr val="tx1"/>
                </a:solidFill>
                <a:latin typeface="+mn-lt"/>
              </a:rPr>
              <a:t>To fix this:</a:t>
            </a:r>
          </a:p>
          <a:p>
            <a:pPr marL="179388" indent="-179388">
              <a:spcBef>
                <a:spcPts val="200"/>
              </a:spcBef>
              <a:spcAft>
                <a:spcPts val="200"/>
              </a:spcAft>
              <a:buFont typeface="+mj-lt"/>
              <a:buAutoNum type="arabicPeriod"/>
            </a:pPr>
            <a:r>
              <a:rPr lang="en-US" sz="900" dirty="0">
                <a:solidFill>
                  <a:schemeClr val="tx1"/>
                </a:solidFill>
                <a:latin typeface="+mn-lt"/>
              </a:rPr>
              <a:t>Click on the image and from the top menu under </a:t>
            </a:r>
            <a:r>
              <a:rPr lang="en-US" sz="900" b="1" dirty="0">
                <a:solidFill>
                  <a:schemeClr val="tx1"/>
                </a:solidFill>
                <a:latin typeface="+mn-lt"/>
              </a:rPr>
              <a:t>PICTURE FORMAT </a:t>
            </a:r>
            <a:r>
              <a:rPr lang="en-US" sz="900" dirty="0">
                <a:solidFill>
                  <a:schemeClr val="tx1"/>
                </a:solidFill>
                <a:latin typeface="+mn-lt"/>
              </a:rPr>
              <a:t>select the </a:t>
            </a:r>
            <a:r>
              <a:rPr lang="en-US" sz="900" b="1" dirty="0">
                <a:solidFill>
                  <a:schemeClr val="tx1"/>
                </a:solidFill>
                <a:latin typeface="+mn-lt"/>
              </a:rPr>
              <a:t>CROP</a:t>
            </a:r>
            <a:r>
              <a:rPr lang="en-US" sz="900" dirty="0">
                <a:solidFill>
                  <a:schemeClr val="tx1"/>
                </a:solidFill>
                <a:latin typeface="+mn-lt"/>
              </a:rPr>
              <a:t> on the right and from the drop down menu select </a:t>
            </a:r>
            <a:r>
              <a:rPr lang="en-US" sz="900" b="1" kern="1200" dirty="0">
                <a:solidFill>
                  <a:schemeClr val="tx1"/>
                </a:solidFill>
                <a:latin typeface="+mn-lt"/>
                <a:ea typeface="+mn-ea"/>
                <a:cs typeface="+mn-cs"/>
              </a:rPr>
              <a:t>FILL</a:t>
            </a:r>
          </a:p>
          <a:p>
            <a:pPr marL="179388" indent="-179388">
              <a:spcBef>
                <a:spcPts val="200"/>
              </a:spcBef>
              <a:spcAft>
                <a:spcPts val="200"/>
              </a:spcAft>
              <a:buFont typeface="+mj-lt"/>
              <a:buAutoNum type="arabicPeriod"/>
            </a:pPr>
            <a:r>
              <a:rPr lang="en-US" sz="900" b="0" kern="1200" dirty="0">
                <a:solidFill>
                  <a:schemeClr val="tx1"/>
                </a:solidFill>
                <a:latin typeface="+mn-lt"/>
                <a:ea typeface="+mn-ea"/>
                <a:cs typeface="+mn-cs"/>
              </a:rPr>
              <a:t>From here you can move the image within the shape for best visual appearance</a:t>
            </a:r>
          </a:p>
        </p:txBody>
      </p:sp>
      <p:sp>
        <p:nvSpPr>
          <p:cNvPr id="4" name="Content Placeholder 2">
            <a:extLst>
              <a:ext uri="{FF2B5EF4-FFF2-40B4-BE49-F238E27FC236}">
                <a16:creationId xmlns:a16="http://schemas.microsoft.com/office/drawing/2014/main" id="{53C28725-2311-B24F-68FE-D0071B9D9FA2}"/>
              </a:ext>
            </a:extLst>
          </p:cNvPr>
          <p:cNvSpPr>
            <a:spLocks noGrp="1"/>
          </p:cNvSpPr>
          <p:nvPr>
            <p:ph idx="18" hasCustomPrompt="1"/>
          </p:nvPr>
        </p:nvSpPr>
        <p:spPr>
          <a:xfrm>
            <a:off x="4229229" y="1613017"/>
            <a:ext cx="3421591" cy="4606808"/>
          </a:xfrm>
        </p:spPr>
        <p:txBody>
          <a:bodyPr vert="horz" lIns="0" tIns="45720" rIns="0" bIns="4572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2" name="Title 1">
            <a:extLst>
              <a:ext uri="{FF2B5EF4-FFF2-40B4-BE49-F238E27FC236}">
                <a16:creationId xmlns:a16="http://schemas.microsoft.com/office/drawing/2014/main" id="{F716C1E4-4130-ED05-3440-416A4549A61B}"/>
              </a:ext>
            </a:extLst>
          </p:cNvPr>
          <p:cNvSpPr>
            <a:spLocks noGrp="1"/>
          </p:cNvSpPr>
          <p:nvPr>
            <p:ph type="title" hasCustomPrompt="1"/>
          </p:nvPr>
        </p:nvSpPr>
        <p:spPr>
          <a:xfrm>
            <a:off x="508001" y="454013"/>
            <a:ext cx="7142820" cy="790869"/>
          </a:xfrm>
        </p:spPr>
        <p:txBody>
          <a:bodyPr/>
          <a:lstStyle/>
          <a:p>
            <a:r>
              <a:rPr lang="en-US" dirty="0"/>
              <a:t>TITLE: subtitle</a:t>
            </a:r>
            <a:endParaRPr lang="en-GB" dirty="0"/>
          </a:p>
        </p:txBody>
      </p:sp>
      <p:sp>
        <p:nvSpPr>
          <p:cNvPr id="9" name="Content Placeholder 2">
            <a:extLst>
              <a:ext uri="{FF2B5EF4-FFF2-40B4-BE49-F238E27FC236}">
                <a16:creationId xmlns:a16="http://schemas.microsoft.com/office/drawing/2014/main" id="{50857AC0-932F-5BAA-C619-2F239FED9BE2}"/>
              </a:ext>
            </a:extLst>
          </p:cNvPr>
          <p:cNvSpPr>
            <a:spLocks noGrp="1"/>
          </p:cNvSpPr>
          <p:nvPr>
            <p:ph idx="45" hasCustomPrompt="1"/>
          </p:nvPr>
        </p:nvSpPr>
        <p:spPr>
          <a:xfrm>
            <a:off x="8737600" y="2660686"/>
            <a:ext cx="2944813" cy="3559139"/>
          </a:xfrm>
        </p:spPr>
        <p:txBody>
          <a:bodyPr vert="horz" lIns="0" tIns="45720" rIns="0" bIns="45720" rtlCol="0">
            <a:normAutofit/>
          </a:bodyPr>
          <a:lstStyle>
            <a:lvl1pPr algn="l" defTabSz="914400" rtl="0" eaLnBrk="1" latinLnBrk="0" hangingPunct="1">
              <a:lnSpc>
                <a:spcPct val="130000"/>
              </a:lnSpc>
              <a:spcBef>
                <a:spcPts val="300"/>
              </a:spcBef>
              <a:spcAft>
                <a:spcPts val="300"/>
              </a:spcAft>
              <a:buFont typeface="Arial" panose="020B0604020202020204" pitchFamily="34" charset="0"/>
              <a:defRPr lang="en-US" sz="1100" kern="1200" dirty="0">
                <a:solidFill>
                  <a:schemeClr val="bg1"/>
                </a:solidFill>
                <a:latin typeface="+mn-lt"/>
                <a:ea typeface="+mn-ea"/>
                <a:cs typeface="+mn-cs"/>
              </a:defRPr>
            </a:lvl1pPr>
            <a:lvl2pPr>
              <a:buClr>
                <a:schemeClr val="bg1"/>
              </a:buClr>
              <a:defRPr lang="en-US" dirty="0">
                <a:solidFill>
                  <a:schemeClr val="bg1"/>
                </a:solidFill>
              </a:defRPr>
            </a:lvl2pPr>
            <a:lvl3pPr>
              <a:buClr>
                <a:schemeClr val="bg1"/>
              </a:buClr>
              <a:defRPr lang="en-US" dirty="0">
                <a:solidFill>
                  <a:schemeClr val="bg1"/>
                </a:solidFill>
              </a:defRPr>
            </a:lvl3pPr>
            <a:lvl4pPr>
              <a:buClr>
                <a:schemeClr val="bg1"/>
              </a:buClr>
              <a:defRPr lang="en-US" dirty="0">
                <a:solidFill>
                  <a:schemeClr val="bg1"/>
                </a:solidFill>
              </a:defRPr>
            </a:lvl4pPr>
            <a:lvl5pPr>
              <a:buClr>
                <a:schemeClr val="bg1"/>
              </a:buClr>
              <a:defRPr lang="en-US" dirty="0">
                <a:solidFill>
                  <a:schemeClr val="bg1"/>
                </a:solidFill>
              </a:defRPr>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11" name="Content Placeholder 2">
            <a:extLst>
              <a:ext uri="{FF2B5EF4-FFF2-40B4-BE49-F238E27FC236}">
                <a16:creationId xmlns:a16="http://schemas.microsoft.com/office/drawing/2014/main" id="{1C0E041C-792C-A30B-955E-9CBF9DBE0507}"/>
              </a:ext>
            </a:extLst>
          </p:cNvPr>
          <p:cNvSpPr>
            <a:spLocks noGrp="1"/>
          </p:cNvSpPr>
          <p:nvPr>
            <p:ph idx="46" hasCustomPrompt="1"/>
          </p:nvPr>
        </p:nvSpPr>
        <p:spPr>
          <a:xfrm>
            <a:off x="8737600" y="2294925"/>
            <a:ext cx="2946399" cy="365761"/>
          </a:xfrm>
        </p:spPr>
        <p:txBody>
          <a:bodyPr/>
          <a:lstStyle>
            <a:lvl1pPr>
              <a:defRPr cap="all" baseline="0">
                <a:solidFill>
                  <a:schemeClr val="accent2"/>
                </a:solidFill>
              </a:defRPr>
            </a:lvl1pPr>
          </a:lstStyle>
          <a:p>
            <a:pPr lvl="0"/>
            <a:r>
              <a:rPr lang="en-US" dirty="0"/>
              <a:t>subhead</a:t>
            </a:r>
          </a:p>
        </p:txBody>
      </p:sp>
      <p:sp>
        <p:nvSpPr>
          <p:cNvPr id="13" name="Freeform: Shape 12">
            <a:extLst>
              <a:ext uri="{FF2B5EF4-FFF2-40B4-BE49-F238E27FC236}">
                <a16:creationId xmlns:a16="http://schemas.microsoft.com/office/drawing/2014/main" id="{BEBDF004-8890-D7E6-B237-E8DD01BD8B69}"/>
              </a:ext>
            </a:extLst>
          </p:cNvPr>
          <p:cNvSpPr/>
          <p:nvPr userDrawn="1"/>
        </p:nvSpPr>
        <p:spPr>
          <a:xfrm>
            <a:off x="9422819" y="508495"/>
            <a:ext cx="1472774" cy="1472774"/>
          </a:xfrm>
          <a:custGeom>
            <a:avLst/>
            <a:gdLst>
              <a:gd name="connsiteX0" fmla="*/ 281028 w 586449"/>
              <a:gd name="connsiteY0" fmla="*/ 365401 h 586450"/>
              <a:gd name="connsiteX1" fmla="*/ 281028 w 586449"/>
              <a:gd name="connsiteY1" fmla="*/ 410723 h 586450"/>
              <a:gd name="connsiteX2" fmla="*/ 293226 w 586449"/>
              <a:gd name="connsiteY2" fmla="*/ 410723 h 586450"/>
              <a:gd name="connsiteX3" fmla="*/ 341074 w 586449"/>
              <a:gd name="connsiteY3" fmla="*/ 457931 h 586450"/>
              <a:gd name="connsiteX4" fmla="*/ 293226 w 586449"/>
              <a:gd name="connsiteY4" fmla="*/ 505140 h 586450"/>
              <a:gd name="connsiteX5" fmla="*/ 245377 w 586449"/>
              <a:gd name="connsiteY5" fmla="*/ 457931 h 586450"/>
              <a:gd name="connsiteX6" fmla="*/ 220981 w 586449"/>
              <a:gd name="connsiteY6" fmla="*/ 457931 h 586450"/>
              <a:gd name="connsiteX7" fmla="*/ 293226 w 586449"/>
              <a:gd name="connsiteY7" fmla="*/ 529233 h 586450"/>
              <a:gd name="connsiteX8" fmla="*/ 293226 w 586449"/>
              <a:gd name="connsiteY8" fmla="*/ 529266 h 586450"/>
              <a:gd name="connsiteX9" fmla="*/ 365470 w 586449"/>
              <a:gd name="connsiteY9" fmla="*/ 457965 h 586450"/>
              <a:gd name="connsiteX10" fmla="*/ 305424 w 586449"/>
              <a:gd name="connsiteY10" fmla="*/ 387675 h 586450"/>
              <a:gd name="connsiteX11" fmla="*/ 305424 w 586449"/>
              <a:gd name="connsiteY11" fmla="*/ 365401 h 586450"/>
              <a:gd name="connsiteX12" fmla="*/ 293360 w 586449"/>
              <a:gd name="connsiteY12" fmla="*/ 216396 h 586450"/>
              <a:gd name="connsiteX13" fmla="*/ 254509 w 586449"/>
              <a:gd name="connsiteY13" fmla="*/ 255248 h 586450"/>
              <a:gd name="connsiteX14" fmla="*/ 293360 w 586449"/>
              <a:gd name="connsiteY14" fmla="*/ 294066 h 586450"/>
              <a:gd name="connsiteX15" fmla="*/ 332179 w 586449"/>
              <a:gd name="connsiteY15" fmla="*/ 255248 h 586450"/>
              <a:gd name="connsiteX16" fmla="*/ 293360 w 586449"/>
              <a:gd name="connsiteY16" fmla="*/ 216396 h 586450"/>
              <a:gd name="connsiteX17" fmla="*/ 293360 w 586449"/>
              <a:gd name="connsiteY17" fmla="*/ 192135 h 586450"/>
              <a:gd name="connsiteX18" fmla="*/ 356473 w 586449"/>
              <a:gd name="connsiteY18" fmla="*/ 255215 h 586450"/>
              <a:gd name="connsiteX19" fmla="*/ 293360 w 586449"/>
              <a:gd name="connsiteY19" fmla="*/ 318328 h 586450"/>
              <a:gd name="connsiteX20" fmla="*/ 230247 w 586449"/>
              <a:gd name="connsiteY20" fmla="*/ 255215 h 586450"/>
              <a:gd name="connsiteX21" fmla="*/ 293360 w 586449"/>
              <a:gd name="connsiteY21" fmla="*/ 192135 h 586450"/>
              <a:gd name="connsiteX22" fmla="*/ 167168 w 586449"/>
              <a:gd name="connsiteY22" fmla="*/ 171783 h 586450"/>
              <a:gd name="connsiteX23" fmla="*/ 204941 w 586449"/>
              <a:gd name="connsiteY23" fmla="*/ 341073 h 586450"/>
              <a:gd name="connsiteX24" fmla="*/ 381476 w 586449"/>
              <a:gd name="connsiteY24" fmla="*/ 341073 h 586450"/>
              <a:gd name="connsiteX25" fmla="*/ 419283 w 586449"/>
              <a:gd name="connsiteY25" fmla="*/ 171783 h 586450"/>
              <a:gd name="connsiteX26" fmla="*/ 167202 w 586449"/>
              <a:gd name="connsiteY26" fmla="*/ 171783 h 586450"/>
              <a:gd name="connsiteX27" fmla="*/ 341074 w 586449"/>
              <a:gd name="connsiteY27" fmla="*/ 72783 h 586450"/>
              <a:gd name="connsiteX28" fmla="*/ 341074 w 586449"/>
              <a:gd name="connsiteY28" fmla="*/ 147656 h 586450"/>
              <a:gd name="connsiteX29" fmla="*/ 365470 w 586449"/>
              <a:gd name="connsiteY29" fmla="*/ 147656 h 586450"/>
              <a:gd name="connsiteX30" fmla="*/ 365470 w 586449"/>
              <a:gd name="connsiteY30" fmla="*/ 72783 h 586450"/>
              <a:gd name="connsiteX31" fmla="*/ 220981 w 586449"/>
              <a:gd name="connsiteY31" fmla="*/ 72783 h 586450"/>
              <a:gd name="connsiteX32" fmla="*/ 220981 w 586449"/>
              <a:gd name="connsiteY32" fmla="*/ 147656 h 586450"/>
              <a:gd name="connsiteX33" fmla="*/ 245411 w 586449"/>
              <a:gd name="connsiteY33" fmla="*/ 147656 h 586450"/>
              <a:gd name="connsiteX34" fmla="*/ 245411 w 586449"/>
              <a:gd name="connsiteY34" fmla="*/ 72783 h 586450"/>
              <a:gd name="connsiteX35" fmla="*/ 293225 w 586449"/>
              <a:gd name="connsiteY35" fmla="*/ 0 h 586450"/>
              <a:gd name="connsiteX36" fmla="*/ 586449 w 586449"/>
              <a:gd name="connsiteY36" fmla="*/ 293225 h 586450"/>
              <a:gd name="connsiteX37" fmla="*/ 293225 w 586449"/>
              <a:gd name="connsiteY37" fmla="*/ 586450 h 586450"/>
              <a:gd name="connsiteX38" fmla="*/ 0 w 586449"/>
              <a:gd name="connsiteY38" fmla="*/ 293225 h 586450"/>
              <a:gd name="connsiteX39" fmla="*/ 293225 w 586449"/>
              <a:gd name="connsiteY39" fmla="*/ 0 h 586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586449" h="586450">
                <a:moveTo>
                  <a:pt x="281028" y="365401"/>
                </a:moveTo>
                <a:lnTo>
                  <a:pt x="281028" y="410723"/>
                </a:lnTo>
                <a:lnTo>
                  <a:pt x="293226" y="410723"/>
                </a:lnTo>
                <a:cubicBezTo>
                  <a:pt x="319610" y="410723"/>
                  <a:pt x="341074" y="431918"/>
                  <a:pt x="341074" y="457931"/>
                </a:cubicBezTo>
                <a:cubicBezTo>
                  <a:pt x="341074" y="483945"/>
                  <a:pt x="319610" y="505140"/>
                  <a:pt x="293226" y="505140"/>
                </a:cubicBezTo>
                <a:cubicBezTo>
                  <a:pt x="266841" y="505140"/>
                  <a:pt x="245377" y="483945"/>
                  <a:pt x="245377" y="457931"/>
                </a:cubicBezTo>
                <a:lnTo>
                  <a:pt x="220981" y="457931"/>
                </a:lnTo>
                <a:cubicBezTo>
                  <a:pt x="220981" y="497255"/>
                  <a:pt x="253397" y="529233"/>
                  <a:pt x="293226" y="529233"/>
                </a:cubicBezTo>
                <a:lnTo>
                  <a:pt x="293226" y="529266"/>
                </a:lnTo>
                <a:cubicBezTo>
                  <a:pt x="333055" y="529266"/>
                  <a:pt x="365470" y="497255"/>
                  <a:pt x="365470" y="457965"/>
                </a:cubicBezTo>
                <a:cubicBezTo>
                  <a:pt x="365470" y="422752"/>
                  <a:pt x="339457" y="393403"/>
                  <a:pt x="305424" y="387675"/>
                </a:cubicBezTo>
                <a:lnTo>
                  <a:pt x="305424" y="365401"/>
                </a:lnTo>
                <a:close/>
                <a:moveTo>
                  <a:pt x="293360" y="216396"/>
                </a:moveTo>
                <a:cubicBezTo>
                  <a:pt x="271896" y="216396"/>
                  <a:pt x="254509" y="233817"/>
                  <a:pt x="254509" y="255248"/>
                </a:cubicBezTo>
                <a:cubicBezTo>
                  <a:pt x="254509" y="276679"/>
                  <a:pt x="271930" y="294066"/>
                  <a:pt x="293360" y="294066"/>
                </a:cubicBezTo>
                <a:cubicBezTo>
                  <a:pt x="314791" y="294066"/>
                  <a:pt x="332179" y="276679"/>
                  <a:pt x="332179" y="255248"/>
                </a:cubicBezTo>
                <a:cubicBezTo>
                  <a:pt x="332179" y="233784"/>
                  <a:pt x="314825" y="216396"/>
                  <a:pt x="293360" y="216396"/>
                </a:cubicBezTo>
                <a:close/>
                <a:moveTo>
                  <a:pt x="293360" y="192135"/>
                </a:moveTo>
                <a:cubicBezTo>
                  <a:pt x="328236" y="192135"/>
                  <a:pt x="356473" y="220373"/>
                  <a:pt x="356473" y="255215"/>
                </a:cubicBezTo>
                <a:cubicBezTo>
                  <a:pt x="356473" y="290057"/>
                  <a:pt x="328236" y="318328"/>
                  <a:pt x="293360" y="318328"/>
                </a:cubicBezTo>
                <a:cubicBezTo>
                  <a:pt x="258485" y="318328"/>
                  <a:pt x="230247" y="290090"/>
                  <a:pt x="230247" y="255215"/>
                </a:cubicBezTo>
                <a:cubicBezTo>
                  <a:pt x="230247" y="220339"/>
                  <a:pt x="258485" y="192135"/>
                  <a:pt x="293360" y="192135"/>
                </a:cubicBezTo>
                <a:close/>
                <a:moveTo>
                  <a:pt x="167168" y="171783"/>
                </a:moveTo>
                <a:lnTo>
                  <a:pt x="204941" y="341073"/>
                </a:lnTo>
                <a:lnTo>
                  <a:pt x="381476" y="341073"/>
                </a:lnTo>
                <a:lnTo>
                  <a:pt x="419283" y="171783"/>
                </a:lnTo>
                <a:lnTo>
                  <a:pt x="167202" y="171783"/>
                </a:lnTo>
                <a:close/>
                <a:moveTo>
                  <a:pt x="341074" y="72783"/>
                </a:moveTo>
                <a:lnTo>
                  <a:pt x="341074" y="147656"/>
                </a:lnTo>
                <a:cubicBezTo>
                  <a:pt x="341074" y="147656"/>
                  <a:pt x="365470" y="147656"/>
                  <a:pt x="365470" y="147656"/>
                </a:cubicBezTo>
                <a:lnTo>
                  <a:pt x="365470" y="72783"/>
                </a:lnTo>
                <a:close/>
                <a:moveTo>
                  <a:pt x="220981" y="72783"/>
                </a:moveTo>
                <a:lnTo>
                  <a:pt x="220981" y="147656"/>
                </a:lnTo>
                <a:lnTo>
                  <a:pt x="245411" y="147656"/>
                </a:lnTo>
                <a:lnTo>
                  <a:pt x="245411" y="72783"/>
                </a:lnTo>
                <a:close/>
                <a:moveTo>
                  <a:pt x="293225" y="0"/>
                </a:moveTo>
                <a:cubicBezTo>
                  <a:pt x="455169" y="0"/>
                  <a:pt x="586449" y="131281"/>
                  <a:pt x="586449" y="293225"/>
                </a:cubicBezTo>
                <a:cubicBezTo>
                  <a:pt x="586449" y="455169"/>
                  <a:pt x="455169" y="586450"/>
                  <a:pt x="293225" y="586450"/>
                </a:cubicBezTo>
                <a:cubicBezTo>
                  <a:pt x="131281" y="586450"/>
                  <a:pt x="0" y="455169"/>
                  <a:pt x="0" y="293225"/>
                </a:cubicBezTo>
                <a:cubicBezTo>
                  <a:pt x="0" y="131281"/>
                  <a:pt x="131281" y="0"/>
                  <a:pt x="293225" y="0"/>
                </a:cubicBezTo>
                <a:close/>
              </a:path>
            </a:pathLst>
          </a:custGeom>
          <a:solidFill>
            <a:srgbClr val="FFFFFF"/>
          </a:solidFill>
          <a:ln w="3364" cap="flat">
            <a:noFill/>
            <a:prstDash val="solid"/>
            <a:miter/>
          </a:ln>
        </p:spPr>
        <p:txBody>
          <a:bodyPr wrap="square" rtlCol="0" anchor="ctr">
            <a:noAutofit/>
          </a:bodyPr>
          <a:lstStyle/>
          <a:p>
            <a:endParaRPr lang="en-GB"/>
          </a:p>
        </p:txBody>
      </p:sp>
    </p:spTree>
    <p:extLst>
      <p:ext uri="{BB962C8B-B14F-4D97-AF65-F5344CB8AC3E}">
        <p14:creationId xmlns:p14="http://schemas.microsoft.com/office/powerpoint/2010/main" val="2625186538"/>
      </p:ext>
    </p:extLst>
  </p:cSld>
  <p:clrMapOvr>
    <a:masterClrMapping/>
  </p:clrMapOvr>
  <p:transition spd="med">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3_Content &amp; Image ENERGY">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261A4C7-E98D-3660-5C37-C13B3A230A80}"/>
              </a:ext>
            </a:extLst>
          </p:cNvPr>
          <p:cNvSpPr/>
          <p:nvPr userDrawn="1"/>
        </p:nvSpPr>
        <p:spPr>
          <a:xfrm>
            <a:off x="8126413" y="0"/>
            <a:ext cx="40655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Footer Placeholder 4"/>
          <p:cNvSpPr>
            <a:spLocks noGrp="1"/>
          </p:cNvSpPr>
          <p:nvPr>
            <p:ph type="ftr" sz="quarter" idx="11"/>
          </p:nvPr>
        </p:nvSpPr>
        <p:spPr/>
        <p:txBody>
          <a:bodyPr/>
          <a:lstStyle/>
          <a:p>
            <a:r>
              <a:rPr lang="en-GB"/>
              <a:t>INSERT FOOTER HER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8CFE0557-AA98-4E6C-B0C3-581794696B68}" type="slidenum">
              <a:rPr lang="en-GB" smtClean="0"/>
              <a:pPr/>
              <a:t>‹#›</a:t>
            </a:fld>
            <a:endParaRPr lang="en-GB"/>
          </a:p>
        </p:txBody>
      </p:sp>
      <p:sp>
        <p:nvSpPr>
          <p:cNvPr id="10" name="Content Placeholder 2">
            <a:extLst>
              <a:ext uri="{FF2B5EF4-FFF2-40B4-BE49-F238E27FC236}">
                <a16:creationId xmlns:a16="http://schemas.microsoft.com/office/drawing/2014/main" id="{182B4A0E-C187-E12F-BB7B-7E465EDEEA4C}"/>
              </a:ext>
            </a:extLst>
          </p:cNvPr>
          <p:cNvSpPr>
            <a:spLocks noGrp="1"/>
          </p:cNvSpPr>
          <p:nvPr>
            <p:ph idx="1" hasCustomPrompt="1"/>
          </p:nvPr>
        </p:nvSpPr>
        <p:spPr>
          <a:xfrm>
            <a:off x="508000" y="1244882"/>
            <a:ext cx="7142820" cy="291662"/>
          </a:xfrm>
        </p:spPr>
        <p:txBody>
          <a:bodyPr vert="horz" lIns="0" tIns="45720" rIns="0" bIns="45720" numCol="1" spcCol="288000" rtlCol="0">
            <a:noAutofit/>
          </a:bodyPr>
          <a:lstStyle>
            <a:lvl1pPr>
              <a:defRPr lang="en-US" cap="all" baseline="0" dirty="0" smtClean="0"/>
            </a:lvl1pPr>
            <a:lvl2pPr>
              <a:defRPr lang="en-US" dirty="0"/>
            </a:lvl2pPr>
            <a:lvl3pPr>
              <a:defRPr lang="en-US" dirty="0"/>
            </a:lvl3pPr>
            <a:lvl4pPr>
              <a:defRPr lang="en-US" dirty="0"/>
            </a:lvl4pPr>
            <a:lvl5pPr>
              <a:defRPr lang="en-US" dirty="0"/>
            </a:lvl5pPr>
          </a:lstStyle>
          <a:p>
            <a:pPr lvl="0"/>
            <a:r>
              <a:rPr lang="en-US" dirty="0"/>
              <a:t>subhead</a:t>
            </a:r>
          </a:p>
        </p:txBody>
      </p:sp>
      <p:sp>
        <p:nvSpPr>
          <p:cNvPr id="12" name="Content Placeholder 2">
            <a:extLst>
              <a:ext uri="{FF2B5EF4-FFF2-40B4-BE49-F238E27FC236}">
                <a16:creationId xmlns:a16="http://schemas.microsoft.com/office/drawing/2014/main" id="{79AF8CE8-F801-FBFD-7F6F-0BE65F72C036}"/>
              </a:ext>
            </a:extLst>
          </p:cNvPr>
          <p:cNvSpPr>
            <a:spLocks noGrp="1"/>
          </p:cNvSpPr>
          <p:nvPr>
            <p:ph idx="16" hasCustomPrompt="1"/>
          </p:nvPr>
        </p:nvSpPr>
        <p:spPr>
          <a:xfrm>
            <a:off x="508000" y="1613017"/>
            <a:ext cx="3400425" cy="4606808"/>
          </a:xfrm>
        </p:spPr>
        <p:txBody>
          <a:bodyPr vert="horz" lIns="0" tIns="45720" rIns="0" bIns="4572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7" name="TextBox 4">
            <a:extLst>
              <a:ext uri="{FF2B5EF4-FFF2-40B4-BE49-F238E27FC236}">
                <a16:creationId xmlns:a16="http://schemas.microsoft.com/office/drawing/2014/main" id="{ECC1AF18-C7ED-CAA0-D1D3-14DEFC5E2590}"/>
              </a:ext>
            </a:extLst>
          </p:cNvPr>
          <p:cNvSpPr txBox="1"/>
          <p:nvPr userDrawn="1"/>
        </p:nvSpPr>
        <p:spPr>
          <a:xfrm>
            <a:off x="12346713" y="109538"/>
            <a:ext cx="1934437" cy="31700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INSERTING IMAGES:</a:t>
            </a:r>
          </a:p>
          <a:p>
            <a:pPr marL="179388" indent="-179388">
              <a:spcBef>
                <a:spcPts val="200"/>
              </a:spcBef>
              <a:spcAft>
                <a:spcPts val="200"/>
              </a:spcAft>
              <a:buFont typeface="+mj-lt"/>
              <a:buAutoNum type="arabicPeriod"/>
            </a:pPr>
            <a:r>
              <a:rPr lang="en-US" sz="900" dirty="0">
                <a:solidFill>
                  <a:schemeClr val="tx1"/>
                </a:solidFill>
                <a:latin typeface="+mn-lt"/>
              </a:rPr>
              <a:t>Simply click the image placeholder and select your image.</a:t>
            </a:r>
          </a:p>
          <a:p>
            <a:pPr marL="179388" indent="-179388">
              <a:spcBef>
                <a:spcPts val="200"/>
              </a:spcBef>
              <a:spcAft>
                <a:spcPts val="200"/>
              </a:spcAft>
              <a:buFont typeface="+mj-lt"/>
              <a:buAutoNum type="arabicPeriod"/>
            </a:pPr>
            <a:r>
              <a:rPr lang="en-US" sz="900" dirty="0">
                <a:solidFill>
                  <a:schemeClr val="tx1"/>
                </a:solidFill>
                <a:latin typeface="+mn-lt"/>
              </a:rPr>
              <a:t>Once your image is inserted into the shape it may be distorted. (Stretched or Squashed)</a:t>
            </a:r>
          </a:p>
          <a:p>
            <a:pPr marL="179388" indent="-179388">
              <a:spcBef>
                <a:spcPts val="200"/>
              </a:spcBef>
              <a:spcAft>
                <a:spcPts val="200"/>
              </a:spcAft>
              <a:buFont typeface="+mj-lt"/>
              <a:buAutoNum type="arabicPeriod"/>
            </a:pPr>
            <a:endParaRPr lang="en-US" sz="900" dirty="0">
              <a:solidFill>
                <a:schemeClr val="tx1"/>
              </a:solidFill>
              <a:latin typeface="+mn-lt"/>
            </a:endParaRPr>
          </a:p>
          <a:p>
            <a:pPr>
              <a:spcBef>
                <a:spcPts val="200"/>
              </a:spcBef>
              <a:spcAft>
                <a:spcPts val="200"/>
              </a:spcAft>
            </a:pPr>
            <a:r>
              <a:rPr lang="en-US" sz="900" b="1" dirty="0">
                <a:solidFill>
                  <a:schemeClr val="tx1"/>
                </a:solidFill>
                <a:latin typeface="+mn-lt"/>
              </a:rPr>
              <a:t>To fix this:</a:t>
            </a:r>
          </a:p>
          <a:p>
            <a:pPr marL="179388" indent="-179388">
              <a:spcBef>
                <a:spcPts val="200"/>
              </a:spcBef>
              <a:spcAft>
                <a:spcPts val="200"/>
              </a:spcAft>
              <a:buFont typeface="+mj-lt"/>
              <a:buAutoNum type="arabicPeriod"/>
            </a:pPr>
            <a:r>
              <a:rPr lang="en-US" sz="900" dirty="0">
                <a:solidFill>
                  <a:schemeClr val="tx1"/>
                </a:solidFill>
                <a:latin typeface="+mn-lt"/>
              </a:rPr>
              <a:t>Click on the image and from the top menu under </a:t>
            </a:r>
            <a:r>
              <a:rPr lang="en-US" sz="900" b="1" dirty="0">
                <a:solidFill>
                  <a:schemeClr val="tx1"/>
                </a:solidFill>
                <a:latin typeface="+mn-lt"/>
              </a:rPr>
              <a:t>PICTURE FORMAT </a:t>
            </a:r>
            <a:r>
              <a:rPr lang="en-US" sz="900" dirty="0">
                <a:solidFill>
                  <a:schemeClr val="tx1"/>
                </a:solidFill>
                <a:latin typeface="+mn-lt"/>
              </a:rPr>
              <a:t>select the </a:t>
            </a:r>
            <a:r>
              <a:rPr lang="en-US" sz="900" b="1" dirty="0">
                <a:solidFill>
                  <a:schemeClr val="tx1"/>
                </a:solidFill>
                <a:latin typeface="+mn-lt"/>
              </a:rPr>
              <a:t>CROP</a:t>
            </a:r>
            <a:r>
              <a:rPr lang="en-US" sz="900" dirty="0">
                <a:solidFill>
                  <a:schemeClr val="tx1"/>
                </a:solidFill>
                <a:latin typeface="+mn-lt"/>
              </a:rPr>
              <a:t> on the right and from the drop down menu select </a:t>
            </a:r>
            <a:r>
              <a:rPr lang="en-US" sz="900" b="1" kern="1200" dirty="0">
                <a:solidFill>
                  <a:schemeClr val="tx1"/>
                </a:solidFill>
                <a:latin typeface="+mn-lt"/>
                <a:ea typeface="+mn-ea"/>
                <a:cs typeface="+mn-cs"/>
              </a:rPr>
              <a:t>FILL</a:t>
            </a:r>
          </a:p>
          <a:p>
            <a:pPr marL="179388" indent="-179388">
              <a:spcBef>
                <a:spcPts val="200"/>
              </a:spcBef>
              <a:spcAft>
                <a:spcPts val="200"/>
              </a:spcAft>
              <a:buFont typeface="+mj-lt"/>
              <a:buAutoNum type="arabicPeriod"/>
            </a:pPr>
            <a:r>
              <a:rPr lang="en-US" sz="900" b="0" kern="1200" dirty="0">
                <a:solidFill>
                  <a:schemeClr val="tx1"/>
                </a:solidFill>
                <a:latin typeface="+mn-lt"/>
                <a:ea typeface="+mn-ea"/>
                <a:cs typeface="+mn-cs"/>
              </a:rPr>
              <a:t>From here you can move the image within the shape for best visual appearance</a:t>
            </a:r>
          </a:p>
        </p:txBody>
      </p:sp>
      <p:sp>
        <p:nvSpPr>
          <p:cNvPr id="4" name="Content Placeholder 2">
            <a:extLst>
              <a:ext uri="{FF2B5EF4-FFF2-40B4-BE49-F238E27FC236}">
                <a16:creationId xmlns:a16="http://schemas.microsoft.com/office/drawing/2014/main" id="{53C28725-2311-B24F-68FE-D0071B9D9FA2}"/>
              </a:ext>
            </a:extLst>
          </p:cNvPr>
          <p:cNvSpPr>
            <a:spLocks noGrp="1"/>
          </p:cNvSpPr>
          <p:nvPr>
            <p:ph idx="18" hasCustomPrompt="1"/>
          </p:nvPr>
        </p:nvSpPr>
        <p:spPr>
          <a:xfrm>
            <a:off x="4229229" y="1613017"/>
            <a:ext cx="3421591" cy="4606808"/>
          </a:xfrm>
        </p:spPr>
        <p:txBody>
          <a:bodyPr vert="horz" lIns="0" tIns="45720" rIns="0" bIns="4572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2" name="Title 1">
            <a:extLst>
              <a:ext uri="{FF2B5EF4-FFF2-40B4-BE49-F238E27FC236}">
                <a16:creationId xmlns:a16="http://schemas.microsoft.com/office/drawing/2014/main" id="{F716C1E4-4130-ED05-3440-416A4549A61B}"/>
              </a:ext>
            </a:extLst>
          </p:cNvPr>
          <p:cNvSpPr>
            <a:spLocks noGrp="1"/>
          </p:cNvSpPr>
          <p:nvPr>
            <p:ph type="title" hasCustomPrompt="1"/>
          </p:nvPr>
        </p:nvSpPr>
        <p:spPr>
          <a:xfrm>
            <a:off x="508001" y="454013"/>
            <a:ext cx="7142820" cy="790869"/>
          </a:xfrm>
        </p:spPr>
        <p:txBody>
          <a:bodyPr/>
          <a:lstStyle/>
          <a:p>
            <a:r>
              <a:rPr lang="en-US" dirty="0"/>
              <a:t>TITLE: subtitle</a:t>
            </a:r>
            <a:endParaRPr lang="en-GB" dirty="0"/>
          </a:p>
        </p:txBody>
      </p:sp>
      <p:sp>
        <p:nvSpPr>
          <p:cNvPr id="9" name="Content Placeholder 2">
            <a:extLst>
              <a:ext uri="{FF2B5EF4-FFF2-40B4-BE49-F238E27FC236}">
                <a16:creationId xmlns:a16="http://schemas.microsoft.com/office/drawing/2014/main" id="{50857AC0-932F-5BAA-C619-2F239FED9BE2}"/>
              </a:ext>
            </a:extLst>
          </p:cNvPr>
          <p:cNvSpPr>
            <a:spLocks noGrp="1"/>
          </p:cNvSpPr>
          <p:nvPr>
            <p:ph idx="45" hasCustomPrompt="1"/>
          </p:nvPr>
        </p:nvSpPr>
        <p:spPr>
          <a:xfrm>
            <a:off x="8737600" y="2660686"/>
            <a:ext cx="2944813" cy="3559139"/>
          </a:xfrm>
        </p:spPr>
        <p:txBody>
          <a:bodyPr vert="horz" lIns="0" tIns="45720" rIns="0" bIns="45720" rtlCol="0">
            <a:normAutofit/>
          </a:bodyPr>
          <a:lstStyle>
            <a:lvl1pPr algn="l" defTabSz="914400" rtl="0" eaLnBrk="1" latinLnBrk="0" hangingPunct="1">
              <a:lnSpc>
                <a:spcPct val="130000"/>
              </a:lnSpc>
              <a:spcBef>
                <a:spcPts val="300"/>
              </a:spcBef>
              <a:spcAft>
                <a:spcPts val="300"/>
              </a:spcAft>
              <a:buFont typeface="Arial" panose="020B0604020202020204" pitchFamily="34" charset="0"/>
              <a:defRPr lang="en-US" sz="1100" kern="1200" dirty="0">
                <a:solidFill>
                  <a:schemeClr val="bg1"/>
                </a:solidFill>
                <a:latin typeface="+mn-lt"/>
                <a:ea typeface="+mn-ea"/>
                <a:cs typeface="+mn-cs"/>
              </a:defRPr>
            </a:lvl1pPr>
            <a:lvl2pPr>
              <a:buClr>
                <a:schemeClr val="bg1"/>
              </a:buClr>
              <a:defRPr lang="en-US" dirty="0">
                <a:solidFill>
                  <a:schemeClr val="bg1"/>
                </a:solidFill>
              </a:defRPr>
            </a:lvl2pPr>
            <a:lvl3pPr>
              <a:buClr>
                <a:schemeClr val="bg1"/>
              </a:buClr>
              <a:defRPr lang="en-US" dirty="0">
                <a:solidFill>
                  <a:schemeClr val="bg1"/>
                </a:solidFill>
              </a:defRPr>
            </a:lvl3pPr>
            <a:lvl4pPr>
              <a:buClr>
                <a:schemeClr val="bg1"/>
              </a:buClr>
              <a:defRPr lang="en-US" dirty="0">
                <a:solidFill>
                  <a:schemeClr val="bg1"/>
                </a:solidFill>
              </a:defRPr>
            </a:lvl4pPr>
            <a:lvl5pPr>
              <a:buClr>
                <a:schemeClr val="bg1"/>
              </a:buClr>
              <a:defRPr lang="en-US" dirty="0">
                <a:solidFill>
                  <a:schemeClr val="bg1"/>
                </a:solidFill>
              </a:defRPr>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11" name="Content Placeholder 2">
            <a:extLst>
              <a:ext uri="{FF2B5EF4-FFF2-40B4-BE49-F238E27FC236}">
                <a16:creationId xmlns:a16="http://schemas.microsoft.com/office/drawing/2014/main" id="{1C0E041C-792C-A30B-955E-9CBF9DBE0507}"/>
              </a:ext>
            </a:extLst>
          </p:cNvPr>
          <p:cNvSpPr>
            <a:spLocks noGrp="1"/>
          </p:cNvSpPr>
          <p:nvPr>
            <p:ph idx="46" hasCustomPrompt="1"/>
          </p:nvPr>
        </p:nvSpPr>
        <p:spPr>
          <a:xfrm>
            <a:off x="8737600" y="2294925"/>
            <a:ext cx="2946399" cy="365761"/>
          </a:xfrm>
        </p:spPr>
        <p:txBody>
          <a:bodyPr/>
          <a:lstStyle>
            <a:lvl1pPr>
              <a:defRPr cap="all" baseline="0">
                <a:solidFill>
                  <a:schemeClr val="accent2"/>
                </a:solidFill>
              </a:defRPr>
            </a:lvl1pPr>
          </a:lstStyle>
          <a:p>
            <a:pPr lvl="0"/>
            <a:r>
              <a:rPr lang="en-US" dirty="0"/>
              <a:t>subhead</a:t>
            </a:r>
          </a:p>
        </p:txBody>
      </p:sp>
      <p:sp>
        <p:nvSpPr>
          <p:cNvPr id="3" name="Freeform: Shape 2">
            <a:extLst>
              <a:ext uri="{FF2B5EF4-FFF2-40B4-BE49-F238E27FC236}">
                <a16:creationId xmlns:a16="http://schemas.microsoft.com/office/drawing/2014/main" id="{5FC37DFB-ED89-1E71-A674-B526B652D9C7}"/>
              </a:ext>
            </a:extLst>
          </p:cNvPr>
          <p:cNvSpPr/>
          <p:nvPr userDrawn="1"/>
        </p:nvSpPr>
        <p:spPr>
          <a:xfrm>
            <a:off x="9422818" y="508495"/>
            <a:ext cx="1472776" cy="1472774"/>
          </a:xfrm>
          <a:custGeom>
            <a:avLst/>
            <a:gdLst>
              <a:gd name="connsiteX0" fmla="*/ 315093 w 586449"/>
              <a:gd name="connsiteY0" fmla="*/ 247060 h 586450"/>
              <a:gd name="connsiteX1" fmla="*/ 243657 w 586449"/>
              <a:gd name="connsiteY1" fmla="*/ 521112 h 586450"/>
              <a:gd name="connsiteX2" fmla="*/ 426762 w 586449"/>
              <a:gd name="connsiteY2" fmla="*/ 276140 h 586450"/>
              <a:gd name="connsiteX3" fmla="*/ 315127 w 586449"/>
              <a:gd name="connsiteY3" fmla="*/ 247060 h 586450"/>
              <a:gd name="connsiteX4" fmla="*/ 333727 w 586449"/>
              <a:gd name="connsiteY4" fmla="*/ 70795 h 586450"/>
              <a:gd name="connsiteX5" fmla="*/ 159686 w 586449"/>
              <a:gd name="connsiteY5" fmla="*/ 303602 h 586450"/>
              <a:gd name="connsiteX6" fmla="*/ 265829 w 586449"/>
              <a:gd name="connsiteY6" fmla="*/ 331233 h 586450"/>
              <a:gd name="connsiteX7" fmla="*/ 333727 w 586449"/>
              <a:gd name="connsiteY7" fmla="*/ 70829 h 586450"/>
              <a:gd name="connsiteX8" fmla="*/ 293225 w 586449"/>
              <a:gd name="connsiteY8" fmla="*/ 0 h 586450"/>
              <a:gd name="connsiteX9" fmla="*/ 586449 w 586449"/>
              <a:gd name="connsiteY9" fmla="*/ 293225 h 586450"/>
              <a:gd name="connsiteX10" fmla="*/ 293225 w 586449"/>
              <a:gd name="connsiteY10" fmla="*/ 586450 h 586450"/>
              <a:gd name="connsiteX11" fmla="*/ 0 w 586449"/>
              <a:gd name="connsiteY11" fmla="*/ 293225 h 586450"/>
              <a:gd name="connsiteX12" fmla="*/ 293225 w 586449"/>
              <a:gd name="connsiteY12" fmla="*/ 0 h 586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86449" h="586450">
                <a:moveTo>
                  <a:pt x="315093" y="247060"/>
                </a:moveTo>
                <a:lnTo>
                  <a:pt x="243657" y="521112"/>
                </a:lnTo>
                <a:lnTo>
                  <a:pt x="426762" y="276140"/>
                </a:lnTo>
                <a:lnTo>
                  <a:pt x="315127" y="247060"/>
                </a:lnTo>
                <a:close/>
                <a:moveTo>
                  <a:pt x="333727" y="70795"/>
                </a:moveTo>
                <a:lnTo>
                  <a:pt x="159686" y="303602"/>
                </a:lnTo>
                <a:lnTo>
                  <a:pt x="265829" y="331233"/>
                </a:lnTo>
                <a:lnTo>
                  <a:pt x="333727" y="70829"/>
                </a:lnTo>
                <a:close/>
                <a:moveTo>
                  <a:pt x="293225" y="0"/>
                </a:moveTo>
                <a:cubicBezTo>
                  <a:pt x="455169" y="0"/>
                  <a:pt x="586449" y="131281"/>
                  <a:pt x="586449" y="293225"/>
                </a:cubicBezTo>
                <a:cubicBezTo>
                  <a:pt x="586449" y="455169"/>
                  <a:pt x="455169" y="586450"/>
                  <a:pt x="293225" y="586450"/>
                </a:cubicBezTo>
                <a:cubicBezTo>
                  <a:pt x="131281" y="586450"/>
                  <a:pt x="0" y="455169"/>
                  <a:pt x="0" y="293225"/>
                </a:cubicBezTo>
                <a:cubicBezTo>
                  <a:pt x="0" y="131281"/>
                  <a:pt x="131281" y="0"/>
                  <a:pt x="293225" y="0"/>
                </a:cubicBezTo>
                <a:close/>
              </a:path>
            </a:pathLst>
          </a:custGeom>
          <a:solidFill>
            <a:srgbClr val="FFFFFF"/>
          </a:solidFill>
          <a:ln w="3364" cap="flat">
            <a:noFill/>
            <a:prstDash val="solid"/>
            <a:miter/>
          </a:ln>
        </p:spPr>
        <p:txBody>
          <a:bodyPr wrap="square" rtlCol="0" anchor="ctr">
            <a:noAutofit/>
          </a:bodyPr>
          <a:lstStyle/>
          <a:p>
            <a:endParaRPr lang="en-GB"/>
          </a:p>
        </p:txBody>
      </p:sp>
    </p:spTree>
    <p:extLst>
      <p:ext uri="{BB962C8B-B14F-4D97-AF65-F5344CB8AC3E}">
        <p14:creationId xmlns:p14="http://schemas.microsoft.com/office/powerpoint/2010/main" val="3766220256"/>
      </p:ext>
    </p:extLst>
  </p:cSld>
  <p:clrMapOvr>
    <a:masterClrMapping/>
  </p:clrMapOvr>
  <p:transition spd="med">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4_Content &amp; Image INSURNACE &amp; REINSURANC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261A4C7-E98D-3660-5C37-C13B3A230A80}"/>
              </a:ext>
            </a:extLst>
          </p:cNvPr>
          <p:cNvSpPr/>
          <p:nvPr userDrawn="1"/>
        </p:nvSpPr>
        <p:spPr>
          <a:xfrm>
            <a:off x="8126413" y="0"/>
            <a:ext cx="40655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Footer Placeholder 4"/>
          <p:cNvSpPr>
            <a:spLocks noGrp="1"/>
          </p:cNvSpPr>
          <p:nvPr>
            <p:ph type="ftr" sz="quarter" idx="11"/>
          </p:nvPr>
        </p:nvSpPr>
        <p:spPr/>
        <p:txBody>
          <a:bodyPr/>
          <a:lstStyle/>
          <a:p>
            <a:r>
              <a:rPr lang="en-GB"/>
              <a:t>INSERT FOOTER HER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8CFE0557-AA98-4E6C-B0C3-581794696B68}" type="slidenum">
              <a:rPr lang="en-GB" smtClean="0"/>
              <a:pPr/>
              <a:t>‹#›</a:t>
            </a:fld>
            <a:endParaRPr lang="en-GB"/>
          </a:p>
        </p:txBody>
      </p:sp>
      <p:sp>
        <p:nvSpPr>
          <p:cNvPr id="10" name="Content Placeholder 2">
            <a:extLst>
              <a:ext uri="{FF2B5EF4-FFF2-40B4-BE49-F238E27FC236}">
                <a16:creationId xmlns:a16="http://schemas.microsoft.com/office/drawing/2014/main" id="{182B4A0E-C187-E12F-BB7B-7E465EDEEA4C}"/>
              </a:ext>
            </a:extLst>
          </p:cNvPr>
          <p:cNvSpPr>
            <a:spLocks noGrp="1"/>
          </p:cNvSpPr>
          <p:nvPr>
            <p:ph idx="1" hasCustomPrompt="1"/>
          </p:nvPr>
        </p:nvSpPr>
        <p:spPr>
          <a:xfrm>
            <a:off x="508000" y="1244882"/>
            <a:ext cx="7142820" cy="291662"/>
          </a:xfrm>
        </p:spPr>
        <p:txBody>
          <a:bodyPr vert="horz" lIns="0" tIns="45720" rIns="0" bIns="45720" numCol="1" spcCol="288000" rtlCol="0">
            <a:noAutofit/>
          </a:bodyPr>
          <a:lstStyle>
            <a:lvl1pPr>
              <a:defRPr lang="en-US" cap="all" baseline="0" dirty="0" smtClean="0"/>
            </a:lvl1pPr>
            <a:lvl2pPr>
              <a:defRPr lang="en-US" dirty="0"/>
            </a:lvl2pPr>
            <a:lvl3pPr>
              <a:defRPr lang="en-US" dirty="0"/>
            </a:lvl3pPr>
            <a:lvl4pPr>
              <a:defRPr lang="en-US" dirty="0"/>
            </a:lvl4pPr>
            <a:lvl5pPr>
              <a:defRPr lang="en-US" dirty="0"/>
            </a:lvl5pPr>
          </a:lstStyle>
          <a:p>
            <a:pPr lvl="0"/>
            <a:r>
              <a:rPr lang="en-US" dirty="0"/>
              <a:t>subhead</a:t>
            </a:r>
          </a:p>
        </p:txBody>
      </p:sp>
      <p:sp>
        <p:nvSpPr>
          <p:cNvPr id="12" name="Content Placeholder 2">
            <a:extLst>
              <a:ext uri="{FF2B5EF4-FFF2-40B4-BE49-F238E27FC236}">
                <a16:creationId xmlns:a16="http://schemas.microsoft.com/office/drawing/2014/main" id="{79AF8CE8-F801-FBFD-7F6F-0BE65F72C036}"/>
              </a:ext>
            </a:extLst>
          </p:cNvPr>
          <p:cNvSpPr>
            <a:spLocks noGrp="1"/>
          </p:cNvSpPr>
          <p:nvPr>
            <p:ph idx="16" hasCustomPrompt="1"/>
          </p:nvPr>
        </p:nvSpPr>
        <p:spPr>
          <a:xfrm>
            <a:off x="508000" y="1613017"/>
            <a:ext cx="3400425" cy="4606808"/>
          </a:xfrm>
        </p:spPr>
        <p:txBody>
          <a:bodyPr vert="horz" lIns="0" tIns="45720" rIns="0" bIns="4572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7" name="TextBox 4">
            <a:extLst>
              <a:ext uri="{FF2B5EF4-FFF2-40B4-BE49-F238E27FC236}">
                <a16:creationId xmlns:a16="http://schemas.microsoft.com/office/drawing/2014/main" id="{ECC1AF18-C7ED-CAA0-D1D3-14DEFC5E2590}"/>
              </a:ext>
            </a:extLst>
          </p:cNvPr>
          <p:cNvSpPr txBox="1"/>
          <p:nvPr userDrawn="1"/>
        </p:nvSpPr>
        <p:spPr>
          <a:xfrm>
            <a:off x="12346713" y="109538"/>
            <a:ext cx="1934437" cy="31700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INSERTING IMAGES:</a:t>
            </a:r>
          </a:p>
          <a:p>
            <a:pPr marL="179388" indent="-179388">
              <a:spcBef>
                <a:spcPts val="200"/>
              </a:spcBef>
              <a:spcAft>
                <a:spcPts val="200"/>
              </a:spcAft>
              <a:buFont typeface="+mj-lt"/>
              <a:buAutoNum type="arabicPeriod"/>
            </a:pPr>
            <a:r>
              <a:rPr lang="en-US" sz="900" dirty="0">
                <a:solidFill>
                  <a:schemeClr val="tx1"/>
                </a:solidFill>
                <a:latin typeface="+mn-lt"/>
              </a:rPr>
              <a:t>Simply click the image placeholder and select your image.</a:t>
            </a:r>
          </a:p>
          <a:p>
            <a:pPr marL="179388" indent="-179388">
              <a:spcBef>
                <a:spcPts val="200"/>
              </a:spcBef>
              <a:spcAft>
                <a:spcPts val="200"/>
              </a:spcAft>
              <a:buFont typeface="+mj-lt"/>
              <a:buAutoNum type="arabicPeriod"/>
            </a:pPr>
            <a:r>
              <a:rPr lang="en-US" sz="900" dirty="0">
                <a:solidFill>
                  <a:schemeClr val="tx1"/>
                </a:solidFill>
                <a:latin typeface="+mn-lt"/>
              </a:rPr>
              <a:t>Once your image is inserted into the shape it may be distorted. (Stretched or Squashed)</a:t>
            </a:r>
          </a:p>
          <a:p>
            <a:pPr marL="179388" indent="-179388">
              <a:spcBef>
                <a:spcPts val="200"/>
              </a:spcBef>
              <a:spcAft>
                <a:spcPts val="200"/>
              </a:spcAft>
              <a:buFont typeface="+mj-lt"/>
              <a:buAutoNum type="arabicPeriod"/>
            </a:pPr>
            <a:endParaRPr lang="en-US" sz="900" dirty="0">
              <a:solidFill>
                <a:schemeClr val="tx1"/>
              </a:solidFill>
              <a:latin typeface="+mn-lt"/>
            </a:endParaRPr>
          </a:p>
          <a:p>
            <a:pPr>
              <a:spcBef>
                <a:spcPts val="200"/>
              </a:spcBef>
              <a:spcAft>
                <a:spcPts val="200"/>
              </a:spcAft>
            </a:pPr>
            <a:r>
              <a:rPr lang="en-US" sz="900" b="1" dirty="0">
                <a:solidFill>
                  <a:schemeClr val="tx1"/>
                </a:solidFill>
                <a:latin typeface="+mn-lt"/>
              </a:rPr>
              <a:t>To fix this:</a:t>
            </a:r>
          </a:p>
          <a:p>
            <a:pPr marL="179388" indent="-179388">
              <a:spcBef>
                <a:spcPts val="200"/>
              </a:spcBef>
              <a:spcAft>
                <a:spcPts val="200"/>
              </a:spcAft>
              <a:buFont typeface="+mj-lt"/>
              <a:buAutoNum type="arabicPeriod"/>
            </a:pPr>
            <a:r>
              <a:rPr lang="en-US" sz="900" dirty="0">
                <a:solidFill>
                  <a:schemeClr val="tx1"/>
                </a:solidFill>
                <a:latin typeface="+mn-lt"/>
              </a:rPr>
              <a:t>Click on the image and from the top menu under </a:t>
            </a:r>
            <a:r>
              <a:rPr lang="en-US" sz="900" b="1" dirty="0">
                <a:solidFill>
                  <a:schemeClr val="tx1"/>
                </a:solidFill>
                <a:latin typeface="+mn-lt"/>
              </a:rPr>
              <a:t>PICTURE FORMAT </a:t>
            </a:r>
            <a:r>
              <a:rPr lang="en-US" sz="900" dirty="0">
                <a:solidFill>
                  <a:schemeClr val="tx1"/>
                </a:solidFill>
                <a:latin typeface="+mn-lt"/>
              </a:rPr>
              <a:t>select the </a:t>
            </a:r>
            <a:r>
              <a:rPr lang="en-US" sz="900" b="1" dirty="0">
                <a:solidFill>
                  <a:schemeClr val="tx1"/>
                </a:solidFill>
                <a:latin typeface="+mn-lt"/>
              </a:rPr>
              <a:t>CROP</a:t>
            </a:r>
            <a:r>
              <a:rPr lang="en-US" sz="900" dirty="0">
                <a:solidFill>
                  <a:schemeClr val="tx1"/>
                </a:solidFill>
                <a:latin typeface="+mn-lt"/>
              </a:rPr>
              <a:t> on the right and from the drop down menu select </a:t>
            </a:r>
            <a:r>
              <a:rPr lang="en-US" sz="900" b="1" kern="1200" dirty="0">
                <a:solidFill>
                  <a:schemeClr val="tx1"/>
                </a:solidFill>
                <a:latin typeface="+mn-lt"/>
                <a:ea typeface="+mn-ea"/>
                <a:cs typeface="+mn-cs"/>
              </a:rPr>
              <a:t>FILL</a:t>
            </a:r>
          </a:p>
          <a:p>
            <a:pPr marL="179388" indent="-179388">
              <a:spcBef>
                <a:spcPts val="200"/>
              </a:spcBef>
              <a:spcAft>
                <a:spcPts val="200"/>
              </a:spcAft>
              <a:buFont typeface="+mj-lt"/>
              <a:buAutoNum type="arabicPeriod"/>
            </a:pPr>
            <a:r>
              <a:rPr lang="en-US" sz="900" b="0" kern="1200" dirty="0">
                <a:solidFill>
                  <a:schemeClr val="tx1"/>
                </a:solidFill>
                <a:latin typeface="+mn-lt"/>
                <a:ea typeface="+mn-ea"/>
                <a:cs typeface="+mn-cs"/>
              </a:rPr>
              <a:t>From here you can move the image within the shape for best visual appearance</a:t>
            </a:r>
          </a:p>
        </p:txBody>
      </p:sp>
      <p:sp>
        <p:nvSpPr>
          <p:cNvPr id="4" name="Content Placeholder 2">
            <a:extLst>
              <a:ext uri="{FF2B5EF4-FFF2-40B4-BE49-F238E27FC236}">
                <a16:creationId xmlns:a16="http://schemas.microsoft.com/office/drawing/2014/main" id="{53C28725-2311-B24F-68FE-D0071B9D9FA2}"/>
              </a:ext>
            </a:extLst>
          </p:cNvPr>
          <p:cNvSpPr>
            <a:spLocks noGrp="1"/>
          </p:cNvSpPr>
          <p:nvPr>
            <p:ph idx="18" hasCustomPrompt="1"/>
          </p:nvPr>
        </p:nvSpPr>
        <p:spPr>
          <a:xfrm>
            <a:off x="4229229" y="1613017"/>
            <a:ext cx="3421591" cy="4606808"/>
          </a:xfrm>
        </p:spPr>
        <p:txBody>
          <a:bodyPr vert="horz" lIns="0" tIns="45720" rIns="0" bIns="4572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2" name="Title 1">
            <a:extLst>
              <a:ext uri="{FF2B5EF4-FFF2-40B4-BE49-F238E27FC236}">
                <a16:creationId xmlns:a16="http://schemas.microsoft.com/office/drawing/2014/main" id="{F716C1E4-4130-ED05-3440-416A4549A61B}"/>
              </a:ext>
            </a:extLst>
          </p:cNvPr>
          <p:cNvSpPr>
            <a:spLocks noGrp="1"/>
          </p:cNvSpPr>
          <p:nvPr>
            <p:ph type="title" hasCustomPrompt="1"/>
          </p:nvPr>
        </p:nvSpPr>
        <p:spPr>
          <a:xfrm>
            <a:off x="508001" y="454013"/>
            <a:ext cx="7142820" cy="790869"/>
          </a:xfrm>
        </p:spPr>
        <p:txBody>
          <a:bodyPr/>
          <a:lstStyle/>
          <a:p>
            <a:r>
              <a:rPr lang="en-US" dirty="0"/>
              <a:t>TITLE: subtitle</a:t>
            </a:r>
            <a:endParaRPr lang="en-GB" dirty="0"/>
          </a:p>
        </p:txBody>
      </p:sp>
      <p:sp>
        <p:nvSpPr>
          <p:cNvPr id="9" name="Content Placeholder 2">
            <a:extLst>
              <a:ext uri="{FF2B5EF4-FFF2-40B4-BE49-F238E27FC236}">
                <a16:creationId xmlns:a16="http://schemas.microsoft.com/office/drawing/2014/main" id="{50857AC0-932F-5BAA-C619-2F239FED9BE2}"/>
              </a:ext>
            </a:extLst>
          </p:cNvPr>
          <p:cNvSpPr>
            <a:spLocks noGrp="1"/>
          </p:cNvSpPr>
          <p:nvPr>
            <p:ph idx="45" hasCustomPrompt="1"/>
          </p:nvPr>
        </p:nvSpPr>
        <p:spPr>
          <a:xfrm>
            <a:off x="8737600" y="2660686"/>
            <a:ext cx="2944813" cy="3559139"/>
          </a:xfrm>
        </p:spPr>
        <p:txBody>
          <a:bodyPr vert="horz" lIns="0" tIns="45720" rIns="0" bIns="45720" rtlCol="0">
            <a:normAutofit/>
          </a:bodyPr>
          <a:lstStyle>
            <a:lvl1pPr algn="l" defTabSz="914400" rtl="0" eaLnBrk="1" latinLnBrk="0" hangingPunct="1">
              <a:lnSpc>
                <a:spcPct val="130000"/>
              </a:lnSpc>
              <a:spcBef>
                <a:spcPts val="300"/>
              </a:spcBef>
              <a:spcAft>
                <a:spcPts val="300"/>
              </a:spcAft>
              <a:buFont typeface="Arial" panose="020B0604020202020204" pitchFamily="34" charset="0"/>
              <a:defRPr lang="en-US" sz="1100" kern="1200" dirty="0">
                <a:solidFill>
                  <a:schemeClr val="bg1"/>
                </a:solidFill>
                <a:latin typeface="+mn-lt"/>
                <a:ea typeface="+mn-ea"/>
                <a:cs typeface="+mn-cs"/>
              </a:defRPr>
            </a:lvl1pPr>
            <a:lvl2pPr>
              <a:buClr>
                <a:schemeClr val="bg1"/>
              </a:buClr>
              <a:defRPr lang="en-US" dirty="0">
                <a:solidFill>
                  <a:schemeClr val="bg1"/>
                </a:solidFill>
              </a:defRPr>
            </a:lvl2pPr>
            <a:lvl3pPr>
              <a:buClr>
                <a:schemeClr val="bg1"/>
              </a:buClr>
              <a:defRPr lang="en-US" dirty="0">
                <a:solidFill>
                  <a:schemeClr val="bg1"/>
                </a:solidFill>
              </a:defRPr>
            </a:lvl3pPr>
            <a:lvl4pPr>
              <a:buClr>
                <a:schemeClr val="bg1"/>
              </a:buClr>
              <a:defRPr lang="en-US" dirty="0">
                <a:solidFill>
                  <a:schemeClr val="bg1"/>
                </a:solidFill>
              </a:defRPr>
            </a:lvl4pPr>
            <a:lvl5pPr>
              <a:buClr>
                <a:schemeClr val="bg1"/>
              </a:buClr>
              <a:defRPr lang="en-US" dirty="0">
                <a:solidFill>
                  <a:schemeClr val="bg1"/>
                </a:solidFill>
              </a:defRPr>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11" name="Content Placeholder 2">
            <a:extLst>
              <a:ext uri="{FF2B5EF4-FFF2-40B4-BE49-F238E27FC236}">
                <a16:creationId xmlns:a16="http://schemas.microsoft.com/office/drawing/2014/main" id="{1C0E041C-792C-A30B-955E-9CBF9DBE0507}"/>
              </a:ext>
            </a:extLst>
          </p:cNvPr>
          <p:cNvSpPr>
            <a:spLocks noGrp="1"/>
          </p:cNvSpPr>
          <p:nvPr>
            <p:ph idx="46" hasCustomPrompt="1"/>
          </p:nvPr>
        </p:nvSpPr>
        <p:spPr>
          <a:xfrm>
            <a:off x="8737600" y="2294925"/>
            <a:ext cx="2946399" cy="365761"/>
          </a:xfrm>
        </p:spPr>
        <p:txBody>
          <a:bodyPr/>
          <a:lstStyle>
            <a:lvl1pPr>
              <a:defRPr cap="all" baseline="0">
                <a:solidFill>
                  <a:schemeClr val="accent2"/>
                </a:solidFill>
              </a:defRPr>
            </a:lvl1pPr>
          </a:lstStyle>
          <a:p>
            <a:pPr lvl="0"/>
            <a:r>
              <a:rPr lang="en-US" dirty="0"/>
              <a:t>subhead</a:t>
            </a:r>
          </a:p>
        </p:txBody>
      </p:sp>
      <p:sp>
        <p:nvSpPr>
          <p:cNvPr id="13" name="Freeform: Shape 12">
            <a:extLst>
              <a:ext uri="{FF2B5EF4-FFF2-40B4-BE49-F238E27FC236}">
                <a16:creationId xmlns:a16="http://schemas.microsoft.com/office/drawing/2014/main" id="{D6D9E879-AEBE-5808-97BF-44957022D758}"/>
              </a:ext>
            </a:extLst>
          </p:cNvPr>
          <p:cNvSpPr/>
          <p:nvPr userDrawn="1"/>
        </p:nvSpPr>
        <p:spPr>
          <a:xfrm>
            <a:off x="9423240" y="508495"/>
            <a:ext cx="1471932" cy="1472774"/>
          </a:xfrm>
          <a:custGeom>
            <a:avLst/>
            <a:gdLst>
              <a:gd name="connsiteX0" fmla="*/ 293259 w 586113"/>
              <a:gd name="connsiteY0" fmla="*/ 293360 h 586450"/>
              <a:gd name="connsiteX1" fmla="*/ 271963 w 586113"/>
              <a:gd name="connsiteY1" fmla="*/ 303300 h 586450"/>
              <a:gd name="connsiteX2" fmla="*/ 266909 w 586113"/>
              <a:gd name="connsiteY2" fmla="*/ 312162 h 586450"/>
              <a:gd name="connsiteX3" fmla="*/ 265392 w 586113"/>
              <a:gd name="connsiteY3" fmla="*/ 321024 h 586450"/>
              <a:gd name="connsiteX4" fmla="*/ 265392 w 586113"/>
              <a:gd name="connsiteY4" fmla="*/ 321159 h 586450"/>
              <a:gd name="connsiteX5" fmla="*/ 275973 w 586113"/>
              <a:gd name="connsiteY5" fmla="*/ 342994 h 586450"/>
              <a:gd name="connsiteX6" fmla="*/ 279848 w 586113"/>
              <a:gd name="connsiteY6" fmla="*/ 346060 h 586450"/>
              <a:gd name="connsiteX7" fmla="*/ 275703 w 586113"/>
              <a:gd name="connsiteY7" fmla="*/ 381711 h 586450"/>
              <a:gd name="connsiteX8" fmla="*/ 310714 w 586113"/>
              <a:gd name="connsiteY8" fmla="*/ 381711 h 586450"/>
              <a:gd name="connsiteX9" fmla="*/ 306502 w 586113"/>
              <a:gd name="connsiteY9" fmla="*/ 346060 h 586450"/>
              <a:gd name="connsiteX10" fmla="*/ 310444 w 586113"/>
              <a:gd name="connsiteY10" fmla="*/ 342994 h 586450"/>
              <a:gd name="connsiteX11" fmla="*/ 321025 w 586113"/>
              <a:gd name="connsiteY11" fmla="*/ 321159 h 586450"/>
              <a:gd name="connsiteX12" fmla="*/ 321025 w 586113"/>
              <a:gd name="connsiteY12" fmla="*/ 321024 h 586450"/>
              <a:gd name="connsiteX13" fmla="*/ 321092 w 586113"/>
              <a:gd name="connsiteY13" fmla="*/ 321024 h 586450"/>
              <a:gd name="connsiteX14" fmla="*/ 319576 w 586113"/>
              <a:gd name="connsiteY14" fmla="*/ 312162 h 586450"/>
              <a:gd name="connsiteX15" fmla="*/ 314521 w 586113"/>
              <a:gd name="connsiteY15" fmla="*/ 303300 h 586450"/>
              <a:gd name="connsiteX16" fmla="*/ 293259 w 586113"/>
              <a:gd name="connsiteY16" fmla="*/ 293360 h 586450"/>
              <a:gd name="connsiteX17" fmla="*/ 293259 w 586113"/>
              <a:gd name="connsiteY17" fmla="*/ 275635 h 586450"/>
              <a:gd name="connsiteX18" fmla="*/ 335143 w 586113"/>
              <a:gd name="connsiteY18" fmla="*/ 303300 h 586450"/>
              <a:gd name="connsiteX19" fmla="*/ 337940 w 586113"/>
              <a:gd name="connsiteY19" fmla="*/ 312162 h 586450"/>
              <a:gd name="connsiteX20" fmla="*/ 338816 w 586113"/>
              <a:gd name="connsiteY20" fmla="*/ 321024 h 586450"/>
              <a:gd name="connsiteX21" fmla="*/ 338816 w 586113"/>
              <a:gd name="connsiteY21" fmla="*/ 321159 h 586450"/>
              <a:gd name="connsiteX22" fmla="*/ 325304 w 586113"/>
              <a:gd name="connsiteY22" fmla="*/ 353507 h 586450"/>
              <a:gd name="connsiteX23" fmla="*/ 330696 w 586113"/>
              <a:gd name="connsiteY23" fmla="*/ 399469 h 586450"/>
              <a:gd name="connsiteX24" fmla="*/ 255822 w 586113"/>
              <a:gd name="connsiteY24" fmla="*/ 399469 h 586450"/>
              <a:gd name="connsiteX25" fmla="*/ 261180 w 586113"/>
              <a:gd name="connsiteY25" fmla="*/ 353507 h 586450"/>
              <a:gd name="connsiteX26" fmla="*/ 247668 w 586113"/>
              <a:gd name="connsiteY26" fmla="*/ 321159 h 586450"/>
              <a:gd name="connsiteX27" fmla="*/ 247668 w 586113"/>
              <a:gd name="connsiteY27" fmla="*/ 321024 h 586450"/>
              <a:gd name="connsiteX28" fmla="*/ 248578 w 586113"/>
              <a:gd name="connsiteY28" fmla="*/ 312162 h 586450"/>
              <a:gd name="connsiteX29" fmla="*/ 251375 w 586113"/>
              <a:gd name="connsiteY29" fmla="*/ 303300 h 586450"/>
              <a:gd name="connsiteX30" fmla="*/ 293259 w 586113"/>
              <a:gd name="connsiteY30" fmla="*/ 275635 h 586450"/>
              <a:gd name="connsiteX31" fmla="*/ 166022 w 586113"/>
              <a:gd name="connsiteY31" fmla="*/ 239445 h 586450"/>
              <a:gd name="connsiteX32" fmla="*/ 166022 w 586113"/>
              <a:gd name="connsiteY32" fmla="*/ 449137 h 586450"/>
              <a:gd name="connsiteX33" fmla="*/ 420530 w 586113"/>
              <a:gd name="connsiteY33" fmla="*/ 449137 h 586450"/>
              <a:gd name="connsiteX34" fmla="*/ 420530 w 586113"/>
              <a:gd name="connsiteY34" fmla="*/ 239445 h 586450"/>
              <a:gd name="connsiteX35" fmla="*/ 293259 w 586113"/>
              <a:gd name="connsiteY35" fmla="*/ 122014 h 586450"/>
              <a:gd name="connsiteX36" fmla="*/ 193754 w 586113"/>
              <a:gd name="connsiteY36" fmla="*/ 221553 h 586450"/>
              <a:gd name="connsiteX37" fmla="*/ 193754 w 586113"/>
              <a:gd name="connsiteY37" fmla="*/ 221721 h 586450"/>
              <a:gd name="connsiteX38" fmla="*/ 211478 w 586113"/>
              <a:gd name="connsiteY38" fmla="*/ 221721 h 586450"/>
              <a:gd name="connsiteX39" fmla="*/ 211478 w 586113"/>
              <a:gd name="connsiteY39" fmla="*/ 221553 h 586450"/>
              <a:gd name="connsiteX40" fmla="*/ 293259 w 586113"/>
              <a:gd name="connsiteY40" fmla="*/ 139738 h 586450"/>
              <a:gd name="connsiteX41" fmla="*/ 375073 w 586113"/>
              <a:gd name="connsiteY41" fmla="*/ 221553 h 586450"/>
              <a:gd name="connsiteX42" fmla="*/ 375073 w 586113"/>
              <a:gd name="connsiteY42" fmla="*/ 221721 h 586450"/>
              <a:gd name="connsiteX43" fmla="*/ 392798 w 586113"/>
              <a:gd name="connsiteY43" fmla="*/ 221721 h 586450"/>
              <a:gd name="connsiteX44" fmla="*/ 392798 w 586113"/>
              <a:gd name="connsiteY44" fmla="*/ 221553 h 586450"/>
              <a:gd name="connsiteX45" fmla="*/ 293259 w 586113"/>
              <a:gd name="connsiteY45" fmla="*/ 122014 h 586450"/>
              <a:gd name="connsiteX46" fmla="*/ 293056 w 586113"/>
              <a:gd name="connsiteY46" fmla="*/ 0 h 586450"/>
              <a:gd name="connsiteX47" fmla="*/ 586113 w 586113"/>
              <a:gd name="connsiteY47" fmla="*/ 293225 h 586450"/>
              <a:gd name="connsiteX48" fmla="*/ 293056 w 586113"/>
              <a:gd name="connsiteY48" fmla="*/ 586450 h 586450"/>
              <a:gd name="connsiteX49" fmla="*/ 0 w 586113"/>
              <a:gd name="connsiteY49" fmla="*/ 293225 h 586450"/>
              <a:gd name="connsiteX50" fmla="*/ 293056 w 586113"/>
              <a:gd name="connsiteY50" fmla="*/ 0 h 586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586113" h="586450">
                <a:moveTo>
                  <a:pt x="293259" y="293360"/>
                </a:moveTo>
                <a:cubicBezTo>
                  <a:pt x="284700" y="293360"/>
                  <a:pt x="277085" y="297235"/>
                  <a:pt x="271963" y="303300"/>
                </a:cubicBezTo>
                <a:cubicBezTo>
                  <a:pt x="269739" y="305928"/>
                  <a:pt x="268021" y="308893"/>
                  <a:pt x="266909" y="312162"/>
                </a:cubicBezTo>
                <a:cubicBezTo>
                  <a:pt x="265898" y="314959"/>
                  <a:pt x="265392" y="317924"/>
                  <a:pt x="265392" y="321024"/>
                </a:cubicBezTo>
                <a:lnTo>
                  <a:pt x="265392" y="321159"/>
                </a:lnTo>
                <a:cubicBezTo>
                  <a:pt x="265392" y="329751"/>
                  <a:pt x="269234" y="337670"/>
                  <a:pt x="275973" y="342994"/>
                </a:cubicBezTo>
                <a:lnTo>
                  <a:pt x="279848" y="346060"/>
                </a:lnTo>
                <a:lnTo>
                  <a:pt x="275703" y="381711"/>
                </a:lnTo>
                <a:lnTo>
                  <a:pt x="310714" y="381711"/>
                </a:lnTo>
                <a:lnTo>
                  <a:pt x="306502" y="346060"/>
                </a:lnTo>
                <a:lnTo>
                  <a:pt x="310444" y="342994"/>
                </a:lnTo>
                <a:cubicBezTo>
                  <a:pt x="317150" y="337670"/>
                  <a:pt x="321025" y="329751"/>
                  <a:pt x="321025" y="321159"/>
                </a:cubicBezTo>
                <a:lnTo>
                  <a:pt x="321025" y="321024"/>
                </a:lnTo>
                <a:lnTo>
                  <a:pt x="321092" y="321024"/>
                </a:lnTo>
                <a:cubicBezTo>
                  <a:pt x="321092" y="317924"/>
                  <a:pt x="320553" y="314959"/>
                  <a:pt x="319576" y="312162"/>
                </a:cubicBezTo>
                <a:cubicBezTo>
                  <a:pt x="318464" y="308893"/>
                  <a:pt x="316745" y="305928"/>
                  <a:pt x="314521" y="303300"/>
                </a:cubicBezTo>
                <a:cubicBezTo>
                  <a:pt x="309433" y="297235"/>
                  <a:pt x="301818" y="293360"/>
                  <a:pt x="293259" y="293360"/>
                </a:cubicBezTo>
                <a:close/>
                <a:moveTo>
                  <a:pt x="293259" y="275635"/>
                </a:moveTo>
                <a:cubicBezTo>
                  <a:pt x="312061" y="275635"/>
                  <a:pt x="328202" y="287025"/>
                  <a:pt x="335143" y="303300"/>
                </a:cubicBezTo>
                <a:cubicBezTo>
                  <a:pt x="336390" y="306097"/>
                  <a:pt x="337334" y="309129"/>
                  <a:pt x="337940" y="312162"/>
                </a:cubicBezTo>
                <a:cubicBezTo>
                  <a:pt x="338513" y="315026"/>
                  <a:pt x="338816" y="318025"/>
                  <a:pt x="338816" y="321024"/>
                </a:cubicBezTo>
                <a:lnTo>
                  <a:pt x="338816" y="321159"/>
                </a:lnTo>
                <a:cubicBezTo>
                  <a:pt x="338816" y="333492"/>
                  <a:pt x="333930" y="344982"/>
                  <a:pt x="325304" y="353507"/>
                </a:cubicBezTo>
                <a:lnTo>
                  <a:pt x="330696" y="399469"/>
                </a:lnTo>
                <a:lnTo>
                  <a:pt x="255822" y="399469"/>
                </a:lnTo>
                <a:lnTo>
                  <a:pt x="261180" y="353507"/>
                </a:lnTo>
                <a:cubicBezTo>
                  <a:pt x="252554" y="344982"/>
                  <a:pt x="247668" y="333458"/>
                  <a:pt x="247668" y="321159"/>
                </a:cubicBezTo>
                <a:lnTo>
                  <a:pt x="247668" y="321024"/>
                </a:lnTo>
                <a:cubicBezTo>
                  <a:pt x="247668" y="318025"/>
                  <a:pt x="248005" y="315026"/>
                  <a:pt x="248578" y="312162"/>
                </a:cubicBezTo>
                <a:cubicBezTo>
                  <a:pt x="249218" y="309129"/>
                  <a:pt x="250128" y="306097"/>
                  <a:pt x="251375" y="303300"/>
                </a:cubicBezTo>
                <a:cubicBezTo>
                  <a:pt x="258350" y="287025"/>
                  <a:pt x="274456" y="275635"/>
                  <a:pt x="293259" y="275635"/>
                </a:cubicBezTo>
                <a:close/>
                <a:moveTo>
                  <a:pt x="166022" y="239445"/>
                </a:moveTo>
                <a:lnTo>
                  <a:pt x="166022" y="449137"/>
                </a:lnTo>
                <a:lnTo>
                  <a:pt x="420530" y="449137"/>
                </a:lnTo>
                <a:lnTo>
                  <a:pt x="420530" y="239445"/>
                </a:lnTo>
                <a:close/>
                <a:moveTo>
                  <a:pt x="293259" y="122014"/>
                </a:moveTo>
                <a:cubicBezTo>
                  <a:pt x="238401" y="122014"/>
                  <a:pt x="193754" y="166695"/>
                  <a:pt x="193754" y="221553"/>
                </a:cubicBezTo>
                <a:lnTo>
                  <a:pt x="193754" y="221721"/>
                </a:lnTo>
                <a:lnTo>
                  <a:pt x="211478" y="221721"/>
                </a:lnTo>
                <a:lnTo>
                  <a:pt x="211478" y="221553"/>
                </a:lnTo>
                <a:cubicBezTo>
                  <a:pt x="211478" y="176433"/>
                  <a:pt x="248140" y="139738"/>
                  <a:pt x="293259" y="139738"/>
                </a:cubicBezTo>
                <a:cubicBezTo>
                  <a:pt x="338378" y="139738"/>
                  <a:pt x="375073" y="176433"/>
                  <a:pt x="375073" y="221553"/>
                </a:cubicBezTo>
                <a:lnTo>
                  <a:pt x="375073" y="221721"/>
                </a:lnTo>
                <a:lnTo>
                  <a:pt x="392798" y="221721"/>
                </a:lnTo>
                <a:lnTo>
                  <a:pt x="392798" y="221553"/>
                </a:lnTo>
                <a:cubicBezTo>
                  <a:pt x="392798" y="166695"/>
                  <a:pt x="348116" y="122014"/>
                  <a:pt x="293259" y="122014"/>
                </a:cubicBezTo>
                <a:close/>
                <a:moveTo>
                  <a:pt x="293056" y="0"/>
                </a:moveTo>
                <a:cubicBezTo>
                  <a:pt x="454899" y="0"/>
                  <a:pt x="586113" y="131281"/>
                  <a:pt x="586113" y="293225"/>
                </a:cubicBezTo>
                <a:cubicBezTo>
                  <a:pt x="586113" y="455169"/>
                  <a:pt x="454899" y="586450"/>
                  <a:pt x="293056" y="586450"/>
                </a:cubicBezTo>
                <a:cubicBezTo>
                  <a:pt x="131213" y="586450"/>
                  <a:pt x="0" y="455169"/>
                  <a:pt x="0" y="293225"/>
                </a:cubicBezTo>
                <a:cubicBezTo>
                  <a:pt x="0" y="131281"/>
                  <a:pt x="131213" y="0"/>
                  <a:pt x="293056" y="0"/>
                </a:cubicBezTo>
                <a:close/>
              </a:path>
            </a:pathLst>
          </a:custGeom>
          <a:solidFill>
            <a:srgbClr val="FFFFFF"/>
          </a:solidFill>
          <a:ln w="3364" cap="flat">
            <a:noFill/>
            <a:prstDash val="solid"/>
            <a:miter/>
          </a:ln>
        </p:spPr>
        <p:txBody>
          <a:bodyPr wrap="square" rtlCol="0" anchor="ctr">
            <a:noAutofit/>
          </a:bodyPr>
          <a:lstStyle/>
          <a:p>
            <a:endParaRPr lang="en-GB"/>
          </a:p>
        </p:txBody>
      </p:sp>
    </p:spTree>
    <p:extLst>
      <p:ext uri="{BB962C8B-B14F-4D97-AF65-F5344CB8AC3E}">
        <p14:creationId xmlns:p14="http://schemas.microsoft.com/office/powerpoint/2010/main" val="2079831254"/>
      </p:ext>
    </p:extLst>
  </p:cSld>
  <p:clrMapOvr>
    <a:masterClrMapping/>
  </p:clrMapOvr>
  <p:transition spd="med">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5_Content &amp; Image SHIPPIN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261A4C7-E98D-3660-5C37-C13B3A230A80}"/>
              </a:ext>
            </a:extLst>
          </p:cNvPr>
          <p:cNvSpPr/>
          <p:nvPr userDrawn="1"/>
        </p:nvSpPr>
        <p:spPr>
          <a:xfrm>
            <a:off x="8126413" y="0"/>
            <a:ext cx="40655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Footer Placeholder 4"/>
          <p:cNvSpPr>
            <a:spLocks noGrp="1"/>
          </p:cNvSpPr>
          <p:nvPr>
            <p:ph type="ftr" sz="quarter" idx="11"/>
          </p:nvPr>
        </p:nvSpPr>
        <p:spPr/>
        <p:txBody>
          <a:bodyPr/>
          <a:lstStyle/>
          <a:p>
            <a:r>
              <a:rPr lang="en-GB"/>
              <a:t>INSERT FOOTER HER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8CFE0557-AA98-4E6C-B0C3-581794696B68}" type="slidenum">
              <a:rPr lang="en-GB" smtClean="0"/>
              <a:pPr/>
              <a:t>‹#›</a:t>
            </a:fld>
            <a:endParaRPr lang="en-GB"/>
          </a:p>
        </p:txBody>
      </p:sp>
      <p:sp>
        <p:nvSpPr>
          <p:cNvPr id="10" name="Content Placeholder 2">
            <a:extLst>
              <a:ext uri="{FF2B5EF4-FFF2-40B4-BE49-F238E27FC236}">
                <a16:creationId xmlns:a16="http://schemas.microsoft.com/office/drawing/2014/main" id="{182B4A0E-C187-E12F-BB7B-7E465EDEEA4C}"/>
              </a:ext>
            </a:extLst>
          </p:cNvPr>
          <p:cNvSpPr>
            <a:spLocks noGrp="1"/>
          </p:cNvSpPr>
          <p:nvPr>
            <p:ph idx="1" hasCustomPrompt="1"/>
          </p:nvPr>
        </p:nvSpPr>
        <p:spPr>
          <a:xfrm>
            <a:off x="508000" y="1244882"/>
            <a:ext cx="7142820" cy="291662"/>
          </a:xfrm>
        </p:spPr>
        <p:txBody>
          <a:bodyPr vert="horz" lIns="0" tIns="45720" rIns="0" bIns="45720" numCol="1" spcCol="288000" rtlCol="0">
            <a:noAutofit/>
          </a:bodyPr>
          <a:lstStyle>
            <a:lvl1pPr>
              <a:defRPr lang="en-US" cap="all" baseline="0" dirty="0" smtClean="0"/>
            </a:lvl1pPr>
            <a:lvl2pPr>
              <a:defRPr lang="en-US" dirty="0"/>
            </a:lvl2pPr>
            <a:lvl3pPr>
              <a:defRPr lang="en-US" dirty="0"/>
            </a:lvl3pPr>
            <a:lvl4pPr>
              <a:defRPr lang="en-US" dirty="0"/>
            </a:lvl4pPr>
            <a:lvl5pPr>
              <a:defRPr lang="en-US" dirty="0"/>
            </a:lvl5pPr>
          </a:lstStyle>
          <a:p>
            <a:pPr lvl="0"/>
            <a:r>
              <a:rPr lang="en-US" dirty="0"/>
              <a:t>subhead</a:t>
            </a:r>
          </a:p>
        </p:txBody>
      </p:sp>
      <p:sp>
        <p:nvSpPr>
          <p:cNvPr id="12" name="Content Placeholder 2">
            <a:extLst>
              <a:ext uri="{FF2B5EF4-FFF2-40B4-BE49-F238E27FC236}">
                <a16:creationId xmlns:a16="http://schemas.microsoft.com/office/drawing/2014/main" id="{79AF8CE8-F801-FBFD-7F6F-0BE65F72C036}"/>
              </a:ext>
            </a:extLst>
          </p:cNvPr>
          <p:cNvSpPr>
            <a:spLocks noGrp="1"/>
          </p:cNvSpPr>
          <p:nvPr>
            <p:ph idx="16" hasCustomPrompt="1"/>
          </p:nvPr>
        </p:nvSpPr>
        <p:spPr>
          <a:xfrm>
            <a:off x="508000" y="1613017"/>
            <a:ext cx="3400425" cy="4606808"/>
          </a:xfrm>
        </p:spPr>
        <p:txBody>
          <a:bodyPr vert="horz" lIns="0" tIns="45720" rIns="0" bIns="4572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7" name="TextBox 4">
            <a:extLst>
              <a:ext uri="{FF2B5EF4-FFF2-40B4-BE49-F238E27FC236}">
                <a16:creationId xmlns:a16="http://schemas.microsoft.com/office/drawing/2014/main" id="{ECC1AF18-C7ED-CAA0-D1D3-14DEFC5E2590}"/>
              </a:ext>
            </a:extLst>
          </p:cNvPr>
          <p:cNvSpPr txBox="1"/>
          <p:nvPr userDrawn="1"/>
        </p:nvSpPr>
        <p:spPr>
          <a:xfrm>
            <a:off x="12346713" y="109538"/>
            <a:ext cx="1934437" cy="31700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INSERTING IMAGES:</a:t>
            </a:r>
          </a:p>
          <a:p>
            <a:pPr marL="179388" indent="-179388">
              <a:spcBef>
                <a:spcPts val="200"/>
              </a:spcBef>
              <a:spcAft>
                <a:spcPts val="200"/>
              </a:spcAft>
              <a:buFont typeface="+mj-lt"/>
              <a:buAutoNum type="arabicPeriod"/>
            </a:pPr>
            <a:r>
              <a:rPr lang="en-US" sz="900" dirty="0">
                <a:solidFill>
                  <a:schemeClr val="tx1"/>
                </a:solidFill>
                <a:latin typeface="+mn-lt"/>
              </a:rPr>
              <a:t>Simply click the image placeholder and select your image.</a:t>
            </a:r>
          </a:p>
          <a:p>
            <a:pPr marL="179388" indent="-179388">
              <a:spcBef>
                <a:spcPts val="200"/>
              </a:spcBef>
              <a:spcAft>
                <a:spcPts val="200"/>
              </a:spcAft>
              <a:buFont typeface="+mj-lt"/>
              <a:buAutoNum type="arabicPeriod"/>
            </a:pPr>
            <a:r>
              <a:rPr lang="en-US" sz="900" dirty="0">
                <a:solidFill>
                  <a:schemeClr val="tx1"/>
                </a:solidFill>
                <a:latin typeface="+mn-lt"/>
              </a:rPr>
              <a:t>Once your image is inserted into the shape it may be distorted. (Stretched or Squashed)</a:t>
            </a:r>
          </a:p>
          <a:p>
            <a:pPr marL="179388" indent="-179388">
              <a:spcBef>
                <a:spcPts val="200"/>
              </a:spcBef>
              <a:spcAft>
                <a:spcPts val="200"/>
              </a:spcAft>
              <a:buFont typeface="+mj-lt"/>
              <a:buAutoNum type="arabicPeriod"/>
            </a:pPr>
            <a:endParaRPr lang="en-US" sz="900" dirty="0">
              <a:solidFill>
                <a:schemeClr val="tx1"/>
              </a:solidFill>
              <a:latin typeface="+mn-lt"/>
            </a:endParaRPr>
          </a:p>
          <a:p>
            <a:pPr>
              <a:spcBef>
                <a:spcPts val="200"/>
              </a:spcBef>
              <a:spcAft>
                <a:spcPts val="200"/>
              </a:spcAft>
            </a:pPr>
            <a:r>
              <a:rPr lang="en-US" sz="900" b="1" dirty="0">
                <a:solidFill>
                  <a:schemeClr val="tx1"/>
                </a:solidFill>
                <a:latin typeface="+mn-lt"/>
              </a:rPr>
              <a:t>To fix this:</a:t>
            </a:r>
          </a:p>
          <a:p>
            <a:pPr marL="179388" indent="-179388">
              <a:spcBef>
                <a:spcPts val="200"/>
              </a:spcBef>
              <a:spcAft>
                <a:spcPts val="200"/>
              </a:spcAft>
              <a:buFont typeface="+mj-lt"/>
              <a:buAutoNum type="arabicPeriod"/>
            </a:pPr>
            <a:r>
              <a:rPr lang="en-US" sz="900" dirty="0">
                <a:solidFill>
                  <a:schemeClr val="tx1"/>
                </a:solidFill>
                <a:latin typeface="+mn-lt"/>
              </a:rPr>
              <a:t>Click on the image and from the top menu under </a:t>
            </a:r>
            <a:r>
              <a:rPr lang="en-US" sz="900" b="1" dirty="0">
                <a:solidFill>
                  <a:schemeClr val="tx1"/>
                </a:solidFill>
                <a:latin typeface="+mn-lt"/>
              </a:rPr>
              <a:t>PICTURE FORMAT </a:t>
            </a:r>
            <a:r>
              <a:rPr lang="en-US" sz="900" dirty="0">
                <a:solidFill>
                  <a:schemeClr val="tx1"/>
                </a:solidFill>
                <a:latin typeface="+mn-lt"/>
              </a:rPr>
              <a:t>select the </a:t>
            </a:r>
            <a:r>
              <a:rPr lang="en-US" sz="900" b="1" dirty="0">
                <a:solidFill>
                  <a:schemeClr val="tx1"/>
                </a:solidFill>
                <a:latin typeface="+mn-lt"/>
              </a:rPr>
              <a:t>CROP</a:t>
            </a:r>
            <a:r>
              <a:rPr lang="en-US" sz="900" dirty="0">
                <a:solidFill>
                  <a:schemeClr val="tx1"/>
                </a:solidFill>
                <a:latin typeface="+mn-lt"/>
              </a:rPr>
              <a:t> on the right and from the drop down menu select </a:t>
            </a:r>
            <a:r>
              <a:rPr lang="en-US" sz="900" b="1" kern="1200" dirty="0">
                <a:solidFill>
                  <a:schemeClr val="tx1"/>
                </a:solidFill>
                <a:latin typeface="+mn-lt"/>
                <a:ea typeface="+mn-ea"/>
                <a:cs typeface="+mn-cs"/>
              </a:rPr>
              <a:t>FILL</a:t>
            </a:r>
          </a:p>
          <a:p>
            <a:pPr marL="179388" indent="-179388">
              <a:spcBef>
                <a:spcPts val="200"/>
              </a:spcBef>
              <a:spcAft>
                <a:spcPts val="200"/>
              </a:spcAft>
              <a:buFont typeface="+mj-lt"/>
              <a:buAutoNum type="arabicPeriod"/>
            </a:pPr>
            <a:r>
              <a:rPr lang="en-US" sz="900" b="0" kern="1200" dirty="0">
                <a:solidFill>
                  <a:schemeClr val="tx1"/>
                </a:solidFill>
                <a:latin typeface="+mn-lt"/>
                <a:ea typeface="+mn-ea"/>
                <a:cs typeface="+mn-cs"/>
              </a:rPr>
              <a:t>From here you can move the image within the shape for best visual appearance</a:t>
            </a:r>
          </a:p>
        </p:txBody>
      </p:sp>
      <p:sp>
        <p:nvSpPr>
          <p:cNvPr id="4" name="Content Placeholder 2">
            <a:extLst>
              <a:ext uri="{FF2B5EF4-FFF2-40B4-BE49-F238E27FC236}">
                <a16:creationId xmlns:a16="http://schemas.microsoft.com/office/drawing/2014/main" id="{53C28725-2311-B24F-68FE-D0071B9D9FA2}"/>
              </a:ext>
            </a:extLst>
          </p:cNvPr>
          <p:cNvSpPr>
            <a:spLocks noGrp="1"/>
          </p:cNvSpPr>
          <p:nvPr>
            <p:ph idx="18" hasCustomPrompt="1"/>
          </p:nvPr>
        </p:nvSpPr>
        <p:spPr>
          <a:xfrm>
            <a:off x="4229229" y="1613017"/>
            <a:ext cx="3421591" cy="4606808"/>
          </a:xfrm>
        </p:spPr>
        <p:txBody>
          <a:bodyPr vert="horz" lIns="0" tIns="45720" rIns="0" bIns="4572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2" name="Title 1">
            <a:extLst>
              <a:ext uri="{FF2B5EF4-FFF2-40B4-BE49-F238E27FC236}">
                <a16:creationId xmlns:a16="http://schemas.microsoft.com/office/drawing/2014/main" id="{F716C1E4-4130-ED05-3440-416A4549A61B}"/>
              </a:ext>
            </a:extLst>
          </p:cNvPr>
          <p:cNvSpPr>
            <a:spLocks noGrp="1"/>
          </p:cNvSpPr>
          <p:nvPr>
            <p:ph type="title" hasCustomPrompt="1"/>
          </p:nvPr>
        </p:nvSpPr>
        <p:spPr>
          <a:xfrm>
            <a:off x="508001" y="454013"/>
            <a:ext cx="7142820" cy="790869"/>
          </a:xfrm>
        </p:spPr>
        <p:txBody>
          <a:bodyPr/>
          <a:lstStyle/>
          <a:p>
            <a:r>
              <a:rPr lang="en-US" dirty="0"/>
              <a:t>TITLE: subtitle</a:t>
            </a:r>
            <a:endParaRPr lang="en-GB" dirty="0"/>
          </a:p>
        </p:txBody>
      </p:sp>
      <p:sp>
        <p:nvSpPr>
          <p:cNvPr id="9" name="Content Placeholder 2">
            <a:extLst>
              <a:ext uri="{FF2B5EF4-FFF2-40B4-BE49-F238E27FC236}">
                <a16:creationId xmlns:a16="http://schemas.microsoft.com/office/drawing/2014/main" id="{50857AC0-932F-5BAA-C619-2F239FED9BE2}"/>
              </a:ext>
            </a:extLst>
          </p:cNvPr>
          <p:cNvSpPr>
            <a:spLocks noGrp="1"/>
          </p:cNvSpPr>
          <p:nvPr>
            <p:ph idx="45" hasCustomPrompt="1"/>
          </p:nvPr>
        </p:nvSpPr>
        <p:spPr>
          <a:xfrm>
            <a:off x="8737600" y="2660686"/>
            <a:ext cx="2944813" cy="3559139"/>
          </a:xfrm>
        </p:spPr>
        <p:txBody>
          <a:bodyPr vert="horz" lIns="0" tIns="45720" rIns="0" bIns="45720" rtlCol="0">
            <a:normAutofit/>
          </a:bodyPr>
          <a:lstStyle>
            <a:lvl1pPr algn="l" defTabSz="914400" rtl="0" eaLnBrk="1" latinLnBrk="0" hangingPunct="1">
              <a:lnSpc>
                <a:spcPct val="130000"/>
              </a:lnSpc>
              <a:spcBef>
                <a:spcPts val="300"/>
              </a:spcBef>
              <a:spcAft>
                <a:spcPts val="300"/>
              </a:spcAft>
              <a:buFont typeface="Arial" panose="020B0604020202020204" pitchFamily="34" charset="0"/>
              <a:defRPr lang="en-US" sz="1100" kern="1200" dirty="0">
                <a:solidFill>
                  <a:schemeClr val="bg1"/>
                </a:solidFill>
                <a:latin typeface="+mn-lt"/>
                <a:ea typeface="+mn-ea"/>
                <a:cs typeface="+mn-cs"/>
              </a:defRPr>
            </a:lvl1pPr>
            <a:lvl2pPr>
              <a:buClr>
                <a:schemeClr val="bg1"/>
              </a:buClr>
              <a:defRPr lang="en-US" dirty="0">
                <a:solidFill>
                  <a:schemeClr val="bg1"/>
                </a:solidFill>
              </a:defRPr>
            </a:lvl2pPr>
            <a:lvl3pPr>
              <a:buClr>
                <a:schemeClr val="bg1"/>
              </a:buClr>
              <a:defRPr lang="en-US" dirty="0">
                <a:solidFill>
                  <a:schemeClr val="bg1"/>
                </a:solidFill>
              </a:defRPr>
            </a:lvl3pPr>
            <a:lvl4pPr>
              <a:buClr>
                <a:schemeClr val="bg1"/>
              </a:buClr>
              <a:defRPr lang="en-US" dirty="0">
                <a:solidFill>
                  <a:schemeClr val="bg1"/>
                </a:solidFill>
              </a:defRPr>
            </a:lvl4pPr>
            <a:lvl5pPr>
              <a:buClr>
                <a:schemeClr val="bg1"/>
              </a:buClr>
              <a:defRPr lang="en-US" dirty="0">
                <a:solidFill>
                  <a:schemeClr val="bg1"/>
                </a:solidFill>
              </a:defRPr>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11" name="Content Placeholder 2">
            <a:extLst>
              <a:ext uri="{FF2B5EF4-FFF2-40B4-BE49-F238E27FC236}">
                <a16:creationId xmlns:a16="http://schemas.microsoft.com/office/drawing/2014/main" id="{1C0E041C-792C-A30B-955E-9CBF9DBE0507}"/>
              </a:ext>
            </a:extLst>
          </p:cNvPr>
          <p:cNvSpPr>
            <a:spLocks noGrp="1"/>
          </p:cNvSpPr>
          <p:nvPr>
            <p:ph idx="46" hasCustomPrompt="1"/>
          </p:nvPr>
        </p:nvSpPr>
        <p:spPr>
          <a:xfrm>
            <a:off x="8737600" y="2294925"/>
            <a:ext cx="2946399" cy="365761"/>
          </a:xfrm>
        </p:spPr>
        <p:txBody>
          <a:bodyPr/>
          <a:lstStyle>
            <a:lvl1pPr>
              <a:defRPr cap="all" baseline="0">
                <a:solidFill>
                  <a:schemeClr val="accent2"/>
                </a:solidFill>
              </a:defRPr>
            </a:lvl1pPr>
          </a:lstStyle>
          <a:p>
            <a:pPr lvl="0"/>
            <a:r>
              <a:rPr lang="en-US" dirty="0"/>
              <a:t>subhead</a:t>
            </a:r>
          </a:p>
        </p:txBody>
      </p:sp>
      <p:sp>
        <p:nvSpPr>
          <p:cNvPr id="3" name="Freeform: Shape 2">
            <a:extLst>
              <a:ext uri="{FF2B5EF4-FFF2-40B4-BE49-F238E27FC236}">
                <a16:creationId xmlns:a16="http://schemas.microsoft.com/office/drawing/2014/main" id="{616554F6-7004-76C6-182F-95C97A9391EE}"/>
              </a:ext>
            </a:extLst>
          </p:cNvPr>
          <p:cNvSpPr/>
          <p:nvPr userDrawn="1"/>
        </p:nvSpPr>
        <p:spPr>
          <a:xfrm>
            <a:off x="9424283" y="507205"/>
            <a:ext cx="1469846" cy="1475352"/>
          </a:xfrm>
          <a:custGeom>
            <a:avLst/>
            <a:gdLst>
              <a:gd name="connsiteX0" fmla="*/ 291169 w 586112"/>
              <a:gd name="connsiteY0" fmla="*/ 297268 h 586450"/>
              <a:gd name="connsiteX1" fmla="*/ 117027 w 586112"/>
              <a:gd name="connsiteY1" fmla="*/ 315633 h 586450"/>
              <a:gd name="connsiteX2" fmla="*/ 113758 w 586112"/>
              <a:gd name="connsiteY2" fmla="*/ 315970 h 586450"/>
              <a:gd name="connsiteX3" fmla="*/ 110321 w 586112"/>
              <a:gd name="connsiteY3" fmla="*/ 322776 h 586450"/>
              <a:gd name="connsiteX4" fmla="*/ 174984 w 586112"/>
              <a:gd name="connsiteY4" fmla="*/ 455169 h 586450"/>
              <a:gd name="connsiteX5" fmla="*/ 410824 w 586112"/>
              <a:gd name="connsiteY5" fmla="*/ 455169 h 586450"/>
              <a:gd name="connsiteX6" fmla="*/ 475420 w 586112"/>
              <a:gd name="connsiteY6" fmla="*/ 322776 h 586450"/>
              <a:gd name="connsiteX7" fmla="*/ 471949 w 586112"/>
              <a:gd name="connsiteY7" fmla="*/ 315970 h 586450"/>
              <a:gd name="connsiteX8" fmla="*/ 470433 w 586112"/>
              <a:gd name="connsiteY8" fmla="*/ 315835 h 586450"/>
              <a:gd name="connsiteX9" fmla="*/ 291944 w 586112"/>
              <a:gd name="connsiteY9" fmla="*/ 297369 h 586450"/>
              <a:gd name="connsiteX10" fmla="*/ 301345 w 586112"/>
              <a:gd name="connsiteY10" fmla="*/ 264010 h 586450"/>
              <a:gd name="connsiteX11" fmla="*/ 301345 w 586112"/>
              <a:gd name="connsiteY11" fmla="*/ 279510 h 586450"/>
              <a:gd name="connsiteX12" fmla="*/ 303872 w 586112"/>
              <a:gd name="connsiteY12" fmla="*/ 279780 h 586450"/>
              <a:gd name="connsiteX13" fmla="*/ 366143 w 586112"/>
              <a:gd name="connsiteY13" fmla="*/ 286249 h 586450"/>
              <a:gd name="connsiteX14" fmla="*/ 366143 w 586112"/>
              <a:gd name="connsiteY14" fmla="*/ 264010 h 586450"/>
              <a:gd name="connsiteX15" fmla="*/ 384878 w 586112"/>
              <a:gd name="connsiteY15" fmla="*/ 263976 h 586450"/>
              <a:gd name="connsiteX16" fmla="*/ 384878 w 586112"/>
              <a:gd name="connsiteY16" fmla="*/ 288136 h 586450"/>
              <a:gd name="connsiteX17" fmla="*/ 386934 w 586112"/>
              <a:gd name="connsiteY17" fmla="*/ 288372 h 586450"/>
              <a:gd name="connsiteX18" fmla="*/ 451732 w 586112"/>
              <a:gd name="connsiteY18" fmla="*/ 295078 h 586450"/>
              <a:gd name="connsiteX19" fmla="*/ 451732 w 586112"/>
              <a:gd name="connsiteY19" fmla="*/ 263976 h 586450"/>
              <a:gd name="connsiteX20" fmla="*/ 218351 w 586112"/>
              <a:gd name="connsiteY20" fmla="*/ 263976 h 586450"/>
              <a:gd name="connsiteX21" fmla="*/ 218351 w 586112"/>
              <a:gd name="connsiteY21" fmla="*/ 286081 h 586450"/>
              <a:gd name="connsiteX22" fmla="*/ 221350 w 586112"/>
              <a:gd name="connsiteY22" fmla="*/ 285811 h 586450"/>
              <a:gd name="connsiteX23" fmla="*/ 282644 w 586112"/>
              <a:gd name="connsiteY23" fmla="*/ 279342 h 586450"/>
              <a:gd name="connsiteX24" fmla="*/ 282644 w 586112"/>
              <a:gd name="connsiteY24" fmla="*/ 263976 h 586450"/>
              <a:gd name="connsiteX25" fmla="*/ 218385 w 586112"/>
              <a:gd name="connsiteY25" fmla="*/ 263976 h 586450"/>
              <a:gd name="connsiteX26" fmla="*/ 135796 w 586112"/>
              <a:gd name="connsiteY26" fmla="*/ 263976 h 586450"/>
              <a:gd name="connsiteX27" fmla="*/ 135796 w 586112"/>
              <a:gd name="connsiteY27" fmla="*/ 294808 h 586450"/>
              <a:gd name="connsiteX28" fmla="*/ 199583 w 586112"/>
              <a:gd name="connsiteY28" fmla="*/ 288103 h 586450"/>
              <a:gd name="connsiteX29" fmla="*/ 199583 w 586112"/>
              <a:gd name="connsiteY29" fmla="*/ 263976 h 586450"/>
              <a:gd name="connsiteX30" fmla="*/ 384878 w 586112"/>
              <a:gd name="connsiteY30" fmla="*/ 209725 h 586450"/>
              <a:gd name="connsiteX31" fmla="*/ 384878 w 586112"/>
              <a:gd name="connsiteY31" fmla="*/ 245241 h 586450"/>
              <a:gd name="connsiteX32" fmla="*/ 451732 w 586112"/>
              <a:gd name="connsiteY32" fmla="*/ 245241 h 586450"/>
              <a:gd name="connsiteX33" fmla="*/ 451732 w 586112"/>
              <a:gd name="connsiteY33" fmla="*/ 209725 h 586450"/>
              <a:gd name="connsiteX34" fmla="*/ 301345 w 586112"/>
              <a:gd name="connsiteY34" fmla="*/ 209725 h 586450"/>
              <a:gd name="connsiteX35" fmla="*/ 301345 w 586112"/>
              <a:gd name="connsiteY35" fmla="*/ 245241 h 586450"/>
              <a:gd name="connsiteX36" fmla="*/ 366143 w 586112"/>
              <a:gd name="connsiteY36" fmla="*/ 245241 h 586450"/>
              <a:gd name="connsiteX37" fmla="*/ 366143 w 586112"/>
              <a:gd name="connsiteY37" fmla="*/ 209725 h 586450"/>
              <a:gd name="connsiteX38" fmla="*/ 218351 w 586112"/>
              <a:gd name="connsiteY38" fmla="*/ 209725 h 586450"/>
              <a:gd name="connsiteX39" fmla="*/ 218351 w 586112"/>
              <a:gd name="connsiteY39" fmla="*/ 245241 h 586450"/>
              <a:gd name="connsiteX40" fmla="*/ 282610 w 586112"/>
              <a:gd name="connsiteY40" fmla="*/ 245241 h 586450"/>
              <a:gd name="connsiteX41" fmla="*/ 282610 w 586112"/>
              <a:gd name="connsiteY41" fmla="*/ 209725 h 586450"/>
              <a:gd name="connsiteX42" fmla="*/ 135829 w 586112"/>
              <a:gd name="connsiteY42" fmla="*/ 209725 h 586450"/>
              <a:gd name="connsiteX43" fmla="*/ 135829 w 586112"/>
              <a:gd name="connsiteY43" fmla="*/ 245241 h 586450"/>
              <a:gd name="connsiteX44" fmla="*/ 199616 w 586112"/>
              <a:gd name="connsiteY44" fmla="*/ 245241 h 586450"/>
              <a:gd name="connsiteX45" fmla="*/ 199616 w 586112"/>
              <a:gd name="connsiteY45" fmla="*/ 209725 h 586450"/>
              <a:gd name="connsiteX46" fmla="*/ 204637 w 586112"/>
              <a:gd name="connsiteY46" fmla="*/ 127102 h 586450"/>
              <a:gd name="connsiteX47" fmla="*/ 204637 w 586112"/>
              <a:gd name="connsiteY47" fmla="*/ 155205 h 586450"/>
              <a:gd name="connsiteX48" fmla="*/ 242107 w 586112"/>
              <a:gd name="connsiteY48" fmla="*/ 155205 h 586450"/>
              <a:gd name="connsiteX49" fmla="*/ 242107 w 586112"/>
              <a:gd name="connsiteY49" fmla="*/ 190990 h 586450"/>
              <a:gd name="connsiteX50" fmla="*/ 345150 w 586112"/>
              <a:gd name="connsiteY50" fmla="*/ 190990 h 586450"/>
              <a:gd name="connsiteX51" fmla="*/ 345150 w 586112"/>
              <a:gd name="connsiteY51" fmla="*/ 155205 h 586450"/>
              <a:gd name="connsiteX52" fmla="*/ 382621 w 586112"/>
              <a:gd name="connsiteY52" fmla="*/ 155205 h 586450"/>
              <a:gd name="connsiteX53" fmla="*/ 382621 w 586112"/>
              <a:gd name="connsiteY53" fmla="*/ 127102 h 586450"/>
              <a:gd name="connsiteX54" fmla="*/ 293056 w 586112"/>
              <a:gd name="connsiteY54" fmla="*/ 0 h 586450"/>
              <a:gd name="connsiteX55" fmla="*/ 586112 w 586112"/>
              <a:gd name="connsiteY55" fmla="*/ 293225 h 586450"/>
              <a:gd name="connsiteX56" fmla="*/ 293056 w 586112"/>
              <a:gd name="connsiteY56" fmla="*/ 586450 h 586450"/>
              <a:gd name="connsiteX57" fmla="*/ 0 w 586112"/>
              <a:gd name="connsiteY57" fmla="*/ 293225 h 586450"/>
              <a:gd name="connsiteX58" fmla="*/ 293056 w 586112"/>
              <a:gd name="connsiteY58" fmla="*/ 0 h 586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586112" h="586450">
                <a:moveTo>
                  <a:pt x="291169" y="297268"/>
                </a:moveTo>
                <a:lnTo>
                  <a:pt x="117027" y="315633"/>
                </a:lnTo>
                <a:lnTo>
                  <a:pt x="113758" y="315970"/>
                </a:lnTo>
                <a:cubicBezTo>
                  <a:pt x="110456" y="316374"/>
                  <a:pt x="108704" y="319979"/>
                  <a:pt x="110321" y="322776"/>
                </a:cubicBezTo>
                <a:lnTo>
                  <a:pt x="174984" y="455169"/>
                </a:lnTo>
                <a:lnTo>
                  <a:pt x="410824" y="455169"/>
                </a:lnTo>
                <a:lnTo>
                  <a:pt x="475420" y="322776"/>
                </a:lnTo>
                <a:cubicBezTo>
                  <a:pt x="477071" y="319946"/>
                  <a:pt x="475218" y="316340"/>
                  <a:pt x="471949" y="315970"/>
                </a:cubicBezTo>
                <a:lnTo>
                  <a:pt x="470433" y="315835"/>
                </a:lnTo>
                <a:lnTo>
                  <a:pt x="291944" y="297369"/>
                </a:lnTo>
                <a:close/>
                <a:moveTo>
                  <a:pt x="301345" y="264010"/>
                </a:moveTo>
                <a:lnTo>
                  <a:pt x="301345" y="279510"/>
                </a:lnTo>
                <a:lnTo>
                  <a:pt x="303872" y="279780"/>
                </a:lnTo>
                <a:lnTo>
                  <a:pt x="366143" y="286249"/>
                </a:lnTo>
                <a:lnTo>
                  <a:pt x="366143" y="264010"/>
                </a:lnTo>
                <a:close/>
                <a:moveTo>
                  <a:pt x="384878" y="263976"/>
                </a:moveTo>
                <a:lnTo>
                  <a:pt x="384878" y="288136"/>
                </a:lnTo>
                <a:lnTo>
                  <a:pt x="386934" y="288372"/>
                </a:lnTo>
                <a:lnTo>
                  <a:pt x="451732" y="295078"/>
                </a:lnTo>
                <a:lnTo>
                  <a:pt x="451732" y="263976"/>
                </a:lnTo>
                <a:close/>
                <a:moveTo>
                  <a:pt x="218351" y="263976"/>
                </a:moveTo>
                <a:lnTo>
                  <a:pt x="218351" y="286081"/>
                </a:lnTo>
                <a:lnTo>
                  <a:pt x="221350" y="285811"/>
                </a:lnTo>
                <a:lnTo>
                  <a:pt x="282644" y="279342"/>
                </a:lnTo>
                <a:lnTo>
                  <a:pt x="282644" y="263976"/>
                </a:lnTo>
                <a:lnTo>
                  <a:pt x="218385" y="263976"/>
                </a:lnTo>
                <a:close/>
                <a:moveTo>
                  <a:pt x="135796" y="263976"/>
                </a:moveTo>
                <a:lnTo>
                  <a:pt x="135796" y="294808"/>
                </a:lnTo>
                <a:lnTo>
                  <a:pt x="199583" y="288103"/>
                </a:lnTo>
                <a:lnTo>
                  <a:pt x="199583" y="263976"/>
                </a:lnTo>
                <a:close/>
                <a:moveTo>
                  <a:pt x="384878" y="209725"/>
                </a:moveTo>
                <a:lnTo>
                  <a:pt x="384878" y="245241"/>
                </a:lnTo>
                <a:lnTo>
                  <a:pt x="451732" y="245241"/>
                </a:lnTo>
                <a:lnTo>
                  <a:pt x="451732" y="209725"/>
                </a:lnTo>
                <a:close/>
                <a:moveTo>
                  <a:pt x="301345" y="209725"/>
                </a:moveTo>
                <a:lnTo>
                  <a:pt x="301345" y="245241"/>
                </a:lnTo>
                <a:lnTo>
                  <a:pt x="366143" y="245241"/>
                </a:lnTo>
                <a:lnTo>
                  <a:pt x="366143" y="209725"/>
                </a:lnTo>
                <a:close/>
                <a:moveTo>
                  <a:pt x="218351" y="209725"/>
                </a:moveTo>
                <a:lnTo>
                  <a:pt x="218351" y="245241"/>
                </a:lnTo>
                <a:lnTo>
                  <a:pt x="282610" y="245241"/>
                </a:lnTo>
                <a:lnTo>
                  <a:pt x="282610" y="209725"/>
                </a:lnTo>
                <a:close/>
                <a:moveTo>
                  <a:pt x="135829" y="209725"/>
                </a:moveTo>
                <a:lnTo>
                  <a:pt x="135829" y="245241"/>
                </a:lnTo>
                <a:lnTo>
                  <a:pt x="199616" y="245241"/>
                </a:lnTo>
                <a:lnTo>
                  <a:pt x="199616" y="209725"/>
                </a:lnTo>
                <a:close/>
                <a:moveTo>
                  <a:pt x="204637" y="127102"/>
                </a:moveTo>
                <a:lnTo>
                  <a:pt x="204637" y="155205"/>
                </a:lnTo>
                <a:lnTo>
                  <a:pt x="242107" y="155205"/>
                </a:lnTo>
                <a:lnTo>
                  <a:pt x="242107" y="190990"/>
                </a:lnTo>
                <a:lnTo>
                  <a:pt x="345150" y="190990"/>
                </a:lnTo>
                <a:lnTo>
                  <a:pt x="345150" y="155205"/>
                </a:lnTo>
                <a:lnTo>
                  <a:pt x="382621" y="155205"/>
                </a:lnTo>
                <a:lnTo>
                  <a:pt x="382621" y="127102"/>
                </a:lnTo>
                <a:close/>
                <a:moveTo>
                  <a:pt x="293056" y="0"/>
                </a:moveTo>
                <a:cubicBezTo>
                  <a:pt x="454899" y="0"/>
                  <a:pt x="586112" y="131281"/>
                  <a:pt x="586112" y="293225"/>
                </a:cubicBezTo>
                <a:cubicBezTo>
                  <a:pt x="586112" y="455169"/>
                  <a:pt x="454899" y="586450"/>
                  <a:pt x="293056" y="586450"/>
                </a:cubicBezTo>
                <a:cubicBezTo>
                  <a:pt x="131213" y="586450"/>
                  <a:pt x="0" y="455169"/>
                  <a:pt x="0" y="293225"/>
                </a:cubicBezTo>
                <a:cubicBezTo>
                  <a:pt x="0" y="131281"/>
                  <a:pt x="131213" y="0"/>
                  <a:pt x="293056" y="0"/>
                </a:cubicBezTo>
                <a:close/>
              </a:path>
            </a:pathLst>
          </a:custGeom>
          <a:solidFill>
            <a:srgbClr val="FFFFFF"/>
          </a:solidFill>
          <a:ln w="3364" cap="flat">
            <a:noFill/>
            <a:prstDash val="solid"/>
            <a:miter/>
          </a:ln>
        </p:spPr>
        <p:txBody>
          <a:bodyPr wrap="square" rtlCol="0" anchor="ctr">
            <a:noAutofit/>
          </a:bodyPr>
          <a:lstStyle/>
          <a:p>
            <a:endParaRPr lang="en-GB"/>
          </a:p>
        </p:txBody>
      </p:sp>
    </p:spTree>
    <p:extLst>
      <p:ext uri="{BB962C8B-B14F-4D97-AF65-F5344CB8AC3E}">
        <p14:creationId xmlns:p14="http://schemas.microsoft.com/office/powerpoint/2010/main" val="3543074880"/>
      </p:ext>
    </p:extLst>
  </p:cSld>
  <p:clrMapOvr>
    <a:masterClrMapping/>
  </p:clrMapOvr>
  <p:transition spd="med">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1_Quotes &amp; Stats">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r>
              <a:rPr lang="en-GB"/>
              <a:t>INSERT FOOTER HERE</a:t>
            </a:r>
          </a:p>
        </p:txBody>
      </p:sp>
      <p:sp>
        <p:nvSpPr>
          <p:cNvPr id="5" name="Slide Number Placeholder 4"/>
          <p:cNvSpPr>
            <a:spLocks noGrp="1"/>
          </p:cNvSpPr>
          <p:nvPr>
            <p:ph type="sldNum" sz="quarter" idx="12"/>
          </p:nvPr>
        </p:nvSpPr>
        <p:spPr/>
        <p:txBody>
          <a:bodyPr/>
          <a:lstStyle/>
          <a:p>
            <a:fld id="{8CFE0557-AA98-4E6C-B0C3-581794696B68}" type="slidenum">
              <a:rPr lang="en-GB" smtClean="0"/>
              <a:t>‹#›</a:t>
            </a:fld>
            <a:endParaRPr lang="en-GB"/>
          </a:p>
        </p:txBody>
      </p:sp>
      <p:sp>
        <p:nvSpPr>
          <p:cNvPr id="17" name="Rectangle 16">
            <a:extLst>
              <a:ext uri="{FF2B5EF4-FFF2-40B4-BE49-F238E27FC236}">
                <a16:creationId xmlns:a16="http://schemas.microsoft.com/office/drawing/2014/main" id="{A8A4E3AE-7EDD-04A0-8326-F556CD643DA2}"/>
              </a:ext>
            </a:extLst>
          </p:cNvPr>
          <p:cNvSpPr/>
          <p:nvPr userDrawn="1"/>
        </p:nvSpPr>
        <p:spPr>
          <a:xfrm>
            <a:off x="7967665" y="3715969"/>
            <a:ext cx="3714748" cy="250385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Rectangle 13">
            <a:extLst>
              <a:ext uri="{FF2B5EF4-FFF2-40B4-BE49-F238E27FC236}">
                <a16:creationId xmlns:a16="http://schemas.microsoft.com/office/drawing/2014/main" id="{BD754D4C-C7C7-7E0F-EE4B-926C1E33AADD}"/>
              </a:ext>
            </a:extLst>
          </p:cNvPr>
          <p:cNvSpPr/>
          <p:nvPr userDrawn="1"/>
        </p:nvSpPr>
        <p:spPr>
          <a:xfrm>
            <a:off x="4225926" y="3715969"/>
            <a:ext cx="3741738" cy="250385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8922540E-5424-544C-F10E-EB343FA02202}"/>
              </a:ext>
            </a:extLst>
          </p:cNvPr>
          <p:cNvSpPr/>
          <p:nvPr userDrawn="1"/>
        </p:nvSpPr>
        <p:spPr>
          <a:xfrm>
            <a:off x="4067174" y="1212112"/>
            <a:ext cx="7615239" cy="250385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a:extLst>
              <a:ext uri="{FF2B5EF4-FFF2-40B4-BE49-F238E27FC236}">
                <a16:creationId xmlns:a16="http://schemas.microsoft.com/office/drawing/2014/main" id="{ECFEF303-2023-767D-ED27-D7D14628156C}"/>
              </a:ext>
            </a:extLst>
          </p:cNvPr>
          <p:cNvSpPr/>
          <p:nvPr userDrawn="1"/>
        </p:nvSpPr>
        <p:spPr>
          <a:xfrm>
            <a:off x="507999" y="3715969"/>
            <a:ext cx="3717925" cy="250385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Rectangle 10">
            <a:extLst>
              <a:ext uri="{FF2B5EF4-FFF2-40B4-BE49-F238E27FC236}">
                <a16:creationId xmlns:a16="http://schemas.microsoft.com/office/drawing/2014/main" id="{8EC842C4-12E2-C1F1-17C5-8476122C5DB4}"/>
              </a:ext>
            </a:extLst>
          </p:cNvPr>
          <p:cNvSpPr/>
          <p:nvPr userDrawn="1"/>
        </p:nvSpPr>
        <p:spPr>
          <a:xfrm>
            <a:off x="508000" y="1212112"/>
            <a:ext cx="3714748" cy="250385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Title 5">
            <a:extLst>
              <a:ext uri="{FF2B5EF4-FFF2-40B4-BE49-F238E27FC236}">
                <a16:creationId xmlns:a16="http://schemas.microsoft.com/office/drawing/2014/main" id="{4BF5D049-4DB0-98EE-9B73-4BA7460E4D5B}"/>
              </a:ext>
            </a:extLst>
          </p:cNvPr>
          <p:cNvSpPr>
            <a:spLocks noGrp="1"/>
          </p:cNvSpPr>
          <p:nvPr userDrawn="1">
            <p:ph type="title" hasCustomPrompt="1"/>
          </p:nvPr>
        </p:nvSpPr>
        <p:spPr>
          <a:xfrm>
            <a:off x="508000" y="454013"/>
            <a:ext cx="11174413" cy="758099"/>
          </a:xfrm>
        </p:spPr>
        <p:txBody>
          <a:bodyPr/>
          <a:lstStyle/>
          <a:p>
            <a:r>
              <a:rPr lang="en-US" dirty="0"/>
              <a:t>TITLE: subtitle</a:t>
            </a:r>
            <a:endParaRPr lang="en-GB" dirty="0"/>
          </a:p>
        </p:txBody>
      </p:sp>
      <p:sp>
        <p:nvSpPr>
          <p:cNvPr id="12" name="Content Placeholder 2">
            <a:extLst>
              <a:ext uri="{FF2B5EF4-FFF2-40B4-BE49-F238E27FC236}">
                <a16:creationId xmlns:a16="http://schemas.microsoft.com/office/drawing/2014/main" id="{ED7D8372-218F-2AB4-014B-0BD74CE082C0}"/>
              </a:ext>
            </a:extLst>
          </p:cNvPr>
          <p:cNvSpPr>
            <a:spLocks noGrp="1"/>
          </p:cNvSpPr>
          <p:nvPr userDrawn="1">
            <p:ph idx="34" hasCustomPrompt="1"/>
          </p:nvPr>
        </p:nvSpPr>
        <p:spPr>
          <a:xfrm>
            <a:off x="942749" y="4462316"/>
            <a:ext cx="2814088" cy="461665"/>
          </a:xfrm>
        </p:spPr>
        <p:txBody>
          <a:bodyPr vert="horz" lIns="0" tIns="0" rIns="0" bIns="0" numCol="1" spcCol="288000" rtlCol="0" anchor="b" anchorCtr="0">
            <a:noAutofit/>
          </a:bodyPr>
          <a:lstStyle>
            <a:lvl1pPr>
              <a:lnSpc>
                <a:spcPct val="100000"/>
              </a:lnSpc>
              <a:spcBef>
                <a:spcPts val="0"/>
              </a:spcBef>
              <a:spcAft>
                <a:spcPts val="0"/>
              </a:spcAft>
              <a:defRPr lang="en-US" sz="2400" cap="all" baseline="0" dirty="0" smtClean="0">
                <a:solidFill>
                  <a:schemeClr val="bg1"/>
                </a:solidFill>
                <a:latin typeface="+mj-lt"/>
              </a:defRPr>
            </a:lvl1pPr>
            <a:lvl2pPr>
              <a:lnSpc>
                <a:spcPct val="100000"/>
              </a:lnSpc>
              <a:spcBef>
                <a:spcPts val="0"/>
              </a:spcBef>
              <a:spcAft>
                <a:spcPts val="0"/>
              </a:spcAft>
              <a:defRPr lang="en-US" sz="2400" cap="all" baseline="0" dirty="0">
                <a:solidFill>
                  <a:schemeClr val="tx2"/>
                </a:solidFill>
                <a:latin typeface="+mj-lt"/>
              </a:defRPr>
            </a:lvl2pPr>
            <a:lvl3pPr>
              <a:spcBef>
                <a:spcPts val="400"/>
              </a:spcBef>
              <a:spcAft>
                <a:spcPts val="400"/>
              </a:spcAft>
              <a:buClr>
                <a:schemeClr val="bg1"/>
              </a:buClr>
              <a:defRPr lang="en-US" sz="1000" dirty="0">
                <a:solidFill>
                  <a:schemeClr val="bg1"/>
                </a:solidFill>
              </a:defRPr>
            </a:lvl3pPr>
            <a:lvl4pPr>
              <a:spcBef>
                <a:spcPts val="400"/>
              </a:spcBef>
              <a:spcAft>
                <a:spcPts val="400"/>
              </a:spcAft>
              <a:buClr>
                <a:schemeClr val="bg1"/>
              </a:buClr>
              <a:defRPr lang="en-US" sz="900" dirty="0">
                <a:solidFill>
                  <a:schemeClr val="bg1"/>
                </a:solidFill>
              </a:defRPr>
            </a:lvl4pPr>
            <a:lvl5pPr>
              <a:spcBef>
                <a:spcPts val="400"/>
              </a:spcBef>
              <a:spcAft>
                <a:spcPts val="400"/>
              </a:spcAft>
              <a:buClr>
                <a:schemeClr val="bg1"/>
              </a:buClr>
              <a:defRPr lang="en-US" sz="900" dirty="0">
                <a:solidFill>
                  <a:schemeClr val="bg1"/>
                </a:solidFill>
              </a:defRPr>
            </a:lvl5pPr>
          </a:lstStyle>
          <a:p>
            <a:r>
              <a:rPr lang="en-GB" dirty="0"/>
              <a:t>CHAMBERS 2023</a:t>
            </a:r>
          </a:p>
        </p:txBody>
      </p:sp>
      <p:sp>
        <p:nvSpPr>
          <p:cNvPr id="13" name="Content Placeholder 27">
            <a:extLst>
              <a:ext uri="{FF2B5EF4-FFF2-40B4-BE49-F238E27FC236}">
                <a16:creationId xmlns:a16="http://schemas.microsoft.com/office/drawing/2014/main" id="{039396DF-57EE-6104-7FAB-641173C8C27A}"/>
              </a:ext>
            </a:extLst>
          </p:cNvPr>
          <p:cNvSpPr txBox="1">
            <a:spLocks/>
          </p:cNvSpPr>
          <p:nvPr userDrawn="1"/>
        </p:nvSpPr>
        <p:spPr>
          <a:xfrm>
            <a:off x="965623" y="1980016"/>
            <a:ext cx="2665228" cy="568833"/>
          </a:xfrm>
          <a:prstGeom prst="rect">
            <a:avLst/>
          </a:prstGeom>
        </p:spPr>
        <p:txBody>
          <a:bodyPr vert="horz" lIns="0" tIns="45720" rIns="0" bIns="45720" numCol="1" spcCol="288000" rtlCol="0" anchor="ctr" anchorCtr="0">
            <a:noAutofit/>
          </a:bodyPr>
          <a:lstStyle>
            <a:lvl1pPr marL="0" indent="0" algn="l" defTabSz="914400" rtl="0" eaLnBrk="1" latinLnBrk="0" hangingPunct="1">
              <a:lnSpc>
                <a:spcPct val="80000"/>
              </a:lnSpc>
              <a:spcBef>
                <a:spcPts val="0"/>
              </a:spcBef>
              <a:spcAft>
                <a:spcPts val="0"/>
              </a:spcAft>
              <a:buFont typeface="Arial" panose="020B0604020202020204" pitchFamily="34" charset="0"/>
              <a:buNone/>
              <a:defRPr lang="en-US" sz="6600" kern="1200" dirty="0" smtClean="0">
                <a:solidFill>
                  <a:schemeClr val="bg1"/>
                </a:solidFill>
                <a:latin typeface="+mj-lt"/>
                <a:ea typeface="+mn-ea"/>
                <a:cs typeface="+mn-cs"/>
              </a:defRPr>
            </a:lvl1pPr>
            <a:lvl2pPr marL="0" indent="0" algn="l" defTabSz="914400" rtl="0" eaLnBrk="1" latinLnBrk="0" hangingPunct="1">
              <a:lnSpc>
                <a:spcPct val="80000"/>
              </a:lnSpc>
              <a:spcBef>
                <a:spcPts val="0"/>
              </a:spcBef>
              <a:spcAft>
                <a:spcPts val="0"/>
              </a:spcAft>
              <a:buFont typeface="Arial" panose="020B0604020202020204" pitchFamily="34" charset="0"/>
              <a:buNone/>
              <a:defRPr lang="en-US" sz="3200" kern="1200" dirty="0">
                <a:solidFill>
                  <a:schemeClr val="accent3"/>
                </a:solidFill>
                <a:latin typeface="+mn-lt"/>
                <a:ea typeface="+mn-ea"/>
                <a:cs typeface="+mn-cs"/>
              </a:defRPr>
            </a:lvl2pPr>
            <a:lvl3pPr marL="180975" indent="-180975" algn="l" defTabSz="914400" rtl="0" eaLnBrk="1" latinLnBrk="0" hangingPunct="1">
              <a:lnSpc>
                <a:spcPct val="130000"/>
              </a:lnSpc>
              <a:spcBef>
                <a:spcPts val="400"/>
              </a:spcBef>
              <a:spcAft>
                <a:spcPts val="400"/>
              </a:spcAft>
              <a:buClr>
                <a:schemeClr val="bg1"/>
              </a:buClr>
              <a:buSzPct val="105000"/>
              <a:buFont typeface="Arial" panose="020B0604020202020204" pitchFamily="34" charset="0"/>
              <a:buChar char="•"/>
              <a:defRPr lang="en-US" sz="1000" kern="1200" dirty="0">
                <a:solidFill>
                  <a:schemeClr val="bg1"/>
                </a:solidFill>
                <a:latin typeface="+mn-lt"/>
                <a:ea typeface="+mn-ea"/>
                <a:cs typeface="+mn-cs"/>
              </a:defRPr>
            </a:lvl3pPr>
            <a:lvl4pPr marL="539750" indent="-180975" algn="l" defTabSz="914400" rtl="0" eaLnBrk="1" latinLnBrk="0" hangingPunct="1">
              <a:lnSpc>
                <a:spcPct val="130000"/>
              </a:lnSpc>
              <a:spcBef>
                <a:spcPts val="400"/>
              </a:spcBef>
              <a:spcAft>
                <a:spcPts val="400"/>
              </a:spcAft>
              <a:buClr>
                <a:schemeClr val="bg1"/>
              </a:buClr>
              <a:buSzPct val="105000"/>
              <a:buFont typeface="Arial" panose="020B0604020202020204" pitchFamily="34" charset="0"/>
              <a:buChar char="•"/>
              <a:defRPr lang="en-US" sz="900" kern="1200" dirty="0">
                <a:solidFill>
                  <a:schemeClr val="bg1"/>
                </a:solidFill>
                <a:latin typeface="+mn-lt"/>
                <a:ea typeface="+mn-ea"/>
                <a:cs typeface="+mn-cs"/>
              </a:defRPr>
            </a:lvl4pPr>
            <a:lvl5pPr marL="898525" indent="-180975" algn="l" defTabSz="914400" rtl="0" eaLnBrk="1" latinLnBrk="0" hangingPunct="1">
              <a:lnSpc>
                <a:spcPct val="130000"/>
              </a:lnSpc>
              <a:spcBef>
                <a:spcPts val="400"/>
              </a:spcBef>
              <a:spcAft>
                <a:spcPts val="400"/>
              </a:spcAft>
              <a:buClr>
                <a:schemeClr val="bg1"/>
              </a:buClr>
              <a:buSzPct val="105000"/>
              <a:buFont typeface="Arial" panose="020B0604020202020204" pitchFamily="34" charset="0"/>
              <a:buChar char="•"/>
              <a:defRPr lang="en-US" sz="900" kern="1200" dirty="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600+</a:t>
            </a:r>
          </a:p>
        </p:txBody>
      </p:sp>
      <p:sp>
        <p:nvSpPr>
          <p:cNvPr id="16" name="Content Placeholder 48">
            <a:extLst>
              <a:ext uri="{FF2B5EF4-FFF2-40B4-BE49-F238E27FC236}">
                <a16:creationId xmlns:a16="http://schemas.microsoft.com/office/drawing/2014/main" id="{ABDB8991-355D-F58A-DF82-1083734AE34D}"/>
              </a:ext>
            </a:extLst>
          </p:cNvPr>
          <p:cNvSpPr txBox="1">
            <a:spLocks/>
          </p:cNvSpPr>
          <p:nvPr userDrawn="1"/>
        </p:nvSpPr>
        <p:spPr>
          <a:xfrm>
            <a:off x="965623" y="2578358"/>
            <a:ext cx="2665228" cy="568833"/>
          </a:xfrm>
          <a:prstGeom prst="rect">
            <a:avLst/>
          </a:prstGeom>
        </p:spPr>
        <p:txBody>
          <a:bodyPr vert="horz" lIns="0" tIns="45720" rIns="0" bIns="45720" numCol="1" spcCol="288000" rtlCol="0" anchor="ctr" anchorCtr="0">
            <a:noAutofit/>
          </a:bodyPr>
          <a:lstStyle>
            <a:lvl1pPr marL="0" indent="0" algn="l" defTabSz="914400" rtl="0" eaLnBrk="1" latinLnBrk="0" hangingPunct="1">
              <a:lnSpc>
                <a:spcPct val="80000"/>
              </a:lnSpc>
              <a:spcBef>
                <a:spcPts val="0"/>
              </a:spcBef>
              <a:spcAft>
                <a:spcPts val="0"/>
              </a:spcAft>
              <a:buFont typeface="Arial" panose="020B0604020202020204" pitchFamily="34" charset="0"/>
              <a:buNone/>
              <a:defRPr lang="en-US" sz="3200" kern="1200" dirty="0" smtClean="0">
                <a:solidFill>
                  <a:schemeClr val="accent3"/>
                </a:solidFill>
                <a:latin typeface="+mn-lt"/>
                <a:ea typeface="+mn-ea"/>
                <a:cs typeface="+mn-cs"/>
              </a:defRPr>
            </a:lvl1pPr>
            <a:lvl2pPr marL="0" indent="0" algn="l" defTabSz="914400" rtl="0" eaLnBrk="1" latinLnBrk="0" hangingPunct="1">
              <a:lnSpc>
                <a:spcPct val="80000"/>
              </a:lnSpc>
              <a:spcBef>
                <a:spcPts val="0"/>
              </a:spcBef>
              <a:spcAft>
                <a:spcPts val="0"/>
              </a:spcAft>
              <a:buFont typeface="Arial" panose="020B0604020202020204" pitchFamily="34" charset="0"/>
              <a:buNone/>
              <a:defRPr lang="en-US" sz="3200" kern="1200" dirty="0">
                <a:solidFill>
                  <a:schemeClr val="accent3"/>
                </a:solidFill>
                <a:latin typeface="+mn-lt"/>
                <a:ea typeface="+mn-ea"/>
                <a:cs typeface="+mn-cs"/>
              </a:defRPr>
            </a:lvl2pPr>
            <a:lvl3pPr marL="180975" indent="-180975" algn="l" defTabSz="914400" rtl="0" eaLnBrk="1" latinLnBrk="0" hangingPunct="1">
              <a:lnSpc>
                <a:spcPct val="130000"/>
              </a:lnSpc>
              <a:spcBef>
                <a:spcPts val="400"/>
              </a:spcBef>
              <a:spcAft>
                <a:spcPts val="400"/>
              </a:spcAft>
              <a:buClr>
                <a:schemeClr val="bg1"/>
              </a:buClr>
              <a:buSzPct val="105000"/>
              <a:buFont typeface="Arial" panose="020B0604020202020204" pitchFamily="34" charset="0"/>
              <a:buChar char="•"/>
              <a:defRPr lang="en-US" sz="1000" kern="1200" dirty="0">
                <a:solidFill>
                  <a:schemeClr val="bg1"/>
                </a:solidFill>
                <a:latin typeface="+mn-lt"/>
                <a:ea typeface="+mn-ea"/>
                <a:cs typeface="+mn-cs"/>
              </a:defRPr>
            </a:lvl3pPr>
            <a:lvl4pPr marL="539750" indent="-180975" algn="l" defTabSz="914400" rtl="0" eaLnBrk="1" latinLnBrk="0" hangingPunct="1">
              <a:lnSpc>
                <a:spcPct val="130000"/>
              </a:lnSpc>
              <a:spcBef>
                <a:spcPts val="400"/>
              </a:spcBef>
              <a:spcAft>
                <a:spcPts val="400"/>
              </a:spcAft>
              <a:buClr>
                <a:schemeClr val="bg1"/>
              </a:buClr>
              <a:buSzPct val="105000"/>
              <a:buFont typeface="Arial" panose="020B0604020202020204" pitchFamily="34" charset="0"/>
              <a:buChar char="•"/>
              <a:defRPr lang="en-US" sz="900" kern="1200" dirty="0">
                <a:solidFill>
                  <a:schemeClr val="bg1"/>
                </a:solidFill>
                <a:latin typeface="+mn-lt"/>
                <a:ea typeface="+mn-ea"/>
                <a:cs typeface="+mn-cs"/>
              </a:defRPr>
            </a:lvl4pPr>
            <a:lvl5pPr marL="898525" indent="-180975" algn="l" defTabSz="914400" rtl="0" eaLnBrk="1" latinLnBrk="0" hangingPunct="1">
              <a:lnSpc>
                <a:spcPct val="130000"/>
              </a:lnSpc>
              <a:spcBef>
                <a:spcPts val="400"/>
              </a:spcBef>
              <a:spcAft>
                <a:spcPts val="400"/>
              </a:spcAft>
              <a:buClr>
                <a:schemeClr val="bg1"/>
              </a:buClr>
              <a:buSzPct val="105000"/>
              <a:buFont typeface="Arial" panose="020B0604020202020204" pitchFamily="34" charset="0"/>
              <a:buChar char="•"/>
              <a:defRPr lang="en-US" sz="900" kern="1200" dirty="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GB" dirty="0">
                <a:solidFill>
                  <a:schemeClr val="accent2"/>
                </a:solidFill>
              </a:rPr>
              <a:t>lawyers</a:t>
            </a:r>
          </a:p>
        </p:txBody>
      </p:sp>
      <p:sp>
        <p:nvSpPr>
          <p:cNvPr id="20" name="Content Placeholder 64">
            <a:extLst>
              <a:ext uri="{FF2B5EF4-FFF2-40B4-BE49-F238E27FC236}">
                <a16:creationId xmlns:a16="http://schemas.microsoft.com/office/drawing/2014/main" id="{ACB125A7-0B70-D19B-0A4C-26F6232841A3}"/>
              </a:ext>
            </a:extLst>
          </p:cNvPr>
          <p:cNvSpPr txBox="1">
            <a:spLocks/>
          </p:cNvSpPr>
          <p:nvPr userDrawn="1"/>
        </p:nvSpPr>
        <p:spPr>
          <a:xfrm>
            <a:off x="4837828" y="4460928"/>
            <a:ext cx="2665228" cy="568833"/>
          </a:xfrm>
          <a:prstGeom prst="rect">
            <a:avLst/>
          </a:prstGeom>
        </p:spPr>
        <p:txBody>
          <a:bodyPr vert="horz" lIns="0" tIns="45720" rIns="0" bIns="45720" numCol="1" spcCol="288000" rtlCol="0" anchor="ctr" anchorCtr="0">
            <a:noAutofit/>
          </a:bodyPr>
          <a:lstStyle>
            <a:lvl1pPr marL="0" indent="0" algn="l" defTabSz="914400" rtl="0" eaLnBrk="1" latinLnBrk="0" hangingPunct="1">
              <a:lnSpc>
                <a:spcPct val="80000"/>
              </a:lnSpc>
              <a:spcBef>
                <a:spcPts val="0"/>
              </a:spcBef>
              <a:spcAft>
                <a:spcPts val="0"/>
              </a:spcAft>
              <a:buFont typeface="Arial" panose="020B0604020202020204" pitchFamily="34" charset="0"/>
              <a:buNone/>
              <a:defRPr lang="en-US" sz="6600" kern="1200" dirty="0" smtClean="0">
                <a:solidFill>
                  <a:schemeClr val="bg1"/>
                </a:solidFill>
                <a:latin typeface="+mj-lt"/>
                <a:ea typeface="+mn-ea"/>
                <a:cs typeface="+mn-cs"/>
              </a:defRPr>
            </a:lvl1pPr>
            <a:lvl2pPr marL="0" indent="0" algn="l" defTabSz="914400" rtl="0" eaLnBrk="1" latinLnBrk="0" hangingPunct="1">
              <a:lnSpc>
                <a:spcPct val="80000"/>
              </a:lnSpc>
              <a:spcBef>
                <a:spcPts val="0"/>
              </a:spcBef>
              <a:spcAft>
                <a:spcPts val="0"/>
              </a:spcAft>
              <a:buFont typeface="Arial" panose="020B0604020202020204" pitchFamily="34" charset="0"/>
              <a:buNone/>
              <a:defRPr lang="en-US" sz="3200" kern="1200" dirty="0">
                <a:solidFill>
                  <a:schemeClr val="accent3"/>
                </a:solidFill>
                <a:latin typeface="+mn-lt"/>
                <a:ea typeface="+mn-ea"/>
                <a:cs typeface="+mn-cs"/>
              </a:defRPr>
            </a:lvl2pPr>
            <a:lvl3pPr marL="180975" indent="-180975" algn="l" defTabSz="914400" rtl="0" eaLnBrk="1" latinLnBrk="0" hangingPunct="1">
              <a:lnSpc>
                <a:spcPct val="130000"/>
              </a:lnSpc>
              <a:spcBef>
                <a:spcPts val="400"/>
              </a:spcBef>
              <a:spcAft>
                <a:spcPts val="400"/>
              </a:spcAft>
              <a:buClr>
                <a:schemeClr val="bg1"/>
              </a:buClr>
              <a:buSzPct val="105000"/>
              <a:buFont typeface="Arial" panose="020B0604020202020204" pitchFamily="34" charset="0"/>
              <a:buChar char="•"/>
              <a:defRPr lang="en-US" sz="1000" kern="1200" dirty="0">
                <a:solidFill>
                  <a:schemeClr val="bg1"/>
                </a:solidFill>
                <a:latin typeface="+mn-lt"/>
                <a:ea typeface="+mn-ea"/>
                <a:cs typeface="+mn-cs"/>
              </a:defRPr>
            </a:lvl3pPr>
            <a:lvl4pPr marL="539750" indent="-180975" algn="l" defTabSz="914400" rtl="0" eaLnBrk="1" latinLnBrk="0" hangingPunct="1">
              <a:lnSpc>
                <a:spcPct val="130000"/>
              </a:lnSpc>
              <a:spcBef>
                <a:spcPts val="400"/>
              </a:spcBef>
              <a:spcAft>
                <a:spcPts val="400"/>
              </a:spcAft>
              <a:buClr>
                <a:schemeClr val="bg1"/>
              </a:buClr>
              <a:buSzPct val="105000"/>
              <a:buFont typeface="Arial" panose="020B0604020202020204" pitchFamily="34" charset="0"/>
              <a:buChar char="•"/>
              <a:defRPr lang="en-US" sz="900" kern="1200" dirty="0">
                <a:solidFill>
                  <a:schemeClr val="bg1"/>
                </a:solidFill>
                <a:latin typeface="+mn-lt"/>
                <a:ea typeface="+mn-ea"/>
                <a:cs typeface="+mn-cs"/>
              </a:defRPr>
            </a:lvl4pPr>
            <a:lvl5pPr marL="898525" indent="-180975" algn="l" defTabSz="914400" rtl="0" eaLnBrk="1" latinLnBrk="0" hangingPunct="1">
              <a:lnSpc>
                <a:spcPct val="130000"/>
              </a:lnSpc>
              <a:spcBef>
                <a:spcPts val="400"/>
              </a:spcBef>
              <a:spcAft>
                <a:spcPts val="400"/>
              </a:spcAft>
              <a:buClr>
                <a:schemeClr val="bg1"/>
              </a:buClr>
              <a:buSzPct val="105000"/>
              <a:buFont typeface="Arial" panose="020B0604020202020204" pitchFamily="34" charset="0"/>
              <a:buChar char="•"/>
              <a:defRPr lang="en-US" sz="900" kern="1200" dirty="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20</a:t>
            </a:r>
          </a:p>
        </p:txBody>
      </p:sp>
      <p:sp>
        <p:nvSpPr>
          <p:cNvPr id="21" name="Content Placeholder 22">
            <a:extLst>
              <a:ext uri="{FF2B5EF4-FFF2-40B4-BE49-F238E27FC236}">
                <a16:creationId xmlns:a16="http://schemas.microsoft.com/office/drawing/2014/main" id="{5E041775-2368-D345-9708-DCF899DFBC66}"/>
              </a:ext>
            </a:extLst>
          </p:cNvPr>
          <p:cNvSpPr txBox="1">
            <a:spLocks/>
          </p:cNvSpPr>
          <p:nvPr userDrawn="1"/>
        </p:nvSpPr>
        <p:spPr>
          <a:xfrm>
            <a:off x="4837828" y="5094950"/>
            <a:ext cx="2665228" cy="1008005"/>
          </a:xfrm>
          <a:prstGeom prst="rect">
            <a:avLst/>
          </a:prstGeom>
        </p:spPr>
        <p:txBody>
          <a:bodyPr vert="horz" lIns="0" tIns="45720" rIns="0" bIns="45720" numCol="1" spcCol="288000" rtlCol="0" anchor="t" anchorCtr="0">
            <a:noAutofit/>
          </a:bodyPr>
          <a:lstStyle>
            <a:lvl1pPr marL="0" indent="0" algn="l" defTabSz="914400" rtl="0" eaLnBrk="1" latinLnBrk="0" hangingPunct="1">
              <a:lnSpc>
                <a:spcPct val="80000"/>
              </a:lnSpc>
              <a:spcBef>
                <a:spcPts val="0"/>
              </a:spcBef>
              <a:spcAft>
                <a:spcPts val="0"/>
              </a:spcAft>
              <a:buFont typeface="Arial" panose="020B0604020202020204" pitchFamily="34" charset="0"/>
              <a:buNone/>
              <a:defRPr lang="en-US" sz="3200" kern="1200" dirty="0" smtClean="0">
                <a:solidFill>
                  <a:schemeClr val="accent3"/>
                </a:solidFill>
                <a:latin typeface="+mn-lt"/>
                <a:ea typeface="+mn-ea"/>
                <a:cs typeface="+mn-cs"/>
              </a:defRPr>
            </a:lvl1pPr>
            <a:lvl2pPr marL="0" indent="0" algn="l" defTabSz="914400" rtl="0" eaLnBrk="1" latinLnBrk="0" hangingPunct="1">
              <a:lnSpc>
                <a:spcPct val="80000"/>
              </a:lnSpc>
              <a:spcBef>
                <a:spcPts val="0"/>
              </a:spcBef>
              <a:spcAft>
                <a:spcPts val="0"/>
              </a:spcAft>
              <a:buFont typeface="Arial" panose="020B0604020202020204" pitchFamily="34" charset="0"/>
              <a:buNone/>
              <a:defRPr lang="en-US" sz="3200" kern="1200" dirty="0">
                <a:solidFill>
                  <a:schemeClr val="accent3"/>
                </a:solidFill>
                <a:latin typeface="+mn-lt"/>
                <a:ea typeface="+mn-ea"/>
                <a:cs typeface="+mn-cs"/>
              </a:defRPr>
            </a:lvl2pPr>
            <a:lvl3pPr marL="180975" indent="-180975" algn="l" defTabSz="914400" rtl="0" eaLnBrk="1" latinLnBrk="0" hangingPunct="1">
              <a:lnSpc>
                <a:spcPct val="130000"/>
              </a:lnSpc>
              <a:spcBef>
                <a:spcPts val="400"/>
              </a:spcBef>
              <a:spcAft>
                <a:spcPts val="400"/>
              </a:spcAft>
              <a:buClr>
                <a:schemeClr val="bg1"/>
              </a:buClr>
              <a:buSzPct val="105000"/>
              <a:buFont typeface="Arial" panose="020B0604020202020204" pitchFamily="34" charset="0"/>
              <a:buChar char="•"/>
              <a:defRPr lang="en-US" sz="1000" kern="1200" dirty="0">
                <a:solidFill>
                  <a:schemeClr val="bg1"/>
                </a:solidFill>
                <a:latin typeface="+mn-lt"/>
                <a:ea typeface="+mn-ea"/>
                <a:cs typeface="+mn-cs"/>
              </a:defRPr>
            </a:lvl3pPr>
            <a:lvl4pPr marL="539750" indent="-180975" algn="l" defTabSz="914400" rtl="0" eaLnBrk="1" latinLnBrk="0" hangingPunct="1">
              <a:lnSpc>
                <a:spcPct val="130000"/>
              </a:lnSpc>
              <a:spcBef>
                <a:spcPts val="400"/>
              </a:spcBef>
              <a:spcAft>
                <a:spcPts val="400"/>
              </a:spcAft>
              <a:buClr>
                <a:schemeClr val="bg1"/>
              </a:buClr>
              <a:buSzPct val="105000"/>
              <a:buFont typeface="Arial" panose="020B0604020202020204" pitchFamily="34" charset="0"/>
              <a:buChar char="•"/>
              <a:defRPr lang="en-US" sz="900" kern="1200" dirty="0">
                <a:solidFill>
                  <a:schemeClr val="bg1"/>
                </a:solidFill>
                <a:latin typeface="+mn-lt"/>
                <a:ea typeface="+mn-ea"/>
                <a:cs typeface="+mn-cs"/>
              </a:defRPr>
            </a:lvl4pPr>
            <a:lvl5pPr marL="898525" indent="-180975" algn="l" defTabSz="914400" rtl="0" eaLnBrk="1" latinLnBrk="0" hangingPunct="1">
              <a:lnSpc>
                <a:spcPct val="130000"/>
              </a:lnSpc>
              <a:spcBef>
                <a:spcPts val="400"/>
              </a:spcBef>
              <a:spcAft>
                <a:spcPts val="400"/>
              </a:spcAft>
              <a:buClr>
                <a:schemeClr val="bg1"/>
              </a:buClr>
              <a:buSzPct val="105000"/>
              <a:buFont typeface="Arial" panose="020B0604020202020204" pitchFamily="34" charset="0"/>
              <a:buChar char="•"/>
              <a:defRPr lang="en-US" sz="900" kern="1200" dirty="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GB" dirty="0">
                <a:solidFill>
                  <a:schemeClr val="accent2"/>
                </a:solidFill>
              </a:rPr>
              <a:t>offices</a:t>
            </a:r>
          </a:p>
        </p:txBody>
      </p:sp>
      <p:sp>
        <p:nvSpPr>
          <p:cNvPr id="22" name="Content Placeholder 23">
            <a:extLst>
              <a:ext uri="{FF2B5EF4-FFF2-40B4-BE49-F238E27FC236}">
                <a16:creationId xmlns:a16="http://schemas.microsoft.com/office/drawing/2014/main" id="{A0D3A6FB-3F38-60BE-87D0-452AE9B3D8F7}"/>
              </a:ext>
            </a:extLst>
          </p:cNvPr>
          <p:cNvSpPr txBox="1">
            <a:spLocks/>
          </p:cNvSpPr>
          <p:nvPr userDrawn="1"/>
        </p:nvSpPr>
        <p:spPr>
          <a:xfrm>
            <a:off x="8754136" y="4460928"/>
            <a:ext cx="2665228" cy="568833"/>
          </a:xfrm>
          <a:prstGeom prst="rect">
            <a:avLst/>
          </a:prstGeom>
        </p:spPr>
        <p:txBody>
          <a:bodyPr vert="horz" lIns="0" tIns="45720" rIns="0" bIns="45720" numCol="1" spcCol="288000" rtlCol="0" anchor="ctr" anchorCtr="0">
            <a:noAutofit/>
          </a:bodyPr>
          <a:lstStyle>
            <a:lvl1pPr marL="0" indent="0" algn="l" defTabSz="914400" rtl="0" eaLnBrk="1" latinLnBrk="0" hangingPunct="1">
              <a:lnSpc>
                <a:spcPct val="80000"/>
              </a:lnSpc>
              <a:spcBef>
                <a:spcPts val="0"/>
              </a:spcBef>
              <a:spcAft>
                <a:spcPts val="0"/>
              </a:spcAft>
              <a:buFont typeface="Arial" panose="020B0604020202020204" pitchFamily="34" charset="0"/>
              <a:buNone/>
              <a:defRPr lang="en-US" sz="6600" kern="1200" dirty="0" smtClean="0">
                <a:solidFill>
                  <a:schemeClr val="bg1"/>
                </a:solidFill>
                <a:latin typeface="+mj-lt"/>
                <a:ea typeface="+mn-ea"/>
                <a:cs typeface="+mn-cs"/>
              </a:defRPr>
            </a:lvl1pPr>
            <a:lvl2pPr marL="0" indent="0" algn="l" defTabSz="914400" rtl="0" eaLnBrk="1" latinLnBrk="0" hangingPunct="1">
              <a:lnSpc>
                <a:spcPct val="80000"/>
              </a:lnSpc>
              <a:spcBef>
                <a:spcPts val="0"/>
              </a:spcBef>
              <a:spcAft>
                <a:spcPts val="0"/>
              </a:spcAft>
              <a:buFont typeface="Arial" panose="020B0604020202020204" pitchFamily="34" charset="0"/>
              <a:buNone/>
              <a:defRPr lang="en-US" sz="3200" kern="1200" dirty="0">
                <a:solidFill>
                  <a:schemeClr val="accent3"/>
                </a:solidFill>
                <a:latin typeface="+mn-lt"/>
                <a:ea typeface="+mn-ea"/>
                <a:cs typeface="+mn-cs"/>
              </a:defRPr>
            </a:lvl2pPr>
            <a:lvl3pPr marL="180975" indent="-180975" algn="l" defTabSz="914400" rtl="0" eaLnBrk="1" latinLnBrk="0" hangingPunct="1">
              <a:lnSpc>
                <a:spcPct val="130000"/>
              </a:lnSpc>
              <a:spcBef>
                <a:spcPts val="400"/>
              </a:spcBef>
              <a:spcAft>
                <a:spcPts val="400"/>
              </a:spcAft>
              <a:buClr>
                <a:schemeClr val="bg1"/>
              </a:buClr>
              <a:buSzPct val="105000"/>
              <a:buFont typeface="Arial" panose="020B0604020202020204" pitchFamily="34" charset="0"/>
              <a:buChar char="•"/>
              <a:defRPr lang="en-US" sz="1000" kern="1200" dirty="0">
                <a:solidFill>
                  <a:schemeClr val="bg1"/>
                </a:solidFill>
                <a:latin typeface="+mn-lt"/>
                <a:ea typeface="+mn-ea"/>
                <a:cs typeface="+mn-cs"/>
              </a:defRPr>
            </a:lvl3pPr>
            <a:lvl4pPr marL="539750" indent="-180975" algn="l" defTabSz="914400" rtl="0" eaLnBrk="1" latinLnBrk="0" hangingPunct="1">
              <a:lnSpc>
                <a:spcPct val="130000"/>
              </a:lnSpc>
              <a:spcBef>
                <a:spcPts val="400"/>
              </a:spcBef>
              <a:spcAft>
                <a:spcPts val="400"/>
              </a:spcAft>
              <a:buClr>
                <a:schemeClr val="bg1"/>
              </a:buClr>
              <a:buSzPct val="105000"/>
              <a:buFont typeface="Arial" panose="020B0604020202020204" pitchFamily="34" charset="0"/>
              <a:buChar char="•"/>
              <a:defRPr lang="en-US" sz="900" kern="1200" dirty="0">
                <a:solidFill>
                  <a:schemeClr val="bg1"/>
                </a:solidFill>
                <a:latin typeface="+mn-lt"/>
                <a:ea typeface="+mn-ea"/>
                <a:cs typeface="+mn-cs"/>
              </a:defRPr>
            </a:lvl4pPr>
            <a:lvl5pPr marL="898525" indent="-180975" algn="l" defTabSz="914400" rtl="0" eaLnBrk="1" latinLnBrk="0" hangingPunct="1">
              <a:lnSpc>
                <a:spcPct val="130000"/>
              </a:lnSpc>
              <a:spcBef>
                <a:spcPts val="400"/>
              </a:spcBef>
              <a:spcAft>
                <a:spcPts val="400"/>
              </a:spcAft>
              <a:buClr>
                <a:schemeClr val="bg1"/>
              </a:buClr>
              <a:buSzPct val="105000"/>
              <a:buFont typeface="Arial" panose="020B0604020202020204" pitchFamily="34" charset="0"/>
              <a:buChar char="•"/>
              <a:defRPr lang="en-US" sz="900" kern="1200" dirty="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180+</a:t>
            </a:r>
          </a:p>
        </p:txBody>
      </p:sp>
      <p:sp>
        <p:nvSpPr>
          <p:cNvPr id="23" name="Content Placeholder 24">
            <a:extLst>
              <a:ext uri="{FF2B5EF4-FFF2-40B4-BE49-F238E27FC236}">
                <a16:creationId xmlns:a16="http://schemas.microsoft.com/office/drawing/2014/main" id="{98F8FBE6-D3C4-DD6C-B210-B0DBF5C19771}"/>
              </a:ext>
            </a:extLst>
          </p:cNvPr>
          <p:cNvSpPr txBox="1">
            <a:spLocks/>
          </p:cNvSpPr>
          <p:nvPr userDrawn="1"/>
        </p:nvSpPr>
        <p:spPr>
          <a:xfrm>
            <a:off x="8754136" y="5094950"/>
            <a:ext cx="2665228" cy="1008005"/>
          </a:xfrm>
          <a:prstGeom prst="rect">
            <a:avLst/>
          </a:prstGeom>
        </p:spPr>
        <p:txBody>
          <a:bodyPr vert="horz" lIns="0" tIns="45720" rIns="0" bIns="45720" numCol="1" spcCol="288000" rtlCol="0" anchor="t" anchorCtr="0">
            <a:noAutofit/>
          </a:bodyPr>
          <a:lstStyle>
            <a:lvl1pPr marL="0" indent="0" algn="l" defTabSz="914400" rtl="0" eaLnBrk="1" latinLnBrk="0" hangingPunct="1">
              <a:lnSpc>
                <a:spcPct val="80000"/>
              </a:lnSpc>
              <a:spcBef>
                <a:spcPts val="0"/>
              </a:spcBef>
              <a:spcAft>
                <a:spcPts val="0"/>
              </a:spcAft>
              <a:buFont typeface="Arial" panose="020B0604020202020204" pitchFamily="34" charset="0"/>
              <a:buNone/>
              <a:defRPr lang="en-US" sz="3200" kern="1200" dirty="0" smtClean="0">
                <a:solidFill>
                  <a:schemeClr val="accent3"/>
                </a:solidFill>
                <a:latin typeface="+mn-lt"/>
                <a:ea typeface="+mn-ea"/>
                <a:cs typeface="+mn-cs"/>
              </a:defRPr>
            </a:lvl1pPr>
            <a:lvl2pPr marL="0" indent="0" algn="l" defTabSz="914400" rtl="0" eaLnBrk="1" latinLnBrk="0" hangingPunct="1">
              <a:lnSpc>
                <a:spcPct val="80000"/>
              </a:lnSpc>
              <a:spcBef>
                <a:spcPts val="0"/>
              </a:spcBef>
              <a:spcAft>
                <a:spcPts val="0"/>
              </a:spcAft>
              <a:buFont typeface="Arial" panose="020B0604020202020204" pitchFamily="34" charset="0"/>
              <a:buNone/>
              <a:defRPr lang="en-US" sz="3200" kern="1200" dirty="0">
                <a:solidFill>
                  <a:schemeClr val="accent3"/>
                </a:solidFill>
                <a:latin typeface="+mn-lt"/>
                <a:ea typeface="+mn-ea"/>
                <a:cs typeface="+mn-cs"/>
              </a:defRPr>
            </a:lvl2pPr>
            <a:lvl3pPr marL="180975" indent="-180975" algn="l" defTabSz="914400" rtl="0" eaLnBrk="1" latinLnBrk="0" hangingPunct="1">
              <a:lnSpc>
                <a:spcPct val="130000"/>
              </a:lnSpc>
              <a:spcBef>
                <a:spcPts val="400"/>
              </a:spcBef>
              <a:spcAft>
                <a:spcPts val="400"/>
              </a:spcAft>
              <a:buClr>
                <a:schemeClr val="bg1"/>
              </a:buClr>
              <a:buSzPct val="105000"/>
              <a:buFont typeface="Arial" panose="020B0604020202020204" pitchFamily="34" charset="0"/>
              <a:buChar char="•"/>
              <a:defRPr lang="en-US" sz="1000" kern="1200" dirty="0">
                <a:solidFill>
                  <a:schemeClr val="bg1"/>
                </a:solidFill>
                <a:latin typeface="+mn-lt"/>
                <a:ea typeface="+mn-ea"/>
                <a:cs typeface="+mn-cs"/>
              </a:defRPr>
            </a:lvl3pPr>
            <a:lvl4pPr marL="539750" indent="-180975" algn="l" defTabSz="914400" rtl="0" eaLnBrk="1" latinLnBrk="0" hangingPunct="1">
              <a:lnSpc>
                <a:spcPct val="130000"/>
              </a:lnSpc>
              <a:spcBef>
                <a:spcPts val="400"/>
              </a:spcBef>
              <a:spcAft>
                <a:spcPts val="400"/>
              </a:spcAft>
              <a:buClr>
                <a:schemeClr val="bg1"/>
              </a:buClr>
              <a:buSzPct val="105000"/>
              <a:buFont typeface="Arial" panose="020B0604020202020204" pitchFamily="34" charset="0"/>
              <a:buChar char="•"/>
              <a:defRPr lang="en-US" sz="900" kern="1200" dirty="0">
                <a:solidFill>
                  <a:schemeClr val="bg1"/>
                </a:solidFill>
                <a:latin typeface="+mn-lt"/>
                <a:ea typeface="+mn-ea"/>
                <a:cs typeface="+mn-cs"/>
              </a:defRPr>
            </a:lvl4pPr>
            <a:lvl5pPr marL="898525" indent="-180975" algn="l" defTabSz="914400" rtl="0" eaLnBrk="1" latinLnBrk="0" hangingPunct="1">
              <a:lnSpc>
                <a:spcPct val="130000"/>
              </a:lnSpc>
              <a:spcBef>
                <a:spcPts val="400"/>
              </a:spcBef>
              <a:spcAft>
                <a:spcPts val="400"/>
              </a:spcAft>
              <a:buClr>
                <a:schemeClr val="bg1"/>
              </a:buClr>
              <a:buSzPct val="105000"/>
              <a:buFont typeface="Arial" panose="020B0604020202020204" pitchFamily="34" charset="0"/>
              <a:buChar char="•"/>
              <a:defRPr lang="en-US" sz="900" kern="1200" dirty="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accent2"/>
                </a:solidFill>
              </a:rPr>
              <a:t>partners</a:t>
            </a:r>
          </a:p>
          <a:p>
            <a:endParaRPr lang="en-GB" dirty="0">
              <a:solidFill>
                <a:schemeClr val="accent2"/>
              </a:solidFill>
            </a:endParaRPr>
          </a:p>
        </p:txBody>
      </p:sp>
      <p:sp>
        <p:nvSpPr>
          <p:cNvPr id="2" name="Content Placeholder 2">
            <a:extLst>
              <a:ext uri="{FF2B5EF4-FFF2-40B4-BE49-F238E27FC236}">
                <a16:creationId xmlns:a16="http://schemas.microsoft.com/office/drawing/2014/main" id="{81857656-D8B8-C1BB-38A1-2333E5F82416}"/>
              </a:ext>
            </a:extLst>
          </p:cNvPr>
          <p:cNvSpPr>
            <a:spLocks noGrp="1"/>
          </p:cNvSpPr>
          <p:nvPr>
            <p:ph idx="35" hasCustomPrompt="1"/>
          </p:nvPr>
        </p:nvSpPr>
        <p:spPr>
          <a:xfrm>
            <a:off x="942749" y="4888421"/>
            <a:ext cx="2814088" cy="460028"/>
          </a:xfrm>
        </p:spPr>
        <p:txBody>
          <a:bodyPr vert="horz" lIns="0" tIns="0" rIns="0" bIns="0" numCol="1" spcCol="288000" rtlCol="0" anchor="t" anchorCtr="0">
            <a:noAutofit/>
          </a:bodyPr>
          <a:lstStyle>
            <a:lvl1pPr>
              <a:lnSpc>
                <a:spcPct val="100000"/>
              </a:lnSpc>
              <a:spcBef>
                <a:spcPts val="0"/>
              </a:spcBef>
              <a:spcAft>
                <a:spcPts val="0"/>
              </a:spcAft>
              <a:defRPr lang="en-US" sz="2400" cap="all" baseline="0" dirty="0" smtClean="0">
                <a:solidFill>
                  <a:schemeClr val="tx2"/>
                </a:solidFill>
                <a:latin typeface="+mj-lt"/>
              </a:defRPr>
            </a:lvl1pPr>
            <a:lvl2pPr>
              <a:lnSpc>
                <a:spcPct val="100000"/>
              </a:lnSpc>
              <a:spcBef>
                <a:spcPts val="0"/>
              </a:spcBef>
              <a:spcAft>
                <a:spcPts val="0"/>
              </a:spcAft>
              <a:defRPr lang="en-US" sz="2400" cap="all" baseline="0" dirty="0">
                <a:solidFill>
                  <a:schemeClr val="tx2"/>
                </a:solidFill>
                <a:latin typeface="+mj-lt"/>
              </a:defRPr>
            </a:lvl2pPr>
            <a:lvl3pPr>
              <a:spcBef>
                <a:spcPts val="400"/>
              </a:spcBef>
              <a:spcAft>
                <a:spcPts val="400"/>
              </a:spcAft>
              <a:buClr>
                <a:schemeClr val="bg1"/>
              </a:buClr>
              <a:defRPr lang="en-US" sz="1000" dirty="0">
                <a:solidFill>
                  <a:schemeClr val="bg1"/>
                </a:solidFill>
              </a:defRPr>
            </a:lvl3pPr>
            <a:lvl4pPr>
              <a:spcBef>
                <a:spcPts val="400"/>
              </a:spcBef>
              <a:spcAft>
                <a:spcPts val="400"/>
              </a:spcAft>
              <a:buClr>
                <a:schemeClr val="bg1"/>
              </a:buClr>
              <a:defRPr lang="en-US" sz="900" dirty="0">
                <a:solidFill>
                  <a:schemeClr val="bg1"/>
                </a:solidFill>
              </a:defRPr>
            </a:lvl4pPr>
            <a:lvl5pPr>
              <a:spcBef>
                <a:spcPts val="400"/>
              </a:spcBef>
              <a:spcAft>
                <a:spcPts val="400"/>
              </a:spcAft>
              <a:buClr>
                <a:schemeClr val="bg1"/>
              </a:buClr>
              <a:defRPr lang="en-US" sz="900" dirty="0">
                <a:solidFill>
                  <a:schemeClr val="bg1"/>
                </a:solidFill>
              </a:defRPr>
            </a:lvl5pPr>
          </a:lstStyle>
          <a:p>
            <a:pPr lvl="0"/>
            <a:r>
              <a:rPr lang="en-GB" dirty="0"/>
              <a:t>AWARD NAME</a:t>
            </a:r>
          </a:p>
        </p:txBody>
      </p:sp>
      <p:sp>
        <p:nvSpPr>
          <p:cNvPr id="3" name="Content Placeholder 47">
            <a:extLst>
              <a:ext uri="{FF2B5EF4-FFF2-40B4-BE49-F238E27FC236}">
                <a16:creationId xmlns:a16="http://schemas.microsoft.com/office/drawing/2014/main" id="{05BBDB83-2669-D504-E684-C032A2D4D3A2}"/>
              </a:ext>
            </a:extLst>
          </p:cNvPr>
          <p:cNvSpPr txBox="1">
            <a:spLocks/>
          </p:cNvSpPr>
          <p:nvPr userDrawn="1"/>
        </p:nvSpPr>
        <p:spPr>
          <a:xfrm>
            <a:off x="4596221" y="1389321"/>
            <a:ext cx="6749642" cy="2138082"/>
          </a:xfrm>
          <a:prstGeom prst="rect">
            <a:avLst/>
          </a:prstGeom>
        </p:spPr>
        <p:txBody>
          <a:bodyPr vert="horz" lIns="0" tIns="45720" rIns="0" bIns="0" rtlCol="0" anchor="ctr" anchorCtr="0">
            <a:noAutofit/>
          </a:bodyPr>
          <a:lstStyle>
            <a:lvl1pPr marL="144000" indent="-144000" algn="l" defTabSz="914400" rtl="0" eaLnBrk="1" latinLnBrk="0" hangingPunct="1">
              <a:lnSpc>
                <a:spcPct val="100000"/>
              </a:lnSpc>
              <a:spcBef>
                <a:spcPts val="200"/>
              </a:spcBef>
              <a:spcAft>
                <a:spcPts val="200"/>
              </a:spcAft>
              <a:buFont typeface="Arial" panose="020B0604020202020204" pitchFamily="34" charset="0"/>
              <a:buNone/>
              <a:defRPr sz="2400" kern="1200">
                <a:solidFill>
                  <a:schemeClr val="bg1"/>
                </a:solidFill>
                <a:latin typeface="+mj-lt"/>
                <a:ea typeface="+mn-ea"/>
                <a:cs typeface="+mn-cs"/>
              </a:defRPr>
            </a:lvl1pPr>
            <a:lvl2pPr marL="144000" indent="0" algn="l" defTabSz="914400" rtl="0" eaLnBrk="1" latinLnBrk="0" hangingPunct="1">
              <a:lnSpc>
                <a:spcPct val="100000"/>
              </a:lnSpc>
              <a:spcBef>
                <a:spcPts val="200"/>
              </a:spcBef>
              <a:spcAft>
                <a:spcPts val="200"/>
              </a:spcAft>
              <a:buFont typeface="Arial" panose="020B0604020202020204" pitchFamily="34" charset="0"/>
              <a:buNone/>
              <a:defRPr sz="1400" kern="1200" cap="all" baseline="0">
                <a:solidFill>
                  <a:schemeClr val="tx2"/>
                </a:solidFill>
                <a:latin typeface="+mj-lt"/>
                <a:ea typeface="+mn-ea"/>
                <a:cs typeface="+mn-cs"/>
              </a:defRPr>
            </a:lvl2pPr>
            <a:lvl3pPr marL="180975" indent="-180975" algn="l" defTabSz="914400" rtl="0" eaLnBrk="1" latinLnBrk="0" hangingPunct="1">
              <a:lnSpc>
                <a:spcPct val="130000"/>
              </a:lnSpc>
              <a:spcBef>
                <a:spcPts val="300"/>
              </a:spcBef>
              <a:spcAft>
                <a:spcPts val="300"/>
              </a:spcAft>
              <a:buClr>
                <a:schemeClr val="tx2"/>
              </a:buClr>
              <a:buSzPct val="105000"/>
              <a:buFont typeface="Arial" panose="020B0604020202020204" pitchFamily="34" charset="0"/>
              <a:buChar char="•"/>
              <a:defRPr sz="1100" kern="1200">
                <a:solidFill>
                  <a:schemeClr val="tx1"/>
                </a:solidFill>
                <a:latin typeface="+mn-lt"/>
                <a:ea typeface="+mn-ea"/>
                <a:cs typeface="+mn-cs"/>
              </a:defRPr>
            </a:lvl3pPr>
            <a:lvl4pPr marL="539750" indent="-180975" algn="l" defTabSz="914400" rtl="0" eaLnBrk="1" latinLnBrk="0" hangingPunct="1">
              <a:lnSpc>
                <a:spcPct val="130000"/>
              </a:lnSpc>
              <a:spcBef>
                <a:spcPts val="300"/>
              </a:spcBef>
              <a:spcAft>
                <a:spcPts val="300"/>
              </a:spcAft>
              <a:buClr>
                <a:schemeClr val="tx2"/>
              </a:buClr>
              <a:buSzPct val="105000"/>
              <a:buFont typeface="Arial" panose="020B0604020202020204" pitchFamily="34" charset="0"/>
              <a:buChar char="•"/>
              <a:defRPr sz="1050" kern="1200">
                <a:solidFill>
                  <a:schemeClr val="tx1"/>
                </a:solidFill>
                <a:latin typeface="+mn-lt"/>
                <a:ea typeface="+mn-ea"/>
                <a:cs typeface="+mn-cs"/>
              </a:defRPr>
            </a:lvl4pPr>
            <a:lvl5pPr marL="898525" indent="-180975" algn="l" defTabSz="914400" rtl="0" eaLnBrk="1" latinLnBrk="0" hangingPunct="1">
              <a:lnSpc>
                <a:spcPct val="130000"/>
              </a:lnSpc>
              <a:spcBef>
                <a:spcPts val="300"/>
              </a:spcBef>
              <a:spcAft>
                <a:spcPts val="300"/>
              </a:spcAft>
              <a:buClr>
                <a:schemeClr val="tx2"/>
              </a:buClr>
              <a:buSzPct val="105000"/>
              <a:buFont typeface="Arial" panose="020B0604020202020204" pitchFamily="34" charset="0"/>
              <a:buChar char="•"/>
              <a:defRPr sz="105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A global leader in advising clients in the Aerospace, Commodities, Construction, Energy, Insurance and Shipping sectors.”</a:t>
            </a:r>
          </a:p>
          <a:p>
            <a:pPr lvl="1"/>
            <a:r>
              <a:rPr lang="en-US" dirty="0"/>
              <a:t>THE TIMES</a:t>
            </a:r>
          </a:p>
        </p:txBody>
      </p:sp>
    </p:spTree>
    <p:extLst>
      <p:ext uri="{BB962C8B-B14F-4D97-AF65-F5344CB8AC3E}">
        <p14:creationId xmlns:p14="http://schemas.microsoft.com/office/powerpoint/2010/main" val="4120830203"/>
      </p:ext>
    </p:extLst>
  </p:cSld>
  <p:clrMapOvr>
    <a:masterClrMapping/>
  </p:clrMapOvr>
  <p:transition spd="med">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2_Quotes &amp; Stats">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BD754D4C-C7C7-7E0F-EE4B-926C1E33AADD}"/>
              </a:ext>
            </a:extLst>
          </p:cNvPr>
          <p:cNvSpPr/>
          <p:nvPr userDrawn="1"/>
        </p:nvSpPr>
        <p:spPr>
          <a:xfrm>
            <a:off x="3813173" y="3715969"/>
            <a:ext cx="4618413" cy="250385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8922540E-5424-544C-F10E-EB343FA02202}"/>
              </a:ext>
            </a:extLst>
          </p:cNvPr>
          <p:cNvSpPr/>
          <p:nvPr userDrawn="1"/>
        </p:nvSpPr>
        <p:spPr>
          <a:xfrm>
            <a:off x="3813174" y="1212112"/>
            <a:ext cx="4814359" cy="250385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6">
            <a:extLst>
              <a:ext uri="{FF2B5EF4-FFF2-40B4-BE49-F238E27FC236}">
                <a16:creationId xmlns:a16="http://schemas.microsoft.com/office/drawing/2014/main" id="{F2EDCDFA-E7C0-EE2C-6CEE-958F3AA4C1AB}"/>
              </a:ext>
            </a:extLst>
          </p:cNvPr>
          <p:cNvSpPr/>
          <p:nvPr userDrawn="1"/>
        </p:nvSpPr>
        <p:spPr>
          <a:xfrm>
            <a:off x="8283575" y="1212112"/>
            <a:ext cx="3398838" cy="254936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Footer Placeholder 3"/>
          <p:cNvSpPr>
            <a:spLocks noGrp="1"/>
          </p:cNvSpPr>
          <p:nvPr>
            <p:ph type="ftr" sz="quarter" idx="11"/>
          </p:nvPr>
        </p:nvSpPr>
        <p:spPr/>
        <p:txBody>
          <a:bodyPr/>
          <a:lstStyle/>
          <a:p>
            <a:r>
              <a:rPr lang="en-GB"/>
              <a:t>INSERT FOOTER HERE</a:t>
            </a:r>
          </a:p>
        </p:txBody>
      </p:sp>
      <p:sp>
        <p:nvSpPr>
          <p:cNvPr id="5" name="Slide Number Placeholder 4"/>
          <p:cNvSpPr>
            <a:spLocks noGrp="1"/>
          </p:cNvSpPr>
          <p:nvPr>
            <p:ph type="sldNum" sz="quarter" idx="12"/>
          </p:nvPr>
        </p:nvSpPr>
        <p:spPr/>
        <p:txBody>
          <a:bodyPr/>
          <a:lstStyle/>
          <a:p>
            <a:fld id="{8CFE0557-AA98-4E6C-B0C3-581794696B68}" type="slidenum">
              <a:rPr lang="en-GB" smtClean="0"/>
              <a:t>‹#›</a:t>
            </a:fld>
            <a:endParaRPr lang="en-GB"/>
          </a:p>
        </p:txBody>
      </p:sp>
      <p:sp>
        <p:nvSpPr>
          <p:cNvPr id="17" name="Rectangle 16">
            <a:extLst>
              <a:ext uri="{FF2B5EF4-FFF2-40B4-BE49-F238E27FC236}">
                <a16:creationId xmlns:a16="http://schemas.microsoft.com/office/drawing/2014/main" id="{A8A4E3AE-7EDD-04A0-8326-F556CD643DA2}"/>
              </a:ext>
            </a:extLst>
          </p:cNvPr>
          <p:cNvSpPr/>
          <p:nvPr userDrawn="1"/>
        </p:nvSpPr>
        <p:spPr>
          <a:xfrm>
            <a:off x="8283575" y="3715969"/>
            <a:ext cx="3398838" cy="250385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a:extLst>
              <a:ext uri="{FF2B5EF4-FFF2-40B4-BE49-F238E27FC236}">
                <a16:creationId xmlns:a16="http://schemas.microsoft.com/office/drawing/2014/main" id="{ECFEF303-2023-767D-ED27-D7D14628156C}"/>
              </a:ext>
            </a:extLst>
          </p:cNvPr>
          <p:cNvSpPr/>
          <p:nvPr userDrawn="1"/>
        </p:nvSpPr>
        <p:spPr>
          <a:xfrm>
            <a:off x="507999" y="3715969"/>
            <a:ext cx="3403333" cy="250385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Rectangle 10">
            <a:extLst>
              <a:ext uri="{FF2B5EF4-FFF2-40B4-BE49-F238E27FC236}">
                <a16:creationId xmlns:a16="http://schemas.microsoft.com/office/drawing/2014/main" id="{8EC842C4-12E2-C1F1-17C5-8476122C5DB4}"/>
              </a:ext>
            </a:extLst>
          </p:cNvPr>
          <p:cNvSpPr/>
          <p:nvPr userDrawn="1"/>
        </p:nvSpPr>
        <p:spPr>
          <a:xfrm>
            <a:off x="508000" y="1212112"/>
            <a:ext cx="3400425" cy="250385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Title 5">
            <a:extLst>
              <a:ext uri="{FF2B5EF4-FFF2-40B4-BE49-F238E27FC236}">
                <a16:creationId xmlns:a16="http://schemas.microsoft.com/office/drawing/2014/main" id="{4BF5D049-4DB0-98EE-9B73-4BA7460E4D5B}"/>
              </a:ext>
            </a:extLst>
          </p:cNvPr>
          <p:cNvSpPr>
            <a:spLocks noGrp="1"/>
          </p:cNvSpPr>
          <p:nvPr userDrawn="1">
            <p:ph type="title" hasCustomPrompt="1"/>
          </p:nvPr>
        </p:nvSpPr>
        <p:spPr>
          <a:xfrm>
            <a:off x="508000" y="454013"/>
            <a:ext cx="11174413" cy="758099"/>
          </a:xfrm>
        </p:spPr>
        <p:txBody>
          <a:bodyPr/>
          <a:lstStyle/>
          <a:p>
            <a:r>
              <a:rPr lang="en-US" dirty="0"/>
              <a:t>TITLE: subtitle</a:t>
            </a:r>
            <a:endParaRPr lang="en-GB" dirty="0"/>
          </a:p>
        </p:txBody>
      </p:sp>
    </p:spTree>
    <p:extLst>
      <p:ext uri="{BB962C8B-B14F-4D97-AF65-F5344CB8AC3E}">
        <p14:creationId xmlns:p14="http://schemas.microsoft.com/office/powerpoint/2010/main" val="3487347631"/>
      </p:ext>
    </p:extLst>
  </p:cSld>
  <p:clrMapOvr>
    <a:masterClrMapping/>
  </p:clrMapOvr>
  <p:transition spd="med">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ICONS 01">
    <p:bg>
      <p:bgPr>
        <a:solidFill>
          <a:schemeClr val="tx2"/>
        </a:solidFill>
        <a:effectLst/>
      </p:bgPr>
    </p:bg>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lvl1pPr>
              <a:defRPr>
                <a:solidFill>
                  <a:schemeClr val="bg1"/>
                </a:solidFill>
              </a:defRPr>
            </a:lvl1pPr>
          </a:lstStyle>
          <a:p>
            <a:r>
              <a:rPr lang="en-GB"/>
              <a:t>INSERT FOOTER HERE</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8CFE0557-AA98-4E6C-B0C3-581794696B68}" type="slidenum">
              <a:rPr lang="en-GB" smtClean="0"/>
              <a:pPr/>
              <a:t>‹#›</a:t>
            </a:fld>
            <a:endParaRPr lang="en-GB"/>
          </a:p>
        </p:txBody>
      </p:sp>
      <p:sp>
        <p:nvSpPr>
          <p:cNvPr id="7" name="Title 6">
            <a:extLst>
              <a:ext uri="{FF2B5EF4-FFF2-40B4-BE49-F238E27FC236}">
                <a16:creationId xmlns:a16="http://schemas.microsoft.com/office/drawing/2014/main" id="{09CC86E0-2505-47CF-936D-4E8EE3095494}"/>
              </a:ext>
            </a:extLst>
          </p:cNvPr>
          <p:cNvSpPr>
            <a:spLocks noGrp="1"/>
          </p:cNvSpPr>
          <p:nvPr>
            <p:ph type="title" hasCustomPrompt="1"/>
          </p:nvPr>
        </p:nvSpPr>
        <p:spPr/>
        <p:txBody>
          <a:bodyPr/>
          <a:lstStyle>
            <a:lvl1pPr>
              <a:defRPr>
                <a:solidFill>
                  <a:schemeClr val="bg1"/>
                </a:solidFill>
              </a:defRPr>
            </a:lvl1pPr>
          </a:lstStyle>
          <a:p>
            <a:r>
              <a:rPr lang="en-US" dirty="0"/>
              <a:t>TITLE: subtitle</a:t>
            </a:r>
            <a:endParaRPr lang="en-GB" dirty="0"/>
          </a:p>
        </p:txBody>
      </p:sp>
      <p:sp>
        <p:nvSpPr>
          <p:cNvPr id="2" name="Freeform: Shape 1">
            <a:extLst>
              <a:ext uri="{FF2B5EF4-FFF2-40B4-BE49-F238E27FC236}">
                <a16:creationId xmlns:a16="http://schemas.microsoft.com/office/drawing/2014/main" id="{07B280A8-5D6E-C5B3-94A0-60CF66056A95}"/>
              </a:ext>
            </a:extLst>
          </p:cNvPr>
          <p:cNvSpPr/>
          <p:nvPr userDrawn="1"/>
        </p:nvSpPr>
        <p:spPr>
          <a:xfrm>
            <a:off x="5141754" y="1752093"/>
            <a:ext cx="1925990" cy="1925990"/>
          </a:xfrm>
          <a:custGeom>
            <a:avLst/>
            <a:gdLst>
              <a:gd name="connsiteX0" fmla="*/ 962997 w 1925990"/>
              <a:gd name="connsiteY0" fmla="*/ 0 h 1925990"/>
              <a:gd name="connsiteX1" fmla="*/ 1925990 w 1925990"/>
              <a:gd name="connsiteY1" fmla="*/ 962995 h 1925990"/>
              <a:gd name="connsiteX2" fmla="*/ 962997 w 1925990"/>
              <a:gd name="connsiteY2" fmla="*/ 1925990 h 1925990"/>
              <a:gd name="connsiteX3" fmla="*/ 0 w 1925990"/>
              <a:gd name="connsiteY3" fmla="*/ 962995 h 1925990"/>
              <a:gd name="connsiteX4" fmla="*/ 962997 w 1925990"/>
              <a:gd name="connsiteY4" fmla="*/ 0 h 19259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5990" h="1925990">
                <a:moveTo>
                  <a:pt x="962997" y="0"/>
                </a:moveTo>
                <a:cubicBezTo>
                  <a:pt x="1494846" y="0"/>
                  <a:pt x="1925990" y="431147"/>
                  <a:pt x="1925990" y="962995"/>
                </a:cubicBezTo>
                <a:cubicBezTo>
                  <a:pt x="1925990" y="1494844"/>
                  <a:pt x="1494846" y="1925990"/>
                  <a:pt x="962997" y="1925990"/>
                </a:cubicBezTo>
                <a:cubicBezTo>
                  <a:pt x="431147" y="1925990"/>
                  <a:pt x="0" y="1494844"/>
                  <a:pt x="0" y="962995"/>
                </a:cubicBezTo>
                <a:cubicBezTo>
                  <a:pt x="0" y="431147"/>
                  <a:pt x="431147" y="0"/>
                  <a:pt x="962997"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963D0851-8197-6E42-9927-79B30A11C21B}"/>
              </a:ext>
            </a:extLst>
          </p:cNvPr>
          <p:cNvSpPr/>
          <p:nvPr userDrawn="1"/>
        </p:nvSpPr>
        <p:spPr>
          <a:xfrm>
            <a:off x="7382034" y="1752093"/>
            <a:ext cx="1925990" cy="1925990"/>
          </a:xfrm>
          <a:custGeom>
            <a:avLst/>
            <a:gdLst>
              <a:gd name="connsiteX0" fmla="*/ 962997 w 1925990"/>
              <a:gd name="connsiteY0" fmla="*/ 0 h 1925990"/>
              <a:gd name="connsiteX1" fmla="*/ 1925990 w 1925990"/>
              <a:gd name="connsiteY1" fmla="*/ 962995 h 1925990"/>
              <a:gd name="connsiteX2" fmla="*/ 962997 w 1925990"/>
              <a:gd name="connsiteY2" fmla="*/ 1925990 h 1925990"/>
              <a:gd name="connsiteX3" fmla="*/ 0 w 1925990"/>
              <a:gd name="connsiteY3" fmla="*/ 962995 h 1925990"/>
              <a:gd name="connsiteX4" fmla="*/ 962997 w 1925990"/>
              <a:gd name="connsiteY4" fmla="*/ 0 h 19259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5990" h="1925990">
                <a:moveTo>
                  <a:pt x="962997" y="0"/>
                </a:moveTo>
                <a:cubicBezTo>
                  <a:pt x="1494846" y="0"/>
                  <a:pt x="1925990" y="431147"/>
                  <a:pt x="1925990" y="962995"/>
                </a:cubicBezTo>
                <a:cubicBezTo>
                  <a:pt x="1925990" y="1494844"/>
                  <a:pt x="1494846" y="1925990"/>
                  <a:pt x="962997" y="1925990"/>
                </a:cubicBezTo>
                <a:cubicBezTo>
                  <a:pt x="431147" y="1925990"/>
                  <a:pt x="0" y="1494844"/>
                  <a:pt x="0" y="962995"/>
                </a:cubicBezTo>
                <a:cubicBezTo>
                  <a:pt x="0" y="431147"/>
                  <a:pt x="431147" y="0"/>
                  <a:pt x="962997"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6" name="Freeform: Shape 5">
            <a:extLst>
              <a:ext uri="{FF2B5EF4-FFF2-40B4-BE49-F238E27FC236}">
                <a16:creationId xmlns:a16="http://schemas.microsoft.com/office/drawing/2014/main" id="{9B8BAA69-8FFD-A89A-736B-1E2DF175DBF5}"/>
              </a:ext>
            </a:extLst>
          </p:cNvPr>
          <p:cNvSpPr/>
          <p:nvPr userDrawn="1"/>
        </p:nvSpPr>
        <p:spPr>
          <a:xfrm>
            <a:off x="2891314" y="3931413"/>
            <a:ext cx="1925990" cy="1925990"/>
          </a:xfrm>
          <a:custGeom>
            <a:avLst/>
            <a:gdLst>
              <a:gd name="connsiteX0" fmla="*/ 962997 w 1925990"/>
              <a:gd name="connsiteY0" fmla="*/ 0 h 1925990"/>
              <a:gd name="connsiteX1" fmla="*/ 1925990 w 1925990"/>
              <a:gd name="connsiteY1" fmla="*/ 962995 h 1925990"/>
              <a:gd name="connsiteX2" fmla="*/ 962997 w 1925990"/>
              <a:gd name="connsiteY2" fmla="*/ 1925990 h 1925990"/>
              <a:gd name="connsiteX3" fmla="*/ 0 w 1925990"/>
              <a:gd name="connsiteY3" fmla="*/ 962995 h 1925990"/>
              <a:gd name="connsiteX4" fmla="*/ 962997 w 1925990"/>
              <a:gd name="connsiteY4" fmla="*/ 0 h 19259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5990" h="1925990">
                <a:moveTo>
                  <a:pt x="962997" y="0"/>
                </a:moveTo>
                <a:cubicBezTo>
                  <a:pt x="1494846" y="0"/>
                  <a:pt x="1925990" y="431147"/>
                  <a:pt x="1925990" y="962995"/>
                </a:cubicBezTo>
                <a:cubicBezTo>
                  <a:pt x="1925990" y="1494844"/>
                  <a:pt x="1494846" y="1925990"/>
                  <a:pt x="962997" y="1925990"/>
                </a:cubicBezTo>
                <a:cubicBezTo>
                  <a:pt x="431147" y="1925990"/>
                  <a:pt x="0" y="1494844"/>
                  <a:pt x="0" y="962995"/>
                </a:cubicBezTo>
                <a:cubicBezTo>
                  <a:pt x="0" y="431147"/>
                  <a:pt x="431147" y="0"/>
                  <a:pt x="962997"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8" name="Freeform: Shape 7">
            <a:extLst>
              <a:ext uri="{FF2B5EF4-FFF2-40B4-BE49-F238E27FC236}">
                <a16:creationId xmlns:a16="http://schemas.microsoft.com/office/drawing/2014/main" id="{80574189-6802-7B68-04C4-DEF410BE16D7}"/>
              </a:ext>
            </a:extLst>
          </p:cNvPr>
          <p:cNvSpPr/>
          <p:nvPr userDrawn="1"/>
        </p:nvSpPr>
        <p:spPr>
          <a:xfrm>
            <a:off x="5141754" y="3931413"/>
            <a:ext cx="1925990" cy="1925990"/>
          </a:xfrm>
          <a:custGeom>
            <a:avLst/>
            <a:gdLst>
              <a:gd name="connsiteX0" fmla="*/ 962997 w 1925990"/>
              <a:gd name="connsiteY0" fmla="*/ 0 h 1925990"/>
              <a:gd name="connsiteX1" fmla="*/ 1925990 w 1925990"/>
              <a:gd name="connsiteY1" fmla="*/ 962995 h 1925990"/>
              <a:gd name="connsiteX2" fmla="*/ 962997 w 1925990"/>
              <a:gd name="connsiteY2" fmla="*/ 1925990 h 1925990"/>
              <a:gd name="connsiteX3" fmla="*/ 0 w 1925990"/>
              <a:gd name="connsiteY3" fmla="*/ 962995 h 1925990"/>
              <a:gd name="connsiteX4" fmla="*/ 962997 w 1925990"/>
              <a:gd name="connsiteY4" fmla="*/ 0 h 19259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5990" h="1925990">
                <a:moveTo>
                  <a:pt x="962997" y="0"/>
                </a:moveTo>
                <a:cubicBezTo>
                  <a:pt x="1494846" y="0"/>
                  <a:pt x="1925990" y="431147"/>
                  <a:pt x="1925990" y="962995"/>
                </a:cubicBezTo>
                <a:cubicBezTo>
                  <a:pt x="1925990" y="1494844"/>
                  <a:pt x="1494846" y="1925990"/>
                  <a:pt x="962997" y="1925990"/>
                </a:cubicBezTo>
                <a:cubicBezTo>
                  <a:pt x="431147" y="1925990"/>
                  <a:pt x="0" y="1494844"/>
                  <a:pt x="0" y="962995"/>
                </a:cubicBezTo>
                <a:cubicBezTo>
                  <a:pt x="0" y="431147"/>
                  <a:pt x="431147" y="0"/>
                  <a:pt x="962997"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9" name="Freeform: Shape 8">
            <a:extLst>
              <a:ext uri="{FF2B5EF4-FFF2-40B4-BE49-F238E27FC236}">
                <a16:creationId xmlns:a16="http://schemas.microsoft.com/office/drawing/2014/main" id="{4216A95F-A999-0D16-2AC0-AAEFC8B99F31}"/>
              </a:ext>
            </a:extLst>
          </p:cNvPr>
          <p:cNvSpPr/>
          <p:nvPr userDrawn="1"/>
        </p:nvSpPr>
        <p:spPr>
          <a:xfrm>
            <a:off x="7382034" y="3931413"/>
            <a:ext cx="1925990" cy="1925990"/>
          </a:xfrm>
          <a:custGeom>
            <a:avLst/>
            <a:gdLst>
              <a:gd name="connsiteX0" fmla="*/ 962997 w 1925990"/>
              <a:gd name="connsiteY0" fmla="*/ 0 h 1925990"/>
              <a:gd name="connsiteX1" fmla="*/ 1925990 w 1925990"/>
              <a:gd name="connsiteY1" fmla="*/ 962995 h 1925990"/>
              <a:gd name="connsiteX2" fmla="*/ 962997 w 1925990"/>
              <a:gd name="connsiteY2" fmla="*/ 1925990 h 1925990"/>
              <a:gd name="connsiteX3" fmla="*/ 0 w 1925990"/>
              <a:gd name="connsiteY3" fmla="*/ 962995 h 1925990"/>
              <a:gd name="connsiteX4" fmla="*/ 962997 w 1925990"/>
              <a:gd name="connsiteY4" fmla="*/ 0 h 19259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5990" h="1925990">
                <a:moveTo>
                  <a:pt x="962997" y="0"/>
                </a:moveTo>
                <a:cubicBezTo>
                  <a:pt x="1494846" y="0"/>
                  <a:pt x="1925990" y="431147"/>
                  <a:pt x="1925990" y="962995"/>
                </a:cubicBezTo>
                <a:cubicBezTo>
                  <a:pt x="1925990" y="1494844"/>
                  <a:pt x="1494846" y="1925990"/>
                  <a:pt x="962997" y="1925990"/>
                </a:cubicBezTo>
                <a:cubicBezTo>
                  <a:pt x="431147" y="1925990"/>
                  <a:pt x="0" y="1494844"/>
                  <a:pt x="0" y="962995"/>
                </a:cubicBezTo>
                <a:cubicBezTo>
                  <a:pt x="0" y="431147"/>
                  <a:pt x="431147" y="0"/>
                  <a:pt x="962997"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0" name="Freeform: Shape 9">
            <a:extLst>
              <a:ext uri="{FF2B5EF4-FFF2-40B4-BE49-F238E27FC236}">
                <a16:creationId xmlns:a16="http://schemas.microsoft.com/office/drawing/2014/main" id="{DB0DD03D-8FB8-0FB6-C4DC-742B988A8DE0}"/>
              </a:ext>
            </a:extLst>
          </p:cNvPr>
          <p:cNvSpPr/>
          <p:nvPr userDrawn="1"/>
        </p:nvSpPr>
        <p:spPr>
          <a:xfrm>
            <a:off x="2891314" y="1752093"/>
            <a:ext cx="1925990" cy="1925990"/>
          </a:xfrm>
          <a:custGeom>
            <a:avLst/>
            <a:gdLst>
              <a:gd name="connsiteX0" fmla="*/ 962997 w 1925990"/>
              <a:gd name="connsiteY0" fmla="*/ 0 h 1925990"/>
              <a:gd name="connsiteX1" fmla="*/ 1925990 w 1925990"/>
              <a:gd name="connsiteY1" fmla="*/ 962995 h 1925990"/>
              <a:gd name="connsiteX2" fmla="*/ 962997 w 1925990"/>
              <a:gd name="connsiteY2" fmla="*/ 1925990 h 1925990"/>
              <a:gd name="connsiteX3" fmla="*/ 0 w 1925990"/>
              <a:gd name="connsiteY3" fmla="*/ 962995 h 1925990"/>
              <a:gd name="connsiteX4" fmla="*/ 962997 w 1925990"/>
              <a:gd name="connsiteY4" fmla="*/ 0 h 19259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5990" h="1925990">
                <a:moveTo>
                  <a:pt x="962997" y="0"/>
                </a:moveTo>
                <a:cubicBezTo>
                  <a:pt x="1494846" y="0"/>
                  <a:pt x="1925990" y="431147"/>
                  <a:pt x="1925990" y="962995"/>
                </a:cubicBezTo>
                <a:cubicBezTo>
                  <a:pt x="1925990" y="1494844"/>
                  <a:pt x="1494846" y="1925990"/>
                  <a:pt x="962997" y="1925990"/>
                </a:cubicBezTo>
                <a:cubicBezTo>
                  <a:pt x="431147" y="1925990"/>
                  <a:pt x="0" y="1494844"/>
                  <a:pt x="0" y="962995"/>
                </a:cubicBezTo>
                <a:cubicBezTo>
                  <a:pt x="0" y="431147"/>
                  <a:pt x="431147" y="0"/>
                  <a:pt x="962997"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1" name="Freeform: Shape 10">
            <a:extLst>
              <a:ext uri="{FF2B5EF4-FFF2-40B4-BE49-F238E27FC236}">
                <a16:creationId xmlns:a16="http://schemas.microsoft.com/office/drawing/2014/main" id="{1FC2279A-1754-3071-8D9B-85CD02CE1804}"/>
              </a:ext>
            </a:extLst>
          </p:cNvPr>
          <p:cNvSpPr/>
          <p:nvPr userDrawn="1"/>
        </p:nvSpPr>
        <p:spPr>
          <a:xfrm>
            <a:off x="5376289" y="2200893"/>
            <a:ext cx="1443609" cy="902639"/>
          </a:xfrm>
          <a:custGeom>
            <a:avLst/>
            <a:gdLst>
              <a:gd name="connsiteX0" fmla="*/ 279477 w 437916"/>
              <a:gd name="connsiteY0" fmla="*/ 0 h 273815"/>
              <a:gd name="connsiteX1" fmla="*/ 279477 w 437916"/>
              <a:gd name="connsiteY1" fmla="*/ 124979 h 273815"/>
              <a:gd name="connsiteX2" fmla="*/ 320889 w 437916"/>
              <a:gd name="connsiteY2" fmla="*/ 124979 h 273815"/>
              <a:gd name="connsiteX3" fmla="*/ 279477 w 437916"/>
              <a:gd name="connsiteY3" fmla="*/ 0 h 273815"/>
              <a:gd name="connsiteX4" fmla="*/ 257877 w 437916"/>
              <a:gd name="connsiteY4" fmla="*/ 0 h 273815"/>
              <a:gd name="connsiteX5" fmla="*/ 257877 w 437916"/>
              <a:gd name="connsiteY5" fmla="*/ 124979 h 273815"/>
              <a:gd name="connsiteX6" fmla="*/ 114870 w 437916"/>
              <a:gd name="connsiteY6" fmla="*/ 124979 h 273815"/>
              <a:gd name="connsiteX7" fmla="*/ 143041 w 437916"/>
              <a:gd name="connsiteY7" fmla="*/ 39896 h 273815"/>
              <a:gd name="connsiteX8" fmla="*/ 147286 w 437916"/>
              <a:gd name="connsiteY8" fmla="*/ 26991 h 273815"/>
              <a:gd name="connsiteX9" fmla="*/ 156249 w 437916"/>
              <a:gd name="connsiteY9" fmla="*/ 0 h 273815"/>
              <a:gd name="connsiteX10" fmla="*/ 257844 w 437916"/>
              <a:gd name="connsiteY10" fmla="*/ 0 h 273815"/>
              <a:gd name="connsiteX11" fmla="*/ 396504 w 437916"/>
              <a:gd name="connsiteY11" fmla="*/ 148735 h 273815"/>
              <a:gd name="connsiteX12" fmla="*/ 396504 w 437916"/>
              <a:gd name="connsiteY12" fmla="*/ 273782 h 273815"/>
              <a:gd name="connsiteX13" fmla="*/ 437916 w 437916"/>
              <a:gd name="connsiteY13" fmla="*/ 273782 h 273815"/>
              <a:gd name="connsiteX14" fmla="*/ 396504 w 437916"/>
              <a:gd name="connsiteY14" fmla="*/ 148735 h 273815"/>
              <a:gd name="connsiteX15" fmla="*/ 206019 w 437916"/>
              <a:gd name="connsiteY15" fmla="*/ 272973 h 273815"/>
              <a:gd name="connsiteX16" fmla="*/ 164606 w 437916"/>
              <a:gd name="connsiteY16" fmla="*/ 272973 h 273815"/>
              <a:gd name="connsiteX17" fmla="*/ 164606 w 437916"/>
              <a:gd name="connsiteY17" fmla="*/ 147994 h 273815"/>
              <a:gd name="connsiteX18" fmla="*/ 206019 w 437916"/>
              <a:gd name="connsiteY18" fmla="*/ 272973 h 273815"/>
              <a:gd name="connsiteX19" fmla="*/ 41413 w 437916"/>
              <a:gd name="connsiteY19" fmla="*/ 147994 h 273815"/>
              <a:gd name="connsiteX20" fmla="*/ 0 w 437916"/>
              <a:gd name="connsiteY20" fmla="*/ 272973 h 273815"/>
              <a:gd name="connsiteX21" fmla="*/ 143007 w 437916"/>
              <a:gd name="connsiteY21" fmla="*/ 272973 h 273815"/>
              <a:gd name="connsiteX22" fmla="*/ 143007 w 437916"/>
              <a:gd name="connsiteY22" fmla="*/ 147994 h 273815"/>
              <a:gd name="connsiteX23" fmla="*/ 41413 w 437916"/>
              <a:gd name="connsiteY23" fmla="*/ 147994 h 273815"/>
              <a:gd name="connsiteX24" fmla="*/ 273310 w 437916"/>
              <a:gd name="connsiteY24" fmla="*/ 148769 h 273815"/>
              <a:gd name="connsiteX25" fmla="*/ 374904 w 437916"/>
              <a:gd name="connsiteY25" fmla="*/ 148769 h 273815"/>
              <a:gd name="connsiteX26" fmla="*/ 374904 w 437916"/>
              <a:gd name="connsiteY26" fmla="*/ 273816 h 273815"/>
              <a:gd name="connsiteX27" fmla="*/ 231898 w 437916"/>
              <a:gd name="connsiteY27" fmla="*/ 273816 h 273815"/>
              <a:gd name="connsiteX28" fmla="*/ 273310 w 437916"/>
              <a:gd name="connsiteY28" fmla="*/ 148769 h 273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37916" h="273815">
                <a:moveTo>
                  <a:pt x="279477" y="0"/>
                </a:moveTo>
                <a:lnTo>
                  <a:pt x="279477" y="124979"/>
                </a:lnTo>
                <a:lnTo>
                  <a:pt x="320889" y="124979"/>
                </a:lnTo>
                <a:lnTo>
                  <a:pt x="279477" y="0"/>
                </a:lnTo>
                <a:close/>
                <a:moveTo>
                  <a:pt x="257877" y="0"/>
                </a:moveTo>
                <a:lnTo>
                  <a:pt x="257877" y="124979"/>
                </a:lnTo>
                <a:lnTo>
                  <a:pt x="114870" y="124979"/>
                </a:lnTo>
                <a:lnTo>
                  <a:pt x="143041" y="39896"/>
                </a:lnTo>
                <a:lnTo>
                  <a:pt x="147286" y="26991"/>
                </a:lnTo>
                <a:lnTo>
                  <a:pt x="156249" y="0"/>
                </a:lnTo>
                <a:lnTo>
                  <a:pt x="257844" y="0"/>
                </a:lnTo>
                <a:close/>
                <a:moveTo>
                  <a:pt x="396504" y="148735"/>
                </a:moveTo>
                <a:lnTo>
                  <a:pt x="396504" y="273782"/>
                </a:lnTo>
                <a:lnTo>
                  <a:pt x="437916" y="273782"/>
                </a:lnTo>
                <a:lnTo>
                  <a:pt x="396504" y="148735"/>
                </a:lnTo>
                <a:close/>
                <a:moveTo>
                  <a:pt x="206019" y="272973"/>
                </a:moveTo>
                <a:lnTo>
                  <a:pt x="164606" y="272973"/>
                </a:lnTo>
                <a:lnTo>
                  <a:pt x="164606" y="147994"/>
                </a:lnTo>
                <a:lnTo>
                  <a:pt x="206019" y="272973"/>
                </a:lnTo>
                <a:close/>
                <a:moveTo>
                  <a:pt x="41413" y="147994"/>
                </a:moveTo>
                <a:lnTo>
                  <a:pt x="0" y="272973"/>
                </a:lnTo>
                <a:lnTo>
                  <a:pt x="143007" y="272973"/>
                </a:lnTo>
                <a:lnTo>
                  <a:pt x="143007" y="147994"/>
                </a:lnTo>
                <a:lnTo>
                  <a:pt x="41413" y="147994"/>
                </a:lnTo>
                <a:close/>
                <a:moveTo>
                  <a:pt x="273310" y="148769"/>
                </a:moveTo>
                <a:lnTo>
                  <a:pt x="374904" y="148769"/>
                </a:lnTo>
                <a:lnTo>
                  <a:pt x="374904" y="273816"/>
                </a:lnTo>
                <a:lnTo>
                  <a:pt x="231898" y="273816"/>
                </a:lnTo>
                <a:lnTo>
                  <a:pt x="273310" y="148769"/>
                </a:lnTo>
                <a:close/>
              </a:path>
            </a:pathLst>
          </a:custGeom>
          <a:solidFill>
            <a:schemeClr val="tx2"/>
          </a:solidFill>
          <a:ln w="3364" cap="flat">
            <a:noFill/>
            <a:prstDash val="solid"/>
            <a:miter/>
          </a:ln>
        </p:spPr>
        <p:txBody>
          <a:bodyPr rtlCol="0" anchor="ctr"/>
          <a:lstStyle/>
          <a:p>
            <a:endParaRPr lang="en-GB"/>
          </a:p>
        </p:txBody>
      </p:sp>
      <p:sp>
        <p:nvSpPr>
          <p:cNvPr id="12" name="Freeform: Shape 11">
            <a:extLst>
              <a:ext uri="{FF2B5EF4-FFF2-40B4-BE49-F238E27FC236}">
                <a16:creationId xmlns:a16="http://schemas.microsoft.com/office/drawing/2014/main" id="{1A2AF1EA-C150-20DF-7FE3-F62DD24B7178}"/>
              </a:ext>
            </a:extLst>
          </p:cNvPr>
          <p:cNvSpPr/>
          <p:nvPr userDrawn="1"/>
        </p:nvSpPr>
        <p:spPr>
          <a:xfrm>
            <a:off x="7928483" y="1989673"/>
            <a:ext cx="831111" cy="1504811"/>
          </a:xfrm>
          <a:custGeom>
            <a:avLst/>
            <a:gdLst>
              <a:gd name="connsiteX0" fmla="*/ 126192 w 252115"/>
              <a:gd name="connsiteY0" fmla="*/ 245545 h 456483"/>
              <a:gd name="connsiteX1" fmla="*/ 63079 w 252115"/>
              <a:gd name="connsiteY1" fmla="*/ 182432 h 456483"/>
              <a:gd name="connsiteX2" fmla="*/ 126192 w 252115"/>
              <a:gd name="connsiteY2" fmla="*/ 119352 h 456483"/>
              <a:gd name="connsiteX3" fmla="*/ 189305 w 252115"/>
              <a:gd name="connsiteY3" fmla="*/ 182432 h 456483"/>
              <a:gd name="connsiteX4" fmla="*/ 126192 w 252115"/>
              <a:gd name="connsiteY4" fmla="*/ 245545 h 456483"/>
              <a:gd name="connsiteX5" fmla="*/ 0 w 252115"/>
              <a:gd name="connsiteY5" fmla="*/ 99000 h 456483"/>
              <a:gd name="connsiteX6" fmla="*/ 37773 w 252115"/>
              <a:gd name="connsiteY6" fmla="*/ 268290 h 456483"/>
              <a:gd name="connsiteX7" fmla="*/ 214308 w 252115"/>
              <a:gd name="connsiteY7" fmla="*/ 268290 h 456483"/>
              <a:gd name="connsiteX8" fmla="*/ 252115 w 252115"/>
              <a:gd name="connsiteY8" fmla="*/ 99000 h 456483"/>
              <a:gd name="connsiteX9" fmla="*/ 34 w 252115"/>
              <a:gd name="connsiteY9" fmla="*/ 99000 h 456483"/>
              <a:gd name="connsiteX10" fmla="*/ 165011 w 252115"/>
              <a:gd name="connsiteY10" fmla="*/ 182465 h 456483"/>
              <a:gd name="connsiteX11" fmla="*/ 126192 w 252115"/>
              <a:gd name="connsiteY11" fmla="*/ 221283 h 456483"/>
              <a:gd name="connsiteX12" fmla="*/ 87341 w 252115"/>
              <a:gd name="connsiteY12" fmla="*/ 182465 h 456483"/>
              <a:gd name="connsiteX13" fmla="*/ 126192 w 252115"/>
              <a:gd name="connsiteY13" fmla="*/ 143613 h 456483"/>
              <a:gd name="connsiteX14" fmla="*/ 165011 w 252115"/>
              <a:gd name="connsiteY14" fmla="*/ 182465 h 456483"/>
              <a:gd name="connsiteX15" fmla="*/ 198302 w 252115"/>
              <a:gd name="connsiteY15" fmla="*/ 74907 h 456483"/>
              <a:gd name="connsiteX16" fmla="*/ 198302 w 252115"/>
              <a:gd name="connsiteY16" fmla="*/ 0 h 456483"/>
              <a:gd name="connsiteX17" fmla="*/ 173906 w 252115"/>
              <a:gd name="connsiteY17" fmla="*/ 0 h 456483"/>
              <a:gd name="connsiteX18" fmla="*/ 173906 w 252115"/>
              <a:gd name="connsiteY18" fmla="*/ 74873 h 456483"/>
              <a:gd name="connsiteX19" fmla="*/ 198302 w 252115"/>
              <a:gd name="connsiteY19" fmla="*/ 74873 h 456483"/>
              <a:gd name="connsiteX20" fmla="*/ 53813 w 252115"/>
              <a:gd name="connsiteY20" fmla="*/ 74907 h 456483"/>
              <a:gd name="connsiteX21" fmla="*/ 53813 w 252115"/>
              <a:gd name="connsiteY21" fmla="*/ 0 h 456483"/>
              <a:gd name="connsiteX22" fmla="*/ 78243 w 252115"/>
              <a:gd name="connsiteY22" fmla="*/ 0 h 456483"/>
              <a:gd name="connsiteX23" fmla="*/ 78243 w 252115"/>
              <a:gd name="connsiteY23" fmla="*/ 74873 h 456483"/>
              <a:gd name="connsiteX24" fmla="*/ 53813 w 252115"/>
              <a:gd name="connsiteY24" fmla="*/ 74873 h 456483"/>
              <a:gd name="connsiteX25" fmla="*/ 126058 w 252115"/>
              <a:gd name="connsiteY25" fmla="*/ 456450 h 456483"/>
              <a:gd name="connsiteX26" fmla="*/ 53813 w 252115"/>
              <a:gd name="connsiteY26" fmla="*/ 385148 h 456483"/>
              <a:gd name="connsiteX27" fmla="*/ 78209 w 252115"/>
              <a:gd name="connsiteY27" fmla="*/ 385148 h 456483"/>
              <a:gd name="connsiteX28" fmla="*/ 126058 w 252115"/>
              <a:gd name="connsiteY28" fmla="*/ 432357 h 456483"/>
              <a:gd name="connsiteX29" fmla="*/ 173906 w 252115"/>
              <a:gd name="connsiteY29" fmla="*/ 385148 h 456483"/>
              <a:gd name="connsiteX30" fmla="*/ 126058 w 252115"/>
              <a:gd name="connsiteY30" fmla="*/ 337940 h 456483"/>
              <a:gd name="connsiteX31" fmla="*/ 113860 w 252115"/>
              <a:gd name="connsiteY31" fmla="*/ 337940 h 456483"/>
              <a:gd name="connsiteX32" fmla="*/ 113860 w 252115"/>
              <a:gd name="connsiteY32" fmla="*/ 292618 h 456483"/>
              <a:gd name="connsiteX33" fmla="*/ 138256 w 252115"/>
              <a:gd name="connsiteY33" fmla="*/ 292618 h 456483"/>
              <a:gd name="connsiteX34" fmla="*/ 138256 w 252115"/>
              <a:gd name="connsiteY34" fmla="*/ 314892 h 456483"/>
              <a:gd name="connsiteX35" fmla="*/ 198302 w 252115"/>
              <a:gd name="connsiteY35" fmla="*/ 385182 h 456483"/>
              <a:gd name="connsiteX36" fmla="*/ 126058 w 252115"/>
              <a:gd name="connsiteY36" fmla="*/ 456483 h 456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52115" h="456483">
                <a:moveTo>
                  <a:pt x="126192" y="245545"/>
                </a:moveTo>
                <a:cubicBezTo>
                  <a:pt x="91317" y="245545"/>
                  <a:pt x="63079" y="217307"/>
                  <a:pt x="63079" y="182432"/>
                </a:cubicBezTo>
                <a:cubicBezTo>
                  <a:pt x="63079" y="147556"/>
                  <a:pt x="91317" y="119352"/>
                  <a:pt x="126192" y="119352"/>
                </a:cubicBezTo>
                <a:cubicBezTo>
                  <a:pt x="161068" y="119352"/>
                  <a:pt x="189305" y="147590"/>
                  <a:pt x="189305" y="182432"/>
                </a:cubicBezTo>
                <a:cubicBezTo>
                  <a:pt x="189305" y="217274"/>
                  <a:pt x="161068" y="245545"/>
                  <a:pt x="126192" y="245545"/>
                </a:cubicBezTo>
                <a:moveTo>
                  <a:pt x="0" y="99000"/>
                </a:moveTo>
                <a:lnTo>
                  <a:pt x="37773" y="268290"/>
                </a:lnTo>
                <a:lnTo>
                  <a:pt x="214308" y="268290"/>
                </a:lnTo>
                <a:lnTo>
                  <a:pt x="252115" y="99000"/>
                </a:lnTo>
                <a:lnTo>
                  <a:pt x="34" y="99000"/>
                </a:lnTo>
                <a:close/>
                <a:moveTo>
                  <a:pt x="165011" y="182465"/>
                </a:moveTo>
                <a:cubicBezTo>
                  <a:pt x="165011" y="203896"/>
                  <a:pt x="147623" y="221283"/>
                  <a:pt x="126192" y="221283"/>
                </a:cubicBezTo>
                <a:cubicBezTo>
                  <a:pt x="104762" y="221283"/>
                  <a:pt x="87341" y="203896"/>
                  <a:pt x="87341" y="182465"/>
                </a:cubicBezTo>
                <a:cubicBezTo>
                  <a:pt x="87341" y="161034"/>
                  <a:pt x="104728" y="143613"/>
                  <a:pt x="126192" y="143613"/>
                </a:cubicBezTo>
                <a:cubicBezTo>
                  <a:pt x="147657" y="143613"/>
                  <a:pt x="165011" y="161001"/>
                  <a:pt x="165011" y="182465"/>
                </a:cubicBezTo>
                <a:moveTo>
                  <a:pt x="198302" y="74907"/>
                </a:moveTo>
                <a:lnTo>
                  <a:pt x="198302" y="0"/>
                </a:lnTo>
                <a:lnTo>
                  <a:pt x="173906" y="0"/>
                </a:lnTo>
                <a:lnTo>
                  <a:pt x="173906" y="74873"/>
                </a:lnTo>
                <a:cubicBezTo>
                  <a:pt x="173906" y="74873"/>
                  <a:pt x="198302" y="74873"/>
                  <a:pt x="198302" y="74873"/>
                </a:cubicBezTo>
                <a:close/>
                <a:moveTo>
                  <a:pt x="53813" y="74907"/>
                </a:moveTo>
                <a:lnTo>
                  <a:pt x="53813" y="0"/>
                </a:lnTo>
                <a:lnTo>
                  <a:pt x="78243" y="0"/>
                </a:lnTo>
                <a:lnTo>
                  <a:pt x="78243" y="74873"/>
                </a:lnTo>
                <a:lnTo>
                  <a:pt x="53813" y="74873"/>
                </a:lnTo>
                <a:close/>
                <a:moveTo>
                  <a:pt x="126058" y="456450"/>
                </a:moveTo>
                <a:cubicBezTo>
                  <a:pt x="86229" y="456450"/>
                  <a:pt x="53813" y="424472"/>
                  <a:pt x="53813" y="385148"/>
                </a:cubicBezTo>
                <a:lnTo>
                  <a:pt x="78209" y="385148"/>
                </a:lnTo>
                <a:cubicBezTo>
                  <a:pt x="78209" y="411162"/>
                  <a:pt x="99673" y="432357"/>
                  <a:pt x="126058" y="432357"/>
                </a:cubicBezTo>
                <a:cubicBezTo>
                  <a:pt x="152442" y="432357"/>
                  <a:pt x="173906" y="411162"/>
                  <a:pt x="173906" y="385148"/>
                </a:cubicBezTo>
                <a:cubicBezTo>
                  <a:pt x="173906" y="359135"/>
                  <a:pt x="152442" y="337940"/>
                  <a:pt x="126058" y="337940"/>
                </a:cubicBezTo>
                <a:lnTo>
                  <a:pt x="113860" y="337940"/>
                </a:lnTo>
                <a:lnTo>
                  <a:pt x="113860" y="292618"/>
                </a:lnTo>
                <a:lnTo>
                  <a:pt x="138256" y="292618"/>
                </a:lnTo>
                <a:lnTo>
                  <a:pt x="138256" y="314892"/>
                </a:lnTo>
                <a:cubicBezTo>
                  <a:pt x="172289" y="320620"/>
                  <a:pt x="198302" y="349969"/>
                  <a:pt x="198302" y="385182"/>
                </a:cubicBezTo>
                <a:cubicBezTo>
                  <a:pt x="198302" y="424472"/>
                  <a:pt x="165887" y="456483"/>
                  <a:pt x="126058" y="456483"/>
                </a:cubicBezTo>
              </a:path>
            </a:pathLst>
          </a:custGeom>
          <a:solidFill>
            <a:schemeClr val="tx2"/>
          </a:solidFill>
          <a:ln w="3364" cap="flat">
            <a:noFill/>
            <a:prstDash val="solid"/>
            <a:miter/>
          </a:ln>
        </p:spPr>
        <p:txBody>
          <a:bodyPr rtlCol="0" anchor="ctr"/>
          <a:lstStyle/>
          <a:p>
            <a:endParaRPr lang="en-GB"/>
          </a:p>
        </p:txBody>
      </p:sp>
      <p:sp>
        <p:nvSpPr>
          <p:cNvPr id="13" name="Freeform: Shape 12">
            <a:extLst>
              <a:ext uri="{FF2B5EF4-FFF2-40B4-BE49-F238E27FC236}">
                <a16:creationId xmlns:a16="http://schemas.microsoft.com/office/drawing/2014/main" id="{8C17A01F-EE70-736D-B63F-1AE0C0516117}"/>
              </a:ext>
            </a:extLst>
          </p:cNvPr>
          <p:cNvSpPr/>
          <p:nvPr userDrawn="1"/>
        </p:nvSpPr>
        <p:spPr>
          <a:xfrm>
            <a:off x="3407106" y="4162927"/>
            <a:ext cx="880428" cy="1484483"/>
          </a:xfrm>
          <a:custGeom>
            <a:avLst/>
            <a:gdLst>
              <a:gd name="connsiteX0" fmla="*/ 155407 w 267076"/>
              <a:gd name="connsiteY0" fmla="*/ 176265 h 450316"/>
              <a:gd name="connsiteX1" fmla="*/ 83971 w 267076"/>
              <a:gd name="connsiteY1" fmla="*/ 450317 h 450316"/>
              <a:gd name="connsiteX2" fmla="*/ 267076 w 267076"/>
              <a:gd name="connsiteY2" fmla="*/ 205345 h 450316"/>
              <a:gd name="connsiteX3" fmla="*/ 155441 w 267076"/>
              <a:gd name="connsiteY3" fmla="*/ 176265 h 450316"/>
              <a:gd name="connsiteX4" fmla="*/ 174041 w 267076"/>
              <a:gd name="connsiteY4" fmla="*/ 34 h 450316"/>
              <a:gd name="connsiteX5" fmla="*/ 106143 w 267076"/>
              <a:gd name="connsiteY5" fmla="*/ 260438 h 450316"/>
              <a:gd name="connsiteX6" fmla="*/ 0 w 267076"/>
              <a:gd name="connsiteY6" fmla="*/ 232807 h 450316"/>
              <a:gd name="connsiteX7" fmla="*/ 174041 w 267076"/>
              <a:gd name="connsiteY7" fmla="*/ 0 h 450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7076" h="450316">
                <a:moveTo>
                  <a:pt x="155407" y="176265"/>
                </a:moveTo>
                <a:lnTo>
                  <a:pt x="83971" y="450317"/>
                </a:lnTo>
                <a:lnTo>
                  <a:pt x="267076" y="205345"/>
                </a:lnTo>
                <a:lnTo>
                  <a:pt x="155441" y="176265"/>
                </a:lnTo>
                <a:close/>
                <a:moveTo>
                  <a:pt x="174041" y="34"/>
                </a:moveTo>
                <a:lnTo>
                  <a:pt x="106143" y="260438"/>
                </a:lnTo>
                <a:lnTo>
                  <a:pt x="0" y="232807"/>
                </a:lnTo>
                <a:lnTo>
                  <a:pt x="174041" y="0"/>
                </a:lnTo>
                <a:close/>
              </a:path>
            </a:pathLst>
          </a:custGeom>
          <a:solidFill>
            <a:schemeClr val="tx2"/>
          </a:solidFill>
          <a:ln w="3364"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453DC2E4-BD93-CADB-3651-779B940B591B}"/>
              </a:ext>
            </a:extLst>
          </p:cNvPr>
          <p:cNvSpPr/>
          <p:nvPr userDrawn="1"/>
        </p:nvSpPr>
        <p:spPr>
          <a:xfrm>
            <a:off x="5678419" y="4331046"/>
            <a:ext cx="838991" cy="1078373"/>
          </a:xfrm>
          <a:custGeom>
            <a:avLst/>
            <a:gdLst>
              <a:gd name="connsiteX0" fmla="*/ 155003 w 254507"/>
              <a:gd name="connsiteY0" fmla="*/ 199010 h 327123"/>
              <a:gd name="connsiteX1" fmla="*/ 155003 w 254507"/>
              <a:gd name="connsiteY1" fmla="*/ 199145 h 327123"/>
              <a:gd name="connsiteX2" fmla="*/ 144422 w 254507"/>
              <a:gd name="connsiteY2" fmla="*/ 220980 h 327123"/>
              <a:gd name="connsiteX3" fmla="*/ 140480 w 254507"/>
              <a:gd name="connsiteY3" fmla="*/ 224046 h 327123"/>
              <a:gd name="connsiteX4" fmla="*/ 144692 w 254507"/>
              <a:gd name="connsiteY4" fmla="*/ 259697 h 327123"/>
              <a:gd name="connsiteX5" fmla="*/ 109681 w 254507"/>
              <a:gd name="connsiteY5" fmla="*/ 259697 h 327123"/>
              <a:gd name="connsiteX6" fmla="*/ 113826 w 254507"/>
              <a:gd name="connsiteY6" fmla="*/ 224046 h 327123"/>
              <a:gd name="connsiteX7" fmla="*/ 109951 w 254507"/>
              <a:gd name="connsiteY7" fmla="*/ 220980 h 327123"/>
              <a:gd name="connsiteX8" fmla="*/ 99370 w 254507"/>
              <a:gd name="connsiteY8" fmla="*/ 199145 h 327123"/>
              <a:gd name="connsiteX9" fmla="*/ 99370 w 254507"/>
              <a:gd name="connsiteY9" fmla="*/ 199010 h 327123"/>
              <a:gd name="connsiteX10" fmla="*/ 100887 w 254507"/>
              <a:gd name="connsiteY10" fmla="*/ 190148 h 327123"/>
              <a:gd name="connsiteX11" fmla="*/ 105941 w 254507"/>
              <a:gd name="connsiteY11" fmla="*/ 181286 h 327123"/>
              <a:gd name="connsiteX12" fmla="*/ 127237 w 254507"/>
              <a:gd name="connsiteY12" fmla="*/ 171346 h 327123"/>
              <a:gd name="connsiteX13" fmla="*/ 148499 w 254507"/>
              <a:gd name="connsiteY13" fmla="*/ 181286 h 327123"/>
              <a:gd name="connsiteX14" fmla="*/ 153554 w 254507"/>
              <a:gd name="connsiteY14" fmla="*/ 190148 h 327123"/>
              <a:gd name="connsiteX15" fmla="*/ 155070 w 254507"/>
              <a:gd name="connsiteY15" fmla="*/ 199010 h 327123"/>
              <a:gd name="connsiteX16" fmla="*/ 172794 w 254507"/>
              <a:gd name="connsiteY16" fmla="*/ 199010 h 327123"/>
              <a:gd name="connsiteX17" fmla="*/ 171918 w 254507"/>
              <a:gd name="connsiteY17" fmla="*/ 190148 h 327123"/>
              <a:gd name="connsiteX18" fmla="*/ 169121 w 254507"/>
              <a:gd name="connsiteY18" fmla="*/ 181286 h 327123"/>
              <a:gd name="connsiteX19" fmla="*/ 127237 w 254507"/>
              <a:gd name="connsiteY19" fmla="*/ 153621 h 327123"/>
              <a:gd name="connsiteX20" fmla="*/ 85353 w 254507"/>
              <a:gd name="connsiteY20" fmla="*/ 181286 h 327123"/>
              <a:gd name="connsiteX21" fmla="*/ 82556 w 254507"/>
              <a:gd name="connsiteY21" fmla="*/ 190148 h 327123"/>
              <a:gd name="connsiteX22" fmla="*/ 81646 w 254507"/>
              <a:gd name="connsiteY22" fmla="*/ 199010 h 327123"/>
              <a:gd name="connsiteX23" fmla="*/ 81646 w 254507"/>
              <a:gd name="connsiteY23" fmla="*/ 199145 h 327123"/>
              <a:gd name="connsiteX24" fmla="*/ 95158 w 254507"/>
              <a:gd name="connsiteY24" fmla="*/ 231493 h 327123"/>
              <a:gd name="connsiteX25" fmla="*/ 89800 w 254507"/>
              <a:gd name="connsiteY25" fmla="*/ 277455 h 327123"/>
              <a:gd name="connsiteX26" fmla="*/ 164674 w 254507"/>
              <a:gd name="connsiteY26" fmla="*/ 277455 h 327123"/>
              <a:gd name="connsiteX27" fmla="*/ 159282 w 254507"/>
              <a:gd name="connsiteY27" fmla="*/ 231493 h 327123"/>
              <a:gd name="connsiteX28" fmla="*/ 172794 w 254507"/>
              <a:gd name="connsiteY28" fmla="*/ 199145 h 327123"/>
              <a:gd name="connsiteX29" fmla="*/ 172794 w 254507"/>
              <a:gd name="connsiteY29" fmla="*/ 199010 h 327123"/>
              <a:gd name="connsiteX30" fmla="*/ 0 w 254507"/>
              <a:gd name="connsiteY30" fmla="*/ 117431 h 327123"/>
              <a:gd name="connsiteX31" fmla="*/ 254508 w 254507"/>
              <a:gd name="connsiteY31" fmla="*/ 117431 h 327123"/>
              <a:gd name="connsiteX32" fmla="*/ 254508 w 254507"/>
              <a:gd name="connsiteY32" fmla="*/ 327123 h 327123"/>
              <a:gd name="connsiteX33" fmla="*/ 0 w 254507"/>
              <a:gd name="connsiteY33" fmla="*/ 327123 h 327123"/>
              <a:gd name="connsiteX34" fmla="*/ 0 w 254507"/>
              <a:gd name="connsiteY34" fmla="*/ 117431 h 327123"/>
              <a:gd name="connsiteX35" fmla="*/ 226776 w 254507"/>
              <a:gd name="connsiteY35" fmla="*/ 99539 h 327123"/>
              <a:gd name="connsiteX36" fmla="*/ 226776 w 254507"/>
              <a:gd name="connsiteY36" fmla="*/ 99707 h 327123"/>
              <a:gd name="connsiteX37" fmla="*/ 209051 w 254507"/>
              <a:gd name="connsiteY37" fmla="*/ 99707 h 327123"/>
              <a:gd name="connsiteX38" fmla="*/ 209051 w 254507"/>
              <a:gd name="connsiteY38" fmla="*/ 99539 h 327123"/>
              <a:gd name="connsiteX39" fmla="*/ 127237 w 254507"/>
              <a:gd name="connsiteY39" fmla="*/ 17724 h 327123"/>
              <a:gd name="connsiteX40" fmla="*/ 45456 w 254507"/>
              <a:gd name="connsiteY40" fmla="*/ 99539 h 327123"/>
              <a:gd name="connsiteX41" fmla="*/ 45456 w 254507"/>
              <a:gd name="connsiteY41" fmla="*/ 99707 h 327123"/>
              <a:gd name="connsiteX42" fmla="*/ 27732 w 254507"/>
              <a:gd name="connsiteY42" fmla="*/ 99707 h 327123"/>
              <a:gd name="connsiteX43" fmla="*/ 27732 w 254507"/>
              <a:gd name="connsiteY43" fmla="*/ 99539 h 327123"/>
              <a:gd name="connsiteX44" fmla="*/ 127237 w 254507"/>
              <a:gd name="connsiteY44" fmla="*/ 0 h 327123"/>
              <a:gd name="connsiteX45" fmla="*/ 226776 w 254507"/>
              <a:gd name="connsiteY45" fmla="*/ 99539 h 327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54507" h="327123">
                <a:moveTo>
                  <a:pt x="155003" y="199010"/>
                </a:moveTo>
                <a:lnTo>
                  <a:pt x="155003" y="199145"/>
                </a:lnTo>
                <a:cubicBezTo>
                  <a:pt x="155003" y="207737"/>
                  <a:pt x="151128" y="215656"/>
                  <a:pt x="144422" y="220980"/>
                </a:cubicBezTo>
                <a:lnTo>
                  <a:pt x="140480" y="224046"/>
                </a:lnTo>
                <a:lnTo>
                  <a:pt x="144692" y="259697"/>
                </a:lnTo>
                <a:lnTo>
                  <a:pt x="109681" y="259697"/>
                </a:lnTo>
                <a:lnTo>
                  <a:pt x="113826" y="224046"/>
                </a:lnTo>
                <a:lnTo>
                  <a:pt x="109951" y="220980"/>
                </a:lnTo>
                <a:cubicBezTo>
                  <a:pt x="103212" y="215656"/>
                  <a:pt x="99370" y="207737"/>
                  <a:pt x="99370" y="199145"/>
                </a:cubicBezTo>
                <a:lnTo>
                  <a:pt x="99370" y="199010"/>
                </a:lnTo>
                <a:cubicBezTo>
                  <a:pt x="99370" y="195910"/>
                  <a:pt x="99876" y="192945"/>
                  <a:pt x="100887" y="190148"/>
                </a:cubicBezTo>
                <a:cubicBezTo>
                  <a:pt x="101999" y="186879"/>
                  <a:pt x="103717" y="183914"/>
                  <a:pt x="105941" y="181286"/>
                </a:cubicBezTo>
                <a:cubicBezTo>
                  <a:pt x="111063" y="175221"/>
                  <a:pt x="118678" y="171346"/>
                  <a:pt x="127237" y="171346"/>
                </a:cubicBezTo>
                <a:cubicBezTo>
                  <a:pt x="135796" y="171346"/>
                  <a:pt x="143411" y="175221"/>
                  <a:pt x="148499" y="181286"/>
                </a:cubicBezTo>
                <a:cubicBezTo>
                  <a:pt x="150723" y="183914"/>
                  <a:pt x="152442" y="186879"/>
                  <a:pt x="153554" y="190148"/>
                </a:cubicBezTo>
                <a:cubicBezTo>
                  <a:pt x="154531" y="192945"/>
                  <a:pt x="155070" y="195910"/>
                  <a:pt x="155070" y="199010"/>
                </a:cubicBezTo>
                <a:moveTo>
                  <a:pt x="172794" y="199010"/>
                </a:moveTo>
                <a:cubicBezTo>
                  <a:pt x="172794" y="196011"/>
                  <a:pt x="172491" y="193012"/>
                  <a:pt x="171918" y="190148"/>
                </a:cubicBezTo>
                <a:cubicBezTo>
                  <a:pt x="171312" y="187115"/>
                  <a:pt x="170368" y="184083"/>
                  <a:pt x="169121" y="181286"/>
                </a:cubicBezTo>
                <a:cubicBezTo>
                  <a:pt x="162180" y="165011"/>
                  <a:pt x="146039" y="153621"/>
                  <a:pt x="127237" y="153621"/>
                </a:cubicBezTo>
                <a:cubicBezTo>
                  <a:pt x="108434" y="153621"/>
                  <a:pt x="92328" y="165011"/>
                  <a:pt x="85353" y="181286"/>
                </a:cubicBezTo>
                <a:cubicBezTo>
                  <a:pt x="84106" y="184083"/>
                  <a:pt x="83196" y="187115"/>
                  <a:pt x="82556" y="190148"/>
                </a:cubicBezTo>
                <a:cubicBezTo>
                  <a:pt x="81983" y="193012"/>
                  <a:pt x="81646" y="196011"/>
                  <a:pt x="81646" y="199010"/>
                </a:cubicBezTo>
                <a:lnTo>
                  <a:pt x="81646" y="199145"/>
                </a:lnTo>
                <a:cubicBezTo>
                  <a:pt x="81646" y="211444"/>
                  <a:pt x="86532" y="222968"/>
                  <a:pt x="95158" y="231493"/>
                </a:cubicBezTo>
                <a:lnTo>
                  <a:pt x="89800" y="277455"/>
                </a:lnTo>
                <a:lnTo>
                  <a:pt x="164674" y="277455"/>
                </a:lnTo>
                <a:lnTo>
                  <a:pt x="159282" y="231493"/>
                </a:lnTo>
                <a:cubicBezTo>
                  <a:pt x="167908" y="222968"/>
                  <a:pt x="172794" y="211478"/>
                  <a:pt x="172794" y="199145"/>
                </a:cubicBezTo>
                <a:lnTo>
                  <a:pt x="172794" y="199010"/>
                </a:lnTo>
                <a:close/>
                <a:moveTo>
                  <a:pt x="0" y="117431"/>
                </a:moveTo>
                <a:lnTo>
                  <a:pt x="254508" y="117431"/>
                </a:lnTo>
                <a:lnTo>
                  <a:pt x="254508" y="327123"/>
                </a:lnTo>
                <a:lnTo>
                  <a:pt x="0" y="327123"/>
                </a:lnTo>
                <a:lnTo>
                  <a:pt x="0" y="117431"/>
                </a:lnTo>
                <a:close/>
                <a:moveTo>
                  <a:pt x="226776" y="99539"/>
                </a:moveTo>
                <a:lnTo>
                  <a:pt x="226776" y="99707"/>
                </a:lnTo>
                <a:lnTo>
                  <a:pt x="209051" y="99707"/>
                </a:lnTo>
                <a:lnTo>
                  <a:pt x="209051" y="99539"/>
                </a:lnTo>
                <a:cubicBezTo>
                  <a:pt x="209051" y="54419"/>
                  <a:pt x="172356" y="17724"/>
                  <a:pt x="127237" y="17724"/>
                </a:cubicBezTo>
                <a:cubicBezTo>
                  <a:pt x="82118" y="17724"/>
                  <a:pt x="45456" y="54419"/>
                  <a:pt x="45456" y="99539"/>
                </a:cubicBezTo>
                <a:lnTo>
                  <a:pt x="45456" y="99707"/>
                </a:lnTo>
                <a:lnTo>
                  <a:pt x="27732" y="99707"/>
                </a:lnTo>
                <a:lnTo>
                  <a:pt x="27732" y="99539"/>
                </a:lnTo>
                <a:cubicBezTo>
                  <a:pt x="27732" y="44681"/>
                  <a:pt x="72379" y="0"/>
                  <a:pt x="127237" y="0"/>
                </a:cubicBezTo>
                <a:cubicBezTo>
                  <a:pt x="182094" y="0"/>
                  <a:pt x="226776" y="44681"/>
                  <a:pt x="226776" y="99539"/>
                </a:cubicBezTo>
              </a:path>
            </a:pathLst>
          </a:custGeom>
          <a:solidFill>
            <a:schemeClr val="tx2"/>
          </a:solidFill>
          <a:ln w="3364" cap="flat">
            <a:no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768D7C16-1543-AC80-A0B2-B88C9795B92C}"/>
              </a:ext>
            </a:extLst>
          </p:cNvPr>
          <p:cNvSpPr/>
          <p:nvPr userDrawn="1"/>
        </p:nvSpPr>
        <p:spPr>
          <a:xfrm>
            <a:off x="7741827" y="4345337"/>
            <a:ext cx="1207598" cy="1081480"/>
          </a:xfrm>
          <a:custGeom>
            <a:avLst/>
            <a:gdLst>
              <a:gd name="connsiteX0" fmla="*/ 365709 w 366323"/>
              <a:gd name="connsiteY0" fmla="*/ 195674 h 328066"/>
              <a:gd name="connsiteX1" fmla="*/ 301113 w 366323"/>
              <a:gd name="connsiteY1" fmla="*/ 328067 h 328066"/>
              <a:gd name="connsiteX2" fmla="*/ 65273 w 366323"/>
              <a:gd name="connsiteY2" fmla="*/ 328067 h 328066"/>
              <a:gd name="connsiteX3" fmla="*/ 610 w 366323"/>
              <a:gd name="connsiteY3" fmla="*/ 195674 h 328066"/>
              <a:gd name="connsiteX4" fmla="*/ 4047 w 366323"/>
              <a:gd name="connsiteY4" fmla="*/ 188868 h 328066"/>
              <a:gd name="connsiteX5" fmla="*/ 7316 w 366323"/>
              <a:gd name="connsiteY5" fmla="*/ 188531 h 328066"/>
              <a:gd name="connsiteX6" fmla="*/ 181458 w 366323"/>
              <a:gd name="connsiteY6" fmla="*/ 170166 h 328066"/>
              <a:gd name="connsiteX7" fmla="*/ 182233 w 366323"/>
              <a:gd name="connsiteY7" fmla="*/ 170267 h 328066"/>
              <a:gd name="connsiteX8" fmla="*/ 360722 w 366323"/>
              <a:gd name="connsiteY8" fmla="*/ 188733 h 328066"/>
              <a:gd name="connsiteX9" fmla="*/ 362238 w 366323"/>
              <a:gd name="connsiteY9" fmla="*/ 188868 h 328066"/>
              <a:gd name="connsiteX10" fmla="*/ 365709 w 366323"/>
              <a:gd name="connsiteY10" fmla="*/ 195674 h 328066"/>
              <a:gd name="connsiteX11" fmla="*/ 172899 w 366323"/>
              <a:gd name="connsiteY11" fmla="*/ 118139 h 328066"/>
              <a:gd name="connsiteX12" fmla="*/ 108640 w 366323"/>
              <a:gd name="connsiteY12" fmla="*/ 118139 h 328066"/>
              <a:gd name="connsiteX13" fmla="*/ 108640 w 366323"/>
              <a:gd name="connsiteY13" fmla="*/ 82623 h 328066"/>
              <a:gd name="connsiteX14" fmla="*/ 172899 w 366323"/>
              <a:gd name="connsiteY14" fmla="*/ 82623 h 328066"/>
              <a:gd name="connsiteX15" fmla="*/ 172899 w 366323"/>
              <a:gd name="connsiteY15" fmla="*/ 118139 h 328066"/>
              <a:gd name="connsiteX16" fmla="*/ 108640 w 366323"/>
              <a:gd name="connsiteY16" fmla="*/ 136874 h 328066"/>
              <a:gd name="connsiteX17" fmla="*/ 108640 w 366323"/>
              <a:gd name="connsiteY17" fmla="*/ 158979 h 328066"/>
              <a:gd name="connsiteX18" fmla="*/ 111639 w 366323"/>
              <a:gd name="connsiteY18" fmla="*/ 158709 h 328066"/>
              <a:gd name="connsiteX19" fmla="*/ 172933 w 366323"/>
              <a:gd name="connsiteY19" fmla="*/ 152240 h 328066"/>
              <a:gd name="connsiteX20" fmla="*/ 172933 w 366323"/>
              <a:gd name="connsiteY20" fmla="*/ 136874 h 328066"/>
              <a:gd name="connsiteX21" fmla="*/ 108674 w 366323"/>
              <a:gd name="connsiteY21" fmla="*/ 136874 h 328066"/>
              <a:gd name="connsiteX22" fmla="*/ 89905 w 366323"/>
              <a:gd name="connsiteY22" fmla="*/ 118139 h 328066"/>
              <a:gd name="connsiteX23" fmla="*/ 26118 w 366323"/>
              <a:gd name="connsiteY23" fmla="*/ 118139 h 328066"/>
              <a:gd name="connsiteX24" fmla="*/ 26118 w 366323"/>
              <a:gd name="connsiteY24" fmla="*/ 82623 h 328066"/>
              <a:gd name="connsiteX25" fmla="*/ 89905 w 366323"/>
              <a:gd name="connsiteY25" fmla="*/ 82623 h 328066"/>
              <a:gd name="connsiteX26" fmla="*/ 89905 w 366323"/>
              <a:gd name="connsiteY26" fmla="*/ 118139 h 328066"/>
              <a:gd name="connsiteX27" fmla="*/ 26085 w 366323"/>
              <a:gd name="connsiteY27" fmla="*/ 136874 h 328066"/>
              <a:gd name="connsiteX28" fmla="*/ 26085 w 366323"/>
              <a:gd name="connsiteY28" fmla="*/ 167706 h 328066"/>
              <a:gd name="connsiteX29" fmla="*/ 89872 w 366323"/>
              <a:gd name="connsiteY29" fmla="*/ 161001 h 328066"/>
              <a:gd name="connsiteX30" fmla="*/ 89872 w 366323"/>
              <a:gd name="connsiteY30" fmla="*/ 136874 h 328066"/>
              <a:gd name="connsiteX31" fmla="*/ 26085 w 366323"/>
              <a:gd name="connsiteY31" fmla="*/ 136874 h 328066"/>
              <a:gd name="connsiteX32" fmla="*/ 272910 w 366323"/>
              <a:gd name="connsiteY32" fmla="*/ 0 h 328066"/>
              <a:gd name="connsiteX33" fmla="*/ 272910 w 366323"/>
              <a:gd name="connsiteY33" fmla="*/ 28103 h 328066"/>
              <a:gd name="connsiteX34" fmla="*/ 235439 w 366323"/>
              <a:gd name="connsiteY34" fmla="*/ 28103 h 328066"/>
              <a:gd name="connsiteX35" fmla="*/ 235439 w 366323"/>
              <a:gd name="connsiteY35" fmla="*/ 63888 h 328066"/>
              <a:gd name="connsiteX36" fmla="*/ 132396 w 366323"/>
              <a:gd name="connsiteY36" fmla="*/ 63888 h 328066"/>
              <a:gd name="connsiteX37" fmla="*/ 132396 w 366323"/>
              <a:gd name="connsiteY37" fmla="*/ 28103 h 328066"/>
              <a:gd name="connsiteX38" fmla="*/ 94926 w 366323"/>
              <a:gd name="connsiteY38" fmla="*/ 28103 h 328066"/>
              <a:gd name="connsiteX39" fmla="*/ 94926 w 366323"/>
              <a:gd name="connsiteY39" fmla="*/ 0 h 328066"/>
              <a:gd name="connsiteX40" fmla="*/ 272943 w 366323"/>
              <a:gd name="connsiteY40" fmla="*/ 0 h 328066"/>
              <a:gd name="connsiteX41" fmla="*/ 342021 w 366323"/>
              <a:gd name="connsiteY41" fmla="*/ 82623 h 328066"/>
              <a:gd name="connsiteX42" fmla="*/ 275167 w 366323"/>
              <a:gd name="connsiteY42" fmla="*/ 82623 h 328066"/>
              <a:gd name="connsiteX43" fmla="*/ 275167 w 366323"/>
              <a:gd name="connsiteY43" fmla="*/ 118139 h 328066"/>
              <a:gd name="connsiteX44" fmla="*/ 342021 w 366323"/>
              <a:gd name="connsiteY44" fmla="*/ 118139 h 328066"/>
              <a:gd name="connsiteX45" fmla="*/ 342021 w 366323"/>
              <a:gd name="connsiteY45" fmla="*/ 82623 h 328066"/>
              <a:gd name="connsiteX46" fmla="*/ 342021 w 366323"/>
              <a:gd name="connsiteY46" fmla="*/ 136874 h 328066"/>
              <a:gd name="connsiteX47" fmla="*/ 342021 w 366323"/>
              <a:gd name="connsiteY47" fmla="*/ 167976 h 328066"/>
              <a:gd name="connsiteX48" fmla="*/ 277223 w 366323"/>
              <a:gd name="connsiteY48" fmla="*/ 161270 h 328066"/>
              <a:gd name="connsiteX49" fmla="*/ 275167 w 366323"/>
              <a:gd name="connsiteY49" fmla="*/ 161034 h 328066"/>
              <a:gd name="connsiteX50" fmla="*/ 275167 w 366323"/>
              <a:gd name="connsiteY50" fmla="*/ 136874 h 328066"/>
              <a:gd name="connsiteX51" fmla="*/ 342021 w 366323"/>
              <a:gd name="connsiteY51" fmla="*/ 136874 h 328066"/>
              <a:gd name="connsiteX52" fmla="*/ 256432 w 366323"/>
              <a:gd name="connsiteY52" fmla="*/ 82623 h 328066"/>
              <a:gd name="connsiteX53" fmla="*/ 191634 w 366323"/>
              <a:gd name="connsiteY53" fmla="*/ 82623 h 328066"/>
              <a:gd name="connsiteX54" fmla="*/ 191634 w 366323"/>
              <a:gd name="connsiteY54" fmla="*/ 118139 h 328066"/>
              <a:gd name="connsiteX55" fmla="*/ 256432 w 366323"/>
              <a:gd name="connsiteY55" fmla="*/ 118139 h 328066"/>
              <a:gd name="connsiteX56" fmla="*/ 256432 w 366323"/>
              <a:gd name="connsiteY56" fmla="*/ 82623 h 328066"/>
              <a:gd name="connsiteX57" fmla="*/ 256432 w 366323"/>
              <a:gd name="connsiteY57" fmla="*/ 136874 h 328066"/>
              <a:gd name="connsiteX58" fmla="*/ 256432 w 366323"/>
              <a:gd name="connsiteY58" fmla="*/ 159147 h 328066"/>
              <a:gd name="connsiteX59" fmla="*/ 194161 w 366323"/>
              <a:gd name="connsiteY59" fmla="*/ 152678 h 328066"/>
              <a:gd name="connsiteX60" fmla="*/ 191634 w 366323"/>
              <a:gd name="connsiteY60" fmla="*/ 152408 h 328066"/>
              <a:gd name="connsiteX61" fmla="*/ 191634 w 366323"/>
              <a:gd name="connsiteY61" fmla="*/ 136908 h 328066"/>
              <a:gd name="connsiteX62" fmla="*/ 256432 w 366323"/>
              <a:gd name="connsiteY62" fmla="*/ 136908 h 328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366323" h="328066">
                <a:moveTo>
                  <a:pt x="365709" y="195674"/>
                </a:moveTo>
                <a:lnTo>
                  <a:pt x="301113" y="328067"/>
                </a:lnTo>
                <a:lnTo>
                  <a:pt x="65273" y="328067"/>
                </a:lnTo>
                <a:lnTo>
                  <a:pt x="610" y="195674"/>
                </a:lnTo>
                <a:cubicBezTo>
                  <a:pt x="-1007" y="192877"/>
                  <a:pt x="745" y="189272"/>
                  <a:pt x="4047" y="188868"/>
                </a:cubicBezTo>
                <a:lnTo>
                  <a:pt x="7316" y="188531"/>
                </a:lnTo>
                <a:lnTo>
                  <a:pt x="181458" y="170166"/>
                </a:lnTo>
                <a:lnTo>
                  <a:pt x="182233" y="170267"/>
                </a:lnTo>
                <a:lnTo>
                  <a:pt x="360722" y="188733"/>
                </a:lnTo>
                <a:lnTo>
                  <a:pt x="362238" y="188868"/>
                </a:lnTo>
                <a:cubicBezTo>
                  <a:pt x="365507" y="189238"/>
                  <a:pt x="367360" y="192844"/>
                  <a:pt x="365709" y="195674"/>
                </a:cubicBezTo>
                <a:moveTo>
                  <a:pt x="172899" y="118139"/>
                </a:moveTo>
                <a:lnTo>
                  <a:pt x="108640" y="118139"/>
                </a:lnTo>
                <a:lnTo>
                  <a:pt x="108640" y="82623"/>
                </a:lnTo>
                <a:lnTo>
                  <a:pt x="172899" y="82623"/>
                </a:lnTo>
                <a:lnTo>
                  <a:pt x="172899" y="118139"/>
                </a:lnTo>
                <a:close/>
                <a:moveTo>
                  <a:pt x="108640" y="136874"/>
                </a:moveTo>
                <a:lnTo>
                  <a:pt x="108640" y="158979"/>
                </a:lnTo>
                <a:lnTo>
                  <a:pt x="111639" y="158709"/>
                </a:lnTo>
                <a:lnTo>
                  <a:pt x="172933" y="152240"/>
                </a:lnTo>
                <a:lnTo>
                  <a:pt x="172933" y="136874"/>
                </a:lnTo>
                <a:lnTo>
                  <a:pt x="108674" y="136874"/>
                </a:lnTo>
                <a:close/>
                <a:moveTo>
                  <a:pt x="89905" y="118139"/>
                </a:moveTo>
                <a:lnTo>
                  <a:pt x="26118" y="118139"/>
                </a:lnTo>
                <a:lnTo>
                  <a:pt x="26118" y="82623"/>
                </a:lnTo>
                <a:lnTo>
                  <a:pt x="89905" y="82623"/>
                </a:lnTo>
                <a:lnTo>
                  <a:pt x="89905" y="118139"/>
                </a:lnTo>
                <a:close/>
                <a:moveTo>
                  <a:pt x="26085" y="136874"/>
                </a:moveTo>
                <a:lnTo>
                  <a:pt x="26085" y="167706"/>
                </a:lnTo>
                <a:lnTo>
                  <a:pt x="89872" y="161001"/>
                </a:lnTo>
                <a:lnTo>
                  <a:pt x="89872" y="136874"/>
                </a:lnTo>
                <a:lnTo>
                  <a:pt x="26085" y="136874"/>
                </a:lnTo>
                <a:close/>
                <a:moveTo>
                  <a:pt x="272910" y="0"/>
                </a:moveTo>
                <a:lnTo>
                  <a:pt x="272910" y="28103"/>
                </a:lnTo>
                <a:lnTo>
                  <a:pt x="235439" y="28103"/>
                </a:lnTo>
                <a:lnTo>
                  <a:pt x="235439" y="63888"/>
                </a:lnTo>
                <a:lnTo>
                  <a:pt x="132396" y="63888"/>
                </a:lnTo>
                <a:lnTo>
                  <a:pt x="132396" y="28103"/>
                </a:lnTo>
                <a:lnTo>
                  <a:pt x="94926" y="28103"/>
                </a:lnTo>
                <a:lnTo>
                  <a:pt x="94926" y="0"/>
                </a:lnTo>
                <a:lnTo>
                  <a:pt x="272943" y="0"/>
                </a:lnTo>
                <a:close/>
                <a:moveTo>
                  <a:pt x="342021" y="82623"/>
                </a:moveTo>
                <a:lnTo>
                  <a:pt x="275167" y="82623"/>
                </a:lnTo>
                <a:lnTo>
                  <a:pt x="275167" y="118139"/>
                </a:lnTo>
                <a:lnTo>
                  <a:pt x="342021" y="118139"/>
                </a:lnTo>
                <a:lnTo>
                  <a:pt x="342021" y="82623"/>
                </a:lnTo>
                <a:close/>
                <a:moveTo>
                  <a:pt x="342021" y="136874"/>
                </a:moveTo>
                <a:lnTo>
                  <a:pt x="342021" y="167976"/>
                </a:lnTo>
                <a:lnTo>
                  <a:pt x="277223" y="161270"/>
                </a:lnTo>
                <a:lnTo>
                  <a:pt x="275167" y="161034"/>
                </a:lnTo>
                <a:lnTo>
                  <a:pt x="275167" y="136874"/>
                </a:lnTo>
                <a:lnTo>
                  <a:pt x="342021" y="136874"/>
                </a:lnTo>
                <a:close/>
                <a:moveTo>
                  <a:pt x="256432" y="82623"/>
                </a:moveTo>
                <a:lnTo>
                  <a:pt x="191634" y="82623"/>
                </a:lnTo>
                <a:lnTo>
                  <a:pt x="191634" y="118139"/>
                </a:lnTo>
                <a:lnTo>
                  <a:pt x="256432" y="118139"/>
                </a:lnTo>
                <a:lnTo>
                  <a:pt x="256432" y="82623"/>
                </a:lnTo>
                <a:close/>
                <a:moveTo>
                  <a:pt x="256432" y="136874"/>
                </a:moveTo>
                <a:lnTo>
                  <a:pt x="256432" y="159147"/>
                </a:lnTo>
                <a:lnTo>
                  <a:pt x="194161" y="152678"/>
                </a:lnTo>
                <a:lnTo>
                  <a:pt x="191634" y="152408"/>
                </a:lnTo>
                <a:lnTo>
                  <a:pt x="191634" y="136908"/>
                </a:lnTo>
                <a:lnTo>
                  <a:pt x="256432" y="136908"/>
                </a:lnTo>
                <a:close/>
              </a:path>
            </a:pathLst>
          </a:custGeom>
          <a:solidFill>
            <a:schemeClr val="tx2"/>
          </a:solidFill>
          <a:ln w="3364" cap="flat">
            <a:noFill/>
            <a:prstDash val="solid"/>
            <a:miter/>
          </a:ln>
        </p:spPr>
        <p:txBody>
          <a:bodyPr rtlCol="0" anchor="ctr"/>
          <a:lstStyle/>
          <a:p>
            <a:endParaRPr lang="en-GB"/>
          </a:p>
        </p:txBody>
      </p:sp>
      <p:sp>
        <p:nvSpPr>
          <p:cNvPr id="16" name="Freeform: Shape 15">
            <a:extLst>
              <a:ext uri="{FF2B5EF4-FFF2-40B4-BE49-F238E27FC236}">
                <a16:creationId xmlns:a16="http://schemas.microsoft.com/office/drawing/2014/main" id="{DBFD911A-C19B-0CA1-9A02-132805971BB7}"/>
              </a:ext>
            </a:extLst>
          </p:cNvPr>
          <p:cNvSpPr/>
          <p:nvPr userDrawn="1"/>
        </p:nvSpPr>
        <p:spPr>
          <a:xfrm>
            <a:off x="3132709" y="2299174"/>
            <a:ext cx="1429447" cy="934645"/>
          </a:xfrm>
          <a:custGeom>
            <a:avLst/>
            <a:gdLst>
              <a:gd name="connsiteX0" fmla="*/ 247937 w 433620"/>
              <a:gd name="connsiteY0" fmla="*/ 170002 h 283524"/>
              <a:gd name="connsiteX1" fmla="*/ 248004 w 433620"/>
              <a:gd name="connsiteY1" fmla="*/ 171215 h 283524"/>
              <a:gd name="connsiteX2" fmla="*/ 247937 w 433620"/>
              <a:gd name="connsiteY2" fmla="*/ 171249 h 283524"/>
              <a:gd name="connsiteX3" fmla="*/ 254575 w 433620"/>
              <a:gd name="connsiteY3" fmla="*/ 283525 h 283524"/>
              <a:gd name="connsiteX4" fmla="*/ 257709 w 433620"/>
              <a:gd name="connsiteY4" fmla="*/ 281773 h 283524"/>
              <a:gd name="connsiteX5" fmla="*/ 277556 w 433620"/>
              <a:gd name="connsiteY5" fmla="*/ 248380 h 283524"/>
              <a:gd name="connsiteX6" fmla="*/ 293595 w 433620"/>
              <a:gd name="connsiteY6" fmla="*/ 147662 h 283524"/>
              <a:gd name="connsiteX7" fmla="*/ 293360 w 433620"/>
              <a:gd name="connsiteY7" fmla="*/ 147763 h 283524"/>
              <a:gd name="connsiteX8" fmla="*/ 293595 w 433620"/>
              <a:gd name="connsiteY8" fmla="*/ 146381 h 283524"/>
              <a:gd name="connsiteX9" fmla="*/ 247971 w 433620"/>
              <a:gd name="connsiteY9" fmla="*/ 169968 h 283524"/>
              <a:gd name="connsiteX10" fmla="*/ 174007 w 433620"/>
              <a:gd name="connsiteY10" fmla="*/ 89637 h 283524"/>
              <a:gd name="connsiteX11" fmla="*/ 239917 w 433620"/>
              <a:gd name="connsiteY11" fmla="*/ 54626 h 283524"/>
              <a:gd name="connsiteX12" fmla="*/ 80703 w 433620"/>
              <a:gd name="connsiteY12" fmla="*/ 5901 h 283524"/>
              <a:gd name="connsiteX13" fmla="*/ 42188 w 433620"/>
              <a:gd name="connsiteY13" fmla="*/ 8530 h 283524"/>
              <a:gd name="connsiteX14" fmla="*/ 39357 w 433620"/>
              <a:gd name="connsiteY14" fmla="*/ 11057 h 283524"/>
              <a:gd name="connsiteX15" fmla="*/ 174007 w 433620"/>
              <a:gd name="connsiteY15" fmla="*/ 89670 h 283524"/>
              <a:gd name="connsiteX16" fmla="*/ 430267 w 433620"/>
              <a:gd name="connsiteY16" fmla="*/ 16314 h 283524"/>
              <a:gd name="connsiteX17" fmla="*/ 389663 w 433620"/>
              <a:gd name="connsiteY17" fmla="*/ 3374 h 283524"/>
              <a:gd name="connsiteX18" fmla="*/ 97348 w 433620"/>
              <a:gd name="connsiteY18" fmla="*/ 154435 h 283524"/>
              <a:gd name="connsiteX19" fmla="*/ 80366 w 433620"/>
              <a:gd name="connsiteY19" fmla="*/ 155479 h 283524"/>
              <a:gd name="connsiteX20" fmla="*/ 15804 w 433620"/>
              <a:gd name="connsiteY20" fmla="*/ 136306 h 283524"/>
              <a:gd name="connsiteX21" fmla="*/ 0 w 433620"/>
              <a:gd name="connsiteY21" fmla="*/ 144494 h 283524"/>
              <a:gd name="connsiteX22" fmla="*/ 96034 w 433620"/>
              <a:gd name="connsiteY22" fmla="*/ 209562 h 283524"/>
              <a:gd name="connsiteX23" fmla="*/ 120835 w 433620"/>
              <a:gd name="connsiteY23" fmla="*/ 210101 h 283524"/>
              <a:gd name="connsiteX24" fmla="*/ 417328 w 433620"/>
              <a:gd name="connsiteY24" fmla="*/ 56884 h 283524"/>
              <a:gd name="connsiteX25" fmla="*/ 430267 w 433620"/>
              <a:gd name="connsiteY25" fmla="*/ 16314 h 283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33620" h="283524">
                <a:moveTo>
                  <a:pt x="247937" y="170002"/>
                </a:moveTo>
                <a:cubicBezTo>
                  <a:pt x="247937" y="170272"/>
                  <a:pt x="248004" y="170878"/>
                  <a:pt x="248004" y="171215"/>
                </a:cubicBezTo>
                <a:cubicBezTo>
                  <a:pt x="248004" y="171215"/>
                  <a:pt x="247937" y="171215"/>
                  <a:pt x="247937" y="171249"/>
                </a:cubicBezTo>
                <a:cubicBezTo>
                  <a:pt x="248914" y="187052"/>
                  <a:pt x="253261" y="260477"/>
                  <a:pt x="254575" y="283525"/>
                </a:cubicBezTo>
                <a:cubicBezTo>
                  <a:pt x="255586" y="282918"/>
                  <a:pt x="256597" y="282346"/>
                  <a:pt x="257709" y="281773"/>
                </a:cubicBezTo>
                <a:cubicBezTo>
                  <a:pt x="269738" y="275539"/>
                  <a:pt x="275096" y="266475"/>
                  <a:pt x="277556" y="248380"/>
                </a:cubicBezTo>
                <a:cubicBezTo>
                  <a:pt x="282375" y="212156"/>
                  <a:pt x="287800" y="180583"/>
                  <a:pt x="293595" y="147662"/>
                </a:cubicBezTo>
                <a:cubicBezTo>
                  <a:pt x="293528" y="147662"/>
                  <a:pt x="293427" y="147763"/>
                  <a:pt x="293360" y="147763"/>
                </a:cubicBezTo>
                <a:cubicBezTo>
                  <a:pt x="293461" y="147325"/>
                  <a:pt x="293528" y="146853"/>
                  <a:pt x="293595" y="146381"/>
                </a:cubicBezTo>
                <a:cubicBezTo>
                  <a:pt x="284127" y="151267"/>
                  <a:pt x="253733" y="166970"/>
                  <a:pt x="247971" y="169968"/>
                </a:cubicBezTo>
                <a:moveTo>
                  <a:pt x="174007" y="89637"/>
                </a:moveTo>
                <a:lnTo>
                  <a:pt x="239917" y="54626"/>
                </a:lnTo>
                <a:cubicBezTo>
                  <a:pt x="226506" y="50616"/>
                  <a:pt x="95428" y="10821"/>
                  <a:pt x="80703" y="5901"/>
                </a:cubicBezTo>
                <a:cubicBezTo>
                  <a:pt x="63416" y="106"/>
                  <a:pt x="53105" y="409"/>
                  <a:pt x="42188" y="8530"/>
                </a:cubicBezTo>
                <a:cubicBezTo>
                  <a:pt x="41244" y="9204"/>
                  <a:pt x="40402" y="9979"/>
                  <a:pt x="39357" y="11057"/>
                </a:cubicBezTo>
                <a:cubicBezTo>
                  <a:pt x="39357" y="11057"/>
                  <a:pt x="149342" y="75787"/>
                  <a:pt x="174007" y="89670"/>
                </a:cubicBezTo>
                <a:moveTo>
                  <a:pt x="430267" y="16314"/>
                </a:moveTo>
                <a:cubicBezTo>
                  <a:pt x="422618" y="1521"/>
                  <a:pt x="404456" y="-4275"/>
                  <a:pt x="389663" y="3374"/>
                </a:cubicBezTo>
                <a:cubicBezTo>
                  <a:pt x="389023" y="3711"/>
                  <a:pt x="120397" y="142540"/>
                  <a:pt x="97348" y="154435"/>
                </a:cubicBezTo>
                <a:cubicBezTo>
                  <a:pt x="90340" y="158040"/>
                  <a:pt x="82556" y="156086"/>
                  <a:pt x="80366" y="155479"/>
                </a:cubicBezTo>
                <a:cubicBezTo>
                  <a:pt x="69819" y="152345"/>
                  <a:pt x="15804" y="136306"/>
                  <a:pt x="15804" y="136306"/>
                </a:cubicBezTo>
                <a:cubicBezTo>
                  <a:pt x="10041" y="139305"/>
                  <a:pt x="5425" y="141664"/>
                  <a:pt x="0" y="144494"/>
                </a:cubicBezTo>
                <a:cubicBezTo>
                  <a:pt x="0" y="144494"/>
                  <a:pt x="68639" y="190961"/>
                  <a:pt x="96034" y="209562"/>
                </a:cubicBezTo>
                <a:cubicBezTo>
                  <a:pt x="104088" y="215020"/>
                  <a:pt x="110625" y="215324"/>
                  <a:pt x="120835" y="210101"/>
                </a:cubicBezTo>
                <a:cubicBezTo>
                  <a:pt x="141052" y="199722"/>
                  <a:pt x="406175" y="62612"/>
                  <a:pt x="417328" y="56884"/>
                </a:cubicBezTo>
                <a:cubicBezTo>
                  <a:pt x="432087" y="49302"/>
                  <a:pt x="437883" y="31072"/>
                  <a:pt x="430267" y="16314"/>
                </a:cubicBezTo>
              </a:path>
            </a:pathLst>
          </a:custGeom>
          <a:solidFill>
            <a:schemeClr val="tx2"/>
          </a:solidFill>
          <a:ln w="3364" cap="flat">
            <a:noFill/>
            <a:prstDash val="solid"/>
            <a:miter/>
          </a:ln>
        </p:spPr>
        <p:txBody>
          <a:bodyPr rtlCol="0" anchor="ctr"/>
          <a:lstStyle/>
          <a:p>
            <a:endParaRPr lang="en-GB"/>
          </a:p>
        </p:txBody>
      </p:sp>
    </p:spTree>
    <p:extLst>
      <p:ext uri="{BB962C8B-B14F-4D97-AF65-F5344CB8AC3E}">
        <p14:creationId xmlns:p14="http://schemas.microsoft.com/office/powerpoint/2010/main" val="3664176950"/>
      </p:ext>
    </p:extLst>
  </p:cSld>
  <p:clrMapOvr>
    <a:masterClrMapping/>
  </p:clrMapOvr>
  <p:transition spd="med">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ICONS 02">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r>
              <a:rPr lang="en-GB"/>
              <a:t>INSERT FOOTER HERE</a:t>
            </a:r>
          </a:p>
        </p:txBody>
      </p:sp>
      <p:sp>
        <p:nvSpPr>
          <p:cNvPr id="5" name="Slide Number Placeholder 4"/>
          <p:cNvSpPr>
            <a:spLocks noGrp="1"/>
          </p:cNvSpPr>
          <p:nvPr>
            <p:ph type="sldNum" sz="quarter" idx="12"/>
          </p:nvPr>
        </p:nvSpPr>
        <p:spPr/>
        <p:txBody>
          <a:bodyPr/>
          <a:lstStyle/>
          <a:p>
            <a:fld id="{8CFE0557-AA98-4E6C-B0C3-581794696B68}" type="slidenum">
              <a:rPr lang="en-GB" smtClean="0"/>
              <a:t>‹#›</a:t>
            </a:fld>
            <a:endParaRPr lang="en-GB"/>
          </a:p>
        </p:txBody>
      </p:sp>
      <p:sp>
        <p:nvSpPr>
          <p:cNvPr id="3" name="Title 2">
            <a:extLst>
              <a:ext uri="{FF2B5EF4-FFF2-40B4-BE49-F238E27FC236}">
                <a16:creationId xmlns:a16="http://schemas.microsoft.com/office/drawing/2014/main" id="{C9EBEC53-9C11-EEAE-E79E-4AC3EDC2843D}"/>
              </a:ext>
            </a:extLst>
          </p:cNvPr>
          <p:cNvSpPr>
            <a:spLocks noGrp="1"/>
          </p:cNvSpPr>
          <p:nvPr>
            <p:ph type="title" hasCustomPrompt="1"/>
          </p:nvPr>
        </p:nvSpPr>
        <p:spPr/>
        <p:txBody>
          <a:bodyPr/>
          <a:lstStyle/>
          <a:p>
            <a:r>
              <a:rPr lang="en-US" dirty="0"/>
              <a:t>TITLE: subtitle</a:t>
            </a:r>
            <a:endParaRPr lang="en-GB" dirty="0"/>
          </a:p>
        </p:txBody>
      </p:sp>
      <p:sp>
        <p:nvSpPr>
          <p:cNvPr id="2" name="Freeform: Shape 1">
            <a:extLst>
              <a:ext uri="{FF2B5EF4-FFF2-40B4-BE49-F238E27FC236}">
                <a16:creationId xmlns:a16="http://schemas.microsoft.com/office/drawing/2014/main" id="{48F0768B-0EA8-76DE-1A30-3D6307C55644}"/>
              </a:ext>
            </a:extLst>
          </p:cNvPr>
          <p:cNvSpPr/>
          <p:nvPr userDrawn="1"/>
        </p:nvSpPr>
        <p:spPr>
          <a:xfrm>
            <a:off x="5141754" y="1752093"/>
            <a:ext cx="1925990" cy="1925990"/>
          </a:xfrm>
          <a:custGeom>
            <a:avLst/>
            <a:gdLst>
              <a:gd name="connsiteX0" fmla="*/ 962997 w 1925990"/>
              <a:gd name="connsiteY0" fmla="*/ 0 h 1925990"/>
              <a:gd name="connsiteX1" fmla="*/ 1925990 w 1925990"/>
              <a:gd name="connsiteY1" fmla="*/ 962995 h 1925990"/>
              <a:gd name="connsiteX2" fmla="*/ 962997 w 1925990"/>
              <a:gd name="connsiteY2" fmla="*/ 1925990 h 1925990"/>
              <a:gd name="connsiteX3" fmla="*/ 0 w 1925990"/>
              <a:gd name="connsiteY3" fmla="*/ 962995 h 1925990"/>
              <a:gd name="connsiteX4" fmla="*/ 962997 w 1925990"/>
              <a:gd name="connsiteY4" fmla="*/ 0 h 19259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5990" h="1925990">
                <a:moveTo>
                  <a:pt x="962997" y="0"/>
                </a:moveTo>
                <a:cubicBezTo>
                  <a:pt x="1494846" y="0"/>
                  <a:pt x="1925990" y="431147"/>
                  <a:pt x="1925990" y="962995"/>
                </a:cubicBezTo>
                <a:cubicBezTo>
                  <a:pt x="1925990" y="1494844"/>
                  <a:pt x="1494846" y="1925990"/>
                  <a:pt x="962997" y="1925990"/>
                </a:cubicBezTo>
                <a:cubicBezTo>
                  <a:pt x="431147" y="1925990"/>
                  <a:pt x="0" y="1494844"/>
                  <a:pt x="0" y="962995"/>
                </a:cubicBezTo>
                <a:cubicBezTo>
                  <a:pt x="0" y="431147"/>
                  <a:pt x="431147" y="0"/>
                  <a:pt x="962997"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6" name="Freeform: Shape 5">
            <a:extLst>
              <a:ext uri="{FF2B5EF4-FFF2-40B4-BE49-F238E27FC236}">
                <a16:creationId xmlns:a16="http://schemas.microsoft.com/office/drawing/2014/main" id="{79AE0363-E68A-69C7-D9AE-038699C4BC1F}"/>
              </a:ext>
            </a:extLst>
          </p:cNvPr>
          <p:cNvSpPr/>
          <p:nvPr userDrawn="1"/>
        </p:nvSpPr>
        <p:spPr>
          <a:xfrm>
            <a:off x="7382034" y="1752093"/>
            <a:ext cx="1925990" cy="1925990"/>
          </a:xfrm>
          <a:custGeom>
            <a:avLst/>
            <a:gdLst>
              <a:gd name="connsiteX0" fmla="*/ 962997 w 1925990"/>
              <a:gd name="connsiteY0" fmla="*/ 0 h 1925990"/>
              <a:gd name="connsiteX1" fmla="*/ 1925990 w 1925990"/>
              <a:gd name="connsiteY1" fmla="*/ 962995 h 1925990"/>
              <a:gd name="connsiteX2" fmla="*/ 962997 w 1925990"/>
              <a:gd name="connsiteY2" fmla="*/ 1925990 h 1925990"/>
              <a:gd name="connsiteX3" fmla="*/ 0 w 1925990"/>
              <a:gd name="connsiteY3" fmla="*/ 962995 h 1925990"/>
              <a:gd name="connsiteX4" fmla="*/ 962997 w 1925990"/>
              <a:gd name="connsiteY4" fmla="*/ 0 h 19259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5990" h="1925990">
                <a:moveTo>
                  <a:pt x="962997" y="0"/>
                </a:moveTo>
                <a:cubicBezTo>
                  <a:pt x="1494846" y="0"/>
                  <a:pt x="1925990" y="431147"/>
                  <a:pt x="1925990" y="962995"/>
                </a:cubicBezTo>
                <a:cubicBezTo>
                  <a:pt x="1925990" y="1494844"/>
                  <a:pt x="1494846" y="1925990"/>
                  <a:pt x="962997" y="1925990"/>
                </a:cubicBezTo>
                <a:cubicBezTo>
                  <a:pt x="431147" y="1925990"/>
                  <a:pt x="0" y="1494844"/>
                  <a:pt x="0" y="962995"/>
                </a:cubicBezTo>
                <a:cubicBezTo>
                  <a:pt x="0" y="431147"/>
                  <a:pt x="431147" y="0"/>
                  <a:pt x="962997"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7" name="Freeform: Shape 6">
            <a:extLst>
              <a:ext uri="{FF2B5EF4-FFF2-40B4-BE49-F238E27FC236}">
                <a16:creationId xmlns:a16="http://schemas.microsoft.com/office/drawing/2014/main" id="{F38BFB3E-40CB-269F-5F37-94AF015C7F3A}"/>
              </a:ext>
            </a:extLst>
          </p:cNvPr>
          <p:cNvSpPr/>
          <p:nvPr userDrawn="1"/>
        </p:nvSpPr>
        <p:spPr>
          <a:xfrm>
            <a:off x="2891314" y="3931413"/>
            <a:ext cx="1925990" cy="1925990"/>
          </a:xfrm>
          <a:custGeom>
            <a:avLst/>
            <a:gdLst>
              <a:gd name="connsiteX0" fmla="*/ 962997 w 1925990"/>
              <a:gd name="connsiteY0" fmla="*/ 0 h 1925990"/>
              <a:gd name="connsiteX1" fmla="*/ 1925990 w 1925990"/>
              <a:gd name="connsiteY1" fmla="*/ 962995 h 1925990"/>
              <a:gd name="connsiteX2" fmla="*/ 962997 w 1925990"/>
              <a:gd name="connsiteY2" fmla="*/ 1925990 h 1925990"/>
              <a:gd name="connsiteX3" fmla="*/ 0 w 1925990"/>
              <a:gd name="connsiteY3" fmla="*/ 962995 h 1925990"/>
              <a:gd name="connsiteX4" fmla="*/ 962997 w 1925990"/>
              <a:gd name="connsiteY4" fmla="*/ 0 h 19259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5990" h="1925990">
                <a:moveTo>
                  <a:pt x="962997" y="0"/>
                </a:moveTo>
                <a:cubicBezTo>
                  <a:pt x="1494846" y="0"/>
                  <a:pt x="1925990" y="431147"/>
                  <a:pt x="1925990" y="962995"/>
                </a:cubicBezTo>
                <a:cubicBezTo>
                  <a:pt x="1925990" y="1494844"/>
                  <a:pt x="1494846" y="1925990"/>
                  <a:pt x="962997" y="1925990"/>
                </a:cubicBezTo>
                <a:cubicBezTo>
                  <a:pt x="431147" y="1925990"/>
                  <a:pt x="0" y="1494844"/>
                  <a:pt x="0" y="962995"/>
                </a:cubicBezTo>
                <a:cubicBezTo>
                  <a:pt x="0" y="431147"/>
                  <a:pt x="431147" y="0"/>
                  <a:pt x="962997"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8" name="Freeform: Shape 7">
            <a:extLst>
              <a:ext uri="{FF2B5EF4-FFF2-40B4-BE49-F238E27FC236}">
                <a16:creationId xmlns:a16="http://schemas.microsoft.com/office/drawing/2014/main" id="{622D47F6-B014-EC63-0F21-CAB3CD0F16F0}"/>
              </a:ext>
            </a:extLst>
          </p:cNvPr>
          <p:cNvSpPr/>
          <p:nvPr userDrawn="1"/>
        </p:nvSpPr>
        <p:spPr>
          <a:xfrm>
            <a:off x="5141754" y="3931413"/>
            <a:ext cx="1925990" cy="1925990"/>
          </a:xfrm>
          <a:custGeom>
            <a:avLst/>
            <a:gdLst>
              <a:gd name="connsiteX0" fmla="*/ 962997 w 1925990"/>
              <a:gd name="connsiteY0" fmla="*/ 0 h 1925990"/>
              <a:gd name="connsiteX1" fmla="*/ 1925990 w 1925990"/>
              <a:gd name="connsiteY1" fmla="*/ 962995 h 1925990"/>
              <a:gd name="connsiteX2" fmla="*/ 962997 w 1925990"/>
              <a:gd name="connsiteY2" fmla="*/ 1925990 h 1925990"/>
              <a:gd name="connsiteX3" fmla="*/ 0 w 1925990"/>
              <a:gd name="connsiteY3" fmla="*/ 962995 h 1925990"/>
              <a:gd name="connsiteX4" fmla="*/ 962997 w 1925990"/>
              <a:gd name="connsiteY4" fmla="*/ 0 h 19259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5990" h="1925990">
                <a:moveTo>
                  <a:pt x="962997" y="0"/>
                </a:moveTo>
                <a:cubicBezTo>
                  <a:pt x="1494846" y="0"/>
                  <a:pt x="1925990" y="431147"/>
                  <a:pt x="1925990" y="962995"/>
                </a:cubicBezTo>
                <a:cubicBezTo>
                  <a:pt x="1925990" y="1494844"/>
                  <a:pt x="1494846" y="1925990"/>
                  <a:pt x="962997" y="1925990"/>
                </a:cubicBezTo>
                <a:cubicBezTo>
                  <a:pt x="431147" y="1925990"/>
                  <a:pt x="0" y="1494844"/>
                  <a:pt x="0" y="962995"/>
                </a:cubicBezTo>
                <a:cubicBezTo>
                  <a:pt x="0" y="431147"/>
                  <a:pt x="431147" y="0"/>
                  <a:pt x="962997"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9" name="Freeform: Shape 8">
            <a:extLst>
              <a:ext uri="{FF2B5EF4-FFF2-40B4-BE49-F238E27FC236}">
                <a16:creationId xmlns:a16="http://schemas.microsoft.com/office/drawing/2014/main" id="{E0ED72FA-8192-7DA4-890F-6A997F9C0357}"/>
              </a:ext>
            </a:extLst>
          </p:cNvPr>
          <p:cNvSpPr/>
          <p:nvPr userDrawn="1"/>
        </p:nvSpPr>
        <p:spPr>
          <a:xfrm>
            <a:off x="7382034" y="3931413"/>
            <a:ext cx="1925990" cy="1925990"/>
          </a:xfrm>
          <a:custGeom>
            <a:avLst/>
            <a:gdLst>
              <a:gd name="connsiteX0" fmla="*/ 962997 w 1925990"/>
              <a:gd name="connsiteY0" fmla="*/ 0 h 1925990"/>
              <a:gd name="connsiteX1" fmla="*/ 1925990 w 1925990"/>
              <a:gd name="connsiteY1" fmla="*/ 962995 h 1925990"/>
              <a:gd name="connsiteX2" fmla="*/ 962997 w 1925990"/>
              <a:gd name="connsiteY2" fmla="*/ 1925990 h 1925990"/>
              <a:gd name="connsiteX3" fmla="*/ 0 w 1925990"/>
              <a:gd name="connsiteY3" fmla="*/ 962995 h 1925990"/>
              <a:gd name="connsiteX4" fmla="*/ 962997 w 1925990"/>
              <a:gd name="connsiteY4" fmla="*/ 0 h 19259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5990" h="1925990">
                <a:moveTo>
                  <a:pt x="962997" y="0"/>
                </a:moveTo>
                <a:cubicBezTo>
                  <a:pt x="1494846" y="0"/>
                  <a:pt x="1925990" y="431147"/>
                  <a:pt x="1925990" y="962995"/>
                </a:cubicBezTo>
                <a:cubicBezTo>
                  <a:pt x="1925990" y="1494844"/>
                  <a:pt x="1494846" y="1925990"/>
                  <a:pt x="962997" y="1925990"/>
                </a:cubicBezTo>
                <a:cubicBezTo>
                  <a:pt x="431147" y="1925990"/>
                  <a:pt x="0" y="1494844"/>
                  <a:pt x="0" y="962995"/>
                </a:cubicBezTo>
                <a:cubicBezTo>
                  <a:pt x="0" y="431147"/>
                  <a:pt x="431147" y="0"/>
                  <a:pt x="962997"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0" name="Freeform: Shape 9">
            <a:extLst>
              <a:ext uri="{FF2B5EF4-FFF2-40B4-BE49-F238E27FC236}">
                <a16:creationId xmlns:a16="http://schemas.microsoft.com/office/drawing/2014/main" id="{1D615F04-C196-E3BA-831A-DFE282670464}"/>
              </a:ext>
            </a:extLst>
          </p:cNvPr>
          <p:cNvSpPr/>
          <p:nvPr userDrawn="1"/>
        </p:nvSpPr>
        <p:spPr>
          <a:xfrm>
            <a:off x="2891314" y="1752093"/>
            <a:ext cx="1925990" cy="1925990"/>
          </a:xfrm>
          <a:custGeom>
            <a:avLst/>
            <a:gdLst>
              <a:gd name="connsiteX0" fmla="*/ 962997 w 1925990"/>
              <a:gd name="connsiteY0" fmla="*/ 0 h 1925990"/>
              <a:gd name="connsiteX1" fmla="*/ 1925990 w 1925990"/>
              <a:gd name="connsiteY1" fmla="*/ 962995 h 1925990"/>
              <a:gd name="connsiteX2" fmla="*/ 962997 w 1925990"/>
              <a:gd name="connsiteY2" fmla="*/ 1925990 h 1925990"/>
              <a:gd name="connsiteX3" fmla="*/ 0 w 1925990"/>
              <a:gd name="connsiteY3" fmla="*/ 962995 h 1925990"/>
              <a:gd name="connsiteX4" fmla="*/ 962997 w 1925990"/>
              <a:gd name="connsiteY4" fmla="*/ 0 h 19259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5990" h="1925990">
                <a:moveTo>
                  <a:pt x="962997" y="0"/>
                </a:moveTo>
                <a:cubicBezTo>
                  <a:pt x="1494846" y="0"/>
                  <a:pt x="1925990" y="431147"/>
                  <a:pt x="1925990" y="962995"/>
                </a:cubicBezTo>
                <a:cubicBezTo>
                  <a:pt x="1925990" y="1494844"/>
                  <a:pt x="1494846" y="1925990"/>
                  <a:pt x="962997" y="1925990"/>
                </a:cubicBezTo>
                <a:cubicBezTo>
                  <a:pt x="431147" y="1925990"/>
                  <a:pt x="0" y="1494844"/>
                  <a:pt x="0" y="962995"/>
                </a:cubicBezTo>
                <a:cubicBezTo>
                  <a:pt x="0" y="431147"/>
                  <a:pt x="431147" y="0"/>
                  <a:pt x="962997"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1" name="Freeform: Shape 10">
            <a:extLst>
              <a:ext uri="{FF2B5EF4-FFF2-40B4-BE49-F238E27FC236}">
                <a16:creationId xmlns:a16="http://schemas.microsoft.com/office/drawing/2014/main" id="{ABB96292-D9AA-F06F-71B4-BFF5E95411CB}"/>
              </a:ext>
            </a:extLst>
          </p:cNvPr>
          <p:cNvSpPr/>
          <p:nvPr userDrawn="1"/>
        </p:nvSpPr>
        <p:spPr>
          <a:xfrm>
            <a:off x="5376289" y="2200893"/>
            <a:ext cx="1443609" cy="902639"/>
          </a:xfrm>
          <a:custGeom>
            <a:avLst/>
            <a:gdLst>
              <a:gd name="connsiteX0" fmla="*/ 279477 w 437916"/>
              <a:gd name="connsiteY0" fmla="*/ 0 h 273815"/>
              <a:gd name="connsiteX1" fmla="*/ 279477 w 437916"/>
              <a:gd name="connsiteY1" fmla="*/ 124979 h 273815"/>
              <a:gd name="connsiteX2" fmla="*/ 320889 w 437916"/>
              <a:gd name="connsiteY2" fmla="*/ 124979 h 273815"/>
              <a:gd name="connsiteX3" fmla="*/ 279477 w 437916"/>
              <a:gd name="connsiteY3" fmla="*/ 0 h 273815"/>
              <a:gd name="connsiteX4" fmla="*/ 257877 w 437916"/>
              <a:gd name="connsiteY4" fmla="*/ 0 h 273815"/>
              <a:gd name="connsiteX5" fmla="*/ 257877 w 437916"/>
              <a:gd name="connsiteY5" fmla="*/ 124979 h 273815"/>
              <a:gd name="connsiteX6" fmla="*/ 114870 w 437916"/>
              <a:gd name="connsiteY6" fmla="*/ 124979 h 273815"/>
              <a:gd name="connsiteX7" fmla="*/ 143041 w 437916"/>
              <a:gd name="connsiteY7" fmla="*/ 39896 h 273815"/>
              <a:gd name="connsiteX8" fmla="*/ 147286 w 437916"/>
              <a:gd name="connsiteY8" fmla="*/ 26991 h 273815"/>
              <a:gd name="connsiteX9" fmla="*/ 156249 w 437916"/>
              <a:gd name="connsiteY9" fmla="*/ 0 h 273815"/>
              <a:gd name="connsiteX10" fmla="*/ 257844 w 437916"/>
              <a:gd name="connsiteY10" fmla="*/ 0 h 273815"/>
              <a:gd name="connsiteX11" fmla="*/ 396504 w 437916"/>
              <a:gd name="connsiteY11" fmla="*/ 148735 h 273815"/>
              <a:gd name="connsiteX12" fmla="*/ 396504 w 437916"/>
              <a:gd name="connsiteY12" fmla="*/ 273782 h 273815"/>
              <a:gd name="connsiteX13" fmla="*/ 437916 w 437916"/>
              <a:gd name="connsiteY13" fmla="*/ 273782 h 273815"/>
              <a:gd name="connsiteX14" fmla="*/ 396504 w 437916"/>
              <a:gd name="connsiteY14" fmla="*/ 148735 h 273815"/>
              <a:gd name="connsiteX15" fmla="*/ 206019 w 437916"/>
              <a:gd name="connsiteY15" fmla="*/ 272973 h 273815"/>
              <a:gd name="connsiteX16" fmla="*/ 164606 w 437916"/>
              <a:gd name="connsiteY16" fmla="*/ 272973 h 273815"/>
              <a:gd name="connsiteX17" fmla="*/ 164606 w 437916"/>
              <a:gd name="connsiteY17" fmla="*/ 147994 h 273815"/>
              <a:gd name="connsiteX18" fmla="*/ 206019 w 437916"/>
              <a:gd name="connsiteY18" fmla="*/ 272973 h 273815"/>
              <a:gd name="connsiteX19" fmla="*/ 41413 w 437916"/>
              <a:gd name="connsiteY19" fmla="*/ 147994 h 273815"/>
              <a:gd name="connsiteX20" fmla="*/ 0 w 437916"/>
              <a:gd name="connsiteY20" fmla="*/ 272973 h 273815"/>
              <a:gd name="connsiteX21" fmla="*/ 143007 w 437916"/>
              <a:gd name="connsiteY21" fmla="*/ 272973 h 273815"/>
              <a:gd name="connsiteX22" fmla="*/ 143007 w 437916"/>
              <a:gd name="connsiteY22" fmla="*/ 147994 h 273815"/>
              <a:gd name="connsiteX23" fmla="*/ 41413 w 437916"/>
              <a:gd name="connsiteY23" fmla="*/ 147994 h 273815"/>
              <a:gd name="connsiteX24" fmla="*/ 273310 w 437916"/>
              <a:gd name="connsiteY24" fmla="*/ 148769 h 273815"/>
              <a:gd name="connsiteX25" fmla="*/ 374904 w 437916"/>
              <a:gd name="connsiteY25" fmla="*/ 148769 h 273815"/>
              <a:gd name="connsiteX26" fmla="*/ 374904 w 437916"/>
              <a:gd name="connsiteY26" fmla="*/ 273816 h 273815"/>
              <a:gd name="connsiteX27" fmla="*/ 231898 w 437916"/>
              <a:gd name="connsiteY27" fmla="*/ 273816 h 273815"/>
              <a:gd name="connsiteX28" fmla="*/ 273310 w 437916"/>
              <a:gd name="connsiteY28" fmla="*/ 148769 h 273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37916" h="273815">
                <a:moveTo>
                  <a:pt x="279477" y="0"/>
                </a:moveTo>
                <a:lnTo>
                  <a:pt x="279477" y="124979"/>
                </a:lnTo>
                <a:lnTo>
                  <a:pt x="320889" y="124979"/>
                </a:lnTo>
                <a:lnTo>
                  <a:pt x="279477" y="0"/>
                </a:lnTo>
                <a:close/>
                <a:moveTo>
                  <a:pt x="257877" y="0"/>
                </a:moveTo>
                <a:lnTo>
                  <a:pt x="257877" y="124979"/>
                </a:lnTo>
                <a:lnTo>
                  <a:pt x="114870" y="124979"/>
                </a:lnTo>
                <a:lnTo>
                  <a:pt x="143041" y="39896"/>
                </a:lnTo>
                <a:lnTo>
                  <a:pt x="147286" y="26991"/>
                </a:lnTo>
                <a:lnTo>
                  <a:pt x="156249" y="0"/>
                </a:lnTo>
                <a:lnTo>
                  <a:pt x="257844" y="0"/>
                </a:lnTo>
                <a:close/>
                <a:moveTo>
                  <a:pt x="396504" y="148735"/>
                </a:moveTo>
                <a:lnTo>
                  <a:pt x="396504" y="273782"/>
                </a:lnTo>
                <a:lnTo>
                  <a:pt x="437916" y="273782"/>
                </a:lnTo>
                <a:lnTo>
                  <a:pt x="396504" y="148735"/>
                </a:lnTo>
                <a:close/>
                <a:moveTo>
                  <a:pt x="206019" y="272973"/>
                </a:moveTo>
                <a:lnTo>
                  <a:pt x="164606" y="272973"/>
                </a:lnTo>
                <a:lnTo>
                  <a:pt x="164606" y="147994"/>
                </a:lnTo>
                <a:lnTo>
                  <a:pt x="206019" y="272973"/>
                </a:lnTo>
                <a:close/>
                <a:moveTo>
                  <a:pt x="41413" y="147994"/>
                </a:moveTo>
                <a:lnTo>
                  <a:pt x="0" y="272973"/>
                </a:lnTo>
                <a:lnTo>
                  <a:pt x="143007" y="272973"/>
                </a:lnTo>
                <a:lnTo>
                  <a:pt x="143007" y="147994"/>
                </a:lnTo>
                <a:lnTo>
                  <a:pt x="41413" y="147994"/>
                </a:lnTo>
                <a:close/>
                <a:moveTo>
                  <a:pt x="273310" y="148769"/>
                </a:moveTo>
                <a:lnTo>
                  <a:pt x="374904" y="148769"/>
                </a:lnTo>
                <a:lnTo>
                  <a:pt x="374904" y="273816"/>
                </a:lnTo>
                <a:lnTo>
                  <a:pt x="231898" y="273816"/>
                </a:lnTo>
                <a:lnTo>
                  <a:pt x="273310" y="148769"/>
                </a:lnTo>
                <a:close/>
              </a:path>
            </a:pathLst>
          </a:custGeom>
          <a:solidFill>
            <a:schemeClr val="bg1"/>
          </a:solidFill>
          <a:ln w="3364" cap="flat">
            <a:noFill/>
            <a:prstDash val="solid"/>
            <a:miter/>
          </a:ln>
        </p:spPr>
        <p:txBody>
          <a:bodyPr rtlCol="0" anchor="ctr"/>
          <a:lstStyle/>
          <a:p>
            <a:endParaRPr lang="en-GB"/>
          </a:p>
        </p:txBody>
      </p:sp>
      <p:sp>
        <p:nvSpPr>
          <p:cNvPr id="12" name="Freeform: Shape 11">
            <a:extLst>
              <a:ext uri="{FF2B5EF4-FFF2-40B4-BE49-F238E27FC236}">
                <a16:creationId xmlns:a16="http://schemas.microsoft.com/office/drawing/2014/main" id="{EB0BFD96-8A31-D23E-2B5D-680ABFC5006C}"/>
              </a:ext>
            </a:extLst>
          </p:cNvPr>
          <p:cNvSpPr/>
          <p:nvPr userDrawn="1"/>
        </p:nvSpPr>
        <p:spPr>
          <a:xfrm>
            <a:off x="7928483" y="1989673"/>
            <a:ext cx="831111" cy="1504811"/>
          </a:xfrm>
          <a:custGeom>
            <a:avLst/>
            <a:gdLst>
              <a:gd name="connsiteX0" fmla="*/ 126192 w 252115"/>
              <a:gd name="connsiteY0" fmla="*/ 245545 h 456483"/>
              <a:gd name="connsiteX1" fmla="*/ 63079 w 252115"/>
              <a:gd name="connsiteY1" fmla="*/ 182432 h 456483"/>
              <a:gd name="connsiteX2" fmla="*/ 126192 w 252115"/>
              <a:gd name="connsiteY2" fmla="*/ 119352 h 456483"/>
              <a:gd name="connsiteX3" fmla="*/ 189305 w 252115"/>
              <a:gd name="connsiteY3" fmla="*/ 182432 h 456483"/>
              <a:gd name="connsiteX4" fmla="*/ 126192 w 252115"/>
              <a:gd name="connsiteY4" fmla="*/ 245545 h 456483"/>
              <a:gd name="connsiteX5" fmla="*/ 0 w 252115"/>
              <a:gd name="connsiteY5" fmla="*/ 99000 h 456483"/>
              <a:gd name="connsiteX6" fmla="*/ 37773 w 252115"/>
              <a:gd name="connsiteY6" fmla="*/ 268290 h 456483"/>
              <a:gd name="connsiteX7" fmla="*/ 214308 w 252115"/>
              <a:gd name="connsiteY7" fmla="*/ 268290 h 456483"/>
              <a:gd name="connsiteX8" fmla="*/ 252115 w 252115"/>
              <a:gd name="connsiteY8" fmla="*/ 99000 h 456483"/>
              <a:gd name="connsiteX9" fmla="*/ 34 w 252115"/>
              <a:gd name="connsiteY9" fmla="*/ 99000 h 456483"/>
              <a:gd name="connsiteX10" fmla="*/ 165011 w 252115"/>
              <a:gd name="connsiteY10" fmla="*/ 182465 h 456483"/>
              <a:gd name="connsiteX11" fmla="*/ 126192 w 252115"/>
              <a:gd name="connsiteY11" fmla="*/ 221283 h 456483"/>
              <a:gd name="connsiteX12" fmla="*/ 87341 w 252115"/>
              <a:gd name="connsiteY12" fmla="*/ 182465 h 456483"/>
              <a:gd name="connsiteX13" fmla="*/ 126192 w 252115"/>
              <a:gd name="connsiteY13" fmla="*/ 143613 h 456483"/>
              <a:gd name="connsiteX14" fmla="*/ 165011 w 252115"/>
              <a:gd name="connsiteY14" fmla="*/ 182465 h 456483"/>
              <a:gd name="connsiteX15" fmla="*/ 198302 w 252115"/>
              <a:gd name="connsiteY15" fmla="*/ 74907 h 456483"/>
              <a:gd name="connsiteX16" fmla="*/ 198302 w 252115"/>
              <a:gd name="connsiteY16" fmla="*/ 0 h 456483"/>
              <a:gd name="connsiteX17" fmla="*/ 173906 w 252115"/>
              <a:gd name="connsiteY17" fmla="*/ 0 h 456483"/>
              <a:gd name="connsiteX18" fmla="*/ 173906 w 252115"/>
              <a:gd name="connsiteY18" fmla="*/ 74873 h 456483"/>
              <a:gd name="connsiteX19" fmla="*/ 198302 w 252115"/>
              <a:gd name="connsiteY19" fmla="*/ 74873 h 456483"/>
              <a:gd name="connsiteX20" fmla="*/ 53813 w 252115"/>
              <a:gd name="connsiteY20" fmla="*/ 74907 h 456483"/>
              <a:gd name="connsiteX21" fmla="*/ 53813 w 252115"/>
              <a:gd name="connsiteY21" fmla="*/ 0 h 456483"/>
              <a:gd name="connsiteX22" fmla="*/ 78243 w 252115"/>
              <a:gd name="connsiteY22" fmla="*/ 0 h 456483"/>
              <a:gd name="connsiteX23" fmla="*/ 78243 w 252115"/>
              <a:gd name="connsiteY23" fmla="*/ 74873 h 456483"/>
              <a:gd name="connsiteX24" fmla="*/ 53813 w 252115"/>
              <a:gd name="connsiteY24" fmla="*/ 74873 h 456483"/>
              <a:gd name="connsiteX25" fmla="*/ 126058 w 252115"/>
              <a:gd name="connsiteY25" fmla="*/ 456450 h 456483"/>
              <a:gd name="connsiteX26" fmla="*/ 53813 w 252115"/>
              <a:gd name="connsiteY26" fmla="*/ 385148 h 456483"/>
              <a:gd name="connsiteX27" fmla="*/ 78209 w 252115"/>
              <a:gd name="connsiteY27" fmla="*/ 385148 h 456483"/>
              <a:gd name="connsiteX28" fmla="*/ 126058 w 252115"/>
              <a:gd name="connsiteY28" fmla="*/ 432357 h 456483"/>
              <a:gd name="connsiteX29" fmla="*/ 173906 w 252115"/>
              <a:gd name="connsiteY29" fmla="*/ 385148 h 456483"/>
              <a:gd name="connsiteX30" fmla="*/ 126058 w 252115"/>
              <a:gd name="connsiteY30" fmla="*/ 337940 h 456483"/>
              <a:gd name="connsiteX31" fmla="*/ 113860 w 252115"/>
              <a:gd name="connsiteY31" fmla="*/ 337940 h 456483"/>
              <a:gd name="connsiteX32" fmla="*/ 113860 w 252115"/>
              <a:gd name="connsiteY32" fmla="*/ 292618 h 456483"/>
              <a:gd name="connsiteX33" fmla="*/ 138256 w 252115"/>
              <a:gd name="connsiteY33" fmla="*/ 292618 h 456483"/>
              <a:gd name="connsiteX34" fmla="*/ 138256 w 252115"/>
              <a:gd name="connsiteY34" fmla="*/ 314892 h 456483"/>
              <a:gd name="connsiteX35" fmla="*/ 198302 w 252115"/>
              <a:gd name="connsiteY35" fmla="*/ 385182 h 456483"/>
              <a:gd name="connsiteX36" fmla="*/ 126058 w 252115"/>
              <a:gd name="connsiteY36" fmla="*/ 456483 h 456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52115" h="456483">
                <a:moveTo>
                  <a:pt x="126192" y="245545"/>
                </a:moveTo>
                <a:cubicBezTo>
                  <a:pt x="91317" y="245545"/>
                  <a:pt x="63079" y="217307"/>
                  <a:pt x="63079" y="182432"/>
                </a:cubicBezTo>
                <a:cubicBezTo>
                  <a:pt x="63079" y="147556"/>
                  <a:pt x="91317" y="119352"/>
                  <a:pt x="126192" y="119352"/>
                </a:cubicBezTo>
                <a:cubicBezTo>
                  <a:pt x="161068" y="119352"/>
                  <a:pt x="189305" y="147590"/>
                  <a:pt x="189305" y="182432"/>
                </a:cubicBezTo>
                <a:cubicBezTo>
                  <a:pt x="189305" y="217274"/>
                  <a:pt x="161068" y="245545"/>
                  <a:pt x="126192" y="245545"/>
                </a:cubicBezTo>
                <a:moveTo>
                  <a:pt x="0" y="99000"/>
                </a:moveTo>
                <a:lnTo>
                  <a:pt x="37773" y="268290"/>
                </a:lnTo>
                <a:lnTo>
                  <a:pt x="214308" y="268290"/>
                </a:lnTo>
                <a:lnTo>
                  <a:pt x="252115" y="99000"/>
                </a:lnTo>
                <a:lnTo>
                  <a:pt x="34" y="99000"/>
                </a:lnTo>
                <a:close/>
                <a:moveTo>
                  <a:pt x="165011" y="182465"/>
                </a:moveTo>
                <a:cubicBezTo>
                  <a:pt x="165011" y="203896"/>
                  <a:pt x="147623" y="221283"/>
                  <a:pt x="126192" y="221283"/>
                </a:cubicBezTo>
                <a:cubicBezTo>
                  <a:pt x="104762" y="221283"/>
                  <a:pt x="87341" y="203896"/>
                  <a:pt x="87341" y="182465"/>
                </a:cubicBezTo>
                <a:cubicBezTo>
                  <a:pt x="87341" y="161034"/>
                  <a:pt x="104728" y="143613"/>
                  <a:pt x="126192" y="143613"/>
                </a:cubicBezTo>
                <a:cubicBezTo>
                  <a:pt x="147657" y="143613"/>
                  <a:pt x="165011" y="161001"/>
                  <a:pt x="165011" y="182465"/>
                </a:cubicBezTo>
                <a:moveTo>
                  <a:pt x="198302" y="74907"/>
                </a:moveTo>
                <a:lnTo>
                  <a:pt x="198302" y="0"/>
                </a:lnTo>
                <a:lnTo>
                  <a:pt x="173906" y="0"/>
                </a:lnTo>
                <a:lnTo>
                  <a:pt x="173906" y="74873"/>
                </a:lnTo>
                <a:cubicBezTo>
                  <a:pt x="173906" y="74873"/>
                  <a:pt x="198302" y="74873"/>
                  <a:pt x="198302" y="74873"/>
                </a:cubicBezTo>
                <a:close/>
                <a:moveTo>
                  <a:pt x="53813" y="74907"/>
                </a:moveTo>
                <a:lnTo>
                  <a:pt x="53813" y="0"/>
                </a:lnTo>
                <a:lnTo>
                  <a:pt x="78243" y="0"/>
                </a:lnTo>
                <a:lnTo>
                  <a:pt x="78243" y="74873"/>
                </a:lnTo>
                <a:lnTo>
                  <a:pt x="53813" y="74873"/>
                </a:lnTo>
                <a:close/>
                <a:moveTo>
                  <a:pt x="126058" y="456450"/>
                </a:moveTo>
                <a:cubicBezTo>
                  <a:pt x="86229" y="456450"/>
                  <a:pt x="53813" y="424472"/>
                  <a:pt x="53813" y="385148"/>
                </a:cubicBezTo>
                <a:lnTo>
                  <a:pt x="78209" y="385148"/>
                </a:lnTo>
                <a:cubicBezTo>
                  <a:pt x="78209" y="411162"/>
                  <a:pt x="99673" y="432357"/>
                  <a:pt x="126058" y="432357"/>
                </a:cubicBezTo>
                <a:cubicBezTo>
                  <a:pt x="152442" y="432357"/>
                  <a:pt x="173906" y="411162"/>
                  <a:pt x="173906" y="385148"/>
                </a:cubicBezTo>
                <a:cubicBezTo>
                  <a:pt x="173906" y="359135"/>
                  <a:pt x="152442" y="337940"/>
                  <a:pt x="126058" y="337940"/>
                </a:cubicBezTo>
                <a:lnTo>
                  <a:pt x="113860" y="337940"/>
                </a:lnTo>
                <a:lnTo>
                  <a:pt x="113860" y="292618"/>
                </a:lnTo>
                <a:lnTo>
                  <a:pt x="138256" y="292618"/>
                </a:lnTo>
                <a:lnTo>
                  <a:pt x="138256" y="314892"/>
                </a:lnTo>
                <a:cubicBezTo>
                  <a:pt x="172289" y="320620"/>
                  <a:pt x="198302" y="349969"/>
                  <a:pt x="198302" y="385182"/>
                </a:cubicBezTo>
                <a:cubicBezTo>
                  <a:pt x="198302" y="424472"/>
                  <a:pt x="165887" y="456483"/>
                  <a:pt x="126058" y="456483"/>
                </a:cubicBezTo>
              </a:path>
            </a:pathLst>
          </a:custGeom>
          <a:solidFill>
            <a:schemeClr val="bg1"/>
          </a:solidFill>
          <a:ln w="3364" cap="flat">
            <a:noFill/>
            <a:prstDash val="solid"/>
            <a:miter/>
          </a:ln>
        </p:spPr>
        <p:txBody>
          <a:bodyPr rtlCol="0" anchor="ctr"/>
          <a:lstStyle/>
          <a:p>
            <a:endParaRPr lang="en-GB"/>
          </a:p>
        </p:txBody>
      </p:sp>
      <p:sp>
        <p:nvSpPr>
          <p:cNvPr id="13" name="Freeform: Shape 12">
            <a:extLst>
              <a:ext uri="{FF2B5EF4-FFF2-40B4-BE49-F238E27FC236}">
                <a16:creationId xmlns:a16="http://schemas.microsoft.com/office/drawing/2014/main" id="{4ACB6BE1-3E86-6DA5-D5AD-75C05BC370AE}"/>
              </a:ext>
            </a:extLst>
          </p:cNvPr>
          <p:cNvSpPr/>
          <p:nvPr userDrawn="1"/>
        </p:nvSpPr>
        <p:spPr>
          <a:xfrm>
            <a:off x="3407106" y="4162927"/>
            <a:ext cx="880428" cy="1484483"/>
          </a:xfrm>
          <a:custGeom>
            <a:avLst/>
            <a:gdLst>
              <a:gd name="connsiteX0" fmla="*/ 155407 w 267076"/>
              <a:gd name="connsiteY0" fmla="*/ 176265 h 450316"/>
              <a:gd name="connsiteX1" fmla="*/ 83971 w 267076"/>
              <a:gd name="connsiteY1" fmla="*/ 450317 h 450316"/>
              <a:gd name="connsiteX2" fmla="*/ 267076 w 267076"/>
              <a:gd name="connsiteY2" fmla="*/ 205345 h 450316"/>
              <a:gd name="connsiteX3" fmla="*/ 155441 w 267076"/>
              <a:gd name="connsiteY3" fmla="*/ 176265 h 450316"/>
              <a:gd name="connsiteX4" fmla="*/ 174041 w 267076"/>
              <a:gd name="connsiteY4" fmla="*/ 34 h 450316"/>
              <a:gd name="connsiteX5" fmla="*/ 106143 w 267076"/>
              <a:gd name="connsiteY5" fmla="*/ 260438 h 450316"/>
              <a:gd name="connsiteX6" fmla="*/ 0 w 267076"/>
              <a:gd name="connsiteY6" fmla="*/ 232807 h 450316"/>
              <a:gd name="connsiteX7" fmla="*/ 174041 w 267076"/>
              <a:gd name="connsiteY7" fmla="*/ 0 h 450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7076" h="450316">
                <a:moveTo>
                  <a:pt x="155407" y="176265"/>
                </a:moveTo>
                <a:lnTo>
                  <a:pt x="83971" y="450317"/>
                </a:lnTo>
                <a:lnTo>
                  <a:pt x="267076" y="205345"/>
                </a:lnTo>
                <a:lnTo>
                  <a:pt x="155441" y="176265"/>
                </a:lnTo>
                <a:close/>
                <a:moveTo>
                  <a:pt x="174041" y="34"/>
                </a:moveTo>
                <a:lnTo>
                  <a:pt x="106143" y="260438"/>
                </a:lnTo>
                <a:lnTo>
                  <a:pt x="0" y="232807"/>
                </a:lnTo>
                <a:lnTo>
                  <a:pt x="174041" y="0"/>
                </a:lnTo>
                <a:close/>
              </a:path>
            </a:pathLst>
          </a:custGeom>
          <a:solidFill>
            <a:schemeClr val="bg1"/>
          </a:solidFill>
          <a:ln w="3364"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7AE9A71C-BF9C-6A04-F8F0-6533C0B321CD}"/>
              </a:ext>
            </a:extLst>
          </p:cNvPr>
          <p:cNvSpPr/>
          <p:nvPr userDrawn="1"/>
        </p:nvSpPr>
        <p:spPr>
          <a:xfrm>
            <a:off x="5678419" y="4331046"/>
            <a:ext cx="838991" cy="1078373"/>
          </a:xfrm>
          <a:custGeom>
            <a:avLst/>
            <a:gdLst>
              <a:gd name="connsiteX0" fmla="*/ 155003 w 254507"/>
              <a:gd name="connsiteY0" fmla="*/ 199010 h 327123"/>
              <a:gd name="connsiteX1" fmla="*/ 155003 w 254507"/>
              <a:gd name="connsiteY1" fmla="*/ 199145 h 327123"/>
              <a:gd name="connsiteX2" fmla="*/ 144422 w 254507"/>
              <a:gd name="connsiteY2" fmla="*/ 220980 h 327123"/>
              <a:gd name="connsiteX3" fmla="*/ 140480 w 254507"/>
              <a:gd name="connsiteY3" fmla="*/ 224046 h 327123"/>
              <a:gd name="connsiteX4" fmla="*/ 144692 w 254507"/>
              <a:gd name="connsiteY4" fmla="*/ 259697 h 327123"/>
              <a:gd name="connsiteX5" fmla="*/ 109681 w 254507"/>
              <a:gd name="connsiteY5" fmla="*/ 259697 h 327123"/>
              <a:gd name="connsiteX6" fmla="*/ 113826 w 254507"/>
              <a:gd name="connsiteY6" fmla="*/ 224046 h 327123"/>
              <a:gd name="connsiteX7" fmla="*/ 109951 w 254507"/>
              <a:gd name="connsiteY7" fmla="*/ 220980 h 327123"/>
              <a:gd name="connsiteX8" fmla="*/ 99370 w 254507"/>
              <a:gd name="connsiteY8" fmla="*/ 199145 h 327123"/>
              <a:gd name="connsiteX9" fmla="*/ 99370 w 254507"/>
              <a:gd name="connsiteY9" fmla="*/ 199010 h 327123"/>
              <a:gd name="connsiteX10" fmla="*/ 100887 w 254507"/>
              <a:gd name="connsiteY10" fmla="*/ 190148 h 327123"/>
              <a:gd name="connsiteX11" fmla="*/ 105941 w 254507"/>
              <a:gd name="connsiteY11" fmla="*/ 181286 h 327123"/>
              <a:gd name="connsiteX12" fmla="*/ 127237 w 254507"/>
              <a:gd name="connsiteY12" fmla="*/ 171346 h 327123"/>
              <a:gd name="connsiteX13" fmla="*/ 148499 w 254507"/>
              <a:gd name="connsiteY13" fmla="*/ 181286 h 327123"/>
              <a:gd name="connsiteX14" fmla="*/ 153554 w 254507"/>
              <a:gd name="connsiteY14" fmla="*/ 190148 h 327123"/>
              <a:gd name="connsiteX15" fmla="*/ 155070 w 254507"/>
              <a:gd name="connsiteY15" fmla="*/ 199010 h 327123"/>
              <a:gd name="connsiteX16" fmla="*/ 172794 w 254507"/>
              <a:gd name="connsiteY16" fmla="*/ 199010 h 327123"/>
              <a:gd name="connsiteX17" fmla="*/ 171918 w 254507"/>
              <a:gd name="connsiteY17" fmla="*/ 190148 h 327123"/>
              <a:gd name="connsiteX18" fmla="*/ 169121 w 254507"/>
              <a:gd name="connsiteY18" fmla="*/ 181286 h 327123"/>
              <a:gd name="connsiteX19" fmla="*/ 127237 w 254507"/>
              <a:gd name="connsiteY19" fmla="*/ 153621 h 327123"/>
              <a:gd name="connsiteX20" fmla="*/ 85353 w 254507"/>
              <a:gd name="connsiteY20" fmla="*/ 181286 h 327123"/>
              <a:gd name="connsiteX21" fmla="*/ 82556 w 254507"/>
              <a:gd name="connsiteY21" fmla="*/ 190148 h 327123"/>
              <a:gd name="connsiteX22" fmla="*/ 81646 w 254507"/>
              <a:gd name="connsiteY22" fmla="*/ 199010 h 327123"/>
              <a:gd name="connsiteX23" fmla="*/ 81646 w 254507"/>
              <a:gd name="connsiteY23" fmla="*/ 199145 h 327123"/>
              <a:gd name="connsiteX24" fmla="*/ 95158 w 254507"/>
              <a:gd name="connsiteY24" fmla="*/ 231493 h 327123"/>
              <a:gd name="connsiteX25" fmla="*/ 89800 w 254507"/>
              <a:gd name="connsiteY25" fmla="*/ 277455 h 327123"/>
              <a:gd name="connsiteX26" fmla="*/ 164674 w 254507"/>
              <a:gd name="connsiteY26" fmla="*/ 277455 h 327123"/>
              <a:gd name="connsiteX27" fmla="*/ 159282 w 254507"/>
              <a:gd name="connsiteY27" fmla="*/ 231493 h 327123"/>
              <a:gd name="connsiteX28" fmla="*/ 172794 w 254507"/>
              <a:gd name="connsiteY28" fmla="*/ 199145 h 327123"/>
              <a:gd name="connsiteX29" fmla="*/ 172794 w 254507"/>
              <a:gd name="connsiteY29" fmla="*/ 199010 h 327123"/>
              <a:gd name="connsiteX30" fmla="*/ 0 w 254507"/>
              <a:gd name="connsiteY30" fmla="*/ 117431 h 327123"/>
              <a:gd name="connsiteX31" fmla="*/ 254508 w 254507"/>
              <a:gd name="connsiteY31" fmla="*/ 117431 h 327123"/>
              <a:gd name="connsiteX32" fmla="*/ 254508 w 254507"/>
              <a:gd name="connsiteY32" fmla="*/ 327123 h 327123"/>
              <a:gd name="connsiteX33" fmla="*/ 0 w 254507"/>
              <a:gd name="connsiteY33" fmla="*/ 327123 h 327123"/>
              <a:gd name="connsiteX34" fmla="*/ 0 w 254507"/>
              <a:gd name="connsiteY34" fmla="*/ 117431 h 327123"/>
              <a:gd name="connsiteX35" fmla="*/ 226776 w 254507"/>
              <a:gd name="connsiteY35" fmla="*/ 99539 h 327123"/>
              <a:gd name="connsiteX36" fmla="*/ 226776 w 254507"/>
              <a:gd name="connsiteY36" fmla="*/ 99707 h 327123"/>
              <a:gd name="connsiteX37" fmla="*/ 209051 w 254507"/>
              <a:gd name="connsiteY37" fmla="*/ 99707 h 327123"/>
              <a:gd name="connsiteX38" fmla="*/ 209051 w 254507"/>
              <a:gd name="connsiteY38" fmla="*/ 99539 h 327123"/>
              <a:gd name="connsiteX39" fmla="*/ 127237 w 254507"/>
              <a:gd name="connsiteY39" fmla="*/ 17724 h 327123"/>
              <a:gd name="connsiteX40" fmla="*/ 45456 w 254507"/>
              <a:gd name="connsiteY40" fmla="*/ 99539 h 327123"/>
              <a:gd name="connsiteX41" fmla="*/ 45456 w 254507"/>
              <a:gd name="connsiteY41" fmla="*/ 99707 h 327123"/>
              <a:gd name="connsiteX42" fmla="*/ 27732 w 254507"/>
              <a:gd name="connsiteY42" fmla="*/ 99707 h 327123"/>
              <a:gd name="connsiteX43" fmla="*/ 27732 w 254507"/>
              <a:gd name="connsiteY43" fmla="*/ 99539 h 327123"/>
              <a:gd name="connsiteX44" fmla="*/ 127237 w 254507"/>
              <a:gd name="connsiteY44" fmla="*/ 0 h 327123"/>
              <a:gd name="connsiteX45" fmla="*/ 226776 w 254507"/>
              <a:gd name="connsiteY45" fmla="*/ 99539 h 327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54507" h="327123">
                <a:moveTo>
                  <a:pt x="155003" y="199010"/>
                </a:moveTo>
                <a:lnTo>
                  <a:pt x="155003" y="199145"/>
                </a:lnTo>
                <a:cubicBezTo>
                  <a:pt x="155003" y="207737"/>
                  <a:pt x="151128" y="215656"/>
                  <a:pt x="144422" y="220980"/>
                </a:cubicBezTo>
                <a:lnTo>
                  <a:pt x="140480" y="224046"/>
                </a:lnTo>
                <a:lnTo>
                  <a:pt x="144692" y="259697"/>
                </a:lnTo>
                <a:lnTo>
                  <a:pt x="109681" y="259697"/>
                </a:lnTo>
                <a:lnTo>
                  <a:pt x="113826" y="224046"/>
                </a:lnTo>
                <a:lnTo>
                  <a:pt x="109951" y="220980"/>
                </a:lnTo>
                <a:cubicBezTo>
                  <a:pt x="103212" y="215656"/>
                  <a:pt x="99370" y="207737"/>
                  <a:pt x="99370" y="199145"/>
                </a:cubicBezTo>
                <a:lnTo>
                  <a:pt x="99370" y="199010"/>
                </a:lnTo>
                <a:cubicBezTo>
                  <a:pt x="99370" y="195910"/>
                  <a:pt x="99876" y="192945"/>
                  <a:pt x="100887" y="190148"/>
                </a:cubicBezTo>
                <a:cubicBezTo>
                  <a:pt x="101999" y="186879"/>
                  <a:pt x="103717" y="183914"/>
                  <a:pt x="105941" y="181286"/>
                </a:cubicBezTo>
                <a:cubicBezTo>
                  <a:pt x="111063" y="175221"/>
                  <a:pt x="118678" y="171346"/>
                  <a:pt x="127237" y="171346"/>
                </a:cubicBezTo>
                <a:cubicBezTo>
                  <a:pt x="135796" y="171346"/>
                  <a:pt x="143411" y="175221"/>
                  <a:pt x="148499" y="181286"/>
                </a:cubicBezTo>
                <a:cubicBezTo>
                  <a:pt x="150723" y="183914"/>
                  <a:pt x="152442" y="186879"/>
                  <a:pt x="153554" y="190148"/>
                </a:cubicBezTo>
                <a:cubicBezTo>
                  <a:pt x="154531" y="192945"/>
                  <a:pt x="155070" y="195910"/>
                  <a:pt x="155070" y="199010"/>
                </a:cubicBezTo>
                <a:moveTo>
                  <a:pt x="172794" y="199010"/>
                </a:moveTo>
                <a:cubicBezTo>
                  <a:pt x="172794" y="196011"/>
                  <a:pt x="172491" y="193012"/>
                  <a:pt x="171918" y="190148"/>
                </a:cubicBezTo>
                <a:cubicBezTo>
                  <a:pt x="171312" y="187115"/>
                  <a:pt x="170368" y="184083"/>
                  <a:pt x="169121" y="181286"/>
                </a:cubicBezTo>
                <a:cubicBezTo>
                  <a:pt x="162180" y="165011"/>
                  <a:pt x="146039" y="153621"/>
                  <a:pt x="127237" y="153621"/>
                </a:cubicBezTo>
                <a:cubicBezTo>
                  <a:pt x="108434" y="153621"/>
                  <a:pt x="92328" y="165011"/>
                  <a:pt x="85353" y="181286"/>
                </a:cubicBezTo>
                <a:cubicBezTo>
                  <a:pt x="84106" y="184083"/>
                  <a:pt x="83196" y="187115"/>
                  <a:pt x="82556" y="190148"/>
                </a:cubicBezTo>
                <a:cubicBezTo>
                  <a:pt x="81983" y="193012"/>
                  <a:pt x="81646" y="196011"/>
                  <a:pt x="81646" y="199010"/>
                </a:cubicBezTo>
                <a:lnTo>
                  <a:pt x="81646" y="199145"/>
                </a:lnTo>
                <a:cubicBezTo>
                  <a:pt x="81646" y="211444"/>
                  <a:pt x="86532" y="222968"/>
                  <a:pt x="95158" y="231493"/>
                </a:cubicBezTo>
                <a:lnTo>
                  <a:pt x="89800" y="277455"/>
                </a:lnTo>
                <a:lnTo>
                  <a:pt x="164674" y="277455"/>
                </a:lnTo>
                <a:lnTo>
                  <a:pt x="159282" y="231493"/>
                </a:lnTo>
                <a:cubicBezTo>
                  <a:pt x="167908" y="222968"/>
                  <a:pt x="172794" y="211478"/>
                  <a:pt x="172794" y="199145"/>
                </a:cubicBezTo>
                <a:lnTo>
                  <a:pt x="172794" y="199010"/>
                </a:lnTo>
                <a:close/>
                <a:moveTo>
                  <a:pt x="0" y="117431"/>
                </a:moveTo>
                <a:lnTo>
                  <a:pt x="254508" y="117431"/>
                </a:lnTo>
                <a:lnTo>
                  <a:pt x="254508" y="327123"/>
                </a:lnTo>
                <a:lnTo>
                  <a:pt x="0" y="327123"/>
                </a:lnTo>
                <a:lnTo>
                  <a:pt x="0" y="117431"/>
                </a:lnTo>
                <a:close/>
                <a:moveTo>
                  <a:pt x="226776" y="99539"/>
                </a:moveTo>
                <a:lnTo>
                  <a:pt x="226776" y="99707"/>
                </a:lnTo>
                <a:lnTo>
                  <a:pt x="209051" y="99707"/>
                </a:lnTo>
                <a:lnTo>
                  <a:pt x="209051" y="99539"/>
                </a:lnTo>
                <a:cubicBezTo>
                  <a:pt x="209051" y="54419"/>
                  <a:pt x="172356" y="17724"/>
                  <a:pt x="127237" y="17724"/>
                </a:cubicBezTo>
                <a:cubicBezTo>
                  <a:pt x="82118" y="17724"/>
                  <a:pt x="45456" y="54419"/>
                  <a:pt x="45456" y="99539"/>
                </a:cubicBezTo>
                <a:lnTo>
                  <a:pt x="45456" y="99707"/>
                </a:lnTo>
                <a:lnTo>
                  <a:pt x="27732" y="99707"/>
                </a:lnTo>
                <a:lnTo>
                  <a:pt x="27732" y="99539"/>
                </a:lnTo>
                <a:cubicBezTo>
                  <a:pt x="27732" y="44681"/>
                  <a:pt x="72379" y="0"/>
                  <a:pt x="127237" y="0"/>
                </a:cubicBezTo>
                <a:cubicBezTo>
                  <a:pt x="182094" y="0"/>
                  <a:pt x="226776" y="44681"/>
                  <a:pt x="226776" y="99539"/>
                </a:cubicBezTo>
              </a:path>
            </a:pathLst>
          </a:custGeom>
          <a:solidFill>
            <a:schemeClr val="bg1"/>
          </a:solidFill>
          <a:ln w="3364" cap="flat">
            <a:no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96FD4237-C92B-A91D-04BA-786EC8BA41C8}"/>
              </a:ext>
            </a:extLst>
          </p:cNvPr>
          <p:cNvSpPr/>
          <p:nvPr userDrawn="1"/>
        </p:nvSpPr>
        <p:spPr>
          <a:xfrm>
            <a:off x="7741827" y="4345337"/>
            <a:ext cx="1207598" cy="1081480"/>
          </a:xfrm>
          <a:custGeom>
            <a:avLst/>
            <a:gdLst>
              <a:gd name="connsiteX0" fmla="*/ 365709 w 366323"/>
              <a:gd name="connsiteY0" fmla="*/ 195674 h 328066"/>
              <a:gd name="connsiteX1" fmla="*/ 301113 w 366323"/>
              <a:gd name="connsiteY1" fmla="*/ 328067 h 328066"/>
              <a:gd name="connsiteX2" fmla="*/ 65273 w 366323"/>
              <a:gd name="connsiteY2" fmla="*/ 328067 h 328066"/>
              <a:gd name="connsiteX3" fmla="*/ 610 w 366323"/>
              <a:gd name="connsiteY3" fmla="*/ 195674 h 328066"/>
              <a:gd name="connsiteX4" fmla="*/ 4047 w 366323"/>
              <a:gd name="connsiteY4" fmla="*/ 188868 h 328066"/>
              <a:gd name="connsiteX5" fmla="*/ 7316 w 366323"/>
              <a:gd name="connsiteY5" fmla="*/ 188531 h 328066"/>
              <a:gd name="connsiteX6" fmla="*/ 181458 w 366323"/>
              <a:gd name="connsiteY6" fmla="*/ 170166 h 328066"/>
              <a:gd name="connsiteX7" fmla="*/ 182233 w 366323"/>
              <a:gd name="connsiteY7" fmla="*/ 170267 h 328066"/>
              <a:gd name="connsiteX8" fmla="*/ 360722 w 366323"/>
              <a:gd name="connsiteY8" fmla="*/ 188733 h 328066"/>
              <a:gd name="connsiteX9" fmla="*/ 362238 w 366323"/>
              <a:gd name="connsiteY9" fmla="*/ 188868 h 328066"/>
              <a:gd name="connsiteX10" fmla="*/ 365709 w 366323"/>
              <a:gd name="connsiteY10" fmla="*/ 195674 h 328066"/>
              <a:gd name="connsiteX11" fmla="*/ 172899 w 366323"/>
              <a:gd name="connsiteY11" fmla="*/ 118139 h 328066"/>
              <a:gd name="connsiteX12" fmla="*/ 108640 w 366323"/>
              <a:gd name="connsiteY12" fmla="*/ 118139 h 328066"/>
              <a:gd name="connsiteX13" fmla="*/ 108640 w 366323"/>
              <a:gd name="connsiteY13" fmla="*/ 82623 h 328066"/>
              <a:gd name="connsiteX14" fmla="*/ 172899 w 366323"/>
              <a:gd name="connsiteY14" fmla="*/ 82623 h 328066"/>
              <a:gd name="connsiteX15" fmla="*/ 172899 w 366323"/>
              <a:gd name="connsiteY15" fmla="*/ 118139 h 328066"/>
              <a:gd name="connsiteX16" fmla="*/ 108640 w 366323"/>
              <a:gd name="connsiteY16" fmla="*/ 136874 h 328066"/>
              <a:gd name="connsiteX17" fmla="*/ 108640 w 366323"/>
              <a:gd name="connsiteY17" fmla="*/ 158979 h 328066"/>
              <a:gd name="connsiteX18" fmla="*/ 111639 w 366323"/>
              <a:gd name="connsiteY18" fmla="*/ 158709 h 328066"/>
              <a:gd name="connsiteX19" fmla="*/ 172933 w 366323"/>
              <a:gd name="connsiteY19" fmla="*/ 152240 h 328066"/>
              <a:gd name="connsiteX20" fmla="*/ 172933 w 366323"/>
              <a:gd name="connsiteY20" fmla="*/ 136874 h 328066"/>
              <a:gd name="connsiteX21" fmla="*/ 108674 w 366323"/>
              <a:gd name="connsiteY21" fmla="*/ 136874 h 328066"/>
              <a:gd name="connsiteX22" fmla="*/ 89905 w 366323"/>
              <a:gd name="connsiteY22" fmla="*/ 118139 h 328066"/>
              <a:gd name="connsiteX23" fmla="*/ 26118 w 366323"/>
              <a:gd name="connsiteY23" fmla="*/ 118139 h 328066"/>
              <a:gd name="connsiteX24" fmla="*/ 26118 w 366323"/>
              <a:gd name="connsiteY24" fmla="*/ 82623 h 328066"/>
              <a:gd name="connsiteX25" fmla="*/ 89905 w 366323"/>
              <a:gd name="connsiteY25" fmla="*/ 82623 h 328066"/>
              <a:gd name="connsiteX26" fmla="*/ 89905 w 366323"/>
              <a:gd name="connsiteY26" fmla="*/ 118139 h 328066"/>
              <a:gd name="connsiteX27" fmla="*/ 26085 w 366323"/>
              <a:gd name="connsiteY27" fmla="*/ 136874 h 328066"/>
              <a:gd name="connsiteX28" fmla="*/ 26085 w 366323"/>
              <a:gd name="connsiteY28" fmla="*/ 167706 h 328066"/>
              <a:gd name="connsiteX29" fmla="*/ 89872 w 366323"/>
              <a:gd name="connsiteY29" fmla="*/ 161001 h 328066"/>
              <a:gd name="connsiteX30" fmla="*/ 89872 w 366323"/>
              <a:gd name="connsiteY30" fmla="*/ 136874 h 328066"/>
              <a:gd name="connsiteX31" fmla="*/ 26085 w 366323"/>
              <a:gd name="connsiteY31" fmla="*/ 136874 h 328066"/>
              <a:gd name="connsiteX32" fmla="*/ 272910 w 366323"/>
              <a:gd name="connsiteY32" fmla="*/ 0 h 328066"/>
              <a:gd name="connsiteX33" fmla="*/ 272910 w 366323"/>
              <a:gd name="connsiteY33" fmla="*/ 28103 h 328066"/>
              <a:gd name="connsiteX34" fmla="*/ 235439 w 366323"/>
              <a:gd name="connsiteY34" fmla="*/ 28103 h 328066"/>
              <a:gd name="connsiteX35" fmla="*/ 235439 w 366323"/>
              <a:gd name="connsiteY35" fmla="*/ 63888 h 328066"/>
              <a:gd name="connsiteX36" fmla="*/ 132396 w 366323"/>
              <a:gd name="connsiteY36" fmla="*/ 63888 h 328066"/>
              <a:gd name="connsiteX37" fmla="*/ 132396 w 366323"/>
              <a:gd name="connsiteY37" fmla="*/ 28103 h 328066"/>
              <a:gd name="connsiteX38" fmla="*/ 94926 w 366323"/>
              <a:gd name="connsiteY38" fmla="*/ 28103 h 328066"/>
              <a:gd name="connsiteX39" fmla="*/ 94926 w 366323"/>
              <a:gd name="connsiteY39" fmla="*/ 0 h 328066"/>
              <a:gd name="connsiteX40" fmla="*/ 272943 w 366323"/>
              <a:gd name="connsiteY40" fmla="*/ 0 h 328066"/>
              <a:gd name="connsiteX41" fmla="*/ 342021 w 366323"/>
              <a:gd name="connsiteY41" fmla="*/ 82623 h 328066"/>
              <a:gd name="connsiteX42" fmla="*/ 275167 w 366323"/>
              <a:gd name="connsiteY42" fmla="*/ 82623 h 328066"/>
              <a:gd name="connsiteX43" fmla="*/ 275167 w 366323"/>
              <a:gd name="connsiteY43" fmla="*/ 118139 h 328066"/>
              <a:gd name="connsiteX44" fmla="*/ 342021 w 366323"/>
              <a:gd name="connsiteY44" fmla="*/ 118139 h 328066"/>
              <a:gd name="connsiteX45" fmla="*/ 342021 w 366323"/>
              <a:gd name="connsiteY45" fmla="*/ 82623 h 328066"/>
              <a:gd name="connsiteX46" fmla="*/ 342021 w 366323"/>
              <a:gd name="connsiteY46" fmla="*/ 136874 h 328066"/>
              <a:gd name="connsiteX47" fmla="*/ 342021 w 366323"/>
              <a:gd name="connsiteY47" fmla="*/ 167976 h 328066"/>
              <a:gd name="connsiteX48" fmla="*/ 277223 w 366323"/>
              <a:gd name="connsiteY48" fmla="*/ 161270 h 328066"/>
              <a:gd name="connsiteX49" fmla="*/ 275167 w 366323"/>
              <a:gd name="connsiteY49" fmla="*/ 161034 h 328066"/>
              <a:gd name="connsiteX50" fmla="*/ 275167 w 366323"/>
              <a:gd name="connsiteY50" fmla="*/ 136874 h 328066"/>
              <a:gd name="connsiteX51" fmla="*/ 342021 w 366323"/>
              <a:gd name="connsiteY51" fmla="*/ 136874 h 328066"/>
              <a:gd name="connsiteX52" fmla="*/ 256432 w 366323"/>
              <a:gd name="connsiteY52" fmla="*/ 82623 h 328066"/>
              <a:gd name="connsiteX53" fmla="*/ 191634 w 366323"/>
              <a:gd name="connsiteY53" fmla="*/ 82623 h 328066"/>
              <a:gd name="connsiteX54" fmla="*/ 191634 w 366323"/>
              <a:gd name="connsiteY54" fmla="*/ 118139 h 328066"/>
              <a:gd name="connsiteX55" fmla="*/ 256432 w 366323"/>
              <a:gd name="connsiteY55" fmla="*/ 118139 h 328066"/>
              <a:gd name="connsiteX56" fmla="*/ 256432 w 366323"/>
              <a:gd name="connsiteY56" fmla="*/ 82623 h 328066"/>
              <a:gd name="connsiteX57" fmla="*/ 256432 w 366323"/>
              <a:gd name="connsiteY57" fmla="*/ 136874 h 328066"/>
              <a:gd name="connsiteX58" fmla="*/ 256432 w 366323"/>
              <a:gd name="connsiteY58" fmla="*/ 159147 h 328066"/>
              <a:gd name="connsiteX59" fmla="*/ 194161 w 366323"/>
              <a:gd name="connsiteY59" fmla="*/ 152678 h 328066"/>
              <a:gd name="connsiteX60" fmla="*/ 191634 w 366323"/>
              <a:gd name="connsiteY60" fmla="*/ 152408 h 328066"/>
              <a:gd name="connsiteX61" fmla="*/ 191634 w 366323"/>
              <a:gd name="connsiteY61" fmla="*/ 136908 h 328066"/>
              <a:gd name="connsiteX62" fmla="*/ 256432 w 366323"/>
              <a:gd name="connsiteY62" fmla="*/ 136908 h 328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366323" h="328066">
                <a:moveTo>
                  <a:pt x="365709" y="195674"/>
                </a:moveTo>
                <a:lnTo>
                  <a:pt x="301113" y="328067"/>
                </a:lnTo>
                <a:lnTo>
                  <a:pt x="65273" y="328067"/>
                </a:lnTo>
                <a:lnTo>
                  <a:pt x="610" y="195674"/>
                </a:lnTo>
                <a:cubicBezTo>
                  <a:pt x="-1007" y="192877"/>
                  <a:pt x="745" y="189272"/>
                  <a:pt x="4047" y="188868"/>
                </a:cubicBezTo>
                <a:lnTo>
                  <a:pt x="7316" y="188531"/>
                </a:lnTo>
                <a:lnTo>
                  <a:pt x="181458" y="170166"/>
                </a:lnTo>
                <a:lnTo>
                  <a:pt x="182233" y="170267"/>
                </a:lnTo>
                <a:lnTo>
                  <a:pt x="360722" y="188733"/>
                </a:lnTo>
                <a:lnTo>
                  <a:pt x="362238" y="188868"/>
                </a:lnTo>
                <a:cubicBezTo>
                  <a:pt x="365507" y="189238"/>
                  <a:pt x="367360" y="192844"/>
                  <a:pt x="365709" y="195674"/>
                </a:cubicBezTo>
                <a:moveTo>
                  <a:pt x="172899" y="118139"/>
                </a:moveTo>
                <a:lnTo>
                  <a:pt x="108640" y="118139"/>
                </a:lnTo>
                <a:lnTo>
                  <a:pt x="108640" y="82623"/>
                </a:lnTo>
                <a:lnTo>
                  <a:pt x="172899" y="82623"/>
                </a:lnTo>
                <a:lnTo>
                  <a:pt x="172899" y="118139"/>
                </a:lnTo>
                <a:close/>
                <a:moveTo>
                  <a:pt x="108640" y="136874"/>
                </a:moveTo>
                <a:lnTo>
                  <a:pt x="108640" y="158979"/>
                </a:lnTo>
                <a:lnTo>
                  <a:pt x="111639" y="158709"/>
                </a:lnTo>
                <a:lnTo>
                  <a:pt x="172933" y="152240"/>
                </a:lnTo>
                <a:lnTo>
                  <a:pt x="172933" y="136874"/>
                </a:lnTo>
                <a:lnTo>
                  <a:pt x="108674" y="136874"/>
                </a:lnTo>
                <a:close/>
                <a:moveTo>
                  <a:pt x="89905" y="118139"/>
                </a:moveTo>
                <a:lnTo>
                  <a:pt x="26118" y="118139"/>
                </a:lnTo>
                <a:lnTo>
                  <a:pt x="26118" y="82623"/>
                </a:lnTo>
                <a:lnTo>
                  <a:pt x="89905" y="82623"/>
                </a:lnTo>
                <a:lnTo>
                  <a:pt x="89905" y="118139"/>
                </a:lnTo>
                <a:close/>
                <a:moveTo>
                  <a:pt x="26085" y="136874"/>
                </a:moveTo>
                <a:lnTo>
                  <a:pt x="26085" y="167706"/>
                </a:lnTo>
                <a:lnTo>
                  <a:pt x="89872" y="161001"/>
                </a:lnTo>
                <a:lnTo>
                  <a:pt x="89872" y="136874"/>
                </a:lnTo>
                <a:lnTo>
                  <a:pt x="26085" y="136874"/>
                </a:lnTo>
                <a:close/>
                <a:moveTo>
                  <a:pt x="272910" y="0"/>
                </a:moveTo>
                <a:lnTo>
                  <a:pt x="272910" y="28103"/>
                </a:lnTo>
                <a:lnTo>
                  <a:pt x="235439" y="28103"/>
                </a:lnTo>
                <a:lnTo>
                  <a:pt x="235439" y="63888"/>
                </a:lnTo>
                <a:lnTo>
                  <a:pt x="132396" y="63888"/>
                </a:lnTo>
                <a:lnTo>
                  <a:pt x="132396" y="28103"/>
                </a:lnTo>
                <a:lnTo>
                  <a:pt x="94926" y="28103"/>
                </a:lnTo>
                <a:lnTo>
                  <a:pt x="94926" y="0"/>
                </a:lnTo>
                <a:lnTo>
                  <a:pt x="272943" y="0"/>
                </a:lnTo>
                <a:close/>
                <a:moveTo>
                  <a:pt x="342021" y="82623"/>
                </a:moveTo>
                <a:lnTo>
                  <a:pt x="275167" y="82623"/>
                </a:lnTo>
                <a:lnTo>
                  <a:pt x="275167" y="118139"/>
                </a:lnTo>
                <a:lnTo>
                  <a:pt x="342021" y="118139"/>
                </a:lnTo>
                <a:lnTo>
                  <a:pt x="342021" y="82623"/>
                </a:lnTo>
                <a:close/>
                <a:moveTo>
                  <a:pt x="342021" y="136874"/>
                </a:moveTo>
                <a:lnTo>
                  <a:pt x="342021" y="167976"/>
                </a:lnTo>
                <a:lnTo>
                  <a:pt x="277223" y="161270"/>
                </a:lnTo>
                <a:lnTo>
                  <a:pt x="275167" y="161034"/>
                </a:lnTo>
                <a:lnTo>
                  <a:pt x="275167" y="136874"/>
                </a:lnTo>
                <a:lnTo>
                  <a:pt x="342021" y="136874"/>
                </a:lnTo>
                <a:close/>
                <a:moveTo>
                  <a:pt x="256432" y="82623"/>
                </a:moveTo>
                <a:lnTo>
                  <a:pt x="191634" y="82623"/>
                </a:lnTo>
                <a:lnTo>
                  <a:pt x="191634" y="118139"/>
                </a:lnTo>
                <a:lnTo>
                  <a:pt x="256432" y="118139"/>
                </a:lnTo>
                <a:lnTo>
                  <a:pt x="256432" y="82623"/>
                </a:lnTo>
                <a:close/>
                <a:moveTo>
                  <a:pt x="256432" y="136874"/>
                </a:moveTo>
                <a:lnTo>
                  <a:pt x="256432" y="159147"/>
                </a:lnTo>
                <a:lnTo>
                  <a:pt x="194161" y="152678"/>
                </a:lnTo>
                <a:lnTo>
                  <a:pt x="191634" y="152408"/>
                </a:lnTo>
                <a:lnTo>
                  <a:pt x="191634" y="136908"/>
                </a:lnTo>
                <a:lnTo>
                  <a:pt x="256432" y="136908"/>
                </a:lnTo>
                <a:close/>
              </a:path>
            </a:pathLst>
          </a:custGeom>
          <a:solidFill>
            <a:schemeClr val="bg1"/>
          </a:solidFill>
          <a:ln w="3364" cap="flat">
            <a:noFill/>
            <a:prstDash val="solid"/>
            <a:miter/>
          </a:ln>
        </p:spPr>
        <p:txBody>
          <a:bodyPr rtlCol="0" anchor="ctr"/>
          <a:lstStyle/>
          <a:p>
            <a:endParaRPr lang="en-GB"/>
          </a:p>
        </p:txBody>
      </p:sp>
      <p:sp>
        <p:nvSpPr>
          <p:cNvPr id="16" name="Freeform: Shape 15">
            <a:extLst>
              <a:ext uri="{FF2B5EF4-FFF2-40B4-BE49-F238E27FC236}">
                <a16:creationId xmlns:a16="http://schemas.microsoft.com/office/drawing/2014/main" id="{BA797398-EF3D-6868-25F2-536BA377037C}"/>
              </a:ext>
            </a:extLst>
          </p:cNvPr>
          <p:cNvSpPr/>
          <p:nvPr userDrawn="1"/>
        </p:nvSpPr>
        <p:spPr>
          <a:xfrm>
            <a:off x="3132709" y="2299174"/>
            <a:ext cx="1429447" cy="934645"/>
          </a:xfrm>
          <a:custGeom>
            <a:avLst/>
            <a:gdLst>
              <a:gd name="connsiteX0" fmla="*/ 247937 w 433620"/>
              <a:gd name="connsiteY0" fmla="*/ 170002 h 283524"/>
              <a:gd name="connsiteX1" fmla="*/ 248004 w 433620"/>
              <a:gd name="connsiteY1" fmla="*/ 171215 h 283524"/>
              <a:gd name="connsiteX2" fmla="*/ 247937 w 433620"/>
              <a:gd name="connsiteY2" fmla="*/ 171249 h 283524"/>
              <a:gd name="connsiteX3" fmla="*/ 254575 w 433620"/>
              <a:gd name="connsiteY3" fmla="*/ 283525 h 283524"/>
              <a:gd name="connsiteX4" fmla="*/ 257709 w 433620"/>
              <a:gd name="connsiteY4" fmla="*/ 281773 h 283524"/>
              <a:gd name="connsiteX5" fmla="*/ 277556 w 433620"/>
              <a:gd name="connsiteY5" fmla="*/ 248380 h 283524"/>
              <a:gd name="connsiteX6" fmla="*/ 293595 w 433620"/>
              <a:gd name="connsiteY6" fmla="*/ 147662 h 283524"/>
              <a:gd name="connsiteX7" fmla="*/ 293360 w 433620"/>
              <a:gd name="connsiteY7" fmla="*/ 147763 h 283524"/>
              <a:gd name="connsiteX8" fmla="*/ 293595 w 433620"/>
              <a:gd name="connsiteY8" fmla="*/ 146381 h 283524"/>
              <a:gd name="connsiteX9" fmla="*/ 247971 w 433620"/>
              <a:gd name="connsiteY9" fmla="*/ 169968 h 283524"/>
              <a:gd name="connsiteX10" fmla="*/ 174007 w 433620"/>
              <a:gd name="connsiteY10" fmla="*/ 89637 h 283524"/>
              <a:gd name="connsiteX11" fmla="*/ 239917 w 433620"/>
              <a:gd name="connsiteY11" fmla="*/ 54626 h 283524"/>
              <a:gd name="connsiteX12" fmla="*/ 80703 w 433620"/>
              <a:gd name="connsiteY12" fmla="*/ 5901 h 283524"/>
              <a:gd name="connsiteX13" fmla="*/ 42188 w 433620"/>
              <a:gd name="connsiteY13" fmla="*/ 8530 h 283524"/>
              <a:gd name="connsiteX14" fmla="*/ 39357 w 433620"/>
              <a:gd name="connsiteY14" fmla="*/ 11057 h 283524"/>
              <a:gd name="connsiteX15" fmla="*/ 174007 w 433620"/>
              <a:gd name="connsiteY15" fmla="*/ 89670 h 283524"/>
              <a:gd name="connsiteX16" fmla="*/ 430267 w 433620"/>
              <a:gd name="connsiteY16" fmla="*/ 16314 h 283524"/>
              <a:gd name="connsiteX17" fmla="*/ 389663 w 433620"/>
              <a:gd name="connsiteY17" fmla="*/ 3374 h 283524"/>
              <a:gd name="connsiteX18" fmla="*/ 97348 w 433620"/>
              <a:gd name="connsiteY18" fmla="*/ 154435 h 283524"/>
              <a:gd name="connsiteX19" fmla="*/ 80366 w 433620"/>
              <a:gd name="connsiteY19" fmla="*/ 155479 h 283524"/>
              <a:gd name="connsiteX20" fmla="*/ 15804 w 433620"/>
              <a:gd name="connsiteY20" fmla="*/ 136306 h 283524"/>
              <a:gd name="connsiteX21" fmla="*/ 0 w 433620"/>
              <a:gd name="connsiteY21" fmla="*/ 144494 h 283524"/>
              <a:gd name="connsiteX22" fmla="*/ 96034 w 433620"/>
              <a:gd name="connsiteY22" fmla="*/ 209562 h 283524"/>
              <a:gd name="connsiteX23" fmla="*/ 120835 w 433620"/>
              <a:gd name="connsiteY23" fmla="*/ 210101 h 283524"/>
              <a:gd name="connsiteX24" fmla="*/ 417328 w 433620"/>
              <a:gd name="connsiteY24" fmla="*/ 56884 h 283524"/>
              <a:gd name="connsiteX25" fmla="*/ 430267 w 433620"/>
              <a:gd name="connsiteY25" fmla="*/ 16314 h 283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33620" h="283524">
                <a:moveTo>
                  <a:pt x="247937" y="170002"/>
                </a:moveTo>
                <a:cubicBezTo>
                  <a:pt x="247937" y="170272"/>
                  <a:pt x="248004" y="170878"/>
                  <a:pt x="248004" y="171215"/>
                </a:cubicBezTo>
                <a:cubicBezTo>
                  <a:pt x="248004" y="171215"/>
                  <a:pt x="247937" y="171215"/>
                  <a:pt x="247937" y="171249"/>
                </a:cubicBezTo>
                <a:cubicBezTo>
                  <a:pt x="248914" y="187052"/>
                  <a:pt x="253261" y="260477"/>
                  <a:pt x="254575" y="283525"/>
                </a:cubicBezTo>
                <a:cubicBezTo>
                  <a:pt x="255586" y="282918"/>
                  <a:pt x="256597" y="282346"/>
                  <a:pt x="257709" y="281773"/>
                </a:cubicBezTo>
                <a:cubicBezTo>
                  <a:pt x="269738" y="275539"/>
                  <a:pt x="275096" y="266475"/>
                  <a:pt x="277556" y="248380"/>
                </a:cubicBezTo>
                <a:cubicBezTo>
                  <a:pt x="282375" y="212156"/>
                  <a:pt x="287800" y="180583"/>
                  <a:pt x="293595" y="147662"/>
                </a:cubicBezTo>
                <a:cubicBezTo>
                  <a:pt x="293528" y="147662"/>
                  <a:pt x="293427" y="147763"/>
                  <a:pt x="293360" y="147763"/>
                </a:cubicBezTo>
                <a:cubicBezTo>
                  <a:pt x="293461" y="147325"/>
                  <a:pt x="293528" y="146853"/>
                  <a:pt x="293595" y="146381"/>
                </a:cubicBezTo>
                <a:cubicBezTo>
                  <a:pt x="284127" y="151267"/>
                  <a:pt x="253733" y="166970"/>
                  <a:pt x="247971" y="169968"/>
                </a:cubicBezTo>
                <a:moveTo>
                  <a:pt x="174007" y="89637"/>
                </a:moveTo>
                <a:lnTo>
                  <a:pt x="239917" y="54626"/>
                </a:lnTo>
                <a:cubicBezTo>
                  <a:pt x="226506" y="50616"/>
                  <a:pt x="95428" y="10821"/>
                  <a:pt x="80703" y="5901"/>
                </a:cubicBezTo>
                <a:cubicBezTo>
                  <a:pt x="63416" y="106"/>
                  <a:pt x="53105" y="409"/>
                  <a:pt x="42188" y="8530"/>
                </a:cubicBezTo>
                <a:cubicBezTo>
                  <a:pt x="41244" y="9204"/>
                  <a:pt x="40402" y="9979"/>
                  <a:pt x="39357" y="11057"/>
                </a:cubicBezTo>
                <a:cubicBezTo>
                  <a:pt x="39357" y="11057"/>
                  <a:pt x="149342" y="75787"/>
                  <a:pt x="174007" y="89670"/>
                </a:cubicBezTo>
                <a:moveTo>
                  <a:pt x="430267" y="16314"/>
                </a:moveTo>
                <a:cubicBezTo>
                  <a:pt x="422618" y="1521"/>
                  <a:pt x="404456" y="-4275"/>
                  <a:pt x="389663" y="3374"/>
                </a:cubicBezTo>
                <a:cubicBezTo>
                  <a:pt x="389023" y="3711"/>
                  <a:pt x="120397" y="142540"/>
                  <a:pt x="97348" y="154435"/>
                </a:cubicBezTo>
                <a:cubicBezTo>
                  <a:pt x="90340" y="158040"/>
                  <a:pt x="82556" y="156086"/>
                  <a:pt x="80366" y="155479"/>
                </a:cubicBezTo>
                <a:cubicBezTo>
                  <a:pt x="69819" y="152345"/>
                  <a:pt x="15804" y="136306"/>
                  <a:pt x="15804" y="136306"/>
                </a:cubicBezTo>
                <a:cubicBezTo>
                  <a:pt x="10041" y="139305"/>
                  <a:pt x="5425" y="141664"/>
                  <a:pt x="0" y="144494"/>
                </a:cubicBezTo>
                <a:cubicBezTo>
                  <a:pt x="0" y="144494"/>
                  <a:pt x="68639" y="190961"/>
                  <a:pt x="96034" y="209562"/>
                </a:cubicBezTo>
                <a:cubicBezTo>
                  <a:pt x="104088" y="215020"/>
                  <a:pt x="110625" y="215324"/>
                  <a:pt x="120835" y="210101"/>
                </a:cubicBezTo>
                <a:cubicBezTo>
                  <a:pt x="141052" y="199722"/>
                  <a:pt x="406175" y="62612"/>
                  <a:pt x="417328" y="56884"/>
                </a:cubicBezTo>
                <a:cubicBezTo>
                  <a:pt x="432087" y="49302"/>
                  <a:pt x="437883" y="31072"/>
                  <a:pt x="430267" y="16314"/>
                </a:cubicBezTo>
              </a:path>
            </a:pathLst>
          </a:custGeom>
          <a:solidFill>
            <a:schemeClr val="bg1"/>
          </a:solidFill>
          <a:ln w="3364" cap="flat">
            <a:noFill/>
            <a:prstDash val="solid"/>
            <a:miter/>
          </a:ln>
        </p:spPr>
        <p:txBody>
          <a:bodyPr rtlCol="0" anchor="ctr"/>
          <a:lstStyle/>
          <a:p>
            <a:endParaRPr lang="en-GB"/>
          </a:p>
        </p:txBody>
      </p:sp>
    </p:spTree>
    <p:extLst>
      <p:ext uri="{BB962C8B-B14F-4D97-AF65-F5344CB8AC3E}">
        <p14:creationId xmlns:p14="http://schemas.microsoft.com/office/powerpoint/2010/main" val="316379961"/>
      </p:ext>
    </p:extLst>
  </p:cSld>
  <p:clrMapOvr>
    <a:masterClrMapping/>
  </p:clrMapOvr>
  <p:transition spd="med">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OUR GLOBAL REACH">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GB"/>
              <a:t>INSERT FOOTER HERE</a:t>
            </a:r>
          </a:p>
        </p:txBody>
      </p:sp>
      <p:sp>
        <p:nvSpPr>
          <p:cNvPr id="4" name="Slide Number Placeholder 3"/>
          <p:cNvSpPr>
            <a:spLocks noGrp="1"/>
          </p:cNvSpPr>
          <p:nvPr>
            <p:ph type="sldNum" sz="quarter" idx="12"/>
          </p:nvPr>
        </p:nvSpPr>
        <p:spPr/>
        <p:txBody>
          <a:bodyPr/>
          <a:lstStyle/>
          <a:p>
            <a:fld id="{8CFE0557-AA98-4E6C-B0C3-581794696B68}" type="slidenum">
              <a:rPr lang="en-GB" smtClean="0"/>
              <a:t>‹#›</a:t>
            </a:fld>
            <a:endParaRPr lang="en-GB"/>
          </a:p>
        </p:txBody>
      </p:sp>
      <p:sp>
        <p:nvSpPr>
          <p:cNvPr id="2" name="Rectangle 1">
            <a:extLst>
              <a:ext uri="{FF2B5EF4-FFF2-40B4-BE49-F238E27FC236}">
                <a16:creationId xmlns:a16="http://schemas.microsoft.com/office/drawing/2014/main" id="{77CDF8D0-5BE7-D4D7-01B0-BF05BF98BAAF}"/>
              </a:ext>
            </a:extLst>
          </p:cNvPr>
          <p:cNvSpPr/>
          <p:nvPr userDrawn="1"/>
        </p:nvSpPr>
        <p:spPr>
          <a:xfrm>
            <a:off x="508000" y="506413"/>
            <a:ext cx="11174413" cy="57134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E737BA55-03EE-191A-6DE1-61114FA1A762}"/>
              </a:ext>
            </a:extLst>
          </p:cNvPr>
          <p:cNvSpPr txBox="1"/>
          <p:nvPr userDrawn="1"/>
        </p:nvSpPr>
        <p:spPr>
          <a:xfrm>
            <a:off x="1396409" y="2989875"/>
            <a:ext cx="1719982" cy="3035446"/>
          </a:xfrm>
          <a:prstGeom prst="rect">
            <a:avLst/>
          </a:prstGeom>
          <a:noFill/>
        </p:spPr>
        <p:txBody>
          <a:bodyPr wrap="square" rtlCol="0">
            <a:spAutoFit/>
          </a:bodyPr>
          <a:lstStyle/>
          <a:p>
            <a:pPr>
              <a:lnSpc>
                <a:spcPct val="120000"/>
              </a:lnSpc>
            </a:pPr>
            <a:r>
              <a:rPr lang="en-GB" sz="800" dirty="0"/>
              <a:t>Abu Dhabi</a:t>
            </a:r>
          </a:p>
          <a:p>
            <a:pPr>
              <a:lnSpc>
                <a:spcPct val="120000"/>
              </a:lnSpc>
            </a:pPr>
            <a:r>
              <a:rPr lang="en-GB" sz="800" dirty="0"/>
              <a:t>British Virgin Islands </a:t>
            </a:r>
          </a:p>
          <a:p>
            <a:pPr>
              <a:lnSpc>
                <a:spcPct val="120000"/>
              </a:lnSpc>
            </a:pPr>
            <a:r>
              <a:rPr lang="en-GB" sz="800" dirty="0"/>
              <a:t>Brussels</a:t>
            </a:r>
          </a:p>
          <a:p>
            <a:pPr>
              <a:lnSpc>
                <a:spcPct val="120000"/>
              </a:lnSpc>
            </a:pPr>
            <a:r>
              <a:rPr lang="en-GB" sz="800" dirty="0"/>
              <a:t>Dubai</a:t>
            </a:r>
          </a:p>
          <a:p>
            <a:pPr>
              <a:lnSpc>
                <a:spcPct val="120000"/>
              </a:lnSpc>
            </a:pPr>
            <a:r>
              <a:rPr lang="en-GB" sz="800" dirty="0"/>
              <a:t>Geneva</a:t>
            </a:r>
          </a:p>
          <a:p>
            <a:pPr>
              <a:lnSpc>
                <a:spcPct val="120000"/>
              </a:lnSpc>
            </a:pPr>
            <a:r>
              <a:rPr lang="en-GB" sz="800" dirty="0"/>
              <a:t>Hong Kong </a:t>
            </a:r>
          </a:p>
          <a:p>
            <a:pPr>
              <a:lnSpc>
                <a:spcPct val="120000"/>
              </a:lnSpc>
            </a:pPr>
            <a:r>
              <a:rPr lang="en-GB" sz="800" dirty="0"/>
              <a:t>Houston</a:t>
            </a:r>
          </a:p>
          <a:p>
            <a:pPr>
              <a:lnSpc>
                <a:spcPct val="120000"/>
              </a:lnSpc>
            </a:pPr>
            <a:r>
              <a:rPr lang="en-GB" sz="800" dirty="0"/>
              <a:t>Kuwait</a:t>
            </a:r>
          </a:p>
          <a:p>
            <a:pPr>
              <a:lnSpc>
                <a:spcPct val="120000"/>
              </a:lnSpc>
            </a:pPr>
            <a:r>
              <a:rPr lang="en-GB" sz="800" dirty="0"/>
              <a:t>London </a:t>
            </a:r>
          </a:p>
          <a:p>
            <a:pPr>
              <a:lnSpc>
                <a:spcPct val="120000"/>
              </a:lnSpc>
            </a:pPr>
            <a:r>
              <a:rPr lang="en-GB" sz="800" dirty="0"/>
              <a:t>Melbourne </a:t>
            </a:r>
          </a:p>
          <a:p>
            <a:pPr>
              <a:lnSpc>
                <a:spcPct val="120000"/>
              </a:lnSpc>
            </a:pPr>
            <a:r>
              <a:rPr lang="en-GB" sz="800" dirty="0"/>
              <a:t>Monaco</a:t>
            </a:r>
          </a:p>
          <a:p>
            <a:pPr>
              <a:lnSpc>
                <a:spcPct val="120000"/>
              </a:lnSpc>
            </a:pPr>
            <a:r>
              <a:rPr lang="en-GB" sz="800" dirty="0"/>
              <a:t>Paris</a:t>
            </a:r>
          </a:p>
          <a:p>
            <a:pPr>
              <a:lnSpc>
                <a:spcPct val="120000"/>
              </a:lnSpc>
            </a:pPr>
            <a:r>
              <a:rPr lang="en-GB" sz="800" dirty="0"/>
              <a:t>Perth</a:t>
            </a:r>
          </a:p>
          <a:p>
            <a:pPr>
              <a:lnSpc>
                <a:spcPct val="120000"/>
              </a:lnSpc>
            </a:pPr>
            <a:r>
              <a:rPr lang="en-GB" sz="800" dirty="0"/>
              <a:t>Piraeus</a:t>
            </a:r>
          </a:p>
          <a:p>
            <a:pPr>
              <a:lnSpc>
                <a:spcPct val="120000"/>
              </a:lnSpc>
            </a:pPr>
            <a:r>
              <a:rPr lang="en-GB" sz="800" dirty="0"/>
              <a:t>Rio de Janeiro </a:t>
            </a:r>
          </a:p>
          <a:p>
            <a:pPr>
              <a:lnSpc>
                <a:spcPct val="120000"/>
              </a:lnSpc>
            </a:pPr>
            <a:r>
              <a:rPr lang="en-GB" sz="800" dirty="0"/>
              <a:t>Riyadh</a:t>
            </a:r>
          </a:p>
          <a:p>
            <a:pPr>
              <a:lnSpc>
                <a:spcPct val="120000"/>
              </a:lnSpc>
            </a:pPr>
            <a:r>
              <a:rPr lang="en-GB" sz="800" dirty="0"/>
              <a:t>São Paulo </a:t>
            </a:r>
          </a:p>
          <a:p>
            <a:pPr>
              <a:lnSpc>
                <a:spcPct val="120000"/>
              </a:lnSpc>
            </a:pPr>
            <a:r>
              <a:rPr lang="en-GB" sz="800" dirty="0"/>
              <a:t>Shanghai </a:t>
            </a:r>
          </a:p>
          <a:p>
            <a:pPr>
              <a:lnSpc>
                <a:spcPct val="120000"/>
              </a:lnSpc>
            </a:pPr>
            <a:r>
              <a:rPr lang="en-GB" sz="800" dirty="0"/>
              <a:t>Singapore</a:t>
            </a:r>
          </a:p>
          <a:p>
            <a:pPr>
              <a:lnSpc>
                <a:spcPct val="120000"/>
              </a:lnSpc>
            </a:pPr>
            <a:r>
              <a:rPr lang="en-GB" sz="800" dirty="0"/>
              <a:t>Sydney</a:t>
            </a:r>
          </a:p>
        </p:txBody>
      </p:sp>
      <p:pic>
        <p:nvPicPr>
          <p:cNvPr id="6" name="Graphic 5">
            <a:extLst>
              <a:ext uri="{FF2B5EF4-FFF2-40B4-BE49-F238E27FC236}">
                <a16:creationId xmlns:a16="http://schemas.microsoft.com/office/drawing/2014/main" id="{3974C6FD-D4E1-83D7-4F7D-39874638AD7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438937" y="1445514"/>
            <a:ext cx="9399182" cy="4608159"/>
          </a:xfrm>
          <a:prstGeom prst="rect">
            <a:avLst/>
          </a:prstGeom>
        </p:spPr>
      </p:pic>
      <p:sp>
        <p:nvSpPr>
          <p:cNvPr id="7" name="Content Placeholder 7">
            <a:extLst>
              <a:ext uri="{FF2B5EF4-FFF2-40B4-BE49-F238E27FC236}">
                <a16:creationId xmlns:a16="http://schemas.microsoft.com/office/drawing/2014/main" id="{3C5DA1A9-AB20-2FFC-4C40-6DB064BC6E65}"/>
              </a:ext>
            </a:extLst>
          </p:cNvPr>
          <p:cNvSpPr txBox="1">
            <a:spLocks/>
          </p:cNvSpPr>
          <p:nvPr userDrawn="1"/>
        </p:nvSpPr>
        <p:spPr>
          <a:xfrm>
            <a:off x="834163" y="709290"/>
            <a:ext cx="7133499" cy="758003"/>
          </a:xfrm>
          <a:prstGeom prst="rect">
            <a:avLst/>
          </a:prstGeom>
        </p:spPr>
        <p:txBody>
          <a:bodyPr>
            <a:normAutofit/>
          </a:bodyPr>
          <a:lstStyle>
            <a:lvl1pPr marL="0" indent="0" algn="l" defTabSz="914400" rtl="0" eaLnBrk="1" latinLnBrk="0" hangingPunct="1">
              <a:lnSpc>
                <a:spcPct val="130000"/>
              </a:lnSpc>
              <a:spcBef>
                <a:spcPts val="300"/>
              </a:spcBef>
              <a:spcAft>
                <a:spcPts val="300"/>
              </a:spcAft>
              <a:buFont typeface="Arial" panose="020B0604020202020204" pitchFamily="34" charset="0"/>
              <a:buNone/>
              <a:defRPr sz="1400" kern="1200">
                <a:solidFill>
                  <a:schemeClr val="tx2"/>
                </a:solidFill>
                <a:latin typeface="+mj-lt"/>
                <a:ea typeface="+mn-ea"/>
                <a:cs typeface="+mn-cs"/>
              </a:defRPr>
            </a:lvl1pPr>
            <a:lvl2pPr marL="0" indent="0" algn="l" defTabSz="914400" rtl="0" eaLnBrk="1" latinLnBrk="0" hangingPunct="1">
              <a:lnSpc>
                <a:spcPct val="130000"/>
              </a:lnSpc>
              <a:spcBef>
                <a:spcPts val="300"/>
              </a:spcBef>
              <a:spcAft>
                <a:spcPts val="300"/>
              </a:spcAft>
              <a:buFont typeface="Arial" panose="020B0604020202020204" pitchFamily="34" charset="0"/>
              <a:buNone/>
              <a:defRPr sz="1100" kern="1200">
                <a:solidFill>
                  <a:schemeClr val="tx1"/>
                </a:solidFill>
                <a:latin typeface="+mn-lt"/>
                <a:ea typeface="+mn-ea"/>
                <a:cs typeface="+mn-cs"/>
              </a:defRPr>
            </a:lvl2pPr>
            <a:lvl3pPr marL="180975" indent="-180975" algn="l" defTabSz="914400" rtl="0" eaLnBrk="1" latinLnBrk="0" hangingPunct="1">
              <a:lnSpc>
                <a:spcPct val="130000"/>
              </a:lnSpc>
              <a:spcBef>
                <a:spcPts val="300"/>
              </a:spcBef>
              <a:spcAft>
                <a:spcPts val="300"/>
              </a:spcAft>
              <a:buClr>
                <a:schemeClr val="tx2"/>
              </a:buClr>
              <a:buSzPct val="105000"/>
              <a:buFont typeface="Arial" panose="020B0604020202020204" pitchFamily="34" charset="0"/>
              <a:buChar char="•"/>
              <a:defRPr sz="1100" kern="1200">
                <a:solidFill>
                  <a:schemeClr val="tx1"/>
                </a:solidFill>
                <a:latin typeface="+mn-lt"/>
                <a:ea typeface="+mn-ea"/>
                <a:cs typeface="+mn-cs"/>
              </a:defRPr>
            </a:lvl3pPr>
            <a:lvl4pPr marL="539750" indent="-180975" algn="l" defTabSz="914400" rtl="0" eaLnBrk="1" latinLnBrk="0" hangingPunct="1">
              <a:lnSpc>
                <a:spcPct val="130000"/>
              </a:lnSpc>
              <a:spcBef>
                <a:spcPts val="300"/>
              </a:spcBef>
              <a:spcAft>
                <a:spcPts val="300"/>
              </a:spcAft>
              <a:buClr>
                <a:schemeClr val="tx2"/>
              </a:buClr>
              <a:buSzPct val="105000"/>
              <a:buFont typeface="Arial" panose="020B0604020202020204" pitchFamily="34" charset="0"/>
              <a:buChar char="•"/>
              <a:defRPr sz="1050" kern="1200">
                <a:solidFill>
                  <a:schemeClr val="tx1"/>
                </a:solidFill>
                <a:latin typeface="+mn-lt"/>
                <a:ea typeface="+mn-ea"/>
                <a:cs typeface="+mn-cs"/>
              </a:defRPr>
            </a:lvl4pPr>
            <a:lvl5pPr marL="898525" indent="-180975" algn="l" defTabSz="914400" rtl="0" eaLnBrk="1" latinLnBrk="0" hangingPunct="1">
              <a:lnSpc>
                <a:spcPct val="130000"/>
              </a:lnSpc>
              <a:spcBef>
                <a:spcPts val="300"/>
              </a:spcBef>
              <a:spcAft>
                <a:spcPts val="300"/>
              </a:spcAft>
              <a:buClr>
                <a:schemeClr val="tx2"/>
              </a:buClr>
              <a:buSzPct val="105000"/>
              <a:buFont typeface="Arial" panose="020B0604020202020204" pitchFamily="34" charset="0"/>
              <a:buChar char="•"/>
              <a:defRPr sz="105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200"/>
              </a:spcBef>
              <a:spcAft>
                <a:spcPts val="200"/>
              </a:spcAft>
            </a:pPr>
            <a:r>
              <a:rPr lang="en-GB" dirty="0"/>
              <a:t>OUR GLOBAL REACH</a:t>
            </a:r>
          </a:p>
          <a:p>
            <a:pPr lvl="1">
              <a:spcBef>
                <a:spcPts val="200"/>
              </a:spcBef>
              <a:spcAft>
                <a:spcPts val="200"/>
              </a:spcAft>
            </a:pPr>
            <a:r>
              <a:rPr lang="en-US" dirty="0"/>
              <a:t>We have 20 offices around the world and also work with top local firms and experts.</a:t>
            </a:r>
            <a:endParaRPr lang="en-GB" dirty="0"/>
          </a:p>
        </p:txBody>
      </p:sp>
    </p:spTree>
    <p:extLst>
      <p:ext uri="{BB962C8B-B14F-4D97-AF65-F5344CB8AC3E}">
        <p14:creationId xmlns:p14="http://schemas.microsoft.com/office/powerpoint/2010/main" val="1817967746"/>
      </p:ext>
    </p:extLst>
  </p:cSld>
  <p:clrMapOvr>
    <a:masterClrMapping/>
  </p:clrMapOvr>
  <p:transition spd="med">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ables TO BE COPIED FROM THE MASTER">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r>
              <a:rPr lang="en-GB"/>
              <a:t>INSERT FOOTER HERE</a:t>
            </a:r>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8CFE0557-AA98-4E6C-B0C3-581794696B68}" type="slidenum">
              <a:rPr lang="en-GB" smtClean="0"/>
              <a:pPr/>
              <a:t>‹#›</a:t>
            </a:fld>
            <a:endParaRPr lang="en-GB"/>
          </a:p>
        </p:txBody>
      </p:sp>
      <p:graphicFrame>
        <p:nvGraphicFramePr>
          <p:cNvPr id="2" name="Table 30">
            <a:extLst>
              <a:ext uri="{FF2B5EF4-FFF2-40B4-BE49-F238E27FC236}">
                <a16:creationId xmlns:a16="http://schemas.microsoft.com/office/drawing/2014/main" id="{66D6462F-CD6A-0381-5747-6AD736A7B3CA}"/>
              </a:ext>
            </a:extLst>
          </p:cNvPr>
          <p:cNvGraphicFramePr>
            <a:graphicFrameLocks noGrp="1"/>
          </p:cNvGraphicFramePr>
          <p:nvPr userDrawn="1">
            <p:extLst>
              <p:ext uri="{D42A27DB-BD31-4B8C-83A1-F6EECF244321}">
                <p14:modId xmlns:p14="http://schemas.microsoft.com/office/powerpoint/2010/main" val="4011700773"/>
              </p:ext>
            </p:extLst>
          </p:nvPr>
        </p:nvGraphicFramePr>
        <p:xfrm>
          <a:off x="6272212" y="1583267"/>
          <a:ext cx="5429250" cy="4636555"/>
        </p:xfrm>
        <a:graphic>
          <a:graphicData uri="http://schemas.openxmlformats.org/drawingml/2006/table">
            <a:tbl>
              <a:tblPr>
                <a:tableStyleId>{5C22544A-7EE6-4342-B048-85BDC9FD1C3A}</a:tableStyleId>
              </a:tblPr>
              <a:tblGrid>
                <a:gridCol w="2841334">
                  <a:extLst>
                    <a:ext uri="{9D8B030D-6E8A-4147-A177-3AD203B41FA5}">
                      <a16:colId xmlns:a16="http://schemas.microsoft.com/office/drawing/2014/main" val="1639631679"/>
                    </a:ext>
                  </a:extLst>
                </a:gridCol>
                <a:gridCol w="1293958">
                  <a:extLst>
                    <a:ext uri="{9D8B030D-6E8A-4147-A177-3AD203B41FA5}">
                      <a16:colId xmlns:a16="http://schemas.microsoft.com/office/drawing/2014/main" val="687887646"/>
                    </a:ext>
                  </a:extLst>
                </a:gridCol>
                <a:gridCol w="1293958">
                  <a:extLst>
                    <a:ext uri="{9D8B030D-6E8A-4147-A177-3AD203B41FA5}">
                      <a16:colId xmlns:a16="http://schemas.microsoft.com/office/drawing/2014/main" val="14803938"/>
                    </a:ext>
                  </a:extLst>
                </a:gridCol>
              </a:tblGrid>
              <a:tr h="567707">
                <a:tc>
                  <a:txBody>
                    <a:bodyPr/>
                    <a:lstStyle/>
                    <a:p>
                      <a:pPr algn="l"/>
                      <a:r>
                        <a:rPr lang="en-GB" sz="1000" kern="1200" cap="all" baseline="0" dirty="0">
                          <a:solidFill>
                            <a:schemeClr val="tx2"/>
                          </a:solidFill>
                          <a:latin typeface="+mj-lt"/>
                          <a:ea typeface="+mn-ea"/>
                          <a:cs typeface="+mn-cs"/>
                        </a:rPr>
                        <a:t>TITLE</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algn="ctr"/>
                      <a:r>
                        <a:rPr lang="en-GB" sz="1000" kern="1200" cap="all" baseline="0" dirty="0">
                          <a:solidFill>
                            <a:schemeClr val="tx2"/>
                          </a:solidFill>
                          <a:latin typeface="+mj-lt"/>
                          <a:ea typeface="+mn-ea"/>
                          <a:cs typeface="+mn-cs"/>
                        </a:rPr>
                        <a:t>column</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algn="ctr"/>
                      <a:r>
                        <a:rPr lang="en-GB" sz="1000" kern="1200" cap="all" baseline="0" dirty="0">
                          <a:solidFill>
                            <a:schemeClr val="tx2"/>
                          </a:solidFill>
                          <a:latin typeface="+mj-lt"/>
                          <a:ea typeface="+mn-ea"/>
                          <a:cs typeface="+mn-cs"/>
                        </a:rPr>
                        <a:t>column</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3952565638"/>
                  </a:ext>
                </a:extLst>
              </a:tr>
              <a:tr h="599340">
                <a:tc>
                  <a:txBody>
                    <a:bodyPr/>
                    <a:lstStyle/>
                    <a:p>
                      <a:pPr algn="l"/>
                      <a:r>
                        <a:rPr lang="en-GB" sz="1000" b="0" i="0" u="none" strike="noStrike" kern="1200" cap="all" baseline="0" dirty="0">
                          <a:solidFill>
                            <a:schemeClr val="tx1"/>
                          </a:solidFill>
                          <a:latin typeface="+mn-lt"/>
                          <a:ea typeface="+mn-ea"/>
                          <a:cs typeface="+mn-cs"/>
                        </a:rPr>
                        <a:t>Item 01</a:t>
                      </a:r>
                      <a:endParaRPr lang="en-GB" sz="1000" cap="all" baseline="0" dirty="0">
                        <a:solidFill>
                          <a:schemeClr val="tx1"/>
                        </a:solidFill>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2927525207"/>
                  </a:ext>
                </a:extLst>
              </a:tr>
              <a:tr h="5993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all" spc="0" normalizeH="0" baseline="0" noProof="0" dirty="0">
                          <a:ln>
                            <a:noFill/>
                          </a:ln>
                          <a:solidFill>
                            <a:srgbClr val="5B5D62"/>
                          </a:solidFill>
                          <a:effectLst/>
                          <a:uLnTx/>
                          <a:uFillTx/>
                          <a:latin typeface="Montserrat"/>
                          <a:ea typeface="+mn-ea"/>
                          <a:cs typeface="+mn-cs"/>
                        </a:rPr>
                        <a:t>Item 02</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1167671591"/>
                  </a:ext>
                </a:extLst>
              </a:tr>
              <a:tr h="5993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all" spc="0" normalizeH="0" baseline="0" noProof="0" dirty="0">
                          <a:ln>
                            <a:noFill/>
                          </a:ln>
                          <a:solidFill>
                            <a:srgbClr val="5B5D62"/>
                          </a:solidFill>
                          <a:effectLst/>
                          <a:uLnTx/>
                          <a:uFillTx/>
                          <a:latin typeface="Montserrat"/>
                          <a:ea typeface="+mn-ea"/>
                          <a:cs typeface="+mn-cs"/>
                        </a:rPr>
                        <a:t>Item 03</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2335492511"/>
                  </a:ext>
                </a:extLst>
              </a:tr>
              <a:tr h="567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all" spc="0" normalizeH="0" baseline="0" noProof="0" dirty="0">
                          <a:ln>
                            <a:noFill/>
                          </a:ln>
                          <a:solidFill>
                            <a:srgbClr val="5B5D62"/>
                          </a:solidFill>
                          <a:effectLst/>
                          <a:uLnTx/>
                          <a:uFillTx/>
                          <a:latin typeface="Montserrat"/>
                          <a:ea typeface="+mn-ea"/>
                          <a:cs typeface="+mn-cs"/>
                        </a:rPr>
                        <a:t>Item 04</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2029255895"/>
                  </a:ext>
                </a:extLst>
              </a:tr>
              <a:tr h="567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all" spc="0" normalizeH="0" baseline="0" noProof="0" dirty="0">
                          <a:ln>
                            <a:noFill/>
                          </a:ln>
                          <a:solidFill>
                            <a:srgbClr val="5B5D62"/>
                          </a:solidFill>
                          <a:effectLst/>
                          <a:uLnTx/>
                          <a:uFillTx/>
                          <a:latin typeface="Montserrat"/>
                          <a:ea typeface="+mn-ea"/>
                          <a:cs typeface="+mn-cs"/>
                        </a:rPr>
                        <a:t>Item 05</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3423255311"/>
                  </a:ext>
                </a:extLst>
              </a:tr>
              <a:tr h="567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all" spc="0" normalizeH="0" baseline="0" noProof="0" dirty="0">
                          <a:ln>
                            <a:noFill/>
                          </a:ln>
                          <a:solidFill>
                            <a:srgbClr val="5B5D62"/>
                          </a:solidFill>
                          <a:effectLst/>
                          <a:uLnTx/>
                          <a:uFillTx/>
                          <a:latin typeface="Montserrat"/>
                          <a:ea typeface="+mn-ea"/>
                          <a:cs typeface="+mn-cs"/>
                        </a:rPr>
                        <a:t>Item 06</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10539303"/>
                  </a:ext>
                </a:extLst>
              </a:tr>
              <a:tr h="567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all" spc="0" normalizeH="0" baseline="0" noProof="0" dirty="0">
                          <a:ln>
                            <a:noFill/>
                          </a:ln>
                          <a:solidFill>
                            <a:srgbClr val="5B5D62"/>
                          </a:solidFill>
                          <a:effectLst/>
                          <a:uLnTx/>
                          <a:uFillTx/>
                          <a:latin typeface="Montserrat"/>
                          <a:ea typeface="+mn-ea"/>
                          <a:cs typeface="+mn-cs"/>
                        </a:rPr>
                        <a:t>Item 07</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5B5D62"/>
                          </a:solidFill>
                          <a:effectLst/>
                          <a:uLnTx/>
                          <a:uFillTx/>
                          <a:latin typeface="Montserrat"/>
                          <a:ea typeface="+mn-ea"/>
                          <a:cs typeface="+mn-cs"/>
                        </a:rPr>
                        <a:t>00</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solidFill>
                      <a:schemeClr val="bg2"/>
                    </a:solidFill>
                  </a:tcPr>
                </a:tc>
                <a:extLst>
                  <a:ext uri="{0D108BD9-81ED-4DB2-BD59-A6C34878D82A}">
                    <a16:rowId xmlns:a16="http://schemas.microsoft.com/office/drawing/2014/main" val="748761887"/>
                  </a:ext>
                </a:extLst>
              </a:tr>
            </a:tbl>
          </a:graphicData>
        </a:graphic>
      </p:graphicFrame>
      <p:graphicFrame>
        <p:nvGraphicFramePr>
          <p:cNvPr id="3" name="Table 30">
            <a:extLst>
              <a:ext uri="{FF2B5EF4-FFF2-40B4-BE49-F238E27FC236}">
                <a16:creationId xmlns:a16="http://schemas.microsoft.com/office/drawing/2014/main" id="{E46799AA-7CAA-EAEE-1C01-71FAF399820A}"/>
              </a:ext>
            </a:extLst>
          </p:cNvPr>
          <p:cNvGraphicFramePr>
            <a:graphicFrameLocks noGrp="1"/>
          </p:cNvGraphicFramePr>
          <p:nvPr userDrawn="1">
            <p:extLst>
              <p:ext uri="{D42A27DB-BD31-4B8C-83A1-F6EECF244321}">
                <p14:modId xmlns:p14="http://schemas.microsoft.com/office/powerpoint/2010/main" val="4011700773"/>
              </p:ext>
            </p:extLst>
          </p:nvPr>
        </p:nvGraphicFramePr>
        <p:xfrm>
          <a:off x="514878" y="1583267"/>
          <a:ext cx="5429250" cy="4636555"/>
        </p:xfrm>
        <a:graphic>
          <a:graphicData uri="http://schemas.openxmlformats.org/drawingml/2006/table">
            <a:tbl>
              <a:tblPr>
                <a:tableStyleId>{5C22544A-7EE6-4342-B048-85BDC9FD1C3A}</a:tableStyleId>
              </a:tblPr>
              <a:tblGrid>
                <a:gridCol w="2841334">
                  <a:extLst>
                    <a:ext uri="{9D8B030D-6E8A-4147-A177-3AD203B41FA5}">
                      <a16:colId xmlns:a16="http://schemas.microsoft.com/office/drawing/2014/main" val="1639631679"/>
                    </a:ext>
                  </a:extLst>
                </a:gridCol>
                <a:gridCol w="1293958">
                  <a:extLst>
                    <a:ext uri="{9D8B030D-6E8A-4147-A177-3AD203B41FA5}">
                      <a16:colId xmlns:a16="http://schemas.microsoft.com/office/drawing/2014/main" val="687887646"/>
                    </a:ext>
                  </a:extLst>
                </a:gridCol>
                <a:gridCol w="1293958">
                  <a:extLst>
                    <a:ext uri="{9D8B030D-6E8A-4147-A177-3AD203B41FA5}">
                      <a16:colId xmlns:a16="http://schemas.microsoft.com/office/drawing/2014/main" val="14803938"/>
                    </a:ext>
                  </a:extLst>
                </a:gridCol>
              </a:tblGrid>
              <a:tr h="567707">
                <a:tc>
                  <a:txBody>
                    <a:bodyPr/>
                    <a:lstStyle/>
                    <a:p>
                      <a:pPr algn="l"/>
                      <a:r>
                        <a:rPr lang="en-GB" sz="1000" kern="1200" cap="all" baseline="0" dirty="0">
                          <a:solidFill>
                            <a:schemeClr val="tx2"/>
                          </a:solidFill>
                          <a:latin typeface="+mj-lt"/>
                          <a:ea typeface="+mn-ea"/>
                          <a:cs typeface="+mn-cs"/>
                        </a:rPr>
                        <a:t>TITLE</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algn="ctr"/>
                      <a:r>
                        <a:rPr lang="en-GB" sz="1000" kern="1200" cap="all" baseline="0" dirty="0">
                          <a:solidFill>
                            <a:schemeClr val="tx2"/>
                          </a:solidFill>
                          <a:latin typeface="+mj-lt"/>
                          <a:ea typeface="+mn-ea"/>
                          <a:cs typeface="+mn-cs"/>
                        </a:rPr>
                        <a:t>column</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algn="ctr"/>
                      <a:r>
                        <a:rPr lang="en-GB" sz="1000" kern="1200" cap="all" baseline="0" dirty="0">
                          <a:solidFill>
                            <a:schemeClr val="tx2"/>
                          </a:solidFill>
                          <a:latin typeface="+mj-lt"/>
                          <a:ea typeface="+mn-ea"/>
                          <a:cs typeface="+mn-cs"/>
                        </a:rPr>
                        <a:t>column</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3952565638"/>
                  </a:ext>
                </a:extLst>
              </a:tr>
              <a:tr h="599340">
                <a:tc>
                  <a:txBody>
                    <a:bodyPr/>
                    <a:lstStyle/>
                    <a:p>
                      <a:pPr algn="l"/>
                      <a:r>
                        <a:rPr lang="en-GB" sz="1000" b="0" i="0" u="none" strike="noStrike" kern="1200" cap="all" baseline="0" dirty="0">
                          <a:solidFill>
                            <a:schemeClr val="tx1"/>
                          </a:solidFill>
                          <a:latin typeface="+mn-lt"/>
                          <a:ea typeface="+mn-ea"/>
                          <a:cs typeface="+mn-cs"/>
                        </a:rPr>
                        <a:t>Item 01</a:t>
                      </a:r>
                      <a:endParaRPr lang="en-GB" sz="1000" cap="all" baseline="0" dirty="0">
                        <a:solidFill>
                          <a:schemeClr val="tx1"/>
                        </a:solidFill>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2927525207"/>
                  </a:ext>
                </a:extLst>
              </a:tr>
              <a:tr h="5993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all" spc="0" normalizeH="0" baseline="0" noProof="0" dirty="0">
                          <a:ln>
                            <a:noFill/>
                          </a:ln>
                          <a:solidFill>
                            <a:srgbClr val="5B5D62"/>
                          </a:solidFill>
                          <a:effectLst/>
                          <a:uLnTx/>
                          <a:uFillTx/>
                          <a:latin typeface="Montserrat"/>
                          <a:ea typeface="+mn-ea"/>
                          <a:cs typeface="+mn-cs"/>
                        </a:rPr>
                        <a:t>Item 02</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1167671591"/>
                  </a:ext>
                </a:extLst>
              </a:tr>
              <a:tr h="5993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all" spc="0" normalizeH="0" baseline="0" noProof="0" dirty="0">
                          <a:ln>
                            <a:noFill/>
                          </a:ln>
                          <a:solidFill>
                            <a:srgbClr val="5B5D62"/>
                          </a:solidFill>
                          <a:effectLst/>
                          <a:uLnTx/>
                          <a:uFillTx/>
                          <a:latin typeface="Montserrat"/>
                          <a:ea typeface="+mn-ea"/>
                          <a:cs typeface="+mn-cs"/>
                        </a:rPr>
                        <a:t>Item 03</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2335492511"/>
                  </a:ext>
                </a:extLst>
              </a:tr>
              <a:tr h="567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all" spc="0" normalizeH="0" baseline="0" noProof="0" dirty="0">
                          <a:ln>
                            <a:noFill/>
                          </a:ln>
                          <a:solidFill>
                            <a:srgbClr val="5B5D62"/>
                          </a:solidFill>
                          <a:effectLst/>
                          <a:uLnTx/>
                          <a:uFillTx/>
                          <a:latin typeface="Montserrat"/>
                          <a:ea typeface="+mn-ea"/>
                          <a:cs typeface="+mn-cs"/>
                        </a:rPr>
                        <a:t>Item 04</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2029255895"/>
                  </a:ext>
                </a:extLst>
              </a:tr>
              <a:tr h="567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all" spc="0" normalizeH="0" baseline="0" noProof="0" dirty="0">
                          <a:ln>
                            <a:noFill/>
                          </a:ln>
                          <a:solidFill>
                            <a:srgbClr val="5B5D62"/>
                          </a:solidFill>
                          <a:effectLst/>
                          <a:uLnTx/>
                          <a:uFillTx/>
                          <a:latin typeface="Montserrat"/>
                          <a:ea typeface="+mn-ea"/>
                          <a:cs typeface="+mn-cs"/>
                        </a:rPr>
                        <a:t>Item 05</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3423255311"/>
                  </a:ext>
                </a:extLst>
              </a:tr>
              <a:tr h="567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all" spc="0" normalizeH="0" baseline="0" noProof="0" dirty="0">
                          <a:ln>
                            <a:noFill/>
                          </a:ln>
                          <a:solidFill>
                            <a:srgbClr val="5B5D62"/>
                          </a:solidFill>
                          <a:effectLst/>
                          <a:uLnTx/>
                          <a:uFillTx/>
                          <a:latin typeface="Montserrat"/>
                          <a:ea typeface="+mn-ea"/>
                          <a:cs typeface="+mn-cs"/>
                        </a:rPr>
                        <a:t>Item 06</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10539303"/>
                  </a:ext>
                </a:extLst>
              </a:tr>
              <a:tr h="567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all" spc="0" normalizeH="0" baseline="0" noProof="0" dirty="0">
                          <a:ln>
                            <a:noFill/>
                          </a:ln>
                          <a:solidFill>
                            <a:srgbClr val="5B5D62"/>
                          </a:solidFill>
                          <a:effectLst/>
                          <a:uLnTx/>
                          <a:uFillTx/>
                          <a:latin typeface="Montserrat"/>
                          <a:ea typeface="+mn-ea"/>
                          <a:cs typeface="+mn-cs"/>
                        </a:rPr>
                        <a:t>Item 07</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5B5D62"/>
                          </a:solidFill>
                          <a:effectLst/>
                          <a:uLnTx/>
                          <a:uFillTx/>
                          <a:latin typeface="Montserrat"/>
                          <a:ea typeface="+mn-ea"/>
                          <a:cs typeface="+mn-cs"/>
                        </a:rPr>
                        <a:t>00</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solidFill>
                      <a:schemeClr val="bg2"/>
                    </a:solidFill>
                  </a:tcPr>
                </a:tc>
                <a:extLst>
                  <a:ext uri="{0D108BD9-81ED-4DB2-BD59-A6C34878D82A}">
                    <a16:rowId xmlns:a16="http://schemas.microsoft.com/office/drawing/2014/main" val="748761887"/>
                  </a:ext>
                </a:extLst>
              </a:tr>
            </a:tbl>
          </a:graphicData>
        </a:graphic>
      </p:graphicFrame>
      <p:sp>
        <p:nvSpPr>
          <p:cNvPr id="8" name="Title 3">
            <a:extLst>
              <a:ext uri="{FF2B5EF4-FFF2-40B4-BE49-F238E27FC236}">
                <a16:creationId xmlns:a16="http://schemas.microsoft.com/office/drawing/2014/main" id="{7B74FDB6-FBBB-A2F4-213F-6CF7F3FC869A}"/>
              </a:ext>
            </a:extLst>
          </p:cNvPr>
          <p:cNvSpPr txBox="1">
            <a:spLocks/>
          </p:cNvSpPr>
          <p:nvPr userDrawn="1"/>
        </p:nvSpPr>
        <p:spPr>
          <a:xfrm>
            <a:off x="508000" y="454014"/>
            <a:ext cx="11174413" cy="669934"/>
          </a:xfrm>
          <a:prstGeom prst="rect">
            <a:avLst/>
          </a:prstGeom>
        </p:spPr>
        <p:txBody>
          <a:bodyPr vert="horz" lIns="0" tIns="0" rIns="0" bIns="72000" rtlCol="0" anchor="t" anchorCtr="0">
            <a:noAutofit/>
          </a:bodyPr>
          <a:lstStyle>
            <a:lvl1pPr algn="l" defTabSz="914400" rtl="0" eaLnBrk="1" latinLnBrk="0" hangingPunct="1">
              <a:lnSpc>
                <a:spcPct val="90000"/>
              </a:lnSpc>
              <a:spcBef>
                <a:spcPct val="0"/>
              </a:spcBef>
              <a:buNone/>
              <a:defRPr sz="3200" kern="1200" cap="all" baseline="0">
                <a:solidFill>
                  <a:schemeClr val="tx2"/>
                </a:solidFill>
                <a:latin typeface="+mn-lt"/>
                <a:ea typeface="+mj-ea"/>
                <a:cs typeface="+mj-cs"/>
              </a:defRPr>
            </a:lvl1pPr>
          </a:lstStyle>
          <a:p>
            <a:r>
              <a:rPr lang="en-US" dirty="0"/>
              <a:t>Tables TO BE COPIED FROM THE MASTER</a:t>
            </a:r>
            <a:endParaRPr lang="en-GB" dirty="0"/>
          </a:p>
        </p:txBody>
      </p:sp>
      <p:sp>
        <p:nvSpPr>
          <p:cNvPr id="9" name="TextBox 4">
            <a:extLst>
              <a:ext uri="{FF2B5EF4-FFF2-40B4-BE49-F238E27FC236}">
                <a16:creationId xmlns:a16="http://schemas.microsoft.com/office/drawing/2014/main" id="{A0F1473B-A0C1-3FEE-4F6F-4F0EE0B62CCE}"/>
              </a:ext>
            </a:extLst>
          </p:cNvPr>
          <p:cNvSpPr txBox="1"/>
          <p:nvPr userDrawn="1"/>
        </p:nvSpPr>
        <p:spPr>
          <a:xfrm>
            <a:off x="12346713" y="109538"/>
            <a:ext cx="2199020" cy="2980303"/>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defTabSz="914400" rtl="0" eaLnBrk="1" latinLnBrk="0" hangingPunct="1">
              <a:spcBef>
                <a:spcPts val="200"/>
              </a:spcBef>
              <a:spcAft>
                <a:spcPts val="200"/>
              </a:spcAft>
              <a:buFont typeface="+mj-lt"/>
              <a:buNone/>
            </a:pPr>
            <a:r>
              <a:rPr lang="en-US" sz="1600" b="1" kern="1200" dirty="0">
                <a:solidFill>
                  <a:schemeClr val="accent1"/>
                </a:solidFill>
                <a:latin typeface="+mj-lt"/>
                <a:ea typeface="+mn-ea"/>
                <a:cs typeface="+mn-cs"/>
              </a:rPr>
              <a:t>TABLES:</a:t>
            </a:r>
          </a:p>
          <a:p>
            <a:pPr marL="0" indent="0">
              <a:spcBef>
                <a:spcPts val="200"/>
              </a:spcBef>
              <a:spcAft>
                <a:spcPts val="200"/>
              </a:spcAft>
              <a:buFont typeface="+mj-lt"/>
              <a:buNone/>
            </a:pPr>
            <a:r>
              <a:rPr lang="en-US" sz="1400" b="0" kern="1200" dirty="0">
                <a:solidFill>
                  <a:schemeClr val="tx1"/>
                </a:solidFill>
                <a:latin typeface="+mj-lt"/>
                <a:ea typeface="+mn-ea"/>
                <a:cs typeface="+mn-cs"/>
              </a:rPr>
              <a:t>DO NOT USE THIS SLIDE LAYPUT</a:t>
            </a:r>
          </a:p>
          <a:p>
            <a:pPr marL="0" indent="0">
              <a:spcBef>
                <a:spcPts val="200"/>
              </a:spcBef>
              <a:spcAft>
                <a:spcPts val="200"/>
              </a:spcAft>
              <a:buFont typeface="+mj-lt"/>
              <a:buNone/>
            </a:pPr>
            <a:endParaRPr lang="en-US" sz="900" b="0" kern="1200" dirty="0">
              <a:solidFill>
                <a:schemeClr val="tx1"/>
              </a:solidFill>
              <a:latin typeface="+mj-lt"/>
              <a:ea typeface="+mn-ea"/>
              <a:cs typeface="+mn-cs"/>
            </a:endParaRPr>
          </a:p>
          <a:p>
            <a:pPr marL="0" indent="0">
              <a:spcBef>
                <a:spcPts val="200"/>
              </a:spcBef>
              <a:spcAft>
                <a:spcPts val="200"/>
              </a:spcAft>
              <a:buFont typeface="+mj-lt"/>
              <a:buNone/>
            </a:pPr>
            <a:r>
              <a:rPr lang="en-US" sz="900" b="0" kern="1200" dirty="0">
                <a:solidFill>
                  <a:schemeClr val="tx1"/>
                </a:solidFill>
                <a:latin typeface="+mn-lt"/>
                <a:ea typeface="+mn-ea"/>
                <a:cs typeface="+mn-cs"/>
              </a:rPr>
              <a:t>This is simple a slide in the master for you to go to and copy tables from so we are consistent in the table style we use.</a:t>
            </a:r>
          </a:p>
          <a:p>
            <a:pPr marL="0" indent="0">
              <a:spcBef>
                <a:spcPts val="200"/>
              </a:spcBef>
              <a:spcAft>
                <a:spcPts val="200"/>
              </a:spcAft>
              <a:buFont typeface="+mj-lt"/>
              <a:buNone/>
            </a:pPr>
            <a:endParaRPr lang="en-US" sz="900" b="0" kern="1200" dirty="0">
              <a:solidFill>
                <a:schemeClr val="tx1"/>
              </a:solidFill>
              <a:latin typeface="+mn-lt"/>
              <a:ea typeface="+mn-ea"/>
              <a:cs typeface="+mn-cs"/>
            </a:endParaRPr>
          </a:p>
          <a:p>
            <a:pPr marL="228600" indent="-228600">
              <a:spcBef>
                <a:spcPts val="200"/>
              </a:spcBef>
              <a:spcAft>
                <a:spcPts val="200"/>
              </a:spcAft>
              <a:buFont typeface="+mj-lt"/>
              <a:buAutoNum type="arabicPeriod"/>
            </a:pPr>
            <a:r>
              <a:rPr lang="en-US" sz="900" b="0" kern="1200" dirty="0">
                <a:solidFill>
                  <a:schemeClr val="tx1"/>
                </a:solidFill>
                <a:latin typeface="+mn-lt"/>
                <a:ea typeface="+mn-ea"/>
                <a:cs typeface="+mn-cs"/>
              </a:rPr>
              <a:t>Select </a:t>
            </a:r>
            <a:r>
              <a:rPr lang="en-US" sz="900" b="0" kern="1200" dirty="0">
                <a:solidFill>
                  <a:schemeClr val="tx1"/>
                </a:solidFill>
                <a:latin typeface="+mj-lt"/>
                <a:ea typeface="+mn-ea"/>
                <a:cs typeface="+mn-cs"/>
              </a:rPr>
              <a:t>VIEW &gt; SLIDE MASTER</a:t>
            </a:r>
          </a:p>
          <a:p>
            <a:pPr marL="228600" indent="-228600">
              <a:spcBef>
                <a:spcPts val="200"/>
              </a:spcBef>
              <a:spcAft>
                <a:spcPts val="200"/>
              </a:spcAft>
              <a:buFont typeface="+mj-lt"/>
              <a:buAutoNum type="arabicPeriod"/>
            </a:pPr>
            <a:r>
              <a:rPr lang="en-US" sz="900" b="0" kern="1200" dirty="0">
                <a:solidFill>
                  <a:schemeClr val="tx1"/>
                </a:solidFill>
                <a:latin typeface="+mn-lt"/>
                <a:ea typeface="+mn-ea"/>
                <a:cs typeface="+mn-cs"/>
              </a:rPr>
              <a:t>Once in the MASTER select and copy a table</a:t>
            </a:r>
          </a:p>
          <a:p>
            <a:pPr marL="228600" indent="-228600">
              <a:spcBef>
                <a:spcPts val="200"/>
              </a:spcBef>
              <a:spcAft>
                <a:spcPts val="200"/>
              </a:spcAft>
              <a:buFont typeface="+mj-lt"/>
              <a:buAutoNum type="arabicPeriod"/>
            </a:pPr>
            <a:r>
              <a:rPr lang="en-US" sz="900" b="0" kern="1200" dirty="0">
                <a:solidFill>
                  <a:schemeClr val="tx1"/>
                </a:solidFill>
                <a:latin typeface="+mn-lt"/>
                <a:ea typeface="+mn-ea"/>
                <a:cs typeface="+mn-cs"/>
              </a:rPr>
              <a:t>Now select </a:t>
            </a:r>
            <a:r>
              <a:rPr lang="en-US" sz="900" b="0" kern="1200" dirty="0">
                <a:solidFill>
                  <a:schemeClr val="tx1"/>
                </a:solidFill>
                <a:latin typeface="+mj-lt"/>
                <a:ea typeface="+mn-ea"/>
                <a:cs typeface="+mn-cs"/>
              </a:rPr>
              <a:t>CLOSE MASTER VIEW</a:t>
            </a:r>
          </a:p>
          <a:p>
            <a:pPr marL="228600" indent="-228600">
              <a:spcBef>
                <a:spcPts val="200"/>
              </a:spcBef>
              <a:spcAft>
                <a:spcPts val="200"/>
              </a:spcAft>
              <a:buFont typeface="+mj-lt"/>
              <a:buAutoNum type="arabicPeriod"/>
            </a:pPr>
            <a:r>
              <a:rPr lang="en-US" sz="900" b="0" kern="1200" dirty="0">
                <a:solidFill>
                  <a:schemeClr val="tx1"/>
                </a:solidFill>
                <a:latin typeface="+mn-lt"/>
                <a:ea typeface="+mn-ea"/>
                <a:cs typeface="+mn-cs"/>
              </a:rPr>
              <a:t>And paste the table where you need it</a:t>
            </a:r>
          </a:p>
        </p:txBody>
      </p:sp>
    </p:spTree>
    <p:extLst>
      <p:ext uri="{BB962C8B-B14F-4D97-AF65-F5344CB8AC3E}">
        <p14:creationId xmlns:p14="http://schemas.microsoft.com/office/powerpoint/2010/main" val="636265819"/>
      </p:ext>
    </p:extLst>
  </p:cSld>
  <p:clrMapOvr>
    <a:masterClrMapping/>
  </p:clrMapOvr>
  <p:transition spd="med">
    <p:fade/>
  </p:transition>
  <p:extLst>
    <p:ext uri="{DCECCB84-F9BA-43D5-87BE-67443E8EF086}">
      <p15:sldGuideLst xmlns:p15="http://schemas.microsoft.com/office/powerpoint/2012/main">
        <p15:guide id="1"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with Partner Logo">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4277588-5F15-3C4C-B4EF-DC3C5A9DFC4E}"/>
              </a:ext>
            </a:extLst>
          </p:cNvPr>
          <p:cNvSpPr>
            <a:spLocks noGrp="1"/>
          </p:cNvSpPr>
          <p:nvPr>
            <p:ph type="pic" sz="quarter" idx="13" hasCustomPrompt="1"/>
          </p:nvPr>
        </p:nvSpPr>
        <p:spPr>
          <a:xfrm>
            <a:off x="4067176" y="0"/>
            <a:ext cx="8124824" cy="6858000"/>
          </a:xfrm>
          <a:solidFill>
            <a:schemeClr val="tx1"/>
          </a:solidFill>
        </p:spPr>
        <p:txBody>
          <a:bodyPr vert="horz" lIns="0" tIns="45720" rIns="0" bIns="45720" rtlCol="0" anchor="ctr">
            <a:normAutofit/>
          </a:bodyPr>
          <a:lstStyle>
            <a:lvl1pPr algn="ctr">
              <a:defRPr lang="en-GB" sz="2800" b="0" dirty="0">
                <a:solidFill>
                  <a:schemeClr val="bg1"/>
                </a:solidFill>
              </a:defRPr>
            </a:lvl1pPr>
          </a:lstStyle>
          <a:p>
            <a:pPr marR="0" lvl="0" algn="ctr" fontAlgn="auto">
              <a:lnSpc>
                <a:spcPct val="120000"/>
              </a:lnSpc>
              <a:buClrTx/>
              <a:buSzTx/>
              <a:tabLst/>
            </a:pPr>
            <a:r>
              <a:rPr lang="en-US" dirty="0"/>
              <a:t>ADD RELATED IMAGE </a:t>
            </a:r>
            <a:br>
              <a:rPr lang="en-US" dirty="0"/>
            </a:br>
            <a:r>
              <a:rPr lang="en-US" dirty="0"/>
              <a:t>FROM HFW IMAGE LIBRARY</a:t>
            </a:r>
          </a:p>
        </p:txBody>
      </p:sp>
      <p:sp>
        <p:nvSpPr>
          <p:cNvPr id="9" name="Rectangle 8">
            <a:extLst>
              <a:ext uri="{FF2B5EF4-FFF2-40B4-BE49-F238E27FC236}">
                <a16:creationId xmlns:a16="http://schemas.microsoft.com/office/drawing/2014/main" id="{708FD88D-9C74-4D94-62A5-47E768F9DCD7}"/>
              </a:ext>
            </a:extLst>
          </p:cNvPr>
          <p:cNvSpPr/>
          <p:nvPr userDrawn="1"/>
        </p:nvSpPr>
        <p:spPr>
          <a:xfrm>
            <a:off x="0" y="0"/>
            <a:ext cx="406717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Text Placeholder 12">
            <a:extLst>
              <a:ext uri="{FF2B5EF4-FFF2-40B4-BE49-F238E27FC236}">
                <a16:creationId xmlns:a16="http://schemas.microsoft.com/office/drawing/2014/main" id="{BBA3AA40-3440-5851-3972-390D3DEB2219}"/>
              </a:ext>
            </a:extLst>
          </p:cNvPr>
          <p:cNvSpPr>
            <a:spLocks noGrp="1"/>
          </p:cNvSpPr>
          <p:nvPr>
            <p:ph type="body" sz="quarter" idx="14" hasCustomPrompt="1"/>
          </p:nvPr>
        </p:nvSpPr>
        <p:spPr>
          <a:xfrm>
            <a:off x="508939" y="5989638"/>
            <a:ext cx="3387140" cy="230187"/>
          </a:xfrm>
        </p:spPr>
        <p:txBody>
          <a:bodyPr tIns="0" bIns="0">
            <a:noAutofit/>
          </a:bodyPr>
          <a:lstStyle>
            <a:lvl1pPr>
              <a:defRPr sz="1400">
                <a:solidFill>
                  <a:schemeClr val="accent2"/>
                </a:solidFill>
                <a:latin typeface="+mj-lt"/>
              </a:defRPr>
            </a:lvl1pPr>
            <a:lvl2pPr>
              <a:defRPr>
                <a:solidFill>
                  <a:schemeClr val="bg1"/>
                </a:solidFill>
                <a:latin typeface="+mn-lt"/>
              </a:defRPr>
            </a:lvl2pPr>
            <a:lvl3pPr>
              <a:defRPr>
                <a:solidFill>
                  <a:schemeClr val="bg1"/>
                </a:solidFill>
                <a:latin typeface="+mn-lt"/>
              </a:defRPr>
            </a:lvl3pPr>
            <a:lvl4pPr>
              <a:defRPr>
                <a:solidFill>
                  <a:schemeClr val="bg1"/>
                </a:solidFill>
                <a:latin typeface="+mn-lt"/>
              </a:defRPr>
            </a:lvl4pPr>
            <a:lvl5pPr>
              <a:defRPr>
                <a:solidFill>
                  <a:schemeClr val="bg1"/>
                </a:solidFill>
                <a:latin typeface="+mn-lt"/>
              </a:defRPr>
            </a:lvl5pPr>
          </a:lstStyle>
          <a:p>
            <a:pPr lvl="0"/>
            <a:r>
              <a:rPr lang="en-US" dirty="0"/>
              <a:t>DAY MONTH YEAR</a:t>
            </a:r>
            <a:endParaRPr lang="en-GB" dirty="0"/>
          </a:p>
        </p:txBody>
      </p:sp>
      <p:sp>
        <p:nvSpPr>
          <p:cNvPr id="4" name="TextBox 4">
            <a:extLst>
              <a:ext uri="{FF2B5EF4-FFF2-40B4-BE49-F238E27FC236}">
                <a16:creationId xmlns:a16="http://schemas.microsoft.com/office/drawing/2014/main" id="{265B2CA7-EDCD-E4A1-AC81-AB1BF0FA5D17}"/>
              </a:ext>
            </a:extLst>
          </p:cNvPr>
          <p:cNvSpPr txBox="1"/>
          <p:nvPr userDrawn="1"/>
        </p:nvSpPr>
        <p:spPr>
          <a:xfrm>
            <a:off x="12346713" y="109538"/>
            <a:ext cx="1934437" cy="31700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INSERTING IMAGES:</a:t>
            </a:r>
          </a:p>
          <a:p>
            <a:pPr marL="179388" indent="-179388">
              <a:spcBef>
                <a:spcPts val="200"/>
              </a:spcBef>
              <a:spcAft>
                <a:spcPts val="200"/>
              </a:spcAft>
              <a:buFont typeface="+mj-lt"/>
              <a:buAutoNum type="arabicPeriod"/>
            </a:pPr>
            <a:r>
              <a:rPr lang="en-US" sz="900" dirty="0">
                <a:solidFill>
                  <a:schemeClr val="tx1"/>
                </a:solidFill>
                <a:latin typeface="+mn-lt"/>
              </a:rPr>
              <a:t>Simply click the image placeholder and select your image.</a:t>
            </a:r>
          </a:p>
          <a:p>
            <a:pPr marL="179388" indent="-179388">
              <a:spcBef>
                <a:spcPts val="200"/>
              </a:spcBef>
              <a:spcAft>
                <a:spcPts val="200"/>
              </a:spcAft>
              <a:buFont typeface="+mj-lt"/>
              <a:buAutoNum type="arabicPeriod"/>
            </a:pPr>
            <a:r>
              <a:rPr lang="en-US" sz="900" dirty="0">
                <a:solidFill>
                  <a:schemeClr val="tx1"/>
                </a:solidFill>
                <a:latin typeface="+mn-lt"/>
              </a:rPr>
              <a:t>Once your image is inserted into the shape it may be distorted. (Stretched or Squashed)</a:t>
            </a:r>
          </a:p>
          <a:p>
            <a:pPr marL="179388" indent="-179388">
              <a:spcBef>
                <a:spcPts val="200"/>
              </a:spcBef>
              <a:spcAft>
                <a:spcPts val="200"/>
              </a:spcAft>
              <a:buFont typeface="+mj-lt"/>
              <a:buAutoNum type="arabicPeriod"/>
            </a:pPr>
            <a:endParaRPr lang="en-US" sz="900" dirty="0">
              <a:solidFill>
                <a:schemeClr val="tx1"/>
              </a:solidFill>
              <a:latin typeface="+mn-lt"/>
            </a:endParaRPr>
          </a:p>
          <a:p>
            <a:pPr>
              <a:spcBef>
                <a:spcPts val="200"/>
              </a:spcBef>
              <a:spcAft>
                <a:spcPts val="200"/>
              </a:spcAft>
            </a:pPr>
            <a:r>
              <a:rPr lang="en-US" sz="900" b="1" dirty="0">
                <a:solidFill>
                  <a:schemeClr val="tx1"/>
                </a:solidFill>
                <a:latin typeface="+mn-lt"/>
              </a:rPr>
              <a:t>To fix this:</a:t>
            </a:r>
          </a:p>
          <a:p>
            <a:pPr marL="179388" indent="-179388">
              <a:spcBef>
                <a:spcPts val="200"/>
              </a:spcBef>
              <a:spcAft>
                <a:spcPts val="200"/>
              </a:spcAft>
              <a:buFont typeface="+mj-lt"/>
              <a:buAutoNum type="arabicPeriod"/>
            </a:pPr>
            <a:r>
              <a:rPr lang="en-US" sz="900" dirty="0">
                <a:solidFill>
                  <a:schemeClr val="tx1"/>
                </a:solidFill>
                <a:latin typeface="+mn-lt"/>
              </a:rPr>
              <a:t>Click on the image and from the top menu under </a:t>
            </a:r>
            <a:r>
              <a:rPr lang="en-US" sz="900" b="1" dirty="0">
                <a:solidFill>
                  <a:schemeClr val="tx1"/>
                </a:solidFill>
                <a:latin typeface="+mn-lt"/>
              </a:rPr>
              <a:t>PICTURE FORMAT </a:t>
            </a:r>
            <a:r>
              <a:rPr lang="en-US" sz="900" dirty="0">
                <a:solidFill>
                  <a:schemeClr val="tx1"/>
                </a:solidFill>
                <a:latin typeface="+mn-lt"/>
              </a:rPr>
              <a:t>select the </a:t>
            </a:r>
            <a:r>
              <a:rPr lang="en-US" sz="900" b="1" dirty="0">
                <a:solidFill>
                  <a:schemeClr val="tx1"/>
                </a:solidFill>
                <a:latin typeface="+mn-lt"/>
              </a:rPr>
              <a:t>CROP</a:t>
            </a:r>
            <a:r>
              <a:rPr lang="en-US" sz="900" dirty="0">
                <a:solidFill>
                  <a:schemeClr val="tx1"/>
                </a:solidFill>
                <a:latin typeface="+mn-lt"/>
              </a:rPr>
              <a:t> on the right and from the drop down menu select </a:t>
            </a:r>
            <a:r>
              <a:rPr lang="en-US" sz="900" b="1" kern="1200" dirty="0">
                <a:solidFill>
                  <a:schemeClr val="tx1"/>
                </a:solidFill>
                <a:latin typeface="+mn-lt"/>
                <a:ea typeface="+mn-ea"/>
                <a:cs typeface="+mn-cs"/>
              </a:rPr>
              <a:t>FILL</a:t>
            </a:r>
          </a:p>
          <a:p>
            <a:pPr marL="179388" indent="-179388">
              <a:spcBef>
                <a:spcPts val="200"/>
              </a:spcBef>
              <a:spcAft>
                <a:spcPts val="200"/>
              </a:spcAft>
              <a:buFont typeface="+mj-lt"/>
              <a:buAutoNum type="arabicPeriod"/>
            </a:pPr>
            <a:r>
              <a:rPr lang="en-US" sz="900" b="0" kern="1200" dirty="0">
                <a:solidFill>
                  <a:schemeClr val="tx1"/>
                </a:solidFill>
                <a:latin typeface="+mn-lt"/>
                <a:ea typeface="+mn-ea"/>
                <a:cs typeface="+mn-cs"/>
              </a:rPr>
              <a:t>From here you can move the image within the shape for best visual appearance</a:t>
            </a:r>
          </a:p>
        </p:txBody>
      </p:sp>
      <p:sp>
        <p:nvSpPr>
          <p:cNvPr id="5" name="Picture Placeholder 4">
            <a:extLst>
              <a:ext uri="{FF2B5EF4-FFF2-40B4-BE49-F238E27FC236}">
                <a16:creationId xmlns:a16="http://schemas.microsoft.com/office/drawing/2014/main" id="{40A740CE-8DA3-A81D-D999-93685F35CA89}"/>
              </a:ext>
            </a:extLst>
          </p:cNvPr>
          <p:cNvSpPr>
            <a:spLocks noGrp="1"/>
          </p:cNvSpPr>
          <p:nvPr>
            <p:ph type="pic" sz="quarter" idx="15" hasCustomPrompt="1"/>
          </p:nvPr>
        </p:nvSpPr>
        <p:spPr>
          <a:xfrm>
            <a:off x="9761538" y="506412"/>
            <a:ext cx="1920875" cy="1010417"/>
          </a:xfrm>
        </p:spPr>
        <p:txBody>
          <a:bodyPr/>
          <a:lstStyle>
            <a:lvl1pPr algn="ctr">
              <a:defRPr>
                <a:solidFill>
                  <a:schemeClr val="bg1"/>
                </a:solidFill>
                <a:latin typeface="+mn-lt"/>
              </a:defRPr>
            </a:lvl1pPr>
          </a:lstStyle>
          <a:p>
            <a:r>
              <a:rPr lang="en-GB" dirty="0"/>
              <a:t>Partner Logo here</a:t>
            </a:r>
          </a:p>
        </p:txBody>
      </p:sp>
      <p:sp>
        <p:nvSpPr>
          <p:cNvPr id="10" name="Title 1">
            <a:extLst>
              <a:ext uri="{FF2B5EF4-FFF2-40B4-BE49-F238E27FC236}">
                <a16:creationId xmlns:a16="http://schemas.microsoft.com/office/drawing/2014/main" id="{1D9960C9-AE88-FF64-7340-9EC8DF655E87}"/>
              </a:ext>
            </a:extLst>
          </p:cNvPr>
          <p:cNvSpPr>
            <a:spLocks noGrp="1"/>
          </p:cNvSpPr>
          <p:nvPr>
            <p:ph type="ctrTitle" hasCustomPrompt="1"/>
          </p:nvPr>
        </p:nvSpPr>
        <p:spPr>
          <a:xfrm>
            <a:off x="508939" y="2430692"/>
            <a:ext cx="2792526" cy="2387600"/>
          </a:xfrm>
        </p:spPr>
        <p:txBody>
          <a:bodyPr vert="horz" lIns="0" tIns="0" rIns="0" bIns="0" rtlCol="0" anchor="t" anchorCtr="0">
            <a:noAutofit/>
          </a:bodyPr>
          <a:lstStyle>
            <a:lvl1pPr>
              <a:lnSpc>
                <a:spcPct val="100000"/>
              </a:lnSpc>
              <a:defRPr lang="en-US" sz="3300" dirty="0">
                <a:solidFill>
                  <a:schemeClr val="bg1"/>
                </a:solidFill>
              </a:defRPr>
            </a:lvl1pPr>
          </a:lstStyle>
          <a:p>
            <a:pPr lvl="0"/>
            <a:r>
              <a:rPr lang="en-US" dirty="0"/>
              <a:t>PROPOSAL TO [CLIENT] FOR LEGAL SERVICES</a:t>
            </a:r>
          </a:p>
        </p:txBody>
      </p:sp>
      <p:sp>
        <p:nvSpPr>
          <p:cNvPr id="3" name="Graphic 13">
            <a:extLst>
              <a:ext uri="{FF2B5EF4-FFF2-40B4-BE49-F238E27FC236}">
                <a16:creationId xmlns:a16="http://schemas.microsoft.com/office/drawing/2014/main" id="{503C167A-FAAC-E4EB-E571-04F347F84521}"/>
              </a:ext>
            </a:extLst>
          </p:cNvPr>
          <p:cNvSpPr>
            <a:spLocks noGrp="1" noRot="1" noMove="1" noResize="1" noEditPoints="1" noAdjustHandles="1" noChangeArrowheads="1" noChangeShapeType="1"/>
          </p:cNvSpPr>
          <p:nvPr userDrawn="1"/>
        </p:nvSpPr>
        <p:spPr>
          <a:xfrm>
            <a:off x="585463" y="588011"/>
            <a:ext cx="1522695" cy="922576"/>
          </a:xfrm>
          <a:custGeom>
            <a:avLst/>
            <a:gdLst>
              <a:gd name="connsiteX0" fmla="*/ 618149 w 1522695"/>
              <a:gd name="connsiteY0" fmla="*/ 39943 h 922576"/>
              <a:gd name="connsiteX1" fmla="*/ 421345 w 1522695"/>
              <a:gd name="connsiteY1" fmla="*/ 876531 h 922576"/>
              <a:gd name="connsiteX2" fmla="*/ 388753 w 1522695"/>
              <a:gd name="connsiteY2" fmla="*/ 915365 h 922576"/>
              <a:gd name="connsiteX3" fmla="*/ 349364 w 1522695"/>
              <a:gd name="connsiteY3" fmla="*/ 922577 h 922576"/>
              <a:gd name="connsiteX4" fmla="*/ 328006 w 1522695"/>
              <a:gd name="connsiteY4" fmla="*/ 897196 h 922576"/>
              <a:gd name="connsiteX5" fmla="*/ 431608 w 1522695"/>
              <a:gd name="connsiteY5" fmla="*/ 465033 h 922576"/>
              <a:gd name="connsiteX6" fmla="*/ 224958 w 1522695"/>
              <a:gd name="connsiteY6" fmla="*/ 504838 h 922576"/>
              <a:gd name="connsiteX7" fmla="*/ 185292 w 1522695"/>
              <a:gd name="connsiteY7" fmla="*/ 702473 h 922576"/>
              <a:gd name="connsiteX8" fmla="*/ 159634 w 1522695"/>
              <a:gd name="connsiteY8" fmla="*/ 738117 h 922576"/>
              <a:gd name="connsiteX9" fmla="*/ 102771 w 1522695"/>
              <a:gd name="connsiteY9" fmla="*/ 719671 h 922576"/>
              <a:gd name="connsiteX10" fmla="*/ 150203 w 1522695"/>
              <a:gd name="connsiteY10" fmla="*/ 519816 h 922576"/>
              <a:gd name="connsiteX11" fmla="*/ 62411 w 1522695"/>
              <a:gd name="connsiteY11" fmla="*/ 533547 h 922576"/>
              <a:gd name="connsiteX12" fmla="*/ 0 w 1522695"/>
              <a:gd name="connsiteY12" fmla="*/ 507750 h 922576"/>
              <a:gd name="connsiteX13" fmla="*/ 163795 w 1522695"/>
              <a:gd name="connsiteY13" fmla="*/ 465588 h 922576"/>
              <a:gd name="connsiteX14" fmla="*/ 234805 w 1522695"/>
              <a:gd name="connsiteY14" fmla="*/ 162547 h 922576"/>
              <a:gd name="connsiteX15" fmla="*/ 258244 w 1522695"/>
              <a:gd name="connsiteY15" fmla="*/ 135502 h 922576"/>
              <a:gd name="connsiteX16" fmla="*/ 300961 w 1522695"/>
              <a:gd name="connsiteY16" fmla="*/ 126625 h 922576"/>
              <a:gd name="connsiteX17" fmla="*/ 316772 w 1522695"/>
              <a:gd name="connsiteY17" fmla="*/ 149232 h 922576"/>
              <a:gd name="connsiteX18" fmla="*/ 239104 w 1522695"/>
              <a:gd name="connsiteY18" fmla="*/ 449084 h 922576"/>
              <a:gd name="connsiteX19" fmla="*/ 447697 w 1522695"/>
              <a:gd name="connsiteY19" fmla="*/ 404564 h 922576"/>
              <a:gd name="connsiteX20" fmla="*/ 542839 w 1522695"/>
              <a:gd name="connsiteY20" fmla="*/ 34950 h 922576"/>
              <a:gd name="connsiteX21" fmla="*/ 557402 w 1522695"/>
              <a:gd name="connsiteY21" fmla="*/ 6935 h 922576"/>
              <a:gd name="connsiteX22" fmla="*/ 592907 w 1522695"/>
              <a:gd name="connsiteY22" fmla="*/ 0 h 922576"/>
              <a:gd name="connsiteX23" fmla="*/ 620506 w 1522695"/>
              <a:gd name="connsiteY23" fmla="*/ 25381 h 922576"/>
              <a:gd name="connsiteX24" fmla="*/ 618426 w 1522695"/>
              <a:gd name="connsiteY24" fmla="*/ 40359 h 922576"/>
              <a:gd name="connsiteX25" fmla="*/ 845048 w 1522695"/>
              <a:gd name="connsiteY25" fmla="*/ 445755 h 922576"/>
              <a:gd name="connsiteX26" fmla="*/ 684582 w 1522695"/>
              <a:gd name="connsiteY26" fmla="*/ 476544 h 922576"/>
              <a:gd name="connsiteX27" fmla="*/ 729241 w 1522695"/>
              <a:gd name="connsiteY27" fmla="*/ 311918 h 922576"/>
              <a:gd name="connsiteX28" fmla="*/ 1087204 w 1522695"/>
              <a:gd name="connsiteY28" fmla="*/ 231060 h 922576"/>
              <a:gd name="connsiteX29" fmla="*/ 1110643 w 1522695"/>
              <a:gd name="connsiteY29" fmla="*/ 218994 h 922576"/>
              <a:gd name="connsiteX30" fmla="*/ 1053363 w 1522695"/>
              <a:gd name="connsiteY30" fmla="*/ 185708 h 922576"/>
              <a:gd name="connsiteX31" fmla="*/ 1029785 w 1522695"/>
              <a:gd name="connsiteY31" fmla="*/ 187927 h 922576"/>
              <a:gd name="connsiteX32" fmla="*/ 636872 w 1522695"/>
              <a:gd name="connsiteY32" fmla="*/ 267536 h 922576"/>
              <a:gd name="connsiteX33" fmla="*/ 610798 w 1522695"/>
              <a:gd name="connsiteY33" fmla="*/ 284595 h 922576"/>
              <a:gd name="connsiteX34" fmla="*/ 652683 w 1522695"/>
              <a:gd name="connsiteY34" fmla="*/ 321210 h 922576"/>
              <a:gd name="connsiteX35" fmla="*/ 524948 w 1522695"/>
              <a:gd name="connsiteY35" fmla="*/ 802192 h 922576"/>
              <a:gd name="connsiteX36" fmla="*/ 537569 w 1522695"/>
              <a:gd name="connsiteY36" fmla="*/ 815646 h 922576"/>
              <a:gd name="connsiteX37" fmla="*/ 595542 w 1522695"/>
              <a:gd name="connsiteY37" fmla="*/ 802886 h 922576"/>
              <a:gd name="connsiteX38" fmla="*/ 616762 w 1522695"/>
              <a:gd name="connsiteY38" fmla="*/ 763914 h 922576"/>
              <a:gd name="connsiteX39" fmla="*/ 669603 w 1522695"/>
              <a:gd name="connsiteY39" fmla="*/ 537430 h 922576"/>
              <a:gd name="connsiteX40" fmla="*/ 808988 w 1522695"/>
              <a:gd name="connsiteY40" fmla="*/ 509276 h 922576"/>
              <a:gd name="connsiteX41" fmla="*/ 859611 w 1522695"/>
              <a:gd name="connsiteY41" fmla="*/ 477238 h 922576"/>
              <a:gd name="connsiteX42" fmla="*/ 872232 w 1522695"/>
              <a:gd name="connsiteY42" fmla="*/ 451996 h 922576"/>
              <a:gd name="connsiteX43" fmla="*/ 845187 w 1522695"/>
              <a:gd name="connsiteY43" fmla="*/ 445755 h 922576"/>
              <a:gd name="connsiteX44" fmla="*/ 1479701 w 1522695"/>
              <a:gd name="connsiteY44" fmla="*/ 159218 h 922576"/>
              <a:gd name="connsiteX45" fmla="*/ 1409801 w 1522695"/>
              <a:gd name="connsiteY45" fmla="*/ 217052 h 922576"/>
              <a:gd name="connsiteX46" fmla="*/ 1212442 w 1522695"/>
              <a:gd name="connsiteY46" fmla="*/ 666691 h 922576"/>
              <a:gd name="connsiteX47" fmla="*/ 1231721 w 1522695"/>
              <a:gd name="connsiteY47" fmla="*/ 323845 h 922576"/>
              <a:gd name="connsiteX48" fmla="*/ 1206895 w 1522695"/>
              <a:gd name="connsiteY48" fmla="*/ 300683 h 922576"/>
              <a:gd name="connsiteX49" fmla="*/ 1151002 w 1522695"/>
              <a:gd name="connsiteY49" fmla="*/ 324677 h 922576"/>
              <a:gd name="connsiteX50" fmla="*/ 1137549 w 1522695"/>
              <a:gd name="connsiteY50" fmla="*/ 353525 h 922576"/>
              <a:gd name="connsiteX51" fmla="*/ 980689 w 1522695"/>
              <a:gd name="connsiteY51" fmla="*/ 605528 h 922576"/>
              <a:gd name="connsiteX52" fmla="*/ 1041574 w 1522695"/>
              <a:gd name="connsiteY52" fmla="*/ 331196 h 922576"/>
              <a:gd name="connsiteX53" fmla="*/ 1029369 w 1522695"/>
              <a:gd name="connsiteY53" fmla="*/ 319962 h 922576"/>
              <a:gd name="connsiteX54" fmla="*/ 988871 w 1522695"/>
              <a:gd name="connsiteY54" fmla="*/ 327728 h 922576"/>
              <a:gd name="connsiteX55" fmla="*/ 954892 w 1522695"/>
              <a:gd name="connsiteY55" fmla="*/ 369752 h 922576"/>
              <a:gd name="connsiteX56" fmla="*/ 880553 w 1522695"/>
              <a:gd name="connsiteY56" fmla="*/ 711766 h 922576"/>
              <a:gd name="connsiteX57" fmla="*/ 902328 w 1522695"/>
              <a:gd name="connsiteY57" fmla="*/ 741862 h 922576"/>
              <a:gd name="connsiteX58" fmla="*/ 960024 w 1522695"/>
              <a:gd name="connsiteY58" fmla="*/ 718423 h 922576"/>
              <a:gd name="connsiteX59" fmla="*/ 1144483 w 1522695"/>
              <a:gd name="connsiteY59" fmla="*/ 419542 h 922576"/>
              <a:gd name="connsiteX60" fmla="*/ 1128950 w 1522695"/>
              <a:gd name="connsiteY60" fmla="*/ 709546 h 922576"/>
              <a:gd name="connsiteX61" fmla="*/ 1162375 w 1522695"/>
              <a:gd name="connsiteY61" fmla="*/ 786798 h 922576"/>
              <a:gd name="connsiteX62" fmla="*/ 1235049 w 1522695"/>
              <a:gd name="connsiteY62" fmla="*/ 740891 h 922576"/>
              <a:gd name="connsiteX63" fmla="*/ 1512016 w 1522695"/>
              <a:gd name="connsiteY63" fmla="*/ 203322 h 922576"/>
              <a:gd name="connsiteX64" fmla="*/ 1522696 w 1522695"/>
              <a:gd name="connsiteY64" fmla="*/ 183766 h 922576"/>
              <a:gd name="connsiteX65" fmla="*/ 1479840 w 1522695"/>
              <a:gd name="connsiteY65" fmla="*/ 159357 h 922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522695" h="922576">
                <a:moveTo>
                  <a:pt x="618149" y="39943"/>
                </a:moveTo>
                <a:cubicBezTo>
                  <a:pt x="568774" y="240214"/>
                  <a:pt x="450887" y="614404"/>
                  <a:pt x="421345" y="876531"/>
                </a:cubicBezTo>
                <a:cubicBezTo>
                  <a:pt x="418849" y="898167"/>
                  <a:pt x="420374" y="906627"/>
                  <a:pt x="388753" y="915365"/>
                </a:cubicBezTo>
                <a:cubicBezTo>
                  <a:pt x="373497" y="919526"/>
                  <a:pt x="359350" y="922577"/>
                  <a:pt x="349364" y="922577"/>
                </a:cubicBezTo>
                <a:cubicBezTo>
                  <a:pt x="333831" y="922577"/>
                  <a:pt x="328006" y="913978"/>
                  <a:pt x="328006" y="897196"/>
                </a:cubicBezTo>
                <a:cubicBezTo>
                  <a:pt x="328006" y="851567"/>
                  <a:pt x="390972" y="623280"/>
                  <a:pt x="431608" y="465033"/>
                </a:cubicBezTo>
                <a:cubicBezTo>
                  <a:pt x="377380" y="475296"/>
                  <a:pt x="300961" y="489998"/>
                  <a:pt x="224958" y="504838"/>
                </a:cubicBezTo>
                <a:cubicBezTo>
                  <a:pt x="206512" y="579870"/>
                  <a:pt x="193336" y="642697"/>
                  <a:pt x="185292" y="702473"/>
                </a:cubicBezTo>
                <a:cubicBezTo>
                  <a:pt x="183350" y="716897"/>
                  <a:pt x="185292" y="730489"/>
                  <a:pt x="159634" y="738117"/>
                </a:cubicBezTo>
                <a:cubicBezTo>
                  <a:pt x="116362" y="751015"/>
                  <a:pt x="100968" y="743803"/>
                  <a:pt x="102771" y="719671"/>
                </a:cubicBezTo>
                <a:cubicBezTo>
                  <a:pt x="105683" y="679589"/>
                  <a:pt x="118443" y="648661"/>
                  <a:pt x="150203" y="519816"/>
                </a:cubicBezTo>
                <a:cubicBezTo>
                  <a:pt x="110676" y="527722"/>
                  <a:pt x="79748" y="533547"/>
                  <a:pt x="62411" y="533547"/>
                </a:cubicBezTo>
                <a:cubicBezTo>
                  <a:pt x="38972" y="533547"/>
                  <a:pt x="0" y="517459"/>
                  <a:pt x="0" y="507750"/>
                </a:cubicBezTo>
                <a:cubicBezTo>
                  <a:pt x="0" y="496239"/>
                  <a:pt x="27184" y="496377"/>
                  <a:pt x="163795" y="465588"/>
                </a:cubicBezTo>
                <a:cubicBezTo>
                  <a:pt x="190146" y="360876"/>
                  <a:pt x="227038" y="219133"/>
                  <a:pt x="234805" y="162547"/>
                </a:cubicBezTo>
                <a:cubicBezTo>
                  <a:pt x="236192" y="152145"/>
                  <a:pt x="239798" y="140633"/>
                  <a:pt x="258244" y="135502"/>
                </a:cubicBezTo>
                <a:cubicBezTo>
                  <a:pt x="269339" y="132451"/>
                  <a:pt x="290004" y="126625"/>
                  <a:pt x="300961" y="126625"/>
                </a:cubicBezTo>
                <a:cubicBezTo>
                  <a:pt x="313304" y="126625"/>
                  <a:pt x="316772" y="137721"/>
                  <a:pt x="316772" y="149232"/>
                </a:cubicBezTo>
                <a:cubicBezTo>
                  <a:pt x="316772" y="170036"/>
                  <a:pt x="273916" y="298048"/>
                  <a:pt x="239104" y="449084"/>
                </a:cubicBezTo>
                <a:cubicBezTo>
                  <a:pt x="309837" y="433689"/>
                  <a:pt x="385424" y="417739"/>
                  <a:pt x="447697" y="404564"/>
                </a:cubicBezTo>
                <a:cubicBezTo>
                  <a:pt x="485421" y="261434"/>
                  <a:pt x="522313" y="121910"/>
                  <a:pt x="542839" y="34950"/>
                </a:cubicBezTo>
                <a:cubicBezTo>
                  <a:pt x="547277" y="16227"/>
                  <a:pt x="546445" y="10679"/>
                  <a:pt x="557402" y="6935"/>
                </a:cubicBezTo>
                <a:cubicBezTo>
                  <a:pt x="562533" y="5132"/>
                  <a:pt x="578205" y="0"/>
                  <a:pt x="592907" y="0"/>
                </a:cubicBezTo>
                <a:cubicBezTo>
                  <a:pt x="607608" y="0"/>
                  <a:pt x="620506" y="5548"/>
                  <a:pt x="620506" y="25381"/>
                </a:cubicBezTo>
                <a:cubicBezTo>
                  <a:pt x="620506" y="29680"/>
                  <a:pt x="619813" y="34673"/>
                  <a:pt x="618426" y="40359"/>
                </a:cubicBezTo>
                <a:close/>
                <a:moveTo>
                  <a:pt x="845048" y="445755"/>
                </a:moveTo>
                <a:cubicBezTo>
                  <a:pt x="796922" y="454076"/>
                  <a:pt x="739920" y="465865"/>
                  <a:pt x="684582" y="476544"/>
                </a:cubicBezTo>
                <a:cubicBezTo>
                  <a:pt x="700670" y="412608"/>
                  <a:pt x="716620" y="352970"/>
                  <a:pt x="729241" y="311918"/>
                </a:cubicBezTo>
                <a:cubicBezTo>
                  <a:pt x="838946" y="287092"/>
                  <a:pt x="1056276" y="236053"/>
                  <a:pt x="1087204" y="231060"/>
                </a:cubicBezTo>
                <a:cubicBezTo>
                  <a:pt x="1104679" y="228148"/>
                  <a:pt x="1110643" y="223155"/>
                  <a:pt x="1110643" y="218994"/>
                </a:cubicBezTo>
                <a:cubicBezTo>
                  <a:pt x="1110643" y="211089"/>
                  <a:pt x="1084985" y="185708"/>
                  <a:pt x="1053363" y="185708"/>
                </a:cubicBezTo>
                <a:cubicBezTo>
                  <a:pt x="1046428" y="185708"/>
                  <a:pt x="1038662" y="186402"/>
                  <a:pt x="1029785" y="187927"/>
                </a:cubicBezTo>
                <a:cubicBezTo>
                  <a:pt x="966542" y="199023"/>
                  <a:pt x="709269" y="252974"/>
                  <a:pt x="636872" y="267536"/>
                </a:cubicBezTo>
                <a:cubicBezTo>
                  <a:pt x="618842" y="271142"/>
                  <a:pt x="610798" y="277661"/>
                  <a:pt x="610798" y="284595"/>
                </a:cubicBezTo>
                <a:cubicBezTo>
                  <a:pt x="610798" y="295136"/>
                  <a:pt x="636317" y="316217"/>
                  <a:pt x="652683" y="321210"/>
                </a:cubicBezTo>
                <a:cubicBezTo>
                  <a:pt x="616623" y="461427"/>
                  <a:pt x="524948" y="770571"/>
                  <a:pt x="524948" y="802192"/>
                </a:cubicBezTo>
                <a:cubicBezTo>
                  <a:pt x="524948" y="809959"/>
                  <a:pt x="527583" y="815646"/>
                  <a:pt x="537569" y="815646"/>
                </a:cubicBezTo>
                <a:cubicBezTo>
                  <a:pt x="551299" y="815646"/>
                  <a:pt x="579176" y="809682"/>
                  <a:pt x="595542" y="802886"/>
                </a:cubicBezTo>
                <a:cubicBezTo>
                  <a:pt x="611908" y="795951"/>
                  <a:pt x="611630" y="787907"/>
                  <a:pt x="616762" y="763914"/>
                </a:cubicBezTo>
                <a:cubicBezTo>
                  <a:pt x="627996" y="712043"/>
                  <a:pt x="648106" y="624945"/>
                  <a:pt x="669603" y="537430"/>
                </a:cubicBezTo>
                <a:cubicBezTo>
                  <a:pt x="735620" y="523422"/>
                  <a:pt x="777505" y="516488"/>
                  <a:pt x="808988" y="509276"/>
                </a:cubicBezTo>
                <a:cubicBezTo>
                  <a:pt x="843661" y="501370"/>
                  <a:pt x="850180" y="491107"/>
                  <a:pt x="859611" y="477238"/>
                </a:cubicBezTo>
                <a:cubicBezTo>
                  <a:pt x="865852" y="468223"/>
                  <a:pt x="872232" y="456850"/>
                  <a:pt x="872232" y="451996"/>
                </a:cubicBezTo>
                <a:cubicBezTo>
                  <a:pt x="872232" y="444368"/>
                  <a:pt x="864742" y="442288"/>
                  <a:pt x="845187" y="445755"/>
                </a:cubicBezTo>
                <a:close/>
                <a:moveTo>
                  <a:pt x="1479701" y="159218"/>
                </a:moveTo>
                <a:cubicBezTo>
                  <a:pt x="1459452" y="159218"/>
                  <a:pt x="1437955" y="171978"/>
                  <a:pt x="1409801" y="217052"/>
                </a:cubicBezTo>
                <a:cubicBezTo>
                  <a:pt x="1369857" y="281128"/>
                  <a:pt x="1274854" y="509553"/>
                  <a:pt x="1212442" y="666691"/>
                </a:cubicBezTo>
                <a:cubicBezTo>
                  <a:pt x="1210639" y="502202"/>
                  <a:pt x="1231721" y="360598"/>
                  <a:pt x="1231721" y="323845"/>
                </a:cubicBezTo>
                <a:cubicBezTo>
                  <a:pt x="1231721" y="305399"/>
                  <a:pt x="1220348" y="300683"/>
                  <a:pt x="1206895" y="300683"/>
                </a:cubicBezTo>
                <a:cubicBezTo>
                  <a:pt x="1188310" y="300683"/>
                  <a:pt x="1160988" y="301516"/>
                  <a:pt x="1151002" y="324677"/>
                </a:cubicBezTo>
                <a:cubicBezTo>
                  <a:pt x="1144483" y="339795"/>
                  <a:pt x="1143374" y="343262"/>
                  <a:pt x="1137549" y="353525"/>
                </a:cubicBezTo>
                <a:cubicBezTo>
                  <a:pt x="1125205" y="375577"/>
                  <a:pt x="1053502" y="501786"/>
                  <a:pt x="980689" y="605528"/>
                </a:cubicBezTo>
                <a:cubicBezTo>
                  <a:pt x="1012588" y="432995"/>
                  <a:pt x="1041574" y="349087"/>
                  <a:pt x="1041574" y="331196"/>
                </a:cubicBezTo>
                <a:cubicBezTo>
                  <a:pt x="1041574" y="322874"/>
                  <a:pt x="1036165" y="319962"/>
                  <a:pt x="1029369" y="319962"/>
                </a:cubicBezTo>
                <a:cubicBezTo>
                  <a:pt x="1021325" y="319962"/>
                  <a:pt x="1000799" y="324816"/>
                  <a:pt x="988871" y="327728"/>
                </a:cubicBezTo>
                <a:cubicBezTo>
                  <a:pt x="974864" y="331196"/>
                  <a:pt x="963768" y="335772"/>
                  <a:pt x="954892" y="369752"/>
                </a:cubicBezTo>
                <a:cubicBezTo>
                  <a:pt x="925905" y="479734"/>
                  <a:pt x="880553" y="665720"/>
                  <a:pt x="880553" y="711766"/>
                </a:cubicBezTo>
                <a:cubicBezTo>
                  <a:pt x="880553" y="731876"/>
                  <a:pt x="884575" y="741862"/>
                  <a:pt x="902328" y="741862"/>
                </a:cubicBezTo>
                <a:cubicBezTo>
                  <a:pt x="921051" y="741862"/>
                  <a:pt x="947541" y="736591"/>
                  <a:pt x="960024" y="718423"/>
                </a:cubicBezTo>
                <a:cubicBezTo>
                  <a:pt x="1022851" y="626609"/>
                  <a:pt x="1086372" y="516349"/>
                  <a:pt x="1144483" y="419542"/>
                </a:cubicBezTo>
                <a:cubicBezTo>
                  <a:pt x="1135191" y="510801"/>
                  <a:pt x="1128950" y="628967"/>
                  <a:pt x="1128950" y="709546"/>
                </a:cubicBezTo>
                <a:cubicBezTo>
                  <a:pt x="1128950" y="765023"/>
                  <a:pt x="1130614" y="786798"/>
                  <a:pt x="1162375" y="786798"/>
                </a:cubicBezTo>
                <a:cubicBezTo>
                  <a:pt x="1191223" y="786798"/>
                  <a:pt x="1217019" y="781666"/>
                  <a:pt x="1235049" y="740891"/>
                </a:cubicBezTo>
                <a:cubicBezTo>
                  <a:pt x="1297599" y="599148"/>
                  <a:pt x="1429911" y="303735"/>
                  <a:pt x="1512016" y="203322"/>
                </a:cubicBezTo>
                <a:cubicBezTo>
                  <a:pt x="1517425" y="196803"/>
                  <a:pt x="1522696" y="191256"/>
                  <a:pt x="1522696" y="183766"/>
                </a:cubicBezTo>
                <a:cubicBezTo>
                  <a:pt x="1522696" y="173365"/>
                  <a:pt x="1498563" y="159357"/>
                  <a:pt x="1479840" y="159357"/>
                </a:cubicBezTo>
                <a:close/>
              </a:path>
            </a:pathLst>
          </a:custGeom>
          <a:solidFill>
            <a:schemeClr val="bg1"/>
          </a:solidFill>
          <a:ln w="13855" cap="flat">
            <a:noFill/>
            <a:prstDash val="solid"/>
            <a:miter/>
          </a:ln>
        </p:spPr>
        <p:txBody>
          <a:bodyPr rtlCol="0" anchor="ctr"/>
          <a:lstStyle/>
          <a:p>
            <a:endParaRPr lang="en-GB"/>
          </a:p>
        </p:txBody>
      </p:sp>
    </p:spTree>
    <p:extLst>
      <p:ext uri="{BB962C8B-B14F-4D97-AF65-F5344CB8AC3E}">
        <p14:creationId xmlns:p14="http://schemas.microsoft.com/office/powerpoint/2010/main" val="314429975"/>
      </p:ext>
    </p:extLst>
  </p:cSld>
  <p:clrMapOvr>
    <a:masterClrMapping/>
  </p:clrMapOvr>
  <p:transition spd="med">
    <p:fade/>
  </p:transition>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NSURNACE &amp; REINSURANCE Boilerplate">
    <p:spTree>
      <p:nvGrpSpPr>
        <p:cNvPr id="1" name=""/>
        <p:cNvGrpSpPr/>
        <p:nvPr/>
      </p:nvGrpSpPr>
      <p:grpSpPr>
        <a:xfrm>
          <a:off x="0" y="0"/>
          <a:ext cx="0" cy="0"/>
          <a:chOff x="0" y="0"/>
          <a:chExt cx="0" cy="0"/>
        </a:xfrm>
      </p:grpSpPr>
      <p:pic>
        <p:nvPicPr>
          <p:cNvPr id="45" name="Graphic 44">
            <a:extLst>
              <a:ext uri="{FF2B5EF4-FFF2-40B4-BE49-F238E27FC236}">
                <a16:creationId xmlns:a16="http://schemas.microsoft.com/office/drawing/2014/main" id="{972AD754-FA3A-37A1-87A2-0B5986BD1640}"/>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66653"/>
          <a:stretch/>
        </p:blipFill>
        <p:spPr>
          <a:xfrm>
            <a:off x="8126412" y="0"/>
            <a:ext cx="4065587" cy="6858000"/>
          </a:xfrm>
          <a:prstGeom prst="rect">
            <a:avLst/>
          </a:prstGeom>
        </p:spPr>
      </p:pic>
      <p:sp>
        <p:nvSpPr>
          <p:cNvPr id="40" name="TextBox 39">
            <a:extLst>
              <a:ext uri="{FF2B5EF4-FFF2-40B4-BE49-F238E27FC236}">
                <a16:creationId xmlns:a16="http://schemas.microsoft.com/office/drawing/2014/main" id="{9C2E4D7B-D18A-3926-DD5F-26CF1C1FFCF8}"/>
              </a:ext>
            </a:extLst>
          </p:cNvPr>
          <p:cNvSpPr txBox="1"/>
          <p:nvPr userDrawn="1"/>
        </p:nvSpPr>
        <p:spPr>
          <a:xfrm>
            <a:off x="8839200" y="1123947"/>
            <a:ext cx="2843213" cy="1447800"/>
          </a:xfrm>
          <a:prstGeom prst="rect">
            <a:avLst/>
          </a:prstGeom>
        </p:spPr>
        <p:txBody>
          <a:bodyPr vert="horz" wrap="square" lIns="0" tIns="45720" rIns="0" bIns="45720" rtlCol="0">
            <a:normAutofit/>
          </a:bodyPr>
          <a:lstStyle/>
          <a:p>
            <a:pPr algn="l">
              <a:lnSpc>
                <a:spcPct val="80000"/>
              </a:lnSpc>
            </a:pPr>
            <a:r>
              <a:rPr lang="en-GB" sz="7200" dirty="0">
                <a:solidFill>
                  <a:schemeClr val="bg1"/>
                </a:solidFill>
                <a:latin typeface="+mj-lt"/>
              </a:rPr>
              <a:t>19</a:t>
            </a:r>
          </a:p>
          <a:p>
            <a:pPr algn="l">
              <a:lnSpc>
                <a:spcPct val="80000"/>
              </a:lnSpc>
            </a:pPr>
            <a:r>
              <a:rPr lang="en-GB" sz="3200" dirty="0">
                <a:solidFill>
                  <a:schemeClr val="accent2"/>
                </a:solidFill>
                <a:latin typeface="+mn-lt"/>
              </a:rPr>
              <a:t>partners</a:t>
            </a:r>
            <a:endParaRPr lang="en-GB" sz="8000" kern="1200" dirty="0">
              <a:solidFill>
                <a:schemeClr val="accent2"/>
              </a:solidFill>
              <a:latin typeface="+mj-lt"/>
              <a:ea typeface="+mn-ea"/>
              <a:cs typeface="+mn-cs"/>
            </a:endParaRPr>
          </a:p>
        </p:txBody>
      </p:sp>
      <p:sp>
        <p:nvSpPr>
          <p:cNvPr id="41" name="TextBox 40">
            <a:extLst>
              <a:ext uri="{FF2B5EF4-FFF2-40B4-BE49-F238E27FC236}">
                <a16:creationId xmlns:a16="http://schemas.microsoft.com/office/drawing/2014/main" id="{1FEC0039-5137-C6DE-ACDE-221F9BAC0E21}"/>
              </a:ext>
            </a:extLst>
          </p:cNvPr>
          <p:cNvSpPr txBox="1"/>
          <p:nvPr userDrawn="1"/>
        </p:nvSpPr>
        <p:spPr>
          <a:xfrm>
            <a:off x="8839200" y="2819215"/>
            <a:ext cx="2843213" cy="1447800"/>
          </a:xfrm>
          <a:prstGeom prst="rect">
            <a:avLst/>
          </a:prstGeom>
        </p:spPr>
        <p:txBody>
          <a:bodyPr vert="horz" wrap="square" lIns="0" tIns="45720" rIns="0" bIns="45720" rtlCol="0">
            <a:normAutofit/>
          </a:bodyPr>
          <a:lstStyle/>
          <a:p>
            <a:pPr algn="l">
              <a:lnSpc>
                <a:spcPct val="80000"/>
              </a:lnSpc>
            </a:pPr>
            <a:r>
              <a:rPr lang="en-GB" sz="7200" dirty="0">
                <a:solidFill>
                  <a:schemeClr val="bg1"/>
                </a:solidFill>
                <a:latin typeface="+mj-lt"/>
              </a:rPr>
              <a:t>65</a:t>
            </a:r>
          </a:p>
          <a:p>
            <a:pPr algn="l">
              <a:lnSpc>
                <a:spcPct val="80000"/>
              </a:lnSpc>
            </a:pPr>
            <a:r>
              <a:rPr lang="en-GB" sz="3200" dirty="0">
                <a:solidFill>
                  <a:schemeClr val="accent2"/>
                </a:solidFill>
                <a:latin typeface="+mn-lt"/>
              </a:rPr>
              <a:t>lawyers</a:t>
            </a:r>
            <a:endParaRPr lang="en-GB" sz="8000" kern="1200" dirty="0">
              <a:solidFill>
                <a:schemeClr val="accent2"/>
              </a:solidFill>
              <a:latin typeface="+mj-lt"/>
              <a:ea typeface="+mn-ea"/>
              <a:cs typeface="+mn-cs"/>
            </a:endParaRPr>
          </a:p>
        </p:txBody>
      </p:sp>
      <p:sp>
        <p:nvSpPr>
          <p:cNvPr id="42" name="TextBox 41">
            <a:extLst>
              <a:ext uri="{FF2B5EF4-FFF2-40B4-BE49-F238E27FC236}">
                <a16:creationId xmlns:a16="http://schemas.microsoft.com/office/drawing/2014/main" id="{156FFABB-3EFA-35B5-BE5B-8B5F6BABBF5C}"/>
              </a:ext>
            </a:extLst>
          </p:cNvPr>
          <p:cNvSpPr txBox="1"/>
          <p:nvPr userDrawn="1"/>
        </p:nvSpPr>
        <p:spPr>
          <a:xfrm>
            <a:off x="8778240" y="4546753"/>
            <a:ext cx="2843213" cy="1775416"/>
          </a:xfrm>
          <a:prstGeom prst="rect">
            <a:avLst/>
          </a:prstGeom>
        </p:spPr>
        <p:txBody>
          <a:bodyPr vert="horz" wrap="square" lIns="0" tIns="45720" rIns="0" bIns="45720" rtlCol="0">
            <a:normAutofit/>
          </a:bodyPr>
          <a:lstStyle/>
          <a:p>
            <a:pPr marL="92075" indent="-92075" algn="l">
              <a:lnSpc>
                <a:spcPct val="100000"/>
              </a:lnSpc>
              <a:spcBef>
                <a:spcPts val="200"/>
              </a:spcBef>
              <a:spcAft>
                <a:spcPts val="200"/>
              </a:spcAft>
            </a:pPr>
            <a:r>
              <a:rPr lang="en-US" sz="1600" dirty="0">
                <a:solidFill>
                  <a:schemeClr val="bg1"/>
                </a:solidFill>
                <a:latin typeface="+mj-lt"/>
              </a:rPr>
              <a:t>“A renowned team.”</a:t>
            </a:r>
          </a:p>
          <a:p>
            <a:pPr marL="92075" indent="0" algn="l">
              <a:lnSpc>
                <a:spcPct val="100000"/>
              </a:lnSpc>
              <a:spcBef>
                <a:spcPts val="200"/>
              </a:spcBef>
              <a:spcAft>
                <a:spcPts val="200"/>
              </a:spcAft>
            </a:pPr>
            <a:r>
              <a:rPr lang="en-US" sz="1200" dirty="0">
                <a:solidFill>
                  <a:schemeClr val="accent2"/>
                </a:solidFill>
                <a:latin typeface="+mj-lt"/>
              </a:rPr>
              <a:t>CHAMBERS</a:t>
            </a:r>
            <a:endParaRPr lang="en-GB" sz="1400" kern="1200" dirty="0">
              <a:solidFill>
                <a:schemeClr val="accent2"/>
              </a:solidFill>
              <a:latin typeface="+mj-lt"/>
              <a:ea typeface="+mn-ea"/>
              <a:cs typeface="+mn-cs"/>
            </a:endParaRPr>
          </a:p>
        </p:txBody>
      </p:sp>
      <p:sp>
        <p:nvSpPr>
          <p:cNvPr id="5" name="Footer Placeholder 4"/>
          <p:cNvSpPr>
            <a:spLocks noGrp="1"/>
          </p:cNvSpPr>
          <p:nvPr>
            <p:ph type="ftr" sz="quarter" idx="11"/>
          </p:nvPr>
        </p:nvSpPr>
        <p:spPr/>
        <p:txBody>
          <a:bodyPr/>
          <a:lstStyle/>
          <a:p>
            <a:r>
              <a:rPr lang="en-GB"/>
              <a:t>INSERT FOOTER HER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8CFE0557-AA98-4E6C-B0C3-581794696B68}" type="slidenum">
              <a:rPr lang="en-GB" smtClean="0"/>
              <a:pPr/>
              <a:t>‹#›</a:t>
            </a:fld>
            <a:endParaRPr lang="en-GB" dirty="0"/>
          </a:p>
        </p:txBody>
      </p:sp>
      <p:sp>
        <p:nvSpPr>
          <p:cNvPr id="23" name="Title 3">
            <a:extLst>
              <a:ext uri="{FF2B5EF4-FFF2-40B4-BE49-F238E27FC236}">
                <a16:creationId xmlns:a16="http://schemas.microsoft.com/office/drawing/2014/main" id="{8AB09B44-EDBF-17A6-8435-B2F4F07AB3F6}"/>
              </a:ext>
            </a:extLst>
          </p:cNvPr>
          <p:cNvSpPr txBox="1">
            <a:spLocks/>
          </p:cNvSpPr>
          <p:nvPr userDrawn="1"/>
        </p:nvSpPr>
        <p:spPr>
          <a:xfrm>
            <a:off x="508000" y="454014"/>
            <a:ext cx="7134225" cy="669934"/>
          </a:xfrm>
          <a:prstGeom prst="rect">
            <a:avLst/>
          </a:prstGeom>
        </p:spPr>
        <p:txBody>
          <a:bodyPr vert="horz" lIns="0" tIns="0" rIns="0" bIns="72000" rtlCol="0" anchor="t" anchorCtr="0">
            <a:noAutofit/>
          </a:bodyPr>
          <a:lstStyle>
            <a:lvl1pPr algn="l" defTabSz="914400" rtl="0" eaLnBrk="1" latinLnBrk="0" hangingPunct="1">
              <a:lnSpc>
                <a:spcPct val="90000"/>
              </a:lnSpc>
              <a:spcBef>
                <a:spcPct val="0"/>
              </a:spcBef>
              <a:buNone/>
              <a:defRPr sz="3200" kern="1200" cap="all" baseline="0">
                <a:solidFill>
                  <a:schemeClr val="tx2"/>
                </a:solidFill>
                <a:latin typeface="+mn-lt"/>
                <a:ea typeface="+mj-ea"/>
                <a:cs typeface="+mj-cs"/>
              </a:defRPr>
            </a:lvl1pPr>
          </a:lstStyle>
          <a:p>
            <a:r>
              <a:rPr lang="en-US" dirty="0"/>
              <a:t>INSURNACE &amp; REINSURANCE</a:t>
            </a:r>
            <a:endParaRPr lang="en-GB" dirty="0"/>
          </a:p>
        </p:txBody>
      </p:sp>
      <p:sp>
        <p:nvSpPr>
          <p:cNvPr id="25" name="TextBox 24">
            <a:extLst>
              <a:ext uri="{FF2B5EF4-FFF2-40B4-BE49-F238E27FC236}">
                <a16:creationId xmlns:a16="http://schemas.microsoft.com/office/drawing/2014/main" id="{A5EA36E1-4129-FEF6-9C2F-9D7197C7629D}"/>
              </a:ext>
            </a:extLst>
          </p:cNvPr>
          <p:cNvSpPr txBox="1"/>
          <p:nvPr userDrawn="1"/>
        </p:nvSpPr>
        <p:spPr>
          <a:xfrm>
            <a:off x="504826" y="1123946"/>
            <a:ext cx="7183961" cy="1027119"/>
          </a:xfrm>
          <a:prstGeom prst="rect">
            <a:avLst/>
          </a:prstGeom>
        </p:spPr>
        <p:txBody>
          <a:bodyPr vert="horz" wrap="square" lIns="0" tIns="45720" rIns="0" bIns="45720" rtlCol="0">
            <a:noAutofit/>
          </a:bodyPr>
          <a:lstStyle/>
          <a:p>
            <a:pPr marL="0" lvl="0" indent="0" algn="l" defTabSz="914400" rtl="0" eaLnBrk="1" latinLnBrk="0" hangingPunct="1">
              <a:lnSpc>
                <a:spcPct val="110000"/>
              </a:lnSpc>
              <a:spcBef>
                <a:spcPts val="300"/>
              </a:spcBef>
              <a:spcAft>
                <a:spcPts val="300"/>
              </a:spcAft>
              <a:buFont typeface="Arial" panose="020B0604020202020204" pitchFamily="34" charset="0"/>
              <a:buNone/>
            </a:pPr>
            <a:r>
              <a:rPr lang="en-US" sz="2000" kern="1200" dirty="0">
                <a:solidFill>
                  <a:schemeClr val="accent2"/>
                </a:solidFill>
                <a:latin typeface="+mj-lt"/>
                <a:ea typeface="+mn-ea"/>
                <a:cs typeface="+mn-cs"/>
              </a:rPr>
              <a:t>HFW’s global insurance and reinsurance </a:t>
            </a:r>
            <a:br>
              <a:rPr lang="en-US" sz="2000" kern="1200" dirty="0">
                <a:solidFill>
                  <a:schemeClr val="accent2"/>
                </a:solidFill>
                <a:latin typeface="+mj-lt"/>
                <a:ea typeface="+mn-ea"/>
                <a:cs typeface="+mn-cs"/>
              </a:rPr>
            </a:br>
            <a:r>
              <a:rPr lang="en-US" sz="2000" kern="1200" dirty="0">
                <a:solidFill>
                  <a:schemeClr val="accent2"/>
                </a:solidFill>
                <a:latin typeface="+mj-lt"/>
                <a:ea typeface="+mn-ea"/>
                <a:cs typeface="+mn-cs"/>
              </a:rPr>
              <a:t>practice is </a:t>
            </a:r>
            <a:r>
              <a:rPr lang="en-US" sz="2000" kern="1200" dirty="0" err="1">
                <a:solidFill>
                  <a:schemeClr val="accent2"/>
                </a:solidFill>
                <a:latin typeface="+mj-lt"/>
                <a:ea typeface="+mn-ea"/>
                <a:cs typeface="+mn-cs"/>
              </a:rPr>
              <a:t>recognised</a:t>
            </a:r>
            <a:r>
              <a:rPr lang="en-US" sz="2000" kern="1200" dirty="0">
                <a:solidFill>
                  <a:schemeClr val="accent2"/>
                </a:solidFill>
                <a:latin typeface="+mj-lt"/>
                <a:ea typeface="+mn-ea"/>
                <a:cs typeface="+mn-cs"/>
              </a:rPr>
              <a:t> as an industry leader, </a:t>
            </a:r>
            <a:br>
              <a:rPr lang="en-US" sz="2000" kern="1200" dirty="0">
                <a:solidFill>
                  <a:schemeClr val="accent2"/>
                </a:solidFill>
                <a:latin typeface="+mj-lt"/>
                <a:ea typeface="+mn-ea"/>
                <a:cs typeface="+mn-cs"/>
              </a:rPr>
            </a:br>
            <a:r>
              <a:rPr lang="en-US" sz="2000" kern="1200" dirty="0">
                <a:solidFill>
                  <a:schemeClr val="accent2"/>
                </a:solidFill>
                <a:latin typeface="+mj-lt"/>
                <a:ea typeface="+mn-ea"/>
                <a:cs typeface="+mn-cs"/>
              </a:rPr>
              <a:t>offering a comprehensive range of advisory, </a:t>
            </a:r>
            <a:br>
              <a:rPr lang="en-US" sz="2000" kern="1200" dirty="0">
                <a:solidFill>
                  <a:schemeClr val="accent2"/>
                </a:solidFill>
                <a:latin typeface="+mj-lt"/>
                <a:ea typeface="+mn-ea"/>
                <a:cs typeface="+mn-cs"/>
              </a:rPr>
            </a:br>
            <a:r>
              <a:rPr lang="en-US" sz="2000" kern="1200" dirty="0">
                <a:solidFill>
                  <a:schemeClr val="accent2"/>
                </a:solidFill>
                <a:latin typeface="+mj-lt"/>
                <a:ea typeface="+mn-ea"/>
                <a:cs typeface="+mn-cs"/>
              </a:rPr>
              <a:t>dispute resolution, transactional and regulatory </a:t>
            </a:r>
            <a:br>
              <a:rPr lang="en-US" sz="2000" kern="1200" dirty="0">
                <a:solidFill>
                  <a:schemeClr val="accent2"/>
                </a:solidFill>
                <a:latin typeface="+mj-lt"/>
                <a:ea typeface="+mn-ea"/>
                <a:cs typeface="+mn-cs"/>
              </a:rPr>
            </a:br>
            <a:r>
              <a:rPr lang="en-US" sz="2000" kern="1200" dirty="0">
                <a:solidFill>
                  <a:schemeClr val="accent2"/>
                </a:solidFill>
                <a:latin typeface="+mj-lt"/>
                <a:ea typeface="+mn-ea"/>
                <a:cs typeface="+mn-cs"/>
              </a:rPr>
              <a:t>legal services to clients across the sector.</a:t>
            </a:r>
          </a:p>
        </p:txBody>
      </p:sp>
      <p:sp>
        <p:nvSpPr>
          <p:cNvPr id="26" name="TextBox 25">
            <a:extLst>
              <a:ext uri="{FF2B5EF4-FFF2-40B4-BE49-F238E27FC236}">
                <a16:creationId xmlns:a16="http://schemas.microsoft.com/office/drawing/2014/main" id="{FDFD0AFD-8043-093A-16C9-665D20AE7490}"/>
              </a:ext>
            </a:extLst>
          </p:cNvPr>
          <p:cNvSpPr txBox="1"/>
          <p:nvPr userDrawn="1"/>
        </p:nvSpPr>
        <p:spPr>
          <a:xfrm>
            <a:off x="504826" y="2195825"/>
            <a:ext cx="3403599" cy="4022429"/>
          </a:xfrm>
          <a:prstGeom prst="rect">
            <a:avLst/>
          </a:prstGeom>
        </p:spPr>
        <p:txBody>
          <a:bodyPr vert="horz" lIns="0" tIns="45720" rIns="0" bIns="45720" rtlCol="0">
            <a:normAutofit/>
          </a:bodyPr>
          <a:lstStyle>
            <a:lvl1pPr indent="0" defTabSz="914400">
              <a:lnSpc>
                <a:spcPct val="130000"/>
              </a:lnSpc>
              <a:spcBef>
                <a:spcPts val="300"/>
              </a:spcBef>
              <a:spcAft>
                <a:spcPts val="300"/>
              </a:spcAft>
              <a:buFont typeface="Arial" panose="020B0604020202020204" pitchFamily="34" charset="0"/>
              <a:buNone/>
              <a:defRPr sz="1400">
                <a:solidFill>
                  <a:schemeClr val="tx2"/>
                </a:solidFill>
                <a:latin typeface="+mj-lt"/>
              </a:defRPr>
            </a:lvl1pPr>
            <a:lvl2pPr marL="0" lvl="1" indent="0" defTabSz="914400">
              <a:lnSpc>
                <a:spcPct val="130000"/>
              </a:lnSpc>
              <a:spcBef>
                <a:spcPts val="300"/>
              </a:spcBef>
              <a:spcAft>
                <a:spcPts val="300"/>
              </a:spcAft>
              <a:buFont typeface="Arial" panose="020B0604020202020204" pitchFamily="34" charset="0"/>
              <a:buNone/>
              <a:defRPr sz="1100"/>
            </a:lvl2pPr>
            <a:lvl3pPr marL="180975" indent="-180975" defTabSz="914400">
              <a:lnSpc>
                <a:spcPct val="130000"/>
              </a:lnSpc>
              <a:spcBef>
                <a:spcPts val="300"/>
              </a:spcBef>
              <a:spcAft>
                <a:spcPts val="300"/>
              </a:spcAft>
              <a:buClr>
                <a:schemeClr val="tx2"/>
              </a:buClr>
              <a:buSzPct val="105000"/>
              <a:buFont typeface="Arial" panose="020B0604020202020204" pitchFamily="34" charset="0"/>
              <a:buChar char="•"/>
              <a:defRPr sz="1100"/>
            </a:lvl3pPr>
            <a:lvl4pPr marL="539750" indent="-180975" defTabSz="914400">
              <a:lnSpc>
                <a:spcPct val="130000"/>
              </a:lnSpc>
              <a:spcBef>
                <a:spcPts val="300"/>
              </a:spcBef>
              <a:spcAft>
                <a:spcPts val="300"/>
              </a:spcAft>
              <a:buClr>
                <a:schemeClr val="tx2"/>
              </a:buClr>
              <a:buSzPct val="105000"/>
              <a:buFont typeface="Arial" panose="020B0604020202020204" pitchFamily="34" charset="0"/>
              <a:buChar char="•"/>
              <a:defRPr sz="1050"/>
            </a:lvl4pPr>
            <a:lvl5pPr marL="898525" indent="-180975" defTabSz="914400">
              <a:lnSpc>
                <a:spcPct val="130000"/>
              </a:lnSpc>
              <a:spcBef>
                <a:spcPts val="300"/>
              </a:spcBef>
              <a:spcAft>
                <a:spcPts val="300"/>
              </a:spcAft>
              <a:buClr>
                <a:schemeClr val="tx2"/>
              </a:buClr>
              <a:buSzPct val="105000"/>
              <a:buFont typeface="Arial" panose="020B0604020202020204" pitchFamily="34" charset="0"/>
              <a:buChar char="•"/>
              <a:defRPr sz="105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1"/>
            <a:endParaRPr lang="en-US" dirty="0"/>
          </a:p>
          <a:p>
            <a:pPr lvl="1"/>
            <a:endParaRPr lang="en-US" dirty="0"/>
          </a:p>
          <a:p>
            <a:pPr lvl="1"/>
            <a:endParaRPr lang="en-US" dirty="0"/>
          </a:p>
          <a:p>
            <a:pPr lvl="1"/>
            <a:r>
              <a:rPr lang="en-US" dirty="0"/>
              <a:t>We have a specialist team of 65 lawyers across our network of international offices, and several of our partners have worked directly in the insurance industry.</a:t>
            </a:r>
          </a:p>
          <a:p>
            <a:pPr lvl="1"/>
            <a:r>
              <a:rPr lang="en-US" dirty="0"/>
              <a:t>Our insurance and reinsurance work is generally high value, complex and multiparty, and international in nature. And as a non-aligned practice, we act for both the market and policyholders.</a:t>
            </a:r>
          </a:p>
          <a:p>
            <a:pPr lvl="1"/>
            <a:r>
              <a:rPr lang="en-US" dirty="0"/>
              <a:t>We strengthened our US insurance offering with the hire of disputes expert Amanda </a:t>
            </a:r>
            <a:r>
              <a:rPr lang="en-US" dirty="0" err="1"/>
              <a:t>Kujda</a:t>
            </a:r>
            <a:r>
              <a:rPr lang="en-US" dirty="0"/>
              <a:t> in Houston, while William </a:t>
            </a:r>
            <a:r>
              <a:rPr lang="en-US" dirty="0" err="1"/>
              <a:t>Reddie</a:t>
            </a:r>
            <a:r>
              <a:rPr lang="en-US" dirty="0"/>
              <a:t>,</a:t>
            </a:r>
            <a:endParaRPr lang="en-GB" dirty="0"/>
          </a:p>
        </p:txBody>
      </p:sp>
      <p:sp>
        <p:nvSpPr>
          <p:cNvPr id="43" name="TextBox 42">
            <a:extLst>
              <a:ext uri="{FF2B5EF4-FFF2-40B4-BE49-F238E27FC236}">
                <a16:creationId xmlns:a16="http://schemas.microsoft.com/office/drawing/2014/main" id="{3D8EE971-80E6-E69B-3D58-09C4EDC6DB89}"/>
              </a:ext>
            </a:extLst>
          </p:cNvPr>
          <p:cNvSpPr txBox="1"/>
          <p:nvPr userDrawn="1"/>
        </p:nvSpPr>
        <p:spPr>
          <a:xfrm>
            <a:off x="4233546" y="2195825"/>
            <a:ext cx="3403599" cy="4022429"/>
          </a:xfrm>
          <a:prstGeom prst="rect">
            <a:avLst/>
          </a:prstGeom>
        </p:spPr>
        <p:txBody>
          <a:bodyPr vert="horz" lIns="0" tIns="45720" rIns="0" bIns="45720" rtlCol="0">
            <a:normAutofit/>
          </a:bodyPr>
          <a:lstStyle>
            <a:lvl1pPr indent="0" defTabSz="914400">
              <a:lnSpc>
                <a:spcPct val="130000"/>
              </a:lnSpc>
              <a:spcBef>
                <a:spcPts val="300"/>
              </a:spcBef>
              <a:spcAft>
                <a:spcPts val="300"/>
              </a:spcAft>
              <a:buFont typeface="Arial" panose="020B0604020202020204" pitchFamily="34" charset="0"/>
              <a:buNone/>
              <a:defRPr sz="1400">
                <a:solidFill>
                  <a:schemeClr val="tx2"/>
                </a:solidFill>
                <a:latin typeface="+mj-lt"/>
              </a:defRPr>
            </a:lvl1pPr>
            <a:lvl2pPr marL="0" lvl="1" indent="0" defTabSz="914400">
              <a:lnSpc>
                <a:spcPct val="130000"/>
              </a:lnSpc>
              <a:spcBef>
                <a:spcPts val="300"/>
              </a:spcBef>
              <a:spcAft>
                <a:spcPts val="300"/>
              </a:spcAft>
              <a:buFont typeface="Arial" panose="020B0604020202020204" pitchFamily="34" charset="0"/>
              <a:buNone/>
              <a:defRPr sz="1100"/>
            </a:lvl2pPr>
            <a:lvl3pPr marL="180975" indent="-180975" defTabSz="914400">
              <a:lnSpc>
                <a:spcPct val="130000"/>
              </a:lnSpc>
              <a:spcBef>
                <a:spcPts val="300"/>
              </a:spcBef>
              <a:spcAft>
                <a:spcPts val="300"/>
              </a:spcAft>
              <a:buClr>
                <a:schemeClr val="tx2"/>
              </a:buClr>
              <a:buSzPct val="105000"/>
              <a:buFont typeface="Arial" panose="020B0604020202020204" pitchFamily="34" charset="0"/>
              <a:buChar char="•"/>
              <a:defRPr sz="1100"/>
            </a:lvl3pPr>
            <a:lvl4pPr marL="539750" indent="-180975" defTabSz="914400">
              <a:lnSpc>
                <a:spcPct val="130000"/>
              </a:lnSpc>
              <a:spcBef>
                <a:spcPts val="300"/>
              </a:spcBef>
              <a:spcAft>
                <a:spcPts val="300"/>
              </a:spcAft>
              <a:buClr>
                <a:schemeClr val="tx2"/>
              </a:buClr>
              <a:buSzPct val="105000"/>
              <a:buFont typeface="Arial" panose="020B0604020202020204" pitchFamily="34" charset="0"/>
              <a:buChar char="•"/>
              <a:defRPr sz="1050"/>
            </a:lvl4pPr>
            <a:lvl5pPr marL="898525" indent="-180975" defTabSz="914400">
              <a:lnSpc>
                <a:spcPct val="130000"/>
              </a:lnSpc>
              <a:spcBef>
                <a:spcPts val="300"/>
              </a:spcBef>
              <a:spcAft>
                <a:spcPts val="300"/>
              </a:spcAft>
              <a:buClr>
                <a:schemeClr val="tx2"/>
              </a:buClr>
              <a:buSzPct val="105000"/>
              <a:buFont typeface="Arial" panose="020B0604020202020204" pitchFamily="34" charset="0"/>
              <a:buChar char="•"/>
              <a:defRPr sz="105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1"/>
            <a:endParaRPr lang="en-US" dirty="0"/>
          </a:p>
          <a:p>
            <a:pPr lvl="1"/>
            <a:endParaRPr lang="en-US" dirty="0"/>
          </a:p>
          <a:p>
            <a:pPr lvl="1"/>
            <a:endParaRPr lang="en-US" dirty="0"/>
          </a:p>
          <a:p>
            <a:pPr lvl="1"/>
            <a:r>
              <a:rPr lang="en-US" dirty="0"/>
              <a:t>who </a:t>
            </a:r>
            <a:r>
              <a:rPr lang="en-US" dirty="0" err="1"/>
              <a:t>specialises</a:t>
            </a:r>
            <a:r>
              <a:rPr lang="en-US" dirty="0"/>
              <a:t> in corporate and regulatory insurance, was promoted to partner in our </a:t>
            </a:r>
            <a:r>
              <a:rPr lang="en-GB" dirty="0"/>
              <a:t>London office.</a:t>
            </a:r>
          </a:p>
          <a:p>
            <a:pPr lvl="1"/>
            <a:r>
              <a:rPr lang="en-US" dirty="0"/>
              <a:t>HFW is one of only two law firms ranked by Chambers for contentious claims, non-contentious </a:t>
            </a:r>
            <a:r>
              <a:rPr lang="en-GB" dirty="0"/>
              <a:t>insurance and policyholder </a:t>
            </a:r>
            <a:br>
              <a:rPr lang="en-GB" dirty="0"/>
            </a:br>
            <a:r>
              <a:rPr lang="en-GB" dirty="0"/>
              <a:t>work in London.</a:t>
            </a:r>
          </a:p>
        </p:txBody>
      </p:sp>
    </p:spTree>
    <p:extLst>
      <p:ext uri="{BB962C8B-B14F-4D97-AF65-F5344CB8AC3E}">
        <p14:creationId xmlns:p14="http://schemas.microsoft.com/office/powerpoint/2010/main" val="233149465"/>
      </p:ext>
    </p:extLst>
  </p:cSld>
  <p:clrMapOvr>
    <a:masterClrMapping/>
  </p:clrMapOvr>
  <p:transition spd="med">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1_Tables TO BE COPIED FROM THE MASTER">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r>
              <a:rPr lang="en-GB"/>
              <a:t>INSERT FOOTER HERE</a:t>
            </a:r>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8CFE0557-AA98-4E6C-B0C3-581794696B68}" type="slidenum">
              <a:rPr lang="en-GB" smtClean="0"/>
              <a:pPr/>
              <a:t>‹#›</a:t>
            </a:fld>
            <a:endParaRPr lang="en-GB"/>
          </a:p>
        </p:txBody>
      </p:sp>
      <p:sp>
        <p:nvSpPr>
          <p:cNvPr id="8" name="Title 3">
            <a:extLst>
              <a:ext uri="{FF2B5EF4-FFF2-40B4-BE49-F238E27FC236}">
                <a16:creationId xmlns:a16="http://schemas.microsoft.com/office/drawing/2014/main" id="{7B74FDB6-FBBB-A2F4-213F-6CF7F3FC869A}"/>
              </a:ext>
            </a:extLst>
          </p:cNvPr>
          <p:cNvSpPr txBox="1">
            <a:spLocks/>
          </p:cNvSpPr>
          <p:nvPr userDrawn="1"/>
        </p:nvSpPr>
        <p:spPr>
          <a:xfrm>
            <a:off x="508000" y="454014"/>
            <a:ext cx="11174413" cy="669934"/>
          </a:xfrm>
          <a:prstGeom prst="rect">
            <a:avLst/>
          </a:prstGeom>
        </p:spPr>
        <p:txBody>
          <a:bodyPr vert="horz" lIns="0" tIns="0" rIns="0" bIns="72000" rtlCol="0" anchor="t" anchorCtr="0">
            <a:noAutofit/>
          </a:bodyPr>
          <a:lstStyle>
            <a:lvl1pPr algn="l" defTabSz="914400" rtl="0" eaLnBrk="1" latinLnBrk="0" hangingPunct="1">
              <a:lnSpc>
                <a:spcPct val="90000"/>
              </a:lnSpc>
              <a:spcBef>
                <a:spcPct val="0"/>
              </a:spcBef>
              <a:buNone/>
              <a:defRPr sz="3200" kern="1200" cap="all" baseline="0">
                <a:solidFill>
                  <a:schemeClr val="tx2"/>
                </a:solidFill>
                <a:latin typeface="+mn-lt"/>
                <a:ea typeface="+mj-ea"/>
                <a:cs typeface="+mj-cs"/>
              </a:defRPr>
            </a:lvl1pPr>
          </a:lstStyle>
          <a:p>
            <a:r>
              <a:rPr lang="en-US" dirty="0"/>
              <a:t>Tables TO BE COPIED FROM THE MASTER</a:t>
            </a:r>
            <a:endParaRPr lang="en-GB" dirty="0"/>
          </a:p>
        </p:txBody>
      </p:sp>
      <p:sp>
        <p:nvSpPr>
          <p:cNvPr id="9" name="TextBox 4">
            <a:extLst>
              <a:ext uri="{FF2B5EF4-FFF2-40B4-BE49-F238E27FC236}">
                <a16:creationId xmlns:a16="http://schemas.microsoft.com/office/drawing/2014/main" id="{A0F1473B-A0C1-3FEE-4F6F-4F0EE0B62CCE}"/>
              </a:ext>
            </a:extLst>
          </p:cNvPr>
          <p:cNvSpPr txBox="1"/>
          <p:nvPr userDrawn="1"/>
        </p:nvSpPr>
        <p:spPr>
          <a:xfrm>
            <a:off x="12346713" y="109538"/>
            <a:ext cx="2199020" cy="2980303"/>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defTabSz="914400" rtl="0" eaLnBrk="1" latinLnBrk="0" hangingPunct="1">
              <a:spcBef>
                <a:spcPts val="200"/>
              </a:spcBef>
              <a:spcAft>
                <a:spcPts val="200"/>
              </a:spcAft>
              <a:buFont typeface="+mj-lt"/>
              <a:buNone/>
            </a:pPr>
            <a:r>
              <a:rPr lang="en-US" sz="1600" b="1" kern="1200" dirty="0">
                <a:solidFill>
                  <a:schemeClr val="accent1"/>
                </a:solidFill>
                <a:latin typeface="+mj-lt"/>
                <a:ea typeface="+mn-ea"/>
                <a:cs typeface="+mn-cs"/>
              </a:rPr>
              <a:t>TABLES:</a:t>
            </a:r>
          </a:p>
          <a:p>
            <a:pPr marL="0" indent="0">
              <a:spcBef>
                <a:spcPts val="200"/>
              </a:spcBef>
              <a:spcAft>
                <a:spcPts val="200"/>
              </a:spcAft>
              <a:buFont typeface="+mj-lt"/>
              <a:buNone/>
            </a:pPr>
            <a:r>
              <a:rPr lang="en-US" sz="1400" b="0" kern="1200" dirty="0">
                <a:solidFill>
                  <a:schemeClr val="tx1"/>
                </a:solidFill>
                <a:latin typeface="+mj-lt"/>
                <a:ea typeface="+mn-ea"/>
                <a:cs typeface="+mn-cs"/>
              </a:rPr>
              <a:t>DO NOT USE THIS SLIDE LAYPUT</a:t>
            </a:r>
          </a:p>
          <a:p>
            <a:pPr marL="0" indent="0">
              <a:spcBef>
                <a:spcPts val="200"/>
              </a:spcBef>
              <a:spcAft>
                <a:spcPts val="200"/>
              </a:spcAft>
              <a:buFont typeface="+mj-lt"/>
              <a:buNone/>
            </a:pPr>
            <a:endParaRPr lang="en-US" sz="900" b="0" kern="1200" dirty="0">
              <a:solidFill>
                <a:schemeClr val="tx1"/>
              </a:solidFill>
              <a:latin typeface="+mj-lt"/>
              <a:ea typeface="+mn-ea"/>
              <a:cs typeface="+mn-cs"/>
            </a:endParaRPr>
          </a:p>
          <a:p>
            <a:pPr marL="0" indent="0">
              <a:spcBef>
                <a:spcPts val="200"/>
              </a:spcBef>
              <a:spcAft>
                <a:spcPts val="200"/>
              </a:spcAft>
              <a:buFont typeface="+mj-lt"/>
              <a:buNone/>
            </a:pPr>
            <a:r>
              <a:rPr lang="en-US" sz="900" b="0" kern="1200" dirty="0">
                <a:solidFill>
                  <a:schemeClr val="tx1"/>
                </a:solidFill>
                <a:latin typeface="+mn-lt"/>
                <a:ea typeface="+mn-ea"/>
                <a:cs typeface="+mn-cs"/>
              </a:rPr>
              <a:t>This is simple a slide in the master for you to go to and copy tables from so we are consistent in the table style we use.</a:t>
            </a:r>
          </a:p>
          <a:p>
            <a:pPr marL="0" indent="0">
              <a:spcBef>
                <a:spcPts val="200"/>
              </a:spcBef>
              <a:spcAft>
                <a:spcPts val="200"/>
              </a:spcAft>
              <a:buFont typeface="+mj-lt"/>
              <a:buNone/>
            </a:pPr>
            <a:endParaRPr lang="en-US" sz="900" b="0" kern="1200" dirty="0">
              <a:solidFill>
                <a:schemeClr val="tx1"/>
              </a:solidFill>
              <a:latin typeface="+mn-lt"/>
              <a:ea typeface="+mn-ea"/>
              <a:cs typeface="+mn-cs"/>
            </a:endParaRPr>
          </a:p>
          <a:p>
            <a:pPr marL="228600" indent="-228600">
              <a:spcBef>
                <a:spcPts val="200"/>
              </a:spcBef>
              <a:spcAft>
                <a:spcPts val="200"/>
              </a:spcAft>
              <a:buFont typeface="+mj-lt"/>
              <a:buAutoNum type="arabicPeriod"/>
            </a:pPr>
            <a:r>
              <a:rPr lang="en-US" sz="900" b="0" kern="1200" dirty="0">
                <a:solidFill>
                  <a:schemeClr val="tx1"/>
                </a:solidFill>
                <a:latin typeface="+mn-lt"/>
                <a:ea typeface="+mn-ea"/>
                <a:cs typeface="+mn-cs"/>
              </a:rPr>
              <a:t>Select </a:t>
            </a:r>
            <a:r>
              <a:rPr lang="en-US" sz="900" b="0" kern="1200" dirty="0">
                <a:solidFill>
                  <a:schemeClr val="tx1"/>
                </a:solidFill>
                <a:latin typeface="+mj-lt"/>
                <a:ea typeface="+mn-ea"/>
                <a:cs typeface="+mn-cs"/>
              </a:rPr>
              <a:t>VIEW &gt; SLIDE MASTER</a:t>
            </a:r>
          </a:p>
          <a:p>
            <a:pPr marL="228600" indent="-228600">
              <a:spcBef>
                <a:spcPts val="200"/>
              </a:spcBef>
              <a:spcAft>
                <a:spcPts val="200"/>
              </a:spcAft>
              <a:buFont typeface="+mj-lt"/>
              <a:buAutoNum type="arabicPeriod"/>
            </a:pPr>
            <a:r>
              <a:rPr lang="en-US" sz="900" b="0" kern="1200" dirty="0">
                <a:solidFill>
                  <a:schemeClr val="tx1"/>
                </a:solidFill>
                <a:latin typeface="+mn-lt"/>
                <a:ea typeface="+mn-ea"/>
                <a:cs typeface="+mn-cs"/>
              </a:rPr>
              <a:t>Once in the MASTER select and copy a table</a:t>
            </a:r>
          </a:p>
          <a:p>
            <a:pPr marL="228600" indent="-228600">
              <a:spcBef>
                <a:spcPts val="200"/>
              </a:spcBef>
              <a:spcAft>
                <a:spcPts val="200"/>
              </a:spcAft>
              <a:buFont typeface="+mj-lt"/>
              <a:buAutoNum type="arabicPeriod"/>
            </a:pPr>
            <a:r>
              <a:rPr lang="en-US" sz="900" b="0" kern="1200" dirty="0">
                <a:solidFill>
                  <a:schemeClr val="tx1"/>
                </a:solidFill>
                <a:latin typeface="+mn-lt"/>
                <a:ea typeface="+mn-ea"/>
                <a:cs typeface="+mn-cs"/>
              </a:rPr>
              <a:t>Now select </a:t>
            </a:r>
            <a:r>
              <a:rPr lang="en-US" sz="900" b="0" kern="1200" dirty="0">
                <a:solidFill>
                  <a:schemeClr val="tx1"/>
                </a:solidFill>
                <a:latin typeface="+mj-lt"/>
                <a:ea typeface="+mn-ea"/>
                <a:cs typeface="+mn-cs"/>
              </a:rPr>
              <a:t>CLOSE MASTER VIEW</a:t>
            </a:r>
          </a:p>
          <a:p>
            <a:pPr marL="228600" indent="-228600">
              <a:spcBef>
                <a:spcPts val="200"/>
              </a:spcBef>
              <a:spcAft>
                <a:spcPts val="200"/>
              </a:spcAft>
              <a:buFont typeface="+mj-lt"/>
              <a:buAutoNum type="arabicPeriod"/>
            </a:pPr>
            <a:r>
              <a:rPr lang="en-US" sz="900" b="0" kern="1200" dirty="0">
                <a:solidFill>
                  <a:schemeClr val="tx1"/>
                </a:solidFill>
                <a:latin typeface="+mn-lt"/>
                <a:ea typeface="+mn-ea"/>
                <a:cs typeface="+mn-cs"/>
              </a:rPr>
              <a:t>And paste the table where you need it</a:t>
            </a:r>
          </a:p>
        </p:txBody>
      </p:sp>
      <p:graphicFrame>
        <p:nvGraphicFramePr>
          <p:cNvPr id="4" name="Table 30">
            <a:extLst>
              <a:ext uri="{FF2B5EF4-FFF2-40B4-BE49-F238E27FC236}">
                <a16:creationId xmlns:a16="http://schemas.microsoft.com/office/drawing/2014/main" id="{5F0D7813-4306-8E67-40CA-DFB52C9AFE5A}"/>
              </a:ext>
            </a:extLst>
          </p:cNvPr>
          <p:cNvGraphicFramePr>
            <a:graphicFrameLocks noGrp="1"/>
          </p:cNvGraphicFramePr>
          <p:nvPr userDrawn="1">
            <p:extLst>
              <p:ext uri="{D42A27DB-BD31-4B8C-83A1-F6EECF244321}">
                <p14:modId xmlns:p14="http://schemas.microsoft.com/office/powerpoint/2010/main" val="132582944"/>
              </p:ext>
            </p:extLst>
          </p:nvPr>
        </p:nvGraphicFramePr>
        <p:xfrm>
          <a:off x="4225926" y="1583267"/>
          <a:ext cx="7475536" cy="4636555"/>
        </p:xfrm>
        <a:graphic>
          <a:graphicData uri="http://schemas.openxmlformats.org/drawingml/2006/table">
            <a:tbl>
              <a:tblPr>
                <a:tableStyleId>{5C22544A-7EE6-4342-B048-85BDC9FD1C3A}</a:tableStyleId>
              </a:tblPr>
              <a:tblGrid>
                <a:gridCol w="3912234">
                  <a:extLst>
                    <a:ext uri="{9D8B030D-6E8A-4147-A177-3AD203B41FA5}">
                      <a16:colId xmlns:a16="http://schemas.microsoft.com/office/drawing/2014/main" val="1639631679"/>
                    </a:ext>
                  </a:extLst>
                </a:gridCol>
                <a:gridCol w="1781651">
                  <a:extLst>
                    <a:ext uri="{9D8B030D-6E8A-4147-A177-3AD203B41FA5}">
                      <a16:colId xmlns:a16="http://schemas.microsoft.com/office/drawing/2014/main" val="687887646"/>
                    </a:ext>
                  </a:extLst>
                </a:gridCol>
                <a:gridCol w="1781651">
                  <a:extLst>
                    <a:ext uri="{9D8B030D-6E8A-4147-A177-3AD203B41FA5}">
                      <a16:colId xmlns:a16="http://schemas.microsoft.com/office/drawing/2014/main" val="14803938"/>
                    </a:ext>
                  </a:extLst>
                </a:gridCol>
              </a:tblGrid>
              <a:tr h="567707">
                <a:tc>
                  <a:txBody>
                    <a:bodyPr/>
                    <a:lstStyle/>
                    <a:p>
                      <a:pPr algn="l"/>
                      <a:r>
                        <a:rPr lang="en-GB" sz="1000" kern="1200" cap="all" baseline="0" dirty="0">
                          <a:solidFill>
                            <a:schemeClr val="tx2"/>
                          </a:solidFill>
                          <a:latin typeface="+mj-lt"/>
                          <a:ea typeface="+mn-ea"/>
                          <a:cs typeface="+mn-cs"/>
                        </a:rPr>
                        <a:t>TITLE</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algn="ctr"/>
                      <a:r>
                        <a:rPr lang="en-GB" sz="1000" kern="1200" cap="all" baseline="0" dirty="0">
                          <a:solidFill>
                            <a:schemeClr val="tx2"/>
                          </a:solidFill>
                          <a:latin typeface="+mj-lt"/>
                          <a:ea typeface="+mn-ea"/>
                          <a:cs typeface="+mn-cs"/>
                        </a:rPr>
                        <a:t>column</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algn="ctr"/>
                      <a:r>
                        <a:rPr lang="en-GB" sz="1000" kern="1200" cap="all" baseline="0" dirty="0">
                          <a:solidFill>
                            <a:schemeClr val="tx2"/>
                          </a:solidFill>
                          <a:latin typeface="+mj-lt"/>
                          <a:ea typeface="+mn-ea"/>
                          <a:cs typeface="+mn-cs"/>
                        </a:rPr>
                        <a:t>column</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3952565638"/>
                  </a:ext>
                </a:extLst>
              </a:tr>
              <a:tr h="599340">
                <a:tc>
                  <a:txBody>
                    <a:bodyPr/>
                    <a:lstStyle/>
                    <a:p>
                      <a:pPr algn="l"/>
                      <a:r>
                        <a:rPr lang="en-GB" sz="1000" b="0" i="0" u="none" strike="noStrike" kern="1200" cap="all" baseline="0" dirty="0">
                          <a:solidFill>
                            <a:schemeClr val="tx1"/>
                          </a:solidFill>
                          <a:latin typeface="+mn-lt"/>
                          <a:ea typeface="+mn-ea"/>
                          <a:cs typeface="+mn-cs"/>
                        </a:rPr>
                        <a:t>Item 01</a:t>
                      </a:r>
                      <a:endParaRPr lang="en-GB" sz="1000" cap="all" baseline="0" dirty="0">
                        <a:solidFill>
                          <a:schemeClr val="tx1"/>
                        </a:solidFill>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2927525207"/>
                  </a:ext>
                </a:extLst>
              </a:tr>
              <a:tr h="5993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all" spc="0" normalizeH="0" baseline="0" noProof="0" dirty="0">
                          <a:ln>
                            <a:noFill/>
                          </a:ln>
                          <a:solidFill>
                            <a:srgbClr val="5B5D62"/>
                          </a:solidFill>
                          <a:effectLst/>
                          <a:uLnTx/>
                          <a:uFillTx/>
                          <a:latin typeface="Montserrat"/>
                          <a:ea typeface="+mn-ea"/>
                          <a:cs typeface="+mn-cs"/>
                        </a:rPr>
                        <a:t>Item 02</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1167671591"/>
                  </a:ext>
                </a:extLst>
              </a:tr>
              <a:tr h="5993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all" spc="0" normalizeH="0" baseline="0" noProof="0" dirty="0">
                          <a:ln>
                            <a:noFill/>
                          </a:ln>
                          <a:solidFill>
                            <a:srgbClr val="5B5D62"/>
                          </a:solidFill>
                          <a:effectLst/>
                          <a:uLnTx/>
                          <a:uFillTx/>
                          <a:latin typeface="Montserrat"/>
                          <a:ea typeface="+mn-ea"/>
                          <a:cs typeface="+mn-cs"/>
                        </a:rPr>
                        <a:t>Item 03</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2335492511"/>
                  </a:ext>
                </a:extLst>
              </a:tr>
              <a:tr h="567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all" spc="0" normalizeH="0" baseline="0" noProof="0" dirty="0">
                          <a:ln>
                            <a:noFill/>
                          </a:ln>
                          <a:solidFill>
                            <a:srgbClr val="5B5D62"/>
                          </a:solidFill>
                          <a:effectLst/>
                          <a:uLnTx/>
                          <a:uFillTx/>
                          <a:latin typeface="Montserrat"/>
                          <a:ea typeface="+mn-ea"/>
                          <a:cs typeface="+mn-cs"/>
                        </a:rPr>
                        <a:t>Item 04</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2029255895"/>
                  </a:ext>
                </a:extLst>
              </a:tr>
              <a:tr h="567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all" spc="0" normalizeH="0" baseline="0" noProof="0" dirty="0">
                          <a:ln>
                            <a:noFill/>
                          </a:ln>
                          <a:solidFill>
                            <a:srgbClr val="5B5D62"/>
                          </a:solidFill>
                          <a:effectLst/>
                          <a:uLnTx/>
                          <a:uFillTx/>
                          <a:latin typeface="Montserrat"/>
                          <a:ea typeface="+mn-ea"/>
                          <a:cs typeface="+mn-cs"/>
                        </a:rPr>
                        <a:t>Item 05</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3423255311"/>
                  </a:ext>
                </a:extLst>
              </a:tr>
              <a:tr h="567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all" spc="0" normalizeH="0" baseline="0" noProof="0" dirty="0">
                          <a:ln>
                            <a:noFill/>
                          </a:ln>
                          <a:solidFill>
                            <a:srgbClr val="5B5D62"/>
                          </a:solidFill>
                          <a:effectLst/>
                          <a:uLnTx/>
                          <a:uFillTx/>
                          <a:latin typeface="Montserrat"/>
                          <a:ea typeface="+mn-ea"/>
                          <a:cs typeface="+mn-cs"/>
                        </a:rPr>
                        <a:t>Item 06</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10539303"/>
                  </a:ext>
                </a:extLst>
              </a:tr>
              <a:tr h="567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all" spc="0" normalizeH="0" baseline="0" noProof="0" dirty="0">
                          <a:ln>
                            <a:noFill/>
                          </a:ln>
                          <a:solidFill>
                            <a:srgbClr val="5B5D62"/>
                          </a:solidFill>
                          <a:effectLst/>
                          <a:uLnTx/>
                          <a:uFillTx/>
                          <a:latin typeface="Montserrat"/>
                          <a:ea typeface="+mn-ea"/>
                          <a:cs typeface="+mn-cs"/>
                        </a:rPr>
                        <a:t>Item 07</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5B5D62"/>
                          </a:solidFill>
                          <a:effectLst/>
                          <a:uLnTx/>
                          <a:uFillTx/>
                          <a:latin typeface="Montserrat"/>
                          <a:ea typeface="+mn-ea"/>
                          <a:cs typeface="+mn-cs"/>
                        </a:rPr>
                        <a:t>00</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solidFill>
                      <a:schemeClr val="bg2"/>
                    </a:solidFill>
                  </a:tcPr>
                </a:tc>
                <a:extLst>
                  <a:ext uri="{0D108BD9-81ED-4DB2-BD59-A6C34878D82A}">
                    <a16:rowId xmlns:a16="http://schemas.microsoft.com/office/drawing/2014/main" val="748761887"/>
                  </a:ext>
                </a:extLst>
              </a:tr>
            </a:tbl>
          </a:graphicData>
        </a:graphic>
      </p:graphicFrame>
      <p:graphicFrame>
        <p:nvGraphicFramePr>
          <p:cNvPr id="7" name="Table 30">
            <a:extLst>
              <a:ext uri="{FF2B5EF4-FFF2-40B4-BE49-F238E27FC236}">
                <a16:creationId xmlns:a16="http://schemas.microsoft.com/office/drawing/2014/main" id="{74ABC48F-6B1E-A4EF-08C5-27CC1FA769C4}"/>
              </a:ext>
            </a:extLst>
          </p:cNvPr>
          <p:cNvGraphicFramePr>
            <a:graphicFrameLocks noGrp="1"/>
          </p:cNvGraphicFramePr>
          <p:nvPr userDrawn="1">
            <p:extLst>
              <p:ext uri="{D42A27DB-BD31-4B8C-83A1-F6EECF244321}">
                <p14:modId xmlns:p14="http://schemas.microsoft.com/office/powerpoint/2010/main" val="3399669137"/>
              </p:ext>
            </p:extLst>
          </p:nvPr>
        </p:nvGraphicFramePr>
        <p:xfrm>
          <a:off x="508000" y="1583267"/>
          <a:ext cx="3400424" cy="4636555"/>
        </p:xfrm>
        <a:graphic>
          <a:graphicData uri="http://schemas.openxmlformats.org/drawingml/2006/table">
            <a:tbl>
              <a:tblPr>
                <a:tableStyleId>{5C22544A-7EE6-4342-B048-85BDC9FD1C3A}</a:tableStyleId>
              </a:tblPr>
              <a:tblGrid>
                <a:gridCol w="1212368">
                  <a:extLst>
                    <a:ext uri="{9D8B030D-6E8A-4147-A177-3AD203B41FA5}">
                      <a16:colId xmlns:a16="http://schemas.microsoft.com/office/drawing/2014/main" val="1639631679"/>
                    </a:ext>
                  </a:extLst>
                </a:gridCol>
                <a:gridCol w="1094028">
                  <a:extLst>
                    <a:ext uri="{9D8B030D-6E8A-4147-A177-3AD203B41FA5}">
                      <a16:colId xmlns:a16="http://schemas.microsoft.com/office/drawing/2014/main" val="1388369040"/>
                    </a:ext>
                  </a:extLst>
                </a:gridCol>
                <a:gridCol w="1094028">
                  <a:extLst>
                    <a:ext uri="{9D8B030D-6E8A-4147-A177-3AD203B41FA5}">
                      <a16:colId xmlns:a16="http://schemas.microsoft.com/office/drawing/2014/main" val="687887646"/>
                    </a:ext>
                  </a:extLst>
                </a:gridCol>
              </a:tblGrid>
              <a:tr h="567707">
                <a:tc>
                  <a:txBody>
                    <a:bodyPr/>
                    <a:lstStyle/>
                    <a:p>
                      <a:pPr algn="l"/>
                      <a:r>
                        <a:rPr lang="en-GB" sz="1000" kern="1200" cap="all" baseline="0" dirty="0">
                          <a:solidFill>
                            <a:schemeClr val="tx2"/>
                          </a:solidFill>
                          <a:latin typeface="+mj-lt"/>
                          <a:ea typeface="+mn-ea"/>
                          <a:cs typeface="+mn-cs"/>
                        </a:rPr>
                        <a:t>TITLE</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algn="ctr"/>
                      <a:r>
                        <a:rPr lang="en-GB" sz="1000" kern="1200" cap="all" baseline="0" dirty="0">
                          <a:solidFill>
                            <a:schemeClr val="tx2"/>
                          </a:solidFill>
                          <a:latin typeface="+mj-lt"/>
                          <a:ea typeface="+mn-ea"/>
                          <a:cs typeface="+mn-cs"/>
                        </a:rPr>
                        <a:t>column</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algn="ctr"/>
                      <a:r>
                        <a:rPr lang="en-GB" sz="1000" kern="1200" cap="all" baseline="0" dirty="0">
                          <a:solidFill>
                            <a:schemeClr val="tx2"/>
                          </a:solidFill>
                          <a:latin typeface="+mj-lt"/>
                          <a:ea typeface="+mn-ea"/>
                          <a:cs typeface="+mn-cs"/>
                        </a:rPr>
                        <a:t>column</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3952565638"/>
                  </a:ext>
                </a:extLst>
              </a:tr>
              <a:tr h="599340">
                <a:tc>
                  <a:txBody>
                    <a:bodyPr/>
                    <a:lstStyle/>
                    <a:p>
                      <a:pPr algn="l"/>
                      <a:r>
                        <a:rPr lang="en-GB" sz="1000" b="0" i="0" u="none" strike="noStrike" kern="1200" cap="all" baseline="0" dirty="0">
                          <a:solidFill>
                            <a:schemeClr val="tx1"/>
                          </a:solidFill>
                          <a:latin typeface="+mn-lt"/>
                          <a:ea typeface="+mn-ea"/>
                          <a:cs typeface="+mn-cs"/>
                        </a:rPr>
                        <a:t>Item 01</a:t>
                      </a:r>
                      <a:endParaRPr lang="en-GB" sz="1000" cap="all" baseline="0" dirty="0">
                        <a:solidFill>
                          <a:schemeClr val="tx1"/>
                        </a:solidFill>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2927525207"/>
                  </a:ext>
                </a:extLst>
              </a:tr>
              <a:tr h="5993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all" spc="0" normalizeH="0" baseline="0" noProof="0" dirty="0">
                          <a:ln>
                            <a:noFill/>
                          </a:ln>
                          <a:solidFill>
                            <a:srgbClr val="5B5D62"/>
                          </a:solidFill>
                          <a:effectLst/>
                          <a:uLnTx/>
                          <a:uFillTx/>
                          <a:latin typeface="Montserrat"/>
                          <a:ea typeface="+mn-ea"/>
                          <a:cs typeface="+mn-cs"/>
                        </a:rPr>
                        <a:t>Item 02</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1167671591"/>
                  </a:ext>
                </a:extLst>
              </a:tr>
              <a:tr h="5993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all" spc="0" normalizeH="0" baseline="0" noProof="0" dirty="0">
                          <a:ln>
                            <a:noFill/>
                          </a:ln>
                          <a:solidFill>
                            <a:srgbClr val="5B5D62"/>
                          </a:solidFill>
                          <a:effectLst/>
                          <a:uLnTx/>
                          <a:uFillTx/>
                          <a:latin typeface="Montserrat"/>
                          <a:ea typeface="+mn-ea"/>
                          <a:cs typeface="+mn-cs"/>
                        </a:rPr>
                        <a:t>Item 03</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2335492511"/>
                  </a:ext>
                </a:extLst>
              </a:tr>
              <a:tr h="567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all" spc="0" normalizeH="0" baseline="0" noProof="0" dirty="0">
                          <a:ln>
                            <a:noFill/>
                          </a:ln>
                          <a:solidFill>
                            <a:srgbClr val="5B5D62"/>
                          </a:solidFill>
                          <a:effectLst/>
                          <a:uLnTx/>
                          <a:uFillTx/>
                          <a:latin typeface="Montserrat"/>
                          <a:ea typeface="+mn-ea"/>
                          <a:cs typeface="+mn-cs"/>
                        </a:rPr>
                        <a:t>Item 04</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2029255895"/>
                  </a:ext>
                </a:extLst>
              </a:tr>
              <a:tr h="567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all" spc="0" normalizeH="0" baseline="0" noProof="0" dirty="0">
                          <a:ln>
                            <a:noFill/>
                          </a:ln>
                          <a:solidFill>
                            <a:srgbClr val="5B5D62"/>
                          </a:solidFill>
                          <a:effectLst/>
                          <a:uLnTx/>
                          <a:uFillTx/>
                          <a:latin typeface="Montserrat"/>
                          <a:ea typeface="+mn-ea"/>
                          <a:cs typeface="+mn-cs"/>
                        </a:rPr>
                        <a:t>Item 05</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3423255311"/>
                  </a:ext>
                </a:extLst>
              </a:tr>
              <a:tr h="567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all" spc="0" normalizeH="0" baseline="0" noProof="0" dirty="0">
                          <a:ln>
                            <a:noFill/>
                          </a:ln>
                          <a:solidFill>
                            <a:srgbClr val="5B5D62"/>
                          </a:solidFill>
                          <a:effectLst/>
                          <a:uLnTx/>
                          <a:uFillTx/>
                          <a:latin typeface="Montserrat"/>
                          <a:ea typeface="+mn-ea"/>
                          <a:cs typeface="+mn-cs"/>
                        </a:rPr>
                        <a:t>Item 06</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10539303"/>
                  </a:ext>
                </a:extLst>
              </a:tr>
              <a:tr h="567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all" spc="0" normalizeH="0" baseline="0" noProof="0" dirty="0">
                          <a:ln>
                            <a:noFill/>
                          </a:ln>
                          <a:solidFill>
                            <a:srgbClr val="5B5D62"/>
                          </a:solidFill>
                          <a:effectLst/>
                          <a:uLnTx/>
                          <a:uFillTx/>
                          <a:latin typeface="Montserrat"/>
                          <a:ea typeface="+mn-ea"/>
                          <a:cs typeface="+mn-cs"/>
                        </a:rPr>
                        <a:t>Item 07</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5B5D62"/>
                          </a:solidFill>
                          <a:effectLst/>
                          <a:uLnTx/>
                          <a:uFillTx/>
                          <a:latin typeface="Montserrat"/>
                          <a:ea typeface="+mn-ea"/>
                          <a:cs typeface="+mn-cs"/>
                        </a:rPr>
                        <a:t>00</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solidFill>
                      <a:schemeClr val="bg2"/>
                    </a:solidFill>
                  </a:tcPr>
                </a:tc>
                <a:extLst>
                  <a:ext uri="{0D108BD9-81ED-4DB2-BD59-A6C34878D82A}">
                    <a16:rowId xmlns:a16="http://schemas.microsoft.com/office/drawing/2014/main" val="748761887"/>
                  </a:ext>
                </a:extLst>
              </a:tr>
            </a:tbl>
          </a:graphicData>
        </a:graphic>
      </p:graphicFrame>
    </p:spTree>
    <p:extLst>
      <p:ext uri="{BB962C8B-B14F-4D97-AF65-F5344CB8AC3E}">
        <p14:creationId xmlns:p14="http://schemas.microsoft.com/office/powerpoint/2010/main" val="1716419628"/>
      </p:ext>
    </p:extLst>
  </p:cSld>
  <p:clrMapOvr>
    <a:masterClrMapping/>
  </p:clrMapOvr>
  <p:transition spd="med">
    <p:fade/>
  </p:transition>
  <p:extLst>
    <p:ext uri="{DCECCB84-F9BA-43D5-87BE-67443E8EF086}">
      <p15:sldGuideLst xmlns:p15="http://schemas.microsoft.com/office/powerpoint/2012/main">
        <p15:guide id="1" pos="3840">
          <p15:clr>
            <a:srgbClr val="FBAE4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Appendix T&amp;Cs - 3 column">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508000" y="1549930"/>
            <a:ext cx="11174413" cy="4669896"/>
          </a:xfrm>
        </p:spPr>
        <p:txBody>
          <a:bodyPr vert="horz" lIns="0" tIns="45720" rIns="0" bIns="4572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5" name="Footer Placeholder 4"/>
          <p:cNvSpPr>
            <a:spLocks noGrp="1"/>
          </p:cNvSpPr>
          <p:nvPr>
            <p:ph type="ftr" sz="quarter" idx="11"/>
          </p:nvPr>
        </p:nvSpPr>
        <p:spPr/>
        <p:txBody>
          <a:bodyPr/>
          <a:lstStyle/>
          <a:p>
            <a:r>
              <a:rPr lang="en-GB"/>
              <a:t>INSERT FOOTER HERE</a:t>
            </a:r>
          </a:p>
        </p:txBody>
      </p:sp>
      <p:sp>
        <p:nvSpPr>
          <p:cNvPr id="6" name="Slide Number Placeholder 5"/>
          <p:cNvSpPr>
            <a:spLocks noGrp="1"/>
          </p:cNvSpPr>
          <p:nvPr>
            <p:ph type="sldNum" sz="quarter" idx="12"/>
          </p:nvPr>
        </p:nvSpPr>
        <p:spPr/>
        <p:txBody>
          <a:bodyPr/>
          <a:lstStyle/>
          <a:p>
            <a:fld id="{8CFE0557-AA98-4E6C-B0C3-581794696B68}" type="slidenum">
              <a:rPr lang="en-GB" smtClean="0"/>
              <a:t>‹#›</a:t>
            </a:fld>
            <a:endParaRPr lang="en-GB"/>
          </a:p>
        </p:txBody>
      </p:sp>
      <p:sp>
        <p:nvSpPr>
          <p:cNvPr id="4" name="Title 3">
            <a:extLst>
              <a:ext uri="{FF2B5EF4-FFF2-40B4-BE49-F238E27FC236}">
                <a16:creationId xmlns:a16="http://schemas.microsoft.com/office/drawing/2014/main" id="{4608F71F-298B-E7F1-63FC-02E5E7EE1D4A}"/>
              </a:ext>
            </a:extLst>
          </p:cNvPr>
          <p:cNvSpPr>
            <a:spLocks noGrp="1"/>
          </p:cNvSpPr>
          <p:nvPr>
            <p:ph type="title" hasCustomPrompt="1"/>
          </p:nvPr>
        </p:nvSpPr>
        <p:spPr/>
        <p:txBody>
          <a:bodyPr/>
          <a:lstStyle/>
          <a:p>
            <a:r>
              <a:rPr lang="en-US" dirty="0"/>
              <a:t>TERMS &amp; CONDITIONS</a:t>
            </a:r>
            <a:endParaRPr lang="en-GB" dirty="0"/>
          </a:p>
        </p:txBody>
      </p:sp>
    </p:spTree>
    <p:extLst>
      <p:ext uri="{BB962C8B-B14F-4D97-AF65-F5344CB8AC3E}">
        <p14:creationId xmlns:p14="http://schemas.microsoft.com/office/powerpoint/2010/main" val="831746444"/>
      </p:ext>
    </p:extLst>
  </p:cSld>
  <p:clrMapOvr>
    <a:masterClrMapping/>
  </p:clrMapOvr>
  <p:transition spd="med">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Sustainability Title Slide">
    <p:bg>
      <p:bgPr>
        <a:solidFill>
          <a:schemeClr val="accent2"/>
        </a:solidFill>
        <a:effectLst/>
      </p:bgPr>
    </p:bg>
    <p:spTree>
      <p:nvGrpSpPr>
        <p:cNvPr id="1" name=""/>
        <p:cNvGrpSpPr/>
        <p:nvPr/>
      </p:nvGrpSpPr>
      <p:grpSpPr>
        <a:xfrm>
          <a:off x="0" y="0"/>
          <a:ext cx="0" cy="0"/>
          <a:chOff x="0" y="0"/>
          <a:chExt cx="0" cy="0"/>
        </a:xfrm>
      </p:grpSpPr>
      <p:sp>
        <p:nvSpPr>
          <p:cNvPr id="103" name="Picture Placeholder 102">
            <a:extLst>
              <a:ext uri="{FF2B5EF4-FFF2-40B4-BE49-F238E27FC236}">
                <a16:creationId xmlns:a16="http://schemas.microsoft.com/office/drawing/2014/main" id="{B0AF212B-6C39-61A0-943C-56463A47D6F2}"/>
              </a:ext>
            </a:extLst>
          </p:cNvPr>
          <p:cNvSpPr>
            <a:spLocks noGrp="1"/>
          </p:cNvSpPr>
          <p:nvPr>
            <p:ph type="pic" sz="quarter" idx="13" hasCustomPrompt="1"/>
          </p:nvPr>
        </p:nvSpPr>
        <p:spPr>
          <a:xfrm>
            <a:off x="6672702" y="0"/>
            <a:ext cx="5519299" cy="6858000"/>
          </a:xfrm>
          <a:custGeom>
            <a:avLst/>
            <a:gdLst>
              <a:gd name="connsiteX0" fmla="*/ 3655097 w 5519299"/>
              <a:gd name="connsiteY0" fmla="*/ 1122385 h 6858000"/>
              <a:gd name="connsiteX1" fmla="*/ 3689062 w 5519299"/>
              <a:gd name="connsiteY1" fmla="*/ 1122385 h 6858000"/>
              <a:gd name="connsiteX2" fmla="*/ 3727406 w 5519299"/>
              <a:gd name="connsiteY2" fmla="*/ 1153787 h 6858000"/>
              <a:gd name="connsiteX3" fmla="*/ 3689062 w 5519299"/>
              <a:gd name="connsiteY3" fmla="*/ 1185189 h 6858000"/>
              <a:gd name="connsiteX4" fmla="*/ 3655097 w 5519299"/>
              <a:gd name="connsiteY4" fmla="*/ 1185189 h 6858000"/>
              <a:gd name="connsiteX5" fmla="*/ 2510430 w 5519299"/>
              <a:gd name="connsiteY5" fmla="*/ 1122278 h 6858000"/>
              <a:gd name="connsiteX6" fmla="*/ 2544395 w 5519299"/>
              <a:gd name="connsiteY6" fmla="*/ 1122278 h 6858000"/>
              <a:gd name="connsiteX7" fmla="*/ 2582739 w 5519299"/>
              <a:gd name="connsiteY7" fmla="*/ 1153680 h 6858000"/>
              <a:gd name="connsiteX8" fmla="*/ 2544395 w 5519299"/>
              <a:gd name="connsiteY8" fmla="*/ 1185082 h 6858000"/>
              <a:gd name="connsiteX9" fmla="*/ 2510430 w 5519299"/>
              <a:gd name="connsiteY9" fmla="*/ 1185082 h 6858000"/>
              <a:gd name="connsiteX10" fmla="*/ 3487514 w 5519299"/>
              <a:gd name="connsiteY10" fmla="*/ 1120783 h 6858000"/>
              <a:gd name="connsiteX11" fmla="*/ 3543909 w 5519299"/>
              <a:gd name="connsiteY11" fmla="*/ 1178460 h 6858000"/>
              <a:gd name="connsiteX12" fmla="*/ 3487514 w 5519299"/>
              <a:gd name="connsiteY12" fmla="*/ 1236136 h 6858000"/>
              <a:gd name="connsiteX13" fmla="*/ 3431120 w 5519299"/>
              <a:gd name="connsiteY13" fmla="*/ 1178460 h 6858000"/>
              <a:gd name="connsiteX14" fmla="*/ 3487514 w 5519299"/>
              <a:gd name="connsiteY14" fmla="*/ 1120783 h 6858000"/>
              <a:gd name="connsiteX15" fmla="*/ 2144504 w 5519299"/>
              <a:gd name="connsiteY15" fmla="*/ 1120676 h 6858000"/>
              <a:gd name="connsiteX16" fmla="*/ 2200899 w 5519299"/>
              <a:gd name="connsiteY16" fmla="*/ 1178353 h 6858000"/>
              <a:gd name="connsiteX17" fmla="*/ 2144504 w 5519299"/>
              <a:gd name="connsiteY17" fmla="*/ 1236029 h 6858000"/>
              <a:gd name="connsiteX18" fmla="*/ 2088109 w 5519299"/>
              <a:gd name="connsiteY18" fmla="*/ 1178353 h 6858000"/>
              <a:gd name="connsiteX19" fmla="*/ 2144504 w 5519299"/>
              <a:gd name="connsiteY19" fmla="*/ 1120676 h 6858000"/>
              <a:gd name="connsiteX20" fmla="*/ 3613335 w 5519299"/>
              <a:gd name="connsiteY20" fmla="*/ 1088313 h 6858000"/>
              <a:gd name="connsiteX21" fmla="*/ 3613335 w 5519299"/>
              <a:gd name="connsiteY21" fmla="*/ 1268606 h 6858000"/>
              <a:gd name="connsiteX22" fmla="*/ 3655097 w 5519299"/>
              <a:gd name="connsiteY22" fmla="*/ 1268606 h 6858000"/>
              <a:gd name="connsiteX23" fmla="*/ 3655097 w 5519299"/>
              <a:gd name="connsiteY23" fmla="*/ 1218406 h 6858000"/>
              <a:gd name="connsiteX24" fmla="*/ 3693441 w 5519299"/>
              <a:gd name="connsiteY24" fmla="*/ 1218406 h 6858000"/>
              <a:gd name="connsiteX25" fmla="*/ 3728154 w 5519299"/>
              <a:gd name="connsiteY25" fmla="*/ 1268606 h 6858000"/>
              <a:gd name="connsiteX26" fmla="*/ 3728261 w 5519299"/>
              <a:gd name="connsiteY26" fmla="*/ 1268499 h 6858000"/>
              <a:gd name="connsiteX27" fmla="*/ 3773120 w 5519299"/>
              <a:gd name="connsiteY27" fmla="*/ 1268499 h 6858000"/>
              <a:gd name="connsiteX28" fmla="*/ 3732640 w 5519299"/>
              <a:gd name="connsiteY28" fmla="*/ 1210609 h 6858000"/>
              <a:gd name="connsiteX29" fmla="*/ 3769703 w 5519299"/>
              <a:gd name="connsiteY29" fmla="*/ 1153680 h 6858000"/>
              <a:gd name="connsiteX30" fmla="*/ 3691412 w 5519299"/>
              <a:gd name="connsiteY30" fmla="*/ 1088313 h 6858000"/>
              <a:gd name="connsiteX31" fmla="*/ 3229358 w 5519299"/>
              <a:gd name="connsiteY31" fmla="*/ 1088313 h 6858000"/>
              <a:gd name="connsiteX32" fmla="*/ 3229358 w 5519299"/>
              <a:gd name="connsiteY32" fmla="*/ 1122278 h 6858000"/>
              <a:gd name="connsiteX33" fmla="*/ 3287035 w 5519299"/>
              <a:gd name="connsiteY33" fmla="*/ 1122278 h 6858000"/>
              <a:gd name="connsiteX34" fmla="*/ 3287035 w 5519299"/>
              <a:gd name="connsiteY34" fmla="*/ 1268499 h 6858000"/>
              <a:gd name="connsiteX35" fmla="*/ 3328797 w 5519299"/>
              <a:gd name="connsiteY35" fmla="*/ 1268499 h 6858000"/>
              <a:gd name="connsiteX36" fmla="*/ 3328797 w 5519299"/>
              <a:gd name="connsiteY36" fmla="*/ 1122278 h 6858000"/>
              <a:gd name="connsiteX37" fmla="*/ 3386474 w 5519299"/>
              <a:gd name="connsiteY37" fmla="*/ 1122278 h 6858000"/>
              <a:gd name="connsiteX38" fmla="*/ 3386474 w 5519299"/>
              <a:gd name="connsiteY38" fmla="*/ 1088313 h 6858000"/>
              <a:gd name="connsiteX39" fmla="*/ 2892271 w 5519299"/>
              <a:gd name="connsiteY39" fmla="*/ 1088206 h 6858000"/>
              <a:gd name="connsiteX40" fmla="*/ 2892271 w 5519299"/>
              <a:gd name="connsiteY40" fmla="*/ 1268499 h 6858000"/>
              <a:gd name="connsiteX41" fmla="*/ 3031869 w 5519299"/>
              <a:gd name="connsiteY41" fmla="*/ 1268499 h 6858000"/>
              <a:gd name="connsiteX42" fmla="*/ 3031869 w 5519299"/>
              <a:gd name="connsiteY42" fmla="*/ 1235068 h 6858000"/>
              <a:gd name="connsiteX43" fmla="*/ 3031869 w 5519299"/>
              <a:gd name="connsiteY43" fmla="*/ 1234961 h 6858000"/>
              <a:gd name="connsiteX44" fmla="*/ 2933712 w 5519299"/>
              <a:gd name="connsiteY44" fmla="*/ 1234961 h 6858000"/>
              <a:gd name="connsiteX45" fmla="*/ 2933712 w 5519299"/>
              <a:gd name="connsiteY45" fmla="*/ 1193199 h 6858000"/>
              <a:gd name="connsiteX46" fmla="*/ 3017450 w 5519299"/>
              <a:gd name="connsiteY46" fmla="*/ 1193199 h 6858000"/>
              <a:gd name="connsiteX47" fmla="*/ 3017450 w 5519299"/>
              <a:gd name="connsiteY47" fmla="*/ 1160729 h 6858000"/>
              <a:gd name="connsiteX48" fmla="*/ 2933712 w 5519299"/>
              <a:gd name="connsiteY48" fmla="*/ 1160729 h 6858000"/>
              <a:gd name="connsiteX49" fmla="*/ 2933712 w 5519299"/>
              <a:gd name="connsiteY49" fmla="*/ 1121637 h 6858000"/>
              <a:gd name="connsiteX50" fmla="*/ 3028451 w 5519299"/>
              <a:gd name="connsiteY50" fmla="*/ 1121637 h 6858000"/>
              <a:gd name="connsiteX51" fmla="*/ 3028451 w 5519299"/>
              <a:gd name="connsiteY51" fmla="*/ 1088206 h 6858000"/>
              <a:gd name="connsiteX52" fmla="*/ 2468668 w 5519299"/>
              <a:gd name="connsiteY52" fmla="*/ 1088206 h 6858000"/>
              <a:gd name="connsiteX53" fmla="*/ 2468668 w 5519299"/>
              <a:gd name="connsiteY53" fmla="*/ 1268499 h 6858000"/>
              <a:gd name="connsiteX54" fmla="*/ 2510430 w 5519299"/>
              <a:gd name="connsiteY54" fmla="*/ 1268499 h 6858000"/>
              <a:gd name="connsiteX55" fmla="*/ 2510430 w 5519299"/>
              <a:gd name="connsiteY55" fmla="*/ 1218299 h 6858000"/>
              <a:gd name="connsiteX56" fmla="*/ 2548774 w 5519299"/>
              <a:gd name="connsiteY56" fmla="*/ 1218299 h 6858000"/>
              <a:gd name="connsiteX57" fmla="*/ 2583487 w 5519299"/>
              <a:gd name="connsiteY57" fmla="*/ 1268499 h 6858000"/>
              <a:gd name="connsiteX58" fmla="*/ 2583594 w 5519299"/>
              <a:gd name="connsiteY58" fmla="*/ 1268392 h 6858000"/>
              <a:gd name="connsiteX59" fmla="*/ 2628454 w 5519299"/>
              <a:gd name="connsiteY59" fmla="*/ 1268392 h 6858000"/>
              <a:gd name="connsiteX60" fmla="*/ 2587973 w 5519299"/>
              <a:gd name="connsiteY60" fmla="*/ 1210502 h 6858000"/>
              <a:gd name="connsiteX61" fmla="*/ 2625036 w 5519299"/>
              <a:gd name="connsiteY61" fmla="*/ 1153573 h 6858000"/>
              <a:gd name="connsiteX62" fmla="*/ 2546745 w 5519299"/>
              <a:gd name="connsiteY62" fmla="*/ 1088206 h 6858000"/>
              <a:gd name="connsiteX63" fmla="*/ 2268402 w 5519299"/>
              <a:gd name="connsiteY63" fmla="*/ 1088206 h 6858000"/>
              <a:gd name="connsiteX64" fmla="*/ 2268402 w 5519299"/>
              <a:gd name="connsiteY64" fmla="*/ 1189140 h 6858000"/>
              <a:gd name="connsiteX65" fmla="*/ 2268509 w 5519299"/>
              <a:gd name="connsiteY65" fmla="*/ 1189140 h 6858000"/>
              <a:gd name="connsiteX66" fmla="*/ 2350111 w 5519299"/>
              <a:gd name="connsiteY66" fmla="*/ 1271597 h 6858000"/>
              <a:gd name="connsiteX67" fmla="*/ 2431712 w 5519299"/>
              <a:gd name="connsiteY67" fmla="*/ 1189140 h 6858000"/>
              <a:gd name="connsiteX68" fmla="*/ 2431712 w 5519299"/>
              <a:gd name="connsiteY68" fmla="*/ 1088206 h 6858000"/>
              <a:gd name="connsiteX69" fmla="*/ 2390484 w 5519299"/>
              <a:gd name="connsiteY69" fmla="*/ 1088206 h 6858000"/>
              <a:gd name="connsiteX70" fmla="*/ 2390484 w 5519299"/>
              <a:gd name="connsiteY70" fmla="*/ 1187645 h 6858000"/>
              <a:gd name="connsiteX71" fmla="*/ 2350324 w 5519299"/>
              <a:gd name="connsiteY71" fmla="*/ 1236029 h 6858000"/>
              <a:gd name="connsiteX72" fmla="*/ 2310164 w 5519299"/>
              <a:gd name="connsiteY72" fmla="*/ 1187645 h 6858000"/>
              <a:gd name="connsiteX73" fmla="*/ 2310164 w 5519299"/>
              <a:gd name="connsiteY73" fmla="*/ 1088206 h 6858000"/>
              <a:gd name="connsiteX74" fmla="*/ 1776228 w 5519299"/>
              <a:gd name="connsiteY74" fmla="*/ 1088206 h 6858000"/>
              <a:gd name="connsiteX75" fmla="*/ 1776228 w 5519299"/>
              <a:gd name="connsiteY75" fmla="*/ 1268499 h 6858000"/>
              <a:gd name="connsiteX76" fmla="*/ 1817456 w 5519299"/>
              <a:gd name="connsiteY76" fmla="*/ 1268499 h 6858000"/>
              <a:gd name="connsiteX77" fmla="*/ 1817456 w 5519299"/>
              <a:gd name="connsiteY77" fmla="*/ 1159020 h 6858000"/>
              <a:gd name="connsiteX78" fmla="*/ 1907282 w 5519299"/>
              <a:gd name="connsiteY78" fmla="*/ 1268499 h 6858000"/>
              <a:gd name="connsiteX79" fmla="*/ 1941568 w 5519299"/>
              <a:gd name="connsiteY79" fmla="*/ 1268499 h 6858000"/>
              <a:gd name="connsiteX80" fmla="*/ 1941568 w 5519299"/>
              <a:gd name="connsiteY80" fmla="*/ 1088206 h 6858000"/>
              <a:gd name="connsiteX81" fmla="*/ 1900340 w 5519299"/>
              <a:gd name="connsiteY81" fmla="*/ 1088206 h 6858000"/>
              <a:gd name="connsiteX82" fmla="*/ 1900340 w 5519299"/>
              <a:gd name="connsiteY82" fmla="*/ 1197685 h 6858000"/>
              <a:gd name="connsiteX83" fmla="*/ 1810728 w 5519299"/>
              <a:gd name="connsiteY83" fmla="*/ 1088206 h 6858000"/>
              <a:gd name="connsiteX84" fmla="*/ 1696656 w 5519299"/>
              <a:gd name="connsiteY84" fmla="*/ 1088206 h 6858000"/>
              <a:gd name="connsiteX85" fmla="*/ 1696656 w 5519299"/>
              <a:gd name="connsiteY85" fmla="*/ 1268499 h 6858000"/>
              <a:gd name="connsiteX86" fmla="*/ 1738418 w 5519299"/>
              <a:gd name="connsiteY86" fmla="*/ 1268499 h 6858000"/>
              <a:gd name="connsiteX87" fmla="*/ 1738418 w 5519299"/>
              <a:gd name="connsiteY87" fmla="*/ 1088206 h 6858000"/>
              <a:gd name="connsiteX88" fmla="*/ 3865083 w 5519299"/>
              <a:gd name="connsiteY88" fmla="*/ 1085216 h 6858000"/>
              <a:gd name="connsiteX89" fmla="*/ 3789142 w 5519299"/>
              <a:gd name="connsiteY89" fmla="*/ 1141397 h 6858000"/>
              <a:gd name="connsiteX90" fmla="*/ 3893921 w 5519299"/>
              <a:gd name="connsiteY90" fmla="*/ 1218940 h 6858000"/>
              <a:gd name="connsiteX91" fmla="*/ 3859208 w 5519299"/>
              <a:gd name="connsiteY91" fmla="*/ 1238272 h 6858000"/>
              <a:gd name="connsiteX92" fmla="*/ 3799716 w 5519299"/>
              <a:gd name="connsiteY92" fmla="*/ 1219474 h 6858000"/>
              <a:gd name="connsiteX93" fmla="*/ 3785531 w 5519299"/>
              <a:gd name="connsiteY93" fmla="*/ 1250829 h 6858000"/>
              <a:gd name="connsiteX94" fmla="*/ 3785403 w 5519299"/>
              <a:gd name="connsiteY94" fmla="*/ 1250769 h 6858000"/>
              <a:gd name="connsiteX95" fmla="*/ 3785510 w 5519299"/>
              <a:gd name="connsiteY95" fmla="*/ 1250876 h 6858000"/>
              <a:gd name="connsiteX96" fmla="*/ 3785531 w 5519299"/>
              <a:gd name="connsiteY96" fmla="*/ 1250829 h 6858000"/>
              <a:gd name="connsiteX97" fmla="*/ 3817326 w 5519299"/>
              <a:gd name="connsiteY97" fmla="*/ 1265789 h 6858000"/>
              <a:gd name="connsiteX98" fmla="*/ 3858781 w 5519299"/>
              <a:gd name="connsiteY98" fmla="*/ 1271597 h 6858000"/>
              <a:gd name="connsiteX99" fmla="*/ 3935256 w 5519299"/>
              <a:gd name="connsiteY99" fmla="*/ 1215736 h 6858000"/>
              <a:gd name="connsiteX100" fmla="*/ 3830477 w 5519299"/>
              <a:gd name="connsiteY100" fmla="*/ 1139261 h 6858000"/>
              <a:gd name="connsiteX101" fmla="*/ 3864762 w 5519299"/>
              <a:gd name="connsiteY101" fmla="*/ 1118647 h 6858000"/>
              <a:gd name="connsiteX102" fmla="*/ 3914749 w 5519299"/>
              <a:gd name="connsiteY102" fmla="*/ 1132852 h 6858000"/>
              <a:gd name="connsiteX103" fmla="*/ 3927672 w 5519299"/>
              <a:gd name="connsiteY103" fmla="*/ 1101130 h 6858000"/>
              <a:gd name="connsiteX104" fmla="*/ 3865083 w 5519299"/>
              <a:gd name="connsiteY104" fmla="*/ 1085216 h 6858000"/>
              <a:gd name="connsiteX105" fmla="*/ 3487514 w 5519299"/>
              <a:gd name="connsiteY105" fmla="*/ 1085216 h 6858000"/>
              <a:gd name="connsiteX106" fmla="*/ 3388930 w 5519299"/>
              <a:gd name="connsiteY106" fmla="*/ 1178460 h 6858000"/>
              <a:gd name="connsiteX107" fmla="*/ 3487514 w 5519299"/>
              <a:gd name="connsiteY107" fmla="*/ 1271703 h 6858000"/>
              <a:gd name="connsiteX108" fmla="*/ 3586099 w 5519299"/>
              <a:gd name="connsiteY108" fmla="*/ 1178460 h 6858000"/>
              <a:gd name="connsiteX109" fmla="*/ 3487514 w 5519299"/>
              <a:gd name="connsiteY109" fmla="*/ 1085216 h 6858000"/>
              <a:gd name="connsiteX110" fmla="*/ 3145086 w 5519299"/>
              <a:gd name="connsiteY110" fmla="*/ 1085216 h 6858000"/>
              <a:gd name="connsiteX111" fmla="*/ 3047250 w 5519299"/>
              <a:gd name="connsiteY111" fmla="*/ 1178460 h 6858000"/>
              <a:gd name="connsiteX112" fmla="*/ 3047143 w 5519299"/>
              <a:gd name="connsiteY112" fmla="*/ 1178246 h 6858000"/>
              <a:gd name="connsiteX113" fmla="*/ 3144766 w 5519299"/>
              <a:gd name="connsiteY113" fmla="*/ 1271490 h 6858000"/>
              <a:gd name="connsiteX114" fmla="*/ 3219211 w 5519299"/>
              <a:gd name="connsiteY114" fmla="*/ 1239340 h 6858000"/>
              <a:gd name="connsiteX115" fmla="*/ 3192402 w 5519299"/>
              <a:gd name="connsiteY115" fmla="*/ 1214668 h 6858000"/>
              <a:gd name="connsiteX116" fmla="*/ 3147116 w 5519299"/>
              <a:gd name="connsiteY116" fmla="*/ 1236029 h 6858000"/>
              <a:gd name="connsiteX117" fmla="*/ 3089439 w 5519299"/>
              <a:gd name="connsiteY117" fmla="*/ 1178353 h 6858000"/>
              <a:gd name="connsiteX118" fmla="*/ 3147116 w 5519299"/>
              <a:gd name="connsiteY118" fmla="*/ 1120676 h 6858000"/>
              <a:gd name="connsiteX119" fmla="*/ 3192402 w 5519299"/>
              <a:gd name="connsiteY119" fmla="*/ 1141824 h 6858000"/>
              <a:gd name="connsiteX120" fmla="*/ 3219211 w 5519299"/>
              <a:gd name="connsiteY120" fmla="*/ 1117152 h 6858000"/>
              <a:gd name="connsiteX121" fmla="*/ 3145086 w 5519299"/>
              <a:gd name="connsiteY121" fmla="*/ 1085216 h 6858000"/>
              <a:gd name="connsiteX122" fmla="*/ 2796250 w 5519299"/>
              <a:gd name="connsiteY122" fmla="*/ 1085109 h 6858000"/>
              <a:gd name="connsiteX123" fmla="*/ 2720309 w 5519299"/>
              <a:gd name="connsiteY123" fmla="*/ 1141290 h 6858000"/>
              <a:gd name="connsiteX124" fmla="*/ 2825088 w 5519299"/>
              <a:gd name="connsiteY124" fmla="*/ 1218833 h 6858000"/>
              <a:gd name="connsiteX125" fmla="*/ 2790375 w 5519299"/>
              <a:gd name="connsiteY125" fmla="*/ 1238166 h 6858000"/>
              <a:gd name="connsiteX126" fmla="*/ 2730883 w 5519299"/>
              <a:gd name="connsiteY126" fmla="*/ 1219367 h 6858000"/>
              <a:gd name="connsiteX127" fmla="*/ 2716698 w 5519299"/>
              <a:gd name="connsiteY127" fmla="*/ 1250722 h 6858000"/>
              <a:gd name="connsiteX128" fmla="*/ 2716571 w 5519299"/>
              <a:gd name="connsiteY128" fmla="*/ 1250662 h 6858000"/>
              <a:gd name="connsiteX129" fmla="*/ 2716677 w 5519299"/>
              <a:gd name="connsiteY129" fmla="*/ 1250769 h 6858000"/>
              <a:gd name="connsiteX130" fmla="*/ 2716698 w 5519299"/>
              <a:gd name="connsiteY130" fmla="*/ 1250722 h 6858000"/>
              <a:gd name="connsiteX131" fmla="*/ 2748493 w 5519299"/>
              <a:gd name="connsiteY131" fmla="*/ 1265682 h 6858000"/>
              <a:gd name="connsiteX132" fmla="*/ 2789948 w 5519299"/>
              <a:gd name="connsiteY132" fmla="*/ 1271490 h 6858000"/>
              <a:gd name="connsiteX133" fmla="*/ 2866423 w 5519299"/>
              <a:gd name="connsiteY133" fmla="*/ 1215629 h 6858000"/>
              <a:gd name="connsiteX134" fmla="*/ 2761644 w 5519299"/>
              <a:gd name="connsiteY134" fmla="*/ 1139154 h 6858000"/>
              <a:gd name="connsiteX135" fmla="*/ 2795929 w 5519299"/>
              <a:gd name="connsiteY135" fmla="*/ 1118540 h 6858000"/>
              <a:gd name="connsiteX136" fmla="*/ 2845916 w 5519299"/>
              <a:gd name="connsiteY136" fmla="*/ 1132746 h 6858000"/>
              <a:gd name="connsiteX137" fmla="*/ 2858840 w 5519299"/>
              <a:gd name="connsiteY137" fmla="*/ 1101023 h 6858000"/>
              <a:gd name="connsiteX138" fmla="*/ 2796250 w 5519299"/>
              <a:gd name="connsiteY138" fmla="*/ 1085109 h 6858000"/>
              <a:gd name="connsiteX139" fmla="*/ 2144504 w 5519299"/>
              <a:gd name="connsiteY139" fmla="*/ 1085109 h 6858000"/>
              <a:gd name="connsiteX140" fmla="*/ 2045920 w 5519299"/>
              <a:gd name="connsiteY140" fmla="*/ 1178353 h 6858000"/>
              <a:gd name="connsiteX141" fmla="*/ 2144504 w 5519299"/>
              <a:gd name="connsiteY141" fmla="*/ 1271597 h 6858000"/>
              <a:gd name="connsiteX142" fmla="*/ 2243088 w 5519299"/>
              <a:gd name="connsiteY142" fmla="*/ 1178353 h 6858000"/>
              <a:gd name="connsiteX143" fmla="*/ 2144504 w 5519299"/>
              <a:gd name="connsiteY143" fmla="*/ 1085109 h 6858000"/>
              <a:gd name="connsiteX144" fmla="*/ 3163778 w 5519299"/>
              <a:gd name="connsiteY144" fmla="*/ 935043 h 6858000"/>
              <a:gd name="connsiteX145" fmla="*/ 3212482 w 5519299"/>
              <a:gd name="connsiteY145" fmla="*/ 935043 h 6858000"/>
              <a:gd name="connsiteX146" fmla="*/ 3245700 w 5519299"/>
              <a:gd name="connsiteY146" fmla="*/ 957473 h 6858000"/>
              <a:gd name="connsiteX147" fmla="*/ 3212482 w 5519299"/>
              <a:gd name="connsiteY147" fmla="*/ 979582 h 6858000"/>
              <a:gd name="connsiteX148" fmla="*/ 3163778 w 5519299"/>
              <a:gd name="connsiteY148" fmla="*/ 979582 h 6858000"/>
              <a:gd name="connsiteX149" fmla="*/ 3005808 w 5519299"/>
              <a:gd name="connsiteY149" fmla="*/ 871706 h 6858000"/>
              <a:gd name="connsiteX150" fmla="*/ 3034433 w 5519299"/>
              <a:gd name="connsiteY150" fmla="*/ 940704 h 6858000"/>
              <a:gd name="connsiteX151" fmla="*/ 3034326 w 5519299"/>
              <a:gd name="connsiteY151" fmla="*/ 940704 h 6858000"/>
              <a:gd name="connsiteX152" fmla="*/ 2977183 w 5519299"/>
              <a:gd name="connsiteY152" fmla="*/ 940704 h 6858000"/>
              <a:gd name="connsiteX153" fmla="*/ 2528374 w 5519299"/>
              <a:gd name="connsiteY153" fmla="*/ 871706 h 6858000"/>
              <a:gd name="connsiteX154" fmla="*/ 2556999 w 5519299"/>
              <a:gd name="connsiteY154" fmla="*/ 940704 h 6858000"/>
              <a:gd name="connsiteX155" fmla="*/ 2556892 w 5519299"/>
              <a:gd name="connsiteY155" fmla="*/ 940704 h 6858000"/>
              <a:gd name="connsiteX156" fmla="*/ 2499749 w 5519299"/>
              <a:gd name="connsiteY156" fmla="*/ 940704 h 6858000"/>
              <a:gd name="connsiteX157" fmla="*/ 3163778 w 5519299"/>
              <a:gd name="connsiteY157" fmla="*/ 862200 h 6858000"/>
              <a:gd name="connsiteX158" fmla="*/ 3205220 w 5519299"/>
              <a:gd name="connsiteY158" fmla="*/ 862200 h 6858000"/>
              <a:gd name="connsiteX159" fmla="*/ 3236621 w 5519299"/>
              <a:gd name="connsiteY159" fmla="*/ 883348 h 6858000"/>
              <a:gd name="connsiteX160" fmla="*/ 3205220 w 5519299"/>
              <a:gd name="connsiteY160" fmla="*/ 904709 h 6858000"/>
              <a:gd name="connsiteX161" fmla="*/ 3163778 w 5519299"/>
              <a:gd name="connsiteY161" fmla="*/ 904709 h 6858000"/>
              <a:gd name="connsiteX162" fmla="*/ 3764896 w 5519299"/>
              <a:gd name="connsiteY162" fmla="*/ 830798 h 6858000"/>
              <a:gd name="connsiteX163" fmla="*/ 3834642 w 5519299"/>
              <a:gd name="connsiteY163" fmla="*/ 946685 h 6858000"/>
              <a:gd name="connsiteX164" fmla="*/ 3834642 w 5519299"/>
              <a:gd name="connsiteY164" fmla="*/ 1011091 h 6858000"/>
              <a:gd name="connsiteX165" fmla="*/ 3876404 w 5519299"/>
              <a:gd name="connsiteY165" fmla="*/ 1011091 h 6858000"/>
              <a:gd name="connsiteX166" fmla="*/ 3876404 w 5519299"/>
              <a:gd name="connsiteY166" fmla="*/ 947219 h 6858000"/>
              <a:gd name="connsiteX167" fmla="*/ 3946471 w 5519299"/>
              <a:gd name="connsiteY167" fmla="*/ 830798 h 6858000"/>
              <a:gd name="connsiteX168" fmla="*/ 3905563 w 5519299"/>
              <a:gd name="connsiteY168" fmla="*/ 830798 h 6858000"/>
              <a:gd name="connsiteX169" fmla="*/ 3857392 w 5519299"/>
              <a:gd name="connsiteY169" fmla="*/ 910904 h 6858000"/>
              <a:gd name="connsiteX170" fmla="*/ 3809222 w 5519299"/>
              <a:gd name="connsiteY170" fmla="*/ 830798 h 6858000"/>
              <a:gd name="connsiteX171" fmla="*/ 3602440 w 5519299"/>
              <a:gd name="connsiteY171" fmla="*/ 830798 h 6858000"/>
              <a:gd name="connsiteX172" fmla="*/ 3602440 w 5519299"/>
              <a:gd name="connsiteY172" fmla="*/ 864763 h 6858000"/>
              <a:gd name="connsiteX173" fmla="*/ 3660117 w 5519299"/>
              <a:gd name="connsiteY173" fmla="*/ 864763 h 6858000"/>
              <a:gd name="connsiteX174" fmla="*/ 3660117 w 5519299"/>
              <a:gd name="connsiteY174" fmla="*/ 1010984 h 6858000"/>
              <a:gd name="connsiteX175" fmla="*/ 3701879 w 5519299"/>
              <a:gd name="connsiteY175" fmla="*/ 1010984 h 6858000"/>
              <a:gd name="connsiteX176" fmla="*/ 3701879 w 5519299"/>
              <a:gd name="connsiteY176" fmla="*/ 864763 h 6858000"/>
              <a:gd name="connsiteX177" fmla="*/ 3759556 w 5519299"/>
              <a:gd name="connsiteY177" fmla="*/ 864763 h 6858000"/>
              <a:gd name="connsiteX178" fmla="*/ 3759556 w 5519299"/>
              <a:gd name="connsiteY178" fmla="*/ 830798 h 6858000"/>
              <a:gd name="connsiteX179" fmla="*/ 3544657 w 5519299"/>
              <a:gd name="connsiteY179" fmla="*/ 830798 h 6858000"/>
              <a:gd name="connsiteX180" fmla="*/ 3544657 w 5519299"/>
              <a:gd name="connsiteY180" fmla="*/ 1011091 h 6858000"/>
              <a:gd name="connsiteX181" fmla="*/ 3586419 w 5519299"/>
              <a:gd name="connsiteY181" fmla="*/ 1011091 h 6858000"/>
              <a:gd name="connsiteX182" fmla="*/ 3586419 w 5519299"/>
              <a:gd name="connsiteY182" fmla="*/ 830798 h 6858000"/>
              <a:gd name="connsiteX183" fmla="*/ 3395552 w 5519299"/>
              <a:gd name="connsiteY183" fmla="*/ 830798 h 6858000"/>
              <a:gd name="connsiteX184" fmla="*/ 3395552 w 5519299"/>
              <a:gd name="connsiteY184" fmla="*/ 1010984 h 6858000"/>
              <a:gd name="connsiteX185" fmla="*/ 3527674 w 5519299"/>
              <a:gd name="connsiteY185" fmla="*/ 1010984 h 6858000"/>
              <a:gd name="connsiteX186" fmla="*/ 3527674 w 5519299"/>
              <a:gd name="connsiteY186" fmla="*/ 977019 h 6858000"/>
              <a:gd name="connsiteX187" fmla="*/ 3437314 w 5519299"/>
              <a:gd name="connsiteY187" fmla="*/ 977019 h 6858000"/>
              <a:gd name="connsiteX188" fmla="*/ 3437314 w 5519299"/>
              <a:gd name="connsiteY188" fmla="*/ 830798 h 6858000"/>
              <a:gd name="connsiteX189" fmla="*/ 3315980 w 5519299"/>
              <a:gd name="connsiteY189" fmla="*/ 830798 h 6858000"/>
              <a:gd name="connsiteX190" fmla="*/ 3315980 w 5519299"/>
              <a:gd name="connsiteY190" fmla="*/ 1011091 h 6858000"/>
              <a:gd name="connsiteX191" fmla="*/ 3357742 w 5519299"/>
              <a:gd name="connsiteY191" fmla="*/ 1011091 h 6858000"/>
              <a:gd name="connsiteX192" fmla="*/ 3357742 w 5519299"/>
              <a:gd name="connsiteY192" fmla="*/ 830798 h 6858000"/>
              <a:gd name="connsiteX193" fmla="*/ 2985514 w 5519299"/>
              <a:gd name="connsiteY193" fmla="*/ 830798 h 6858000"/>
              <a:gd name="connsiteX194" fmla="*/ 2905194 w 5519299"/>
              <a:gd name="connsiteY194" fmla="*/ 1011091 h 6858000"/>
              <a:gd name="connsiteX195" fmla="*/ 2947918 w 5519299"/>
              <a:gd name="connsiteY195" fmla="*/ 1011091 h 6858000"/>
              <a:gd name="connsiteX196" fmla="*/ 2963832 w 5519299"/>
              <a:gd name="connsiteY196" fmla="*/ 972426 h 6858000"/>
              <a:gd name="connsiteX197" fmla="*/ 3047570 w 5519299"/>
              <a:gd name="connsiteY197" fmla="*/ 972426 h 6858000"/>
              <a:gd name="connsiteX198" fmla="*/ 3047677 w 5519299"/>
              <a:gd name="connsiteY198" fmla="*/ 972426 h 6858000"/>
              <a:gd name="connsiteX199" fmla="*/ 3063591 w 5519299"/>
              <a:gd name="connsiteY199" fmla="*/ 1011091 h 6858000"/>
              <a:gd name="connsiteX200" fmla="*/ 3107383 w 5519299"/>
              <a:gd name="connsiteY200" fmla="*/ 1011091 h 6858000"/>
              <a:gd name="connsiteX201" fmla="*/ 3026742 w 5519299"/>
              <a:gd name="connsiteY201" fmla="*/ 830798 h 6858000"/>
              <a:gd name="connsiteX202" fmla="*/ 2644902 w 5519299"/>
              <a:gd name="connsiteY202" fmla="*/ 830798 h 6858000"/>
              <a:gd name="connsiteX203" fmla="*/ 2644902 w 5519299"/>
              <a:gd name="connsiteY203" fmla="*/ 1011091 h 6858000"/>
              <a:gd name="connsiteX204" fmla="*/ 2686664 w 5519299"/>
              <a:gd name="connsiteY204" fmla="*/ 1011091 h 6858000"/>
              <a:gd name="connsiteX205" fmla="*/ 2686664 w 5519299"/>
              <a:gd name="connsiteY205" fmla="*/ 830798 h 6858000"/>
              <a:gd name="connsiteX206" fmla="*/ 2508080 w 5519299"/>
              <a:gd name="connsiteY206" fmla="*/ 830798 h 6858000"/>
              <a:gd name="connsiteX207" fmla="*/ 2427760 w 5519299"/>
              <a:gd name="connsiteY207" fmla="*/ 1011091 h 6858000"/>
              <a:gd name="connsiteX208" fmla="*/ 2470484 w 5519299"/>
              <a:gd name="connsiteY208" fmla="*/ 1011091 h 6858000"/>
              <a:gd name="connsiteX209" fmla="*/ 2486398 w 5519299"/>
              <a:gd name="connsiteY209" fmla="*/ 972426 h 6858000"/>
              <a:gd name="connsiteX210" fmla="*/ 2570136 w 5519299"/>
              <a:gd name="connsiteY210" fmla="*/ 972426 h 6858000"/>
              <a:gd name="connsiteX211" fmla="*/ 2570243 w 5519299"/>
              <a:gd name="connsiteY211" fmla="*/ 972426 h 6858000"/>
              <a:gd name="connsiteX212" fmla="*/ 2586157 w 5519299"/>
              <a:gd name="connsiteY212" fmla="*/ 1011091 h 6858000"/>
              <a:gd name="connsiteX213" fmla="*/ 2629949 w 5519299"/>
              <a:gd name="connsiteY213" fmla="*/ 1011091 h 6858000"/>
              <a:gd name="connsiteX214" fmla="*/ 2549308 w 5519299"/>
              <a:gd name="connsiteY214" fmla="*/ 830798 h 6858000"/>
              <a:gd name="connsiteX215" fmla="*/ 2296706 w 5519299"/>
              <a:gd name="connsiteY215" fmla="*/ 830798 h 6858000"/>
              <a:gd name="connsiteX216" fmla="*/ 2296706 w 5519299"/>
              <a:gd name="connsiteY216" fmla="*/ 864763 h 6858000"/>
              <a:gd name="connsiteX217" fmla="*/ 2354383 w 5519299"/>
              <a:gd name="connsiteY217" fmla="*/ 864763 h 6858000"/>
              <a:gd name="connsiteX218" fmla="*/ 2354383 w 5519299"/>
              <a:gd name="connsiteY218" fmla="*/ 1010984 h 6858000"/>
              <a:gd name="connsiteX219" fmla="*/ 2396145 w 5519299"/>
              <a:gd name="connsiteY219" fmla="*/ 1010984 h 6858000"/>
              <a:gd name="connsiteX220" fmla="*/ 2396145 w 5519299"/>
              <a:gd name="connsiteY220" fmla="*/ 864763 h 6858000"/>
              <a:gd name="connsiteX221" fmla="*/ 2453822 w 5519299"/>
              <a:gd name="connsiteY221" fmla="*/ 864763 h 6858000"/>
              <a:gd name="connsiteX222" fmla="*/ 2453822 w 5519299"/>
              <a:gd name="connsiteY222" fmla="*/ 830798 h 6858000"/>
              <a:gd name="connsiteX223" fmla="*/ 1955026 w 5519299"/>
              <a:gd name="connsiteY223" fmla="*/ 830798 h 6858000"/>
              <a:gd name="connsiteX224" fmla="*/ 1955026 w 5519299"/>
              <a:gd name="connsiteY224" fmla="*/ 931732 h 6858000"/>
              <a:gd name="connsiteX225" fmla="*/ 1955133 w 5519299"/>
              <a:gd name="connsiteY225" fmla="*/ 931732 h 6858000"/>
              <a:gd name="connsiteX226" fmla="*/ 2036734 w 5519299"/>
              <a:gd name="connsiteY226" fmla="*/ 1014188 h 6858000"/>
              <a:gd name="connsiteX227" fmla="*/ 2118336 w 5519299"/>
              <a:gd name="connsiteY227" fmla="*/ 931732 h 6858000"/>
              <a:gd name="connsiteX228" fmla="*/ 2118336 w 5519299"/>
              <a:gd name="connsiteY228" fmla="*/ 830798 h 6858000"/>
              <a:gd name="connsiteX229" fmla="*/ 2077108 w 5519299"/>
              <a:gd name="connsiteY229" fmla="*/ 830798 h 6858000"/>
              <a:gd name="connsiteX230" fmla="*/ 2077108 w 5519299"/>
              <a:gd name="connsiteY230" fmla="*/ 930237 h 6858000"/>
              <a:gd name="connsiteX231" fmla="*/ 2036948 w 5519299"/>
              <a:gd name="connsiteY231" fmla="*/ 978621 h 6858000"/>
              <a:gd name="connsiteX232" fmla="*/ 1996788 w 5519299"/>
              <a:gd name="connsiteY232" fmla="*/ 930237 h 6858000"/>
              <a:gd name="connsiteX233" fmla="*/ 1996788 w 5519299"/>
              <a:gd name="connsiteY233" fmla="*/ 830798 h 6858000"/>
              <a:gd name="connsiteX234" fmla="*/ 3122336 w 5519299"/>
              <a:gd name="connsiteY234" fmla="*/ 830691 h 6858000"/>
              <a:gd name="connsiteX235" fmla="*/ 3122336 w 5519299"/>
              <a:gd name="connsiteY235" fmla="*/ 1010984 h 6858000"/>
              <a:gd name="connsiteX236" fmla="*/ 3215580 w 5519299"/>
              <a:gd name="connsiteY236" fmla="*/ 1010984 h 6858000"/>
              <a:gd name="connsiteX237" fmla="*/ 3287676 w 5519299"/>
              <a:gd name="connsiteY237" fmla="*/ 961852 h 6858000"/>
              <a:gd name="connsiteX238" fmla="*/ 3287782 w 5519299"/>
              <a:gd name="connsiteY238" fmla="*/ 961745 h 6858000"/>
              <a:gd name="connsiteX239" fmla="*/ 3254779 w 5519299"/>
              <a:gd name="connsiteY239" fmla="*/ 917206 h 6858000"/>
              <a:gd name="connsiteX240" fmla="*/ 3278704 w 5519299"/>
              <a:gd name="connsiteY240" fmla="*/ 877580 h 6858000"/>
              <a:gd name="connsiteX241" fmla="*/ 3210453 w 5519299"/>
              <a:gd name="connsiteY241" fmla="*/ 830691 h 6858000"/>
              <a:gd name="connsiteX242" fmla="*/ 2724474 w 5519299"/>
              <a:gd name="connsiteY242" fmla="*/ 830691 h 6858000"/>
              <a:gd name="connsiteX243" fmla="*/ 2724474 w 5519299"/>
              <a:gd name="connsiteY243" fmla="*/ 1011091 h 6858000"/>
              <a:gd name="connsiteX244" fmla="*/ 2765702 w 5519299"/>
              <a:gd name="connsiteY244" fmla="*/ 1011091 h 6858000"/>
              <a:gd name="connsiteX245" fmla="*/ 2765702 w 5519299"/>
              <a:gd name="connsiteY245" fmla="*/ 901612 h 6858000"/>
              <a:gd name="connsiteX246" fmla="*/ 2855528 w 5519299"/>
              <a:gd name="connsiteY246" fmla="*/ 1011091 h 6858000"/>
              <a:gd name="connsiteX247" fmla="*/ 2889814 w 5519299"/>
              <a:gd name="connsiteY247" fmla="*/ 1011091 h 6858000"/>
              <a:gd name="connsiteX248" fmla="*/ 2889814 w 5519299"/>
              <a:gd name="connsiteY248" fmla="*/ 830798 h 6858000"/>
              <a:gd name="connsiteX249" fmla="*/ 2889814 w 5519299"/>
              <a:gd name="connsiteY249" fmla="*/ 830691 h 6858000"/>
              <a:gd name="connsiteX250" fmla="*/ 2848586 w 5519299"/>
              <a:gd name="connsiteY250" fmla="*/ 830691 h 6858000"/>
              <a:gd name="connsiteX251" fmla="*/ 2848586 w 5519299"/>
              <a:gd name="connsiteY251" fmla="*/ 940170 h 6858000"/>
              <a:gd name="connsiteX252" fmla="*/ 2758973 w 5519299"/>
              <a:gd name="connsiteY252" fmla="*/ 830691 h 6858000"/>
              <a:gd name="connsiteX253" fmla="*/ 2220552 w 5519299"/>
              <a:gd name="connsiteY253" fmla="*/ 827594 h 6858000"/>
              <a:gd name="connsiteX254" fmla="*/ 2144611 w 5519299"/>
              <a:gd name="connsiteY254" fmla="*/ 883775 h 6858000"/>
              <a:gd name="connsiteX255" fmla="*/ 2249390 w 5519299"/>
              <a:gd name="connsiteY255" fmla="*/ 961318 h 6858000"/>
              <a:gd name="connsiteX256" fmla="*/ 2214677 w 5519299"/>
              <a:gd name="connsiteY256" fmla="*/ 980650 h 6858000"/>
              <a:gd name="connsiteX257" fmla="*/ 2155185 w 5519299"/>
              <a:gd name="connsiteY257" fmla="*/ 961852 h 6858000"/>
              <a:gd name="connsiteX258" fmla="*/ 2141000 w 5519299"/>
              <a:gd name="connsiteY258" fmla="*/ 993207 h 6858000"/>
              <a:gd name="connsiteX259" fmla="*/ 2140873 w 5519299"/>
              <a:gd name="connsiteY259" fmla="*/ 993147 h 6858000"/>
              <a:gd name="connsiteX260" fmla="*/ 2140979 w 5519299"/>
              <a:gd name="connsiteY260" fmla="*/ 993254 h 6858000"/>
              <a:gd name="connsiteX261" fmla="*/ 2141000 w 5519299"/>
              <a:gd name="connsiteY261" fmla="*/ 993207 h 6858000"/>
              <a:gd name="connsiteX262" fmla="*/ 2172795 w 5519299"/>
              <a:gd name="connsiteY262" fmla="*/ 1008167 h 6858000"/>
              <a:gd name="connsiteX263" fmla="*/ 2214250 w 5519299"/>
              <a:gd name="connsiteY263" fmla="*/ 1013975 h 6858000"/>
              <a:gd name="connsiteX264" fmla="*/ 2290725 w 5519299"/>
              <a:gd name="connsiteY264" fmla="*/ 958114 h 6858000"/>
              <a:gd name="connsiteX265" fmla="*/ 2185946 w 5519299"/>
              <a:gd name="connsiteY265" fmla="*/ 881639 h 6858000"/>
              <a:gd name="connsiteX266" fmla="*/ 2220231 w 5519299"/>
              <a:gd name="connsiteY266" fmla="*/ 861025 h 6858000"/>
              <a:gd name="connsiteX267" fmla="*/ 2270218 w 5519299"/>
              <a:gd name="connsiteY267" fmla="*/ 875230 h 6858000"/>
              <a:gd name="connsiteX268" fmla="*/ 2283142 w 5519299"/>
              <a:gd name="connsiteY268" fmla="*/ 843508 h 6858000"/>
              <a:gd name="connsiteX269" fmla="*/ 2220552 w 5519299"/>
              <a:gd name="connsiteY269" fmla="*/ 827594 h 6858000"/>
              <a:gd name="connsiteX270" fmla="*/ 1862209 w 5519299"/>
              <a:gd name="connsiteY270" fmla="*/ 827594 h 6858000"/>
              <a:gd name="connsiteX271" fmla="*/ 1786268 w 5519299"/>
              <a:gd name="connsiteY271" fmla="*/ 883775 h 6858000"/>
              <a:gd name="connsiteX272" fmla="*/ 1891047 w 5519299"/>
              <a:gd name="connsiteY272" fmla="*/ 961318 h 6858000"/>
              <a:gd name="connsiteX273" fmla="*/ 1856335 w 5519299"/>
              <a:gd name="connsiteY273" fmla="*/ 980650 h 6858000"/>
              <a:gd name="connsiteX274" fmla="*/ 1796842 w 5519299"/>
              <a:gd name="connsiteY274" fmla="*/ 961852 h 6858000"/>
              <a:gd name="connsiteX275" fmla="*/ 1782658 w 5519299"/>
              <a:gd name="connsiteY275" fmla="*/ 993207 h 6858000"/>
              <a:gd name="connsiteX276" fmla="*/ 1782530 w 5519299"/>
              <a:gd name="connsiteY276" fmla="*/ 993147 h 6858000"/>
              <a:gd name="connsiteX277" fmla="*/ 1782637 w 5519299"/>
              <a:gd name="connsiteY277" fmla="*/ 993254 h 6858000"/>
              <a:gd name="connsiteX278" fmla="*/ 1782658 w 5519299"/>
              <a:gd name="connsiteY278" fmla="*/ 993207 h 6858000"/>
              <a:gd name="connsiteX279" fmla="*/ 1814452 w 5519299"/>
              <a:gd name="connsiteY279" fmla="*/ 1008167 h 6858000"/>
              <a:gd name="connsiteX280" fmla="*/ 1855907 w 5519299"/>
              <a:gd name="connsiteY280" fmla="*/ 1013975 h 6858000"/>
              <a:gd name="connsiteX281" fmla="*/ 1932382 w 5519299"/>
              <a:gd name="connsiteY281" fmla="*/ 958114 h 6858000"/>
              <a:gd name="connsiteX282" fmla="*/ 1827603 w 5519299"/>
              <a:gd name="connsiteY282" fmla="*/ 881639 h 6858000"/>
              <a:gd name="connsiteX283" fmla="*/ 1861889 w 5519299"/>
              <a:gd name="connsiteY283" fmla="*/ 861025 h 6858000"/>
              <a:gd name="connsiteX284" fmla="*/ 1911875 w 5519299"/>
              <a:gd name="connsiteY284" fmla="*/ 875230 h 6858000"/>
              <a:gd name="connsiteX285" fmla="*/ 1924799 w 5519299"/>
              <a:gd name="connsiteY285" fmla="*/ 843508 h 6858000"/>
              <a:gd name="connsiteX286" fmla="*/ 1862209 w 5519299"/>
              <a:gd name="connsiteY286" fmla="*/ 827594 h 6858000"/>
              <a:gd name="connsiteX287" fmla="*/ 4654825 w 5519299"/>
              <a:gd name="connsiteY287" fmla="*/ 692054 h 6858000"/>
              <a:gd name="connsiteX288" fmla="*/ 4918428 w 5519299"/>
              <a:gd name="connsiteY288" fmla="*/ 1049649 h 6858000"/>
              <a:gd name="connsiteX289" fmla="*/ 4560192 w 5519299"/>
              <a:gd name="connsiteY289" fmla="*/ 1423585 h 6858000"/>
              <a:gd name="connsiteX290" fmla="*/ 4560086 w 5519299"/>
              <a:gd name="connsiteY290" fmla="*/ 1423585 h 6858000"/>
              <a:gd name="connsiteX291" fmla="*/ 4691139 w 5519299"/>
              <a:gd name="connsiteY291" fmla="*/ 1203666 h 6858000"/>
              <a:gd name="connsiteX292" fmla="*/ 4566921 w 5519299"/>
              <a:gd name="connsiteY292" fmla="*/ 1012266 h 6858000"/>
              <a:gd name="connsiteX293" fmla="*/ 4484145 w 5519299"/>
              <a:gd name="connsiteY293" fmla="*/ 897553 h 6858000"/>
              <a:gd name="connsiteX294" fmla="*/ 4654825 w 5519299"/>
              <a:gd name="connsiteY294" fmla="*/ 692054 h 6858000"/>
              <a:gd name="connsiteX295" fmla="*/ 4527936 w 5519299"/>
              <a:gd name="connsiteY295" fmla="*/ 675712 h 6858000"/>
              <a:gd name="connsiteX296" fmla="*/ 4396455 w 5519299"/>
              <a:gd name="connsiteY296" fmla="*/ 894776 h 6858000"/>
              <a:gd name="connsiteX297" fmla="*/ 4520780 w 5519299"/>
              <a:gd name="connsiteY297" fmla="*/ 1086925 h 6858000"/>
              <a:gd name="connsiteX298" fmla="*/ 4521101 w 5519299"/>
              <a:gd name="connsiteY298" fmla="*/ 1087138 h 6858000"/>
              <a:gd name="connsiteX299" fmla="*/ 4603343 w 5519299"/>
              <a:gd name="connsiteY299" fmla="*/ 1200676 h 6858000"/>
              <a:gd name="connsiteX300" fmla="*/ 4433304 w 5519299"/>
              <a:gd name="connsiteY300" fmla="*/ 1407350 h 6858000"/>
              <a:gd name="connsiteX301" fmla="*/ 4169487 w 5519299"/>
              <a:gd name="connsiteY301" fmla="*/ 1049649 h 6858000"/>
              <a:gd name="connsiteX302" fmla="*/ 4169700 w 5519299"/>
              <a:gd name="connsiteY302" fmla="*/ 1049649 h 6858000"/>
              <a:gd name="connsiteX303" fmla="*/ 4527936 w 5519299"/>
              <a:gd name="connsiteY303" fmla="*/ 675712 h 6858000"/>
              <a:gd name="connsiteX304" fmla="*/ 4544064 w 5519299"/>
              <a:gd name="connsiteY304" fmla="*/ 587595 h 6858000"/>
              <a:gd name="connsiteX305" fmla="*/ 4082011 w 5519299"/>
              <a:gd name="connsiteY305" fmla="*/ 1049649 h 6858000"/>
              <a:gd name="connsiteX306" fmla="*/ 4544064 w 5519299"/>
              <a:gd name="connsiteY306" fmla="*/ 1511702 h 6858000"/>
              <a:gd name="connsiteX307" fmla="*/ 5006118 w 5519299"/>
              <a:gd name="connsiteY307" fmla="*/ 1049649 h 6858000"/>
              <a:gd name="connsiteX308" fmla="*/ 4544064 w 5519299"/>
              <a:gd name="connsiteY308" fmla="*/ 587595 h 6858000"/>
              <a:gd name="connsiteX309" fmla="*/ 1081043 w 5519299"/>
              <a:gd name="connsiteY309" fmla="*/ 0 h 6858000"/>
              <a:gd name="connsiteX310" fmla="*/ 5519299 w 5519299"/>
              <a:gd name="connsiteY310" fmla="*/ 0 h 6858000"/>
              <a:gd name="connsiteX311" fmla="*/ 5519299 w 5519299"/>
              <a:gd name="connsiteY311" fmla="*/ 6858000 h 6858000"/>
              <a:gd name="connsiteX312" fmla="*/ 68876 w 5519299"/>
              <a:gd name="connsiteY312" fmla="*/ 6858000 h 6858000"/>
              <a:gd name="connsiteX313" fmla="*/ 112154 w 5519299"/>
              <a:gd name="connsiteY313" fmla="*/ 6819948 h 6858000"/>
              <a:gd name="connsiteX314" fmla="*/ 573979 w 5519299"/>
              <a:gd name="connsiteY314" fmla="*/ 3429000 h 6858000"/>
              <a:gd name="connsiteX315" fmla="*/ 1030887 w 5519299"/>
              <a:gd name="connsiteY315" fmla="*/ 4528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Lst>
            <a:rect l="l" t="t" r="r" b="b"/>
            <a:pathLst>
              <a:path w="5519299" h="6858000">
                <a:moveTo>
                  <a:pt x="3655097" y="1122385"/>
                </a:moveTo>
                <a:lnTo>
                  <a:pt x="3689062" y="1122385"/>
                </a:lnTo>
                <a:cubicBezTo>
                  <a:pt x="3714483" y="1122385"/>
                  <a:pt x="3727406" y="1134241"/>
                  <a:pt x="3727406" y="1153787"/>
                </a:cubicBezTo>
                <a:cubicBezTo>
                  <a:pt x="3727406" y="1173333"/>
                  <a:pt x="3714589" y="1185189"/>
                  <a:pt x="3689062" y="1185189"/>
                </a:cubicBezTo>
                <a:lnTo>
                  <a:pt x="3655097" y="1185189"/>
                </a:lnTo>
                <a:close/>
                <a:moveTo>
                  <a:pt x="2510430" y="1122278"/>
                </a:moveTo>
                <a:lnTo>
                  <a:pt x="2544395" y="1122278"/>
                </a:lnTo>
                <a:cubicBezTo>
                  <a:pt x="2569816" y="1122278"/>
                  <a:pt x="2582739" y="1134134"/>
                  <a:pt x="2582739" y="1153680"/>
                </a:cubicBezTo>
                <a:cubicBezTo>
                  <a:pt x="2582739" y="1173226"/>
                  <a:pt x="2569922" y="1185082"/>
                  <a:pt x="2544395" y="1185082"/>
                </a:cubicBezTo>
                <a:lnTo>
                  <a:pt x="2510430" y="1185082"/>
                </a:lnTo>
                <a:close/>
                <a:moveTo>
                  <a:pt x="3487514" y="1120783"/>
                </a:moveTo>
                <a:cubicBezTo>
                  <a:pt x="3519664" y="1120783"/>
                  <a:pt x="3543909" y="1144174"/>
                  <a:pt x="3543909" y="1178460"/>
                </a:cubicBezTo>
                <a:cubicBezTo>
                  <a:pt x="3543909" y="1212745"/>
                  <a:pt x="3519664" y="1236136"/>
                  <a:pt x="3487514" y="1236136"/>
                </a:cubicBezTo>
                <a:cubicBezTo>
                  <a:pt x="3455365" y="1236136"/>
                  <a:pt x="3431120" y="1212745"/>
                  <a:pt x="3431120" y="1178460"/>
                </a:cubicBezTo>
                <a:cubicBezTo>
                  <a:pt x="3431120" y="1144174"/>
                  <a:pt x="3455365" y="1120783"/>
                  <a:pt x="3487514" y="1120783"/>
                </a:cubicBezTo>
                <a:close/>
                <a:moveTo>
                  <a:pt x="2144504" y="1120676"/>
                </a:moveTo>
                <a:cubicBezTo>
                  <a:pt x="2176653" y="1120676"/>
                  <a:pt x="2200899" y="1144067"/>
                  <a:pt x="2200899" y="1178353"/>
                </a:cubicBezTo>
                <a:cubicBezTo>
                  <a:pt x="2200899" y="1212638"/>
                  <a:pt x="2176653" y="1236029"/>
                  <a:pt x="2144504" y="1236029"/>
                </a:cubicBezTo>
                <a:cubicBezTo>
                  <a:pt x="2112355" y="1236029"/>
                  <a:pt x="2088109" y="1212638"/>
                  <a:pt x="2088109" y="1178353"/>
                </a:cubicBezTo>
                <a:cubicBezTo>
                  <a:pt x="2088109" y="1144067"/>
                  <a:pt x="2112355" y="1120676"/>
                  <a:pt x="2144504" y="1120676"/>
                </a:cubicBezTo>
                <a:close/>
                <a:moveTo>
                  <a:pt x="3613335" y="1088313"/>
                </a:moveTo>
                <a:lnTo>
                  <a:pt x="3613335" y="1268606"/>
                </a:lnTo>
                <a:lnTo>
                  <a:pt x="3655097" y="1268606"/>
                </a:lnTo>
                <a:lnTo>
                  <a:pt x="3655097" y="1218406"/>
                </a:lnTo>
                <a:lnTo>
                  <a:pt x="3693441" y="1218406"/>
                </a:lnTo>
                <a:lnTo>
                  <a:pt x="3728154" y="1268606"/>
                </a:lnTo>
                <a:lnTo>
                  <a:pt x="3728261" y="1268499"/>
                </a:lnTo>
                <a:lnTo>
                  <a:pt x="3773120" y="1268499"/>
                </a:lnTo>
                <a:lnTo>
                  <a:pt x="3732640" y="1210609"/>
                </a:lnTo>
                <a:cubicBezTo>
                  <a:pt x="3756031" y="1200569"/>
                  <a:pt x="3769703" y="1180703"/>
                  <a:pt x="3769703" y="1153680"/>
                </a:cubicBezTo>
                <a:cubicBezTo>
                  <a:pt x="3769703" y="1113306"/>
                  <a:pt x="3739583" y="1088313"/>
                  <a:pt x="3691412" y="1088313"/>
                </a:cubicBezTo>
                <a:close/>
                <a:moveTo>
                  <a:pt x="3229358" y="1088313"/>
                </a:moveTo>
                <a:lnTo>
                  <a:pt x="3229358" y="1122278"/>
                </a:lnTo>
                <a:lnTo>
                  <a:pt x="3287035" y="1122278"/>
                </a:lnTo>
                <a:lnTo>
                  <a:pt x="3287035" y="1268499"/>
                </a:lnTo>
                <a:lnTo>
                  <a:pt x="3328797" y="1268499"/>
                </a:lnTo>
                <a:lnTo>
                  <a:pt x="3328797" y="1122278"/>
                </a:lnTo>
                <a:lnTo>
                  <a:pt x="3386474" y="1122278"/>
                </a:lnTo>
                <a:lnTo>
                  <a:pt x="3386474" y="1088313"/>
                </a:lnTo>
                <a:close/>
                <a:moveTo>
                  <a:pt x="2892271" y="1088206"/>
                </a:moveTo>
                <a:lnTo>
                  <a:pt x="2892271" y="1268499"/>
                </a:lnTo>
                <a:lnTo>
                  <a:pt x="3031869" y="1268499"/>
                </a:lnTo>
                <a:lnTo>
                  <a:pt x="3031869" y="1235068"/>
                </a:lnTo>
                <a:lnTo>
                  <a:pt x="3031869" y="1234961"/>
                </a:lnTo>
                <a:lnTo>
                  <a:pt x="2933712" y="1234961"/>
                </a:lnTo>
                <a:lnTo>
                  <a:pt x="2933712" y="1193199"/>
                </a:lnTo>
                <a:lnTo>
                  <a:pt x="3017450" y="1193199"/>
                </a:lnTo>
                <a:lnTo>
                  <a:pt x="3017450" y="1160729"/>
                </a:lnTo>
                <a:lnTo>
                  <a:pt x="2933712" y="1160729"/>
                </a:lnTo>
                <a:lnTo>
                  <a:pt x="2933712" y="1121637"/>
                </a:lnTo>
                <a:lnTo>
                  <a:pt x="3028451" y="1121637"/>
                </a:lnTo>
                <a:lnTo>
                  <a:pt x="3028451" y="1088206"/>
                </a:lnTo>
                <a:close/>
                <a:moveTo>
                  <a:pt x="2468668" y="1088206"/>
                </a:moveTo>
                <a:lnTo>
                  <a:pt x="2468668" y="1268499"/>
                </a:lnTo>
                <a:lnTo>
                  <a:pt x="2510430" y="1268499"/>
                </a:lnTo>
                <a:lnTo>
                  <a:pt x="2510430" y="1218299"/>
                </a:lnTo>
                <a:lnTo>
                  <a:pt x="2548774" y="1218299"/>
                </a:lnTo>
                <a:lnTo>
                  <a:pt x="2583487" y="1268499"/>
                </a:lnTo>
                <a:lnTo>
                  <a:pt x="2583594" y="1268392"/>
                </a:lnTo>
                <a:lnTo>
                  <a:pt x="2628454" y="1268392"/>
                </a:lnTo>
                <a:lnTo>
                  <a:pt x="2587973" y="1210502"/>
                </a:lnTo>
                <a:cubicBezTo>
                  <a:pt x="2611364" y="1200462"/>
                  <a:pt x="2625036" y="1180596"/>
                  <a:pt x="2625036" y="1153573"/>
                </a:cubicBezTo>
                <a:cubicBezTo>
                  <a:pt x="2625036" y="1113200"/>
                  <a:pt x="2594916" y="1088206"/>
                  <a:pt x="2546745" y="1088206"/>
                </a:cubicBezTo>
                <a:close/>
                <a:moveTo>
                  <a:pt x="2268402" y="1088206"/>
                </a:moveTo>
                <a:lnTo>
                  <a:pt x="2268402" y="1189140"/>
                </a:lnTo>
                <a:lnTo>
                  <a:pt x="2268509" y="1189140"/>
                </a:lnTo>
                <a:cubicBezTo>
                  <a:pt x="2268509" y="1242224"/>
                  <a:pt x="2298842" y="1271597"/>
                  <a:pt x="2350111" y="1271597"/>
                </a:cubicBezTo>
                <a:cubicBezTo>
                  <a:pt x="2401379" y="1271597"/>
                  <a:pt x="2431712" y="1242224"/>
                  <a:pt x="2431712" y="1189140"/>
                </a:cubicBezTo>
                <a:lnTo>
                  <a:pt x="2431712" y="1088206"/>
                </a:lnTo>
                <a:lnTo>
                  <a:pt x="2390484" y="1088206"/>
                </a:lnTo>
                <a:lnTo>
                  <a:pt x="2390484" y="1187645"/>
                </a:lnTo>
                <a:cubicBezTo>
                  <a:pt x="2390484" y="1221824"/>
                  <a:pt x="2375531" y="1236029"/>
                  <a:pt x="2350324" y="1236029"/>
                </a:cubicBezTo>
                <a:cubicBezTo>
                  <a:pt x="2325117" y="1236029"/>
                  <a:pt x="2310164" y="1221931"/>
                  <a:pt x="2310164" y="1187645"/>
                </a:cubicBezTo>
                <a:lnTo>
                  <a:pt x="2310164" y="1088206"/>
                </a:lnTo>
                <a:close/>
                <a:moveTo>
                  <a:pt x="1776228" y="1088206"/>
                </a:moveTo>
                <a:lnTo>
                  <a:pt x="1776228" y="1268499"/>
                </a:lnTo>
                <a:lnTo>
                  <a:pt x="1817456" y="1268499"/>
                </a:lnTo>
                <a:lnTo>
                  <a:pt x="1817456" y="1159020"/>
                </a:lnTo>
                <a:lnTo>
                  <a:pt x="1907282" y="1268499"/>
                </a:lnTo>
                <a:lnTo>
                  <a:pt x="1941568" y="1268499"/>
                </a:lnTo>
                <a:lnTo>
                  <a:pt x="1941568" y="1088206"/>
                </a:lnTo>
                <a:lnTo>
                  <a:pt x="1900340" y="1088206"/>
                </a:lnTo>
                <a:lnTo>
                  <a:pt x="1900340" y="1197685"/>
                </a:lnTo>
                <a:lnTo>
                  <a:pt x="1810728" y="1088206"/>
                </a:lnTo>
                <a:close/>
                <a:moveTo>
                  <a:pt x="1696656" y="1088206"/>
                </a:moveTo>
                <a:lnTo>
                  <a:pt x="1696656" y="1268499"/>
                </a:lnTo>
                <a:lnTo>
                  <a:pt x="1738418" y="1268499"/>
                </a:lnTo>
                <a:lnTo>
                  <a:pt x="1738418" y="1088206"/>
                </a:lnTo>
                <a:close/>
                <a:moveTo>
                  <a:pt x="3865083" y="1085216"/>
                </a:moveTo>
                <a:cubicBezTo>
                  <a:pt x="3813815" y="1085216"/>
                  <a:pt x="3789142" y="1110743"/>
                  <a:pt x="3789142" y="1141397"/>
                </a:cubicBezTo>
                <a:cubicBezTo>
                  <a:pt x="3789142" y="1208366"/>
                  <a:pt x="3893921" y="1185189"/>
                  <a:pt x="3893921" y="1218940"/>
                </a:cubicBezTo>
                <a:cubicBezTo>
                  <a:pt x="3893921" y="1230048"/>
                  <a:pt x="3883881" y="1238272"/>
                  <a:pt x="3859208" y="1238272"/>
                </a:cubicBezTo>
                <a:cubicBezTo>
                  <a:pt x="3837526" y="1238272"/>
                  <a:pt x="3814883" y="1230582"/>
                  <a:pt x="3799716" y="1219474"/>
                </a:cubicBezTo>
                <a:lnTo>
                  <a:pt x="3785531" y="1250829"/>
                </a:lnTo>
                <a:lnTo>
                  <a:pt x="3785403" y="1250769"/>
                </a:lnTo>
                <a:lnTo>
                  <a:pt x="3785510" y="1250876"/>
                </a:lnTo>
                <a:lnTo>
                  <a:pt x="3785531" y="1250829"/>
                </a:lnTo>
                <a:lnTo>
                  <a:pt x="3817326" y="1265789"/>
                </a:lnTo>
                <a:cubicBezTo>
                  <a:pt x="3830103" y="1269461"/>
                  <a:pt x="3844468" y="1271597"/>
                  <a:pt x="3858781" y="1271597"/>
                </a:cubicBezTo>
                <a:cubicBezTo>
                  <a:pt x="3910263" y="1271597"/>
                  <a:pt x="3935256" y="1245856"/>
                  <a:pt x="3935256" y="1215736"/>
                </a:cubicBezTo>
                <a:cubicBezTo>
                  <a:pt x="3935256" y="1149515"/>
                  <a:pt x="3830477" y="1172478"/>
                  <a:pt x="3830477" y="1139261"/>
                </a:cubicBezTo>
                <a:cubicBezTo>
                  <a:pt x="3830477" y="1127939"/>
                  <a:pt x="3840089" y="1118647"/>
                  <a:pt x="3864762" y="1118647"/>
                </a:cubicBezTo>
                <a:cubicBezTo>
                  <a:pt x="3880784" y="1118647"/>
                  <a:pt x="3897980" y="1123346"/>
                  <a:pt x="3914749" y="1132852"/>
                </a:cubicBezTo>
                <a:lnTo>
                  <a:pt x="3927672" y="1101130"/>
                </a:lnTo>
                <a:cubicBezTo>
                  <a:pt x="3910903" y="1090663"/>
                  <a:pt x="3887726" y="1085216"/>
                  <a:pt x="3865083" y="1085216"/>
                </a:cubicBezTo>
                <a:close/>
                <a:moveTo>
                  <a:pt x="3487514" y="1085216"/>
                </a:moveTo>
                <a:cubicBezTo>
                  <a:pt x="3430692" y="1085216"/>
                  <a:pt x="3388930" y="1124949"/>
                  <a:pt x="3388930" y="1178460"/>
                </a:cubicBezTo>
                <a:cubicBezTo>
                  <a:pt x="3388930" y="1232077"/>
                  <a:pt x="3430906" y="1271703"/>
                  <a:pt x="3487514" y="1271703"/>
                </a:cubicBezTo>
                <a:cubicBezTo>
                  <a:pt x="3544123" y="1271703"/>
                  <a:pt x="3586099" y="1232291"/>
                  <a:pt x="3586099" y="1178460"/>
                </a:cubicBezTo>
                <a:cubicBezTo>
                  <a:pt x="3586099" y="1124628"/>
                  <a:pt x="3544337" y="1085216"/>
                  <a:pt x="3487514" y="1085216"/>
                </a:cubicBezTo>
                <a:close/>
                <a:moveTo>
                  <a:pt x="3145086" y="1085216"/>
                </a:moveTo>
                <a:cubicBezTo>
                  <a:pt x="3089012" y="1085216"/>
                  <a:pt x="3047250" y="1124094"/>
                  <a:pt x="3047250" y="1178460"/>
                </a:cubicBezTo>
                <a:lnTo>
                  <a:pt x="3047143" y="1178246"/>
                </a:lnTo>
                <a:cubicBezTo>
                  <a:pt x="3047143" y="1232612"/>
                  <a:pt x="3088905" y="1271490"/>
                  <a:pt x="3144766" y="1271490"/>
                </a:cubicBezTo>
                <a:cubicBezTo>
                  <a:pt x="3176168" y="1271490"/>
                  <a:pt x="3202229" y="1260168"/>
                  <a:pt x="3219211" y="1239340"/>
                </a:cubicBezTo>
                <a:lnTo>
                  <a:pt x="3192402" y="1214668"/>
                </a:lnTo>
                <a:cubicBezTo>
                  <a:pt x="3180333" y="1228766"/>
                  <a:pt x="3165166" y="1236029"/>
                  <a:pt x="3147116" y="1236029"/>
                </a:cubicBezTo>
                <a:cubicBezTo>
                  <a:pt x="3113364" y="1236029"/>
                  <a:pt x="3089439" y="1212318"/>
                  <a:pt x="3089439" y="1178353"/>
                </a:cubicBezTo>
                <a:cubicBezTo>
                  <a:pt x="3089439" y="1144388"/>
                  <a:pt x="3113364" y="1120676"/>
                  <a:pt x="3147116" y="1120676"/>
                </a:cubicBezTo>
                <a:cubicBezTo>
                  <a:pt x="3165059" y="1120676"/>
                  <a:pt x="3180333" y="1127939"/>
                  <a:pt x="3192402" y="1141824"/>
                </a:cubicBezTo>
                <a:lnTo>
                  <a:pt x="3219211" y="1117152"/>
                </a:lnTo>
                <a:cubicBezTo>
                  <a:pt x="3202229" y="1096538"/>
                  <a:pt x="3176274" y="1085216"/>
                  <a:pt x="3145086" y="1085216"/>
                </a:cubicBezTo>
                <a:close/>
                <a:moveTo>
                  <a:pt x="2796250" y="1085109"/>
                </a:moveTo>
                <a:cubicBezTo>
                  <a:pt x="2744982" y="1085109"/>
                  <a:pt x="2720309" y="1110636"/>
                  <a:pt x="2720309" y="1141290"/>
                </a:cubicBezTo>
                <a:cubicBezTo>
                  <a:pt x="2720309" y="1208259"/>
                  <a:pt x="2825088" y="1185082"/>
                  <a:pt x="2825088" y="1218833"/>
                </a:cubicBezTo>
                <a:cubicBezTo>
                  <a:pt x="2825088" y="1229941"/>
                  <a:pt x="2815048" y="1238166"/>
                  <a:pt x="2790375" y="1238166"/>
                </a:cubicBezTo>
                <a:cubicBezTo>
                  <a:pt x="2768693" y="1238166"/>
                  <a:pt x="2746050" y="1230475"/>
                  <a:pt x="2730883" y="1219367"/>
                </a:cubicBezTo>
                <a:lnTo>
                  <a:pt x="2716698" y="1250722"/>
                </a:lnTo>
                <a:lnTo>
                  <a:pt x="2716571" y="1250662"/>
                </a:lnTo>
                <a:lnTo>
                  <a:pt x="2716677" y="1250769"/>
                </a:lnTo>
                <a:lnTo>
                  <a:pt x="2716698" y="1250722"/>
                </a:lnTo>
                <a:lnTo>
                  <a:pt x="2748493" y="1265682"/>
                </a:lnTo>
                <a:cubicBezTo>
                  <a:pt x="2761270" y="1269354"/>
                  <a:pt x="2775635" y="1271490"/>
                  <a:pt x="2789948" y="1271490"/>
                </a:cubicBezTo>
                <a:cubicBezTo>
                  <a:pt x="2841430" y="1271490"/>
                  <a:pt x="2866423" y="1245749"/>
                  <a:pt x="2866423" y="1215629"/>
                </a:cubicBezTo>
                <a:cubicBezTo>
                  <a:pt x="2866423" y="1149408"/>
                  <a:pt x="2761644" y="1172372"/>
                  <a:pt x="2761644" y="1139154"/>
                </a:cubicBezTo>
                <a:cubicBezTo>
                  <a:pt x="2761644" y="1127832"/>
                  <a:pt x="2771257" y="1118540"/>
                  <a:pt x="2795929" y="1118540"/>
                </a:cubicBezTo>
                <a:cubicBezTo>
                  <a:pt x="2811951" y="1118540"/>
                  <a:pt x="2829147" y="1123240"/>
                  <a:pt x="2845916" y="1132746"/>
                </a:cubicBezTo>
                <a:lnTo>
                  <a:pt x="2858840" y="1101023"/>
                </a:lnTo>
                <a:cubicBezTo>
                  <a:pt x="2842071" y="1090556"/>
                  <a:pt x="2818893" y="1085109"/>
                  <a:pt x="2796250" y="1085109"/>
                </a:cubicBezTo>
                <a:close/>
                <a:moveTo>
                  <a:pt x="2144504" y="1085109"/>
                </a:moveTo>
                <a:cubicBezTo>
                  <a:pt x="2087682" y="1085109"/>
                  <a:pt x="2045920" y="1124842"/>
                  <a:pt x="2045920" y="1178353"/>
                </a:cubicBezTo>
                <a:cubicBezTo>
                  <a:pt x="2045920" y="1231971"/>
                  <a:pt x="2087896" y="1271597"/>
                  <a:pt x="2144504" y="1271597"/>
                </a:cubicBezTo>
                <a:cubicBezTo>
                  <a:pt x="2201113" y="1271597"/>
                  <a:pt x="2243088" y="1232184"/>
                  <a:pt x="2243088" y="1178353"/>
                </a:cubicBezTo>
                <a:cubicBezTo>
                  <a:pt x="2243088" y="1124521"/>
                  <a:pt x="2201326" y="1085109"/>
                  <a:pt x="2144504" y="1085109"/>
                </a:cubicBezTo>
                <a:close/>
                <a:moveTo>
                  <a:pt x="3163778" y="935043"/>
                </a:moveTo>
                <a:lnTo>
                  <a:pt x="3212482" y="935043"/>
                </a:lnTo>
                <a:cubicBezTo>
                  <a:pt x="3234165" y="935043"/>
                  <a:pt x="3245700" y="942306"/>
                  <a:pt x="3245700" y="957473"/>
                </a:cubicBezTo>
                <a:cubicBezTo>
                  <a:pt x="3245700" y="972853"/>
                  <a:pt x="3234165" y="979582"/>
                  <a:pt x="3212482" y="979582"/>
                </a:cubicBezTo>
                <a:lnTo>
                  <a:pt x="3163778" y="979582"/>
                </a:lnTo>
                <a:close/>
                <a:moveTo>
                  <a:pt x="3005808" y="871706"/>
                </a:moveTo>
                <a:lnTo>
                  <a:pt x="3034433" y="940704"/>
                </a:lnTo>
                <a:lnTo>
                  <a:pt x="3034326" y="940704"/>
                </a:lnTo>
                <a:lnTo>
                  <a:pt x="2977183" y="940704"/>
                </a:lnTo>
                <a:close/>
                <a:moveTo>
                  <a:pt x="2528374" y="871706"/>
                </a:moveTo>
                <a:lnTo>
                  <a:pt x="2556999" y="940704"/>
                </a:lnTo>
                <a:lnTo>
                  <a:pt x="2556892" y="940704"/>
                </a:lnTo>
                <a:lnTo>
                  <a:pt x="2499749" y="940704"/>
                </a:lnTo>
                <a:close/>
                <a:moveTo>
                  <a:pt x="3163778" y="862200"/>
                </a:moveTo>
                <a:lnTo>
                  <a:pt x="3205220" y="862200"/>
                </a:lnTo>
                <a:cubicBezTo>
                  <a:pt x="3225513" y="862200"/>
                  <a:pt x="3236621" y="869249"/>
                  <a:pt x="3236621" y="883348"/>
                </a:cubicBezTo>
                <a:cubicBezTo>
                  <a:pt x="3236621" y="897446"/>
                  <a:pt x="3225513" y="904709"/>
                  <a:pt x="3205220" y="904709"/>
                </a:cubicBezTo>
                <a:lnTo>
                  <a:pt x="3163778" y="904709"/>
                </a:lnTo>
                <a:close/>
                <a:moveTo>
                  <a:pt x="3764896" y="830798"/>
                </a:moveTo>
                <a:lnTo>
                  <a:pt x="3834642" y="946685"/>
                </a:lnTo>
                <a:lnTo>
                  <a:pt x="3834642" y="1011091"/>
                </a:lnTo>
                <a:lnTo>
                  <a:pt x="3876404" y="1011091"/>
                </a:lnTo>
                <a:lnTo>
                  <a:pt x="3876404" y="947219"/>
                </a:lnTo>
                <a:lnTo>
                  <a:pt x="3946471" y="830798"/>
                </a:lnTo>
                <a:lnTo>
                  <a:pt x="3905563" y="830798"/>
                </a:lnTo>
                <a:lnTo>
                  <a:pt x="3857392" y="910904"/>
                </a:lnTo>
                <a:lnTo>
                  <a:pt x="3809222" y="830798"/>
                </a:lnTo>
                <a:close/>
                <a:moveTo>
                  <a:pt x="3602440" y="830798"/>
                </a:moveTo>
                <a:lnTo>
                  <a:pt x="3602440" y="864763"/>
                </a:lnTo>
                <a:lnTo>
                  <a:pt x="3660117" y="864763"/>
                </a:lnTo>
                <a:lnTo>
                  <a:pt x="3660117" y="1010984"/>
                </a:lnTo>
                <a:lnTo>
                  <a:pt x="3701879" y="1010984"/>
                </a:lnTo>
                <a:lnTo>
                  <a:pt x="3701879" y="864763"/>
                </a:lnTo>
                <a:lnTo>
                  <a:pt x="3759556" y="864763"/>
                </a:lnTo>
                <a:lnTo>
                  <a:pt x="3759556" y="830798"/>
                </a:lnTo>
                <a:close/>
                <a:moveTo>
                  <a:pt x="3544657" y="830798"/>
                </a:moveTo>
                <a:lnTo>
                  <a:pt x="3544657" y="1011091"/>
                </a:lnTo>
                <a:lnTo>
                  <a:pt x="3586419" y="1011091"/>
                </a:lnTo>
                <a:lnTo>
                  <a:pt x="3586419" y="830798"/>
                </a:lnTo>
                <a:close/>
                <a:moveTo>
                  <a:pt x="3395552" y="830798"/>
                </a:moveTo>
                <a:lnTo>
                  <a:pt x="3395552" y="1010984"/>
                </a:lnTo>
                <a:lnTo>
                  <a:pt x="3527674" y="1010984"/>
                </a:lnTo>
                <a:lnTo>
                  <a:pt x="3527674" y="977019"/>
                </a:lnTo>
                <a:lnTo>
                  <a:pt x="3437314" y="977019"/>
                </a:lnTo>
                <a:lnTo>
                  <a:pt x="3437314" y="830798"/>
                </a:lnTo>
                <a:close/>
                <a:moveTo>
                  <a:pt x="3315980" y="830798"/>
                </a:moveTo>
                <a:lnTo>
                  <a:pt x="3315980" y="1011091"/>
                </a:lnTo>
                <a:lnTo>
                  <a:pt x="3357742" y="1011091"/>
                </a:lnTo>
                <a:lnTo>
                  <a:pt x="3357742" y="830798"/>
                </a:lnTo>
                <a:close/>
                <a:moveTo>
                  <a:pt x="2985514" y="830798"/>
                </a:moveTo>
                <a:lnTo>
                  <a:pt x="2905194" y="1011091"/>
                </a:lnTo>
                <a:lnTo>
                  <a:pt x="2947918" y="1011091"/>
                </a:lnTo>
                <a:lnTo>
                  <a:pt x="2963832" y="972426"/>
                </a:lnTo>
                <a:lnTo>
                  <a:pt x="3047570" y="972426"/>
                </a:lnTo>
                <a:lnTo>
                  <a:pt x="3047677" y="972426"/>
                </a:lnTo>
                <a:lnTo>
                  <a:pt x="3063591" y="1011091"/>
                </a:lnTo>
                <a:lnTo>
                  <a:pt x="3107383" y="1011091"/>
                </a:lnTo>
                <a:lnTo>
                  <a:pt x="3026742" y="830798"/>
                </a:lnTo>
                <a:close/>
                <a:moveTo>
                  <a:pt x="2644902" y="830798"/>
                </a:moveTo>
                <a:lnTo>
                  <a:pt x="2644902" y="1011091"/>
                </a:lnTo>
                <a:lnTo>
                  <a:pt x="2686664" y="1011091"/>
                </a:lnTo>
                <a:lnTo>
                  <a:pt x="2686664" y="830798"/>
                </a:lnTo>
                <a:close/>
                <a:moveTo>
                  <a:pt x="2508080" y="830798"/>
                </a:moveTo>
                <a:lnTo>
                  <a:pt x="2427760" y="1011091"/>
                </a:lnTo>
                <a:lnTo>
                  <a:pt x="2470484" y="1011091"/>
                </a:lnTo>
                <a:lnTo>
                  <a:pt x="2486398" y="972426"/>
                </a:lnTo>
                <a:lnTo>
                  <a:pt x="2570136" y="972426"/>
                </a:lnTo>
                <a:lnTo>
                  <a:pt x="2570243" y="972426"/>
                </a:lnTo>
                <a:lnTo>
                  <a:pt x="2586157" y="1011091"/>
                </a:lnTo>
                <a:lnTo>
                  <a:pt x="2629949" y="1011091"/>
                </a:lnTo>
                <a:lnTo>
                  <a:pt x="2549308" y="830798"/>
                </a:lnTo>
                <a:close/>
                <a:moveTo>
                  <a:pt x="2296706" y="830798"/>
                </a:moveTo>
                <a:lnTo>
                  <a:pt x="2296706" y="864763"/>
                </a:lnTo>
                <a:lnTo>
                  <a:pt x="2354383" y="864763"/>
                </a:lnTo>
                <a:lnTo>
                  <a:pt x="2354383" y="1010984"/>
                </a:lnTo>
                <a:lnTo>
                  <a:pt x="2396145" y="1010984"/>
                </a:lnTo>
                <a:lnTo>
                  <a:pt x="2396145" y="864763"/>
                </a:lnTo>
                <a:lnTo>
                  <a:pt x="2453822" y="864763"/>
                </a:lnTo>
                <a:lnTo>
                  <a:pt x="2453822" y="830798"/>
                </a:lnTo>
                <a:close/>
                <a:moveTo>
                  <a:pt x="1955026" y="830798"/>
                </a:moveTo>
                <a:lnTo>
                  <a:pt x="1955026" y="931732"/>
                </a:lnTo>
                <a:lnTo>
                  <a:pt x="1955133" y="931732"/>
                </a:lnTo>
                <a:cubicBezTo>
                  <a:pt x="1955133" y="984816"/>
                  <a:pt x="1985466" y="1014188"/>
                  <a:pt x="2036734" y="1014188"/>
                </a:cubicBezTo>
                <a:cubicBezTo>
                  <a:pt x="2088002" y="1014188"/>
                  <a:pt x="2118336" y="984816"/>
                  <a:pt x="2118336" y="931732"/>
                </a:cubicBezTo>
                <a:lnTo>
                  <a:pt x="2118336" y="830798"/>
                </a:lnTo>
                <a:lnTo>
                  <a:pt x="2077108" y="830798"/>
                </a:lnTo>
                <a:lnTo>
                  <a:pt x="2077108" y="930237"/>
                </a:lnTo>
                <a:cubicBezTo>
                  <a:pt x="2077108" y="964415"/>
                  <a:pt x="2062155" y="978621"/>
                  <a:pt x="2036948" y="978621"/>
                </a:cubicBezTo>
                <a:cubicBezTo>
                  <a:pt x="2011741" y="978621"/>
                  <a:pt x="1996788" y="964522"/>
                  <a:pt x="1996788" y="930237"/>
                </a:cubicBezTo>
                <a:lnTo>
                  <a:pt x="1996788" y="830798"/>
                </a:lnTo>
                <a:close/>
                <a:moveTo>
                  <a:pt x="3122336" y="830691"/>
                </a:moveTo>
                <a:lnTo>
                  <a:pt x="3122336" y="1010984"/>
                </a:lnTo>
                <a:lnTo>
                  <a:pt x="3215580" y="1010984"/>
                </a:lnTo>
                <a:cubicBezTo>
                  <a:pt x="3263003" y="1010984"/>
                  <a:pt x="3287676" y="993040"/>
                  <a:pt x="3287676" y="961852"/>
                </a:cubicBezTo>
                <a:lnTo>
                  <a:pt x="3287782" y="961745"/>
                </a:lnTo>
                <a:cubicBezTo>
                  <a:pt x="3287782" y="939102"/>
                  <a:pt x="3274859" y="923615"/>
                  <a:pt x="3254779" y="917206"/>
                </a:cubicBezTo>
                <a:cubicBezTo>
                  <a:pt x="3269411" y="909516"/>
                  <a:pt x="3278704" y="895631"/>
                  <a:pt x="3278704" y="877580"/>
                </a:cubicBezTo>
                <a:cubicBezTo>
                  <a:pt x="3278704" y="849489"/>
                  <a:pt x="3255526" y="830691"/>
                  <a:pt x="3210453" y="830691"/>
                </a:cubicBezTo>
                <a:close/>
                <a:moveTo>
                  <a:pt x="2724474" y="830691"/>
                </a:moveTo>
                <a:lnTo>
                  <a:pt x="2724474" y="1011091"/>
                </a:lnTo>
                <a:lnTo>
                  <a:pt x="2765702" y="1011091"/>
                </a:lnTo>
                <a:lnTo>
                  <a:pt x="2765702" y="901612"/>
                </a:lnTo>
                <a:lnTo>
                  <a:pt x="2855528" y="1011091"/>
                </a:lnTo>
                <a:lnTo>
                  <a:pt x="2889814" y="1011091"/>
                </a:lnTo>
                <a:lnTo>
                  <a:pt x="2889814" y="830798"/>
                </a:lnTo>
                <a:lnTo>
                  <a:pt x="2889814" y="830691"/>
                </a:lnTo>
                <a:lnTo>
                  <a:pt x="2848586" y="830691"/>
                </a:lnTo>
                <a:lnTo>
                  <a:pt x="2848586" y="940170"/>
                </a:lnTo>
                <a:lnTo>
                  <a:pt x="2758973" y="830691"/>
                </a:lnTo>
                <a:close/>
                <a:moveTo>
                  <a:pt x="2220552" y="827594"/>
                </a:moveTo>
                <a:cubicBezTo>
                  <a:pt x="2169284" y="827594"/>
                  <a:pt x="2144611" y="853121"/>
                  <a:pt x="2144611" y="883775"/>
                </a:cubicBezTo>
                <a:cubicBezTo>
                  <a:pt x="2144611" y="950744"/>
                  <a:pt x="2249390" y="927566"/>
                  <a:pt x="2249390" y="961318"/>
                </a:cubicBezTo>
                <a:cubicBezTo>
                  <a:pt x="2249390" y="972426"/>
                  <a:pt x="2239350" y="980650"/>
                  <a:pt x="2214677" y="980650"/>
                </a:cubicBezTo>
                <a:cubicBezTo>
                  <a:pt x="2192995" y="980650"/>
                  <a:pt x="2170352" y="972960"/>
                  <a:pt x="2155185" y="961852"/>
                </a:cubicBezTo>
                <a:lnTo>
                  <a:pt x="2141000" y="993207"/>
                </a:lnTo>
                <a:lnTo>
                  <a:pt x="2140873" y="993147"/>
                </a:lnTo>
                <a:lnTo>
                  <a:pt x="2140979" y="993254"/>
                </a:lnTo>
                <a:lnTo>
                  <a:pt x="2141000" y="993207"/>
                </a:lnTo>
                <a:lnTo>
                  <a:pt x="2172795" y="1008167"/>
                </a:lnTo>
                <a:cubicBezTo>
                  <a:pt x="2185572" y="1011839"/>
                  <a:pt x="2199938" y="1013975"/>
                  <a:pt x="2214250" y="1013975"/>
                </a:cubicBezTo>
                <a:cubicBezTo>
                  <a:pt x="2265732" y="1013975"/>
                  <a:pt x="2290725" y="988234"/>
                  <a:pt x="2290725" y="958114"/>
                </a:cubicBezTo>
                <a:cubicBezTo>
                  <a:pt x="2290725" y="891892"/>
                  <a:pt x="2185946" y="914856"/>
                  <a:pt x="2185946" y="881639"/>
                </a:cubicBezTo>
                <a:cubicBezTo>
                  <a:pt x="2185946" y="870317"/>
                  <a:pt x="2195559" y="861025"/>
                  <a:pt x="2220231" y="861025"/>
                </a:cubicBezTo>
                <a:cubicBezTo>
                  <a:pt x="2236253" y="861025"/>
                  <a:pt x="2253449" y="865724"/>
                  <a:pt x="2270218" y="875230"/>
                </a:cubicBezTo>
                <a:lnTo>
                  <a:pt x="2283142" y="843508"/>
                </a:lnTo>
                <a:cubicBezTo>
                  <a:pt x="2266373" y="833041"/>
                  <a:pt x="2243195" y="827594"/>
                  <a:pt x="2220552" y="827594"/>
                </a:cubicBezTo>
                <a:close/>
                <a:moveTo>
                  <a:pt x="1862209" y="827594"/>
                </a:moveTo>
                <a:cubicBezTo>
                  <a:pt x="1810941" y="827594"/>
                  <a:pt x="1786268" y="853121"/>
                  <a:pt x="1786268" y="883775"/>
                </a:cubicBezTo>
                <a:cubicBezTo>
                  <a:pt x="1786268" y="950744"/>
                  <a:pt x="1891047" y="927566"/>
                  <a:pt x="1891047" y="961318"/>
                </a:cubicBezTo>
                <a:cubicBezTo>
                  <a:pt x="1891047" y="972426"/>
                  <a:pt x="1881007" y="980650"/>
                  <a:pt x="1856335" y="980650"/>
                </a:cubicBezTo>
                <a:cubicBezTo>
                  <a:pt x="1834653" y="980650"/>
                  <a:pt x="1812009" y="972960"/>
                  <a:pt x="1796842" y="961852"/>
                </a:cubicBezTo>
                <a:lnTo>
                  <a:pt x="1782658" y="993207"/>
                </a:lnTo>
                <a:lnTo>
                  <a:pt x="1782530" y="993147"/>
                </a:lnTo>
                <a:lnTo>
                  <a:pt x="1782637" y="993254"/>
                </a:lnTo>
                <a:lnTo>
                  <a:pt x="1782658" y="993207"/>
                </a:lnTo>
                <a:lnTo>
                  <a:pt x="1814452" y="1008167"/>
                </a:lnTo>
                <a:cubicBezTo>
                  <a:pt x="1827229" y="1011839"/>
                  <a:pt x="1841595" y="1013975"/>
                  <a:pt x="1855907" y="1013975"/>
                </a:cubicBezTo>
                <a:cubicBezTo>
                  <a:pt x="1907389" y="1013975"/>
                  <a:pt x="1932382" y="988234"/>
                  <a:pt x="1932382" y="958114"/>
                </a:cubicBezTo>
                <a:cubicBezTo>
                  <a:pt x="1932382" y="891892"/>
                  <a:pt x="1827603" y="914856"/>
                  <a:pt x="1827603" y="881639"/>
                </a:cubicBezTo>
                <a:cubicBezTo>
                  <a:pt x="1827603" y="870317"/>
                  <a:pt x="1837216" y="861025"/>
                  <a:pt x="1861889" y="861025"/>
                </a:cubicBezTo>
                <a:cubicBezTo>
                  <a:pt x="1877910" y="861025"/>
                  <a:pt x="1895106" y="865724"/>
                  <a:pt x="1911875" y="875230"/>
                </a:cubicBezTo>
                <a:lnTo>
                  <a:pt x="1924799" y="843508"/>
                </a:lnTo>
                <a:cubicBezTo>
                  <a:pt x="1908030" y="833041"/>
                  <a:pt x="1884853" y="827594"/>
                  <a:pt x="1862209" y="827594"/>
                </a:cubicBezTo>
                <a:close/>
                <a:moveTo>
                  <a:pt x="4654825" y="692054"/>
                </a:moveTo>
                <a:cubicBezTo>
                  <a:pt x="4807347" y="739370"/>
                  <a:pt x="4918428" y="881746"/>
                  <a:pt x="4918428" y="1049649"/>
                </a:cubicBezTo>
                <a:cubicBezTo>
                  <a:pt x="4918428" y="1250662"/>
                  <a:pt x="4759177" y="1415147"/>
                  <a:pt x="4560192" y="1423585"/>
                </a:cubicBezTo>
                <a:lnTo>
                  <a:pt x="4560086" y="1423585"/>
                </a:lnTo>
                <a:cubicBezTo>
                  <a:pt x="4623637" y="1369327"/>
                  <a:pt x="4688149" y="1291463"/>
                  <a:pt x="4691139" y="1203666"/>
                </a:cubicBezTo>
                <a:cubicBezTo>
                  <a:pt x="4694344" y="1109889"/>
                  <a:pt x="4625452" y="1047833"/>
                  <a:pt x="4566921" y="1012266"/>
                </a:cubicBezTo>
                <a:cubicBezTo>
                  <a:pt x="4510633" y="977339"/>
                  <a:pt x="4482756" y="938675"/>
                  <a:pt x="4484145" y="897553"/>
                </a:cubicBezTo>
                <a:cubicBezTo>
                  <a:pt x="4486601" y="822253"/>
                  <a:pt x="4580806" y="735952"/>
                  <a:pt x="4654825" y="692054"/>
                </a:cubicBezTo>
                <a:close/>
                <a:moveTo>
                  <a:pt x="4527936" y="675712"/>
                </a:moveTo>
                <a:cubicBezTo>
                  <a:pt x="4462356" y="731466"/>
                  <a:pt x="4399232" y="809329"/>
                  <a:pt x="4396455" y="894776"/>
                </a:cubicBezTo>
                <a:cubicBezTo>
                  <a:pt x="4393464" y="987913"/>
                  <a:pt x="4462463" y="1050717"/>
                  <a:pt x="4520780" y="1086925"/>
                </a:cubicBezTo>
                <a:lnTo>
                  <a:pt x="4521101" y="1087138"/>
                </a:lnTo>
                <a:cubicBezTo>
                  <a:pt x="4577816" y="1121638"/>
                  <a:pt x="4604731" y="1158807"/>
                  <a:pt x="4603343" y="1200676"/>
                </a:cubicBezTo>
                <a:cubicBezTo>
                  <a:pt x="4600780" y="1277898"/>
                  <a:pt x="4505293" y="1365268"/>
                  <a:pt x="4433304" y="1407350"/>
                </a:cubicBezTo>
                <a:cubicBezTo>
                  <a:pt x="4280674" y="1360141"/>
                  <a:pt x="4169487" y="1217658"/>
                  <a:pt x="4169487" y="1049649"/>
                </a:cubicBezTo>
                <a:lnTo>
                  <a:pt x="4169700" y="1049649"/>
                </a:lnTo>
                <a:cubicBezTo>
                  <a:pt x="4169700" y="848635"/>
                  <a:pt x="4328952" y="684150"/>
                  <a:pt x="4527936" y="675712"/>
                </a:cubicBezTo>
                <a:close/>
                <a:moveTo>
                  <a:pt x="4544064" y="587595"/>
                </a:moveTo>
                <a:cubicBezTo>
                  <a:pt x="4289326" y="587595"/>
                  <a:pt x="4082011" y="794910"/>
                  <a:pt x="4082011" y="1049649"/>
                </a:cubicBezTo>
                <a:cubicBezTo>
                  <a:pt x="4082011" y="1304387"/>
                  <a:pt x="4289326" y="1511702"/>
                  <a:pt x="4544064" y="1511702"/>
                </a:cubicBezTo>
                <a:cubicBezTo>
                  <a:pt x="4798803" y="1511702"/>
                  <a:pt x="5006118" y="1304387"/>
                  <a:pt x="5006118" y="1049649"/>
                </a:cubicBezTo>
                <a:cubicBezTo>
                  <a:pt x="5006118" y="794910"/>
                  <a:pt x="4798803" y="587595"/>
                  <a:pt x="4544064" y="587595"/>
                </a:cubicBezTo>
                <a:close/>
                <a:moveTo>
                  <a:pt x="1081043" y="0"/>
                </a:moveTo>
                <a:lnTo>
                  <a:pt x="5519299" y="0"/>
                </a:lnTo>
                <a:lnTo>
                  <a:pt x="5519299" y="6858000"/>
                </a:lnTo>
                <a:lnTo>
                  <a:pt x="68876" y="6858000"/>
                </a:lnTo>
                <a:lnTo>
                  <a:pt x="112154" y="6819948"/>
                </a:lnTo>
                <a:cubicBezTo>
                  <a:pt x="746576" y="6221005"/>
                  <a:pt x="1813134" y="4604032"/>
                  <a:pt x="573979" y="3429000"/>
                </a:cubicBezTo>
                <a:cubicBezTo>
                  <a:pt x="-667668" y="2225906"/>
                  <a:pt x="398366" y="652909"/>
                  <a:pt x="1030887" y="45282"/>
                </a:cubicBezTo>
                <a:close/>
              </a:path>
            </a:pathLst>
          </a:custGeom>
          <a:solidFill>
            <a:schemeClr val="tx1"/>
          </a:solidFill>
        </p:spPr>
        <p:txBody>
          <a:bodyPr wrap="square" anchor="ctr">
            <a:noAutofit/>
          </a:bodyPr>
          <a:lstStyle>
            <a:lvl1pPr algn="ctr">
              <a:defRPr sz="2400" b="0">
                <a:solidFill>
                  <a:schemeClr val="bg1"/>
                </a:solidFill>
                <a:latin typeface="+mj-lt"/>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US" dirty="0"/>
              <a:t>ADD RELATED </a:t>
            </a:r>
            <a:br>
              <a:rPr lang="en-US" dirty="0"/>
            </a:br>
            <a:r>
              <a:rPr lang="en-US" dirty="0"/>
              <a:t>IMAGE </a:t>
            </a:r>
            <a:br>
              <a:rPr lang="en-US" dirty="0"/>
            </a:br>
            <a:r>
              <a:rPr lang="en-US" dirty="0"/>
              <a:t>FROM HFW </a:t>
            </a:r>
            <a:br>
              <a:rPr lang="en-US" dirty="0"/>
            </a:br>
            <a:r>
              <a:rPr lang="en-US" dirty="0"/>
              <a:t>IMAGE LIBRARY</a:t>
            </a:r>
          </a:p>
        </p:txBody>
      </p:sp>
      <p:sp>
        <p:nvSpPr>
          <p:cNvPr id="2" name="Title 1"/>
          <p:cNvSpPr>
            <a:spLocks noGrp="1"/>
          </p:cNvSpPr>
          <p:nvPr>
            <p:ph type="ctrTitle" hasCustomPrompt="1"/>
          </p:nvPr>
        </p:nvSpPr>
        <p:spPr>
          <a:xfrm>
            <a:off x="508938" y="2430692"/>
            <a:ext cx="5155261" cy="2387600"/>
          </a:xfrm>
        </p:spPr>
        <p:txBody>
          <a:bodyPr vert="horz" lIns="0" tIns="0" rIns="0" bIns="0" rtlCol="0" anchor="t" anchorCtr="0">
            <a:noAutofit/>
          </a:bodyPr>
          <a:lstStyle>
            <a:lvl1pPr>
              <a:lnSpc>
                <a:spcPct val="100000"/>
              </a:lnSpc>
              <a:defRPr lang="en-US" sz="3300" dirty="0">
                <a:solidFill>
                  <a:schemeClr val="tx2"/>
                </a:solidFill>
              </a:defRPr>
            </a:lvl1pPr>
          </a:lstStyle>
          <a:p>
            <a:pPr lvl="0"/>
            <a:r>
              <a:rPr lang="en-US" dirty="0"/>
              <a:t>DIVIDER SLIDE </a:t>
            </a:r>
            <a:br>
              <a:rPr lang="en-US" dirty="0"/>
            </a:br>
            <a:r>
              <a:rPr lang="en-US" dirty="0"/>
              <a:t>TEXT GOES HERE</a:t>
            </a:r>
          </a:p>
        </p:txBody>
      </p:sp>
      <p:sp>
        <p:nvSpPr>
          <p:cNvPr id="13" name="Text Placeholder 12">
            <a:extLst>
              <a:ext uri="{FF2B5EF4-FFF2-40B4-BE49-F238E27FC236}">
                <a16:creationId xmlns:a16="http://schemas.microsoft.com/office/drawing/2014/main" id="{BBA3AA40-3440-5851-3972-390D3DEB2219}"/>
              </a:ext>
            </a:extLst>
          </p:cNvPr>
          <p:cNvSpPr>
            <a:spLocks noGrp="1"/>
          </p:cNvSpPr>
          <p:nvPr>
            <p:ph type="body" sz="quarter" idx="14" hasCustomPrompt="1"/>
          </p:nvPr>
        </p:nvSpPr>
        <p:spPr>
          <a:xfrm>
            <a:off x="508938" y="5989638"/>
            <a:ext cx="5952821" cy="230187"/>
          </a:xfrm>
        </p:spPr>
        <p:txBody>
          <a:bodyPr tIns="0" bIns="0">
            <a:noAutofit/>
          </a:bodyPr>
          <a:lstStyle>
            <a:lvl1pPr>
              <a:defRPr sz="1400" cap="all" baseline="0">
                <a:solidFill>
                  <a:schemeClr val="bg1"/>
                </a:solidFill>
                <a:latin typeface="+mj-lt"/>
              </a:defRPr>
            </a:lvl1pPr>
            <a:lvl2pPr>
              <a:defRPr>
                <a:solidFill>
                  <a:schemeClr val="bg1"/>
                </a:solidFill>
                <a:latin typeface="+mn-lt"/>
              </a:defRPr>
            </a:lvl2pPr>
            <a:lvl3pPr>
              <a:defRPr>
                <a:solidFill>
                  <a:schemeClr val="bg1"/>
                </a:solidFill>
                <a:latin typeface="+mn-lt"/>
              </a:defRPr>
            </a:lvl3pPr>
            <a:lvl4pPr>
              <a:defRPr>
                <a:solidFill>
                  <a:schemeClr val="bg1"/>
                </a:solidFill>
                <a:latin typeface="+mn-lt"/>
              </a:defRPr>
            </a:lvl4pPr>
            <a:lvl5pPr>
              <a:defRPr>
                <a:solidFill>
                  <a:schemeClr val="bg1"/>
                </a:solidFill>
                <a:latin typeface="+mn-lt"/>
              </a:defRPr>
            </a:lvl5pPr>
          </a:lstStyle>
          <a:p>
            <a:pPr lvl="0"/>
            <a:r>
              <a:rPr lang="en-US" dirty="0"/>
              <a:t>PROPOSAL TO [CLIENT] FOR LEGAL SERVICES</a:t>
            </a:r>
            <a:endParaRPr lang="en-GB" dirty="0"/>
          </a:p>
        </p:txBody>
      </p:sp>
      <p:sp>
        <p:nvSpPr>
          <p:cNvPr id="4" name="TextBox 4">
            <a:extLst>
              <a:ext uri="{FF2B5EF4-FFF2-40B4-BE49-F238E27FC236}">
                <a16:creationId xmlns:a16="http://schemas.microsoft.com/office/drawing/2014/main" id="{265B2CA7-EDCD-E4A1-AC81-AB1BF0FA5D17}"/>
              </a:ext>
            </a:extLst>
          </p:cNvPr>
          <p:cNvSpPr txBox="1"/>
          <p:nvPr userDrawn="1"/>
        </p:nvSpPr>
        <p:spPr>
          <a:xfrm>
            <a:off x="12346713" y="2534018"/>
            <a:ext cx="1934437" cy="318548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INSERTING IMAGES:</a:t>
            </a:r>
          </a:p>
          <a:p>
            <a:pPr marL="179388" indent="-179388">
              <a:spcBef>
                <a:spcPts val="200"/>
              </a:spcBef>
              <a:spcAft>
                <a:spcPts val="200"/>
              </a:spcAft>
              <a:buFont typeface="+mj-lt"/>
              <a:buAutoNum type="arabicPeriod"/>
            </a:pPr>
            <a:r>
              <a:rPr lang="en-US" sz="900" dirty="0">
                <a:solidFill>
                  <a:schemeClr val="tx1"/>
                </a:solidFill>
                <a:latin typeface="+mn-lt"/>
              </a:rPr>
              <a:t>Simply click the image placeholder and select your image.</a:t>
            </a:r>
          </a:p>
          <a:p>
            <a:pPr marL="179388" indent="-179388">
              <a:spcBef>
                <a:spcPts val="200"/>
              </a:spcBef>
              <a:spcAft>
                <a:spcPts val="200"/>
              </a:spcAft>
              <a:buFont typeface="+mj-lt"/>
              <a:buAutoNum type="arabicPeriod"/>
            </a:pPr>
            <a:r>
              <a:rPr lang="en-US" sz="900" dirty="0">
                <a:solidFill>
                  <a:schemeClr val="tx1"/>
                </a:solidFill>
                <a:latin typeface="+mn-lt"/>
              </a:rPr>
              <a:t>Once your image is inserted into the shape it may be distorted. (Stretched or Squashed)</a:t>
            </a:r>
          </a:p>
          <a:p>
            <a:pPr marL="179388" indent="-179388">
              <a:spcBef>
                <a:spcPts val="200"/>
              </a:spcBef>
              <a:spcAft>
                <a:spcPts val="200"/>
              </a:spcAft>
              <a:buFont typeface="+mj-lt"/>
              <a:buAutoNum type="arabicPeriod"/>
            </a:pPr>
            <a:endParaRPr lang="en-US" sz="900" dirty="0">
              <a:solidFill>
                <a:schemeClr val="tx1"/>
              </a:solidFill>
              <a:latin typeface="+mn-lt"/>
            </a:endParaRPr>
          </a:p>
          <a:p>
            <a:pPr>
              <a:spcBef>
                <a:spcPts val="200"/>
              </a:spcBef>
              <a:spcAft>
                <a:spcPts val="200"/>
              </a:spcAft>
            </a:pPr>
            <a:r>
              <a:rPr lang="en-US" sz="900" b="1" dirty="0">
                <a:solidFill>
                  <a:schemeClr val="tx1"/>
                </a:solidFill>
                <a:latin typeface="+mn-lt"/>
              </a:rPr>
              <a:t>To fix this:</a:t>
            </a:r>
          </a:p>
          <a:p>
            <a:pPr marL="179388" indent="-179388">
              <a:spcBef>
                <a:spcPts val="200"/>
              </a:spcBef>
              <a:spcAft>
                <a:spcPts val="200"/>
              </a:spcAft>
              <a:buFont typeface="+mj-lt"/>
              <a:buAutoNum type="arabicPeriod"/>
            </a:pPr>
            <a:r>
              <a:rPr lang="en-US" sz="900" dirty="0">
                <a:solidFill>
                  <a:schemeClr val="tx1"/>
                </a:solidFill>
                <a:latin typeface="+mn-lt"/>
              </a:rPr>
              <a:t>Click on the image and from the top menu under </a:t>
            </a:r>
            <a:r>
              <a:rPr lang="en-US" sz="900" b="1" dirty="0">
                <a:solidFill>
                  <a:schemeClr val="tx1"/>
                </a:solidFill>
                <a:latin typeface="+mn-lt"/>
              </a:rPr>
              <a:t>PICTURE FORMAT </a:t>
            </a:r>
            <a:r>
              <a:rPr lang="en-US" sz="900" dirty="0">
                <a:solidFill>
                  <a:schemeClr val="tx1"/>
                </a:solidFill>
                <a:latin typeface="+mn-lt"/>
              </a:rPr>
              <a:t>select the </a:t>
            </a:r>
            <a:r>
              <a:rPr lang="en-US" sz="900" b="1" dirty="0">
                <a:solidFill>
                  <a:schemeClr val="tx1"/>
                </a:solidFill>
                <a:latin typeface="+mn-lt"/>
              </a:rPr>
              <a:t>CROP</a:t>
            </a:r>
            <a:r>
              <a:rPr lang="en-US" sz="900" dirty="0">
                <a:solidFill>
                  <a:schemeClr val="tx1"/>
                </a:solidFill>
                <a:latin typeface="+mn-lt"/>
              </a:rPr>
              <a:t> on the right and from the drop down menu select </a:t>
            </a:r>
            <a:r>
              <a:rPr lang="en-US" sz="900" b="1" kern="1200" dirty="0">
                <a:solidFill>
                  <a:schemeClr val="tx1"/>
                </a:solidFill>
                <a:latin typeface="+mn-lt"/>
                <a:ea typeface="+mn-ea"/>
                <a:cs typeface="+mn-cs"/>
              </a:rPr>
              <a:t>FILL</a:t>
            </a:r>
          </a:p>
          <a:p>
            <a:pPr marL="179388" indent="-179388">
              <a:spcBef>
                <a:spcPts val="200"/>
              </a:spcBef>
              <a:spcAft>
                <a:spcPts val="200"/>
              </a:spcAft>
              <a:buFont typeface="+mj-lt"/>
              <a:buAutoNum type="arabicPeriod"/>
            </a:pPr>
            <a:r>
              <a:rPr lang="en-US" sz="900" b="0" kern="1200" dirty="0">
                <a:solidFill>
                  <a:schemeClr val="tx1"/>
                </a:solidFill>
                <a:latin typeface="+mn-lt"/>
                <a:ea typeface="+mn-ea"/>
                <a:cs typeface="+mn-cs"/>
              </a:rPr>
              <a:t>From here you can move the image within the shape for best visual appearance</a:t>
            </a:r>
          </a:p>
        </p:txBody>
      </p:sp>
      <p:grpSp>
        <p:nvGrpSpPr>
          <p:cNvPr id="10" name="Group 9">
            <a:extLst>
              <a:ext uri="{FF2B5EF4-FFF2-40B4-BE49-F238E27FC236}">
                <a16:creationId xmlns:a16="http://schemas.microsoft.com/office/drawing/2014/main" id="{21C06071-8257-4CA1-13D1-1890AC7A3659}"/>
              </a:ext>
            </a:extLst>
          </p:cNvPr>
          <p:cNvGrpSpPr>
            <a:grpSpLocks noGrp="1" noUngrp="1" noRot="1" noMove="1" noResize="1"/>
          </p:cNvGrpSpPr>
          <p:nvPr userDrawn="1"/>
        </p:nvGrpSpPr>
        <p:grpSpPr>
          <a:xfrm>
            <a:off x="8369358" y="587595"/>
            <a:ext cx="3309461" cy="924107"/>
            <a:chOff x="8369358" y="587595"/>
            <a:chExt cx="3309461" cy="924107"/>
          </a:xfrm>
        </p:grpSpPr>
        <p:sp>
          <p:nvSpPr>
            <p:cNvPr id="102" name="Freeform: Shape 101">
              <a:extLst>
                <a:ext uri="{FF2B5EF4-FFF2-40B4-BE49-F238E27FC236}">
                  <a16:creationId xmlns:a16="http://schemas.microsoft.com/office/drawing/2014/main" id="{E35E8CDD-1F08-6DAF-9B0B-6ABD91680CAE}"/>
                </a:ext>
              </a:extLst>
            </p:cNvPr>
            <p:cNvSpPr>
              <a:spLocks noGrp="1" noRot="1" noMove="1" noResize="1" noEditPoints="1" noAdjustHandles="1" noChangeArrowheads="1" noChangeShapeType="1"/>
            </p:cNvSpPr>
            <p:nvPr userDrawn="1"/>
          </p:nvSpPr>
          <p:spPr>
            <a:xfrm>
              <a:off x="8455232" y="587595"/>
              <a:ext cx="3223587" cy="924107"/>
            </a:xfrm>
            <a:custGeom>
              <a:avLst/>
              <a:gdLst>
                <a:gd name="connsiteX0" fmla="*/ 2761534 w 3223587"/>
                <a:gd name="connsiteY0" fmla="*/ 0 h 924107"/>
                <a:gd name="connsiteX1" fmla="*/ 2299481 w 3223587"/>
                <a:gd name="connsiteY1" fmla="*/ 462054 h 924107"/>
                <a:gd name="connsiteX2" fmla="*/ 2761534 w 3223587"/>
                <a:gd name="connsiteY2" fmla="*/ 924107 h 924107"/>
                <a:gd name="connsiteX3" fmla="*/ 3223588 w 3223587"/>
                <a:gd name="connsiteY3" fmla="*/ 462054 h 924107"/>
                <a:gd name="connsiteX4" fmla="*/ 2761534 w 3223587"/>
                <a:gd name="connsiteY4" fmla="*/ 0 h 924107"/>
                <a:gd name="connsiteX5" fmla="*/ 2387170 w 3223587"/>
                <a:gd name="connsiteY5" fmla="*/ 462054 h 924107"/>
                <a:gd name="connsiteX6" fmla="*/ 2745406 w 3223587"/>
                <a:gd name="connsiteY6" fmla="*/ 88117 h 924107"/>
                <a:gd name="connsiteX7" fmla="*/ 2613925 w 3223587"/>
                <a:gd name="connsiteY7" fmla="*/ 307181 h 924107"/>
                <a:gd name="connsiteX8" fmla="*/ 2738250 w 3223587"/>
                <a:gd name="connsiteY8" fmla="*/ 499330 h 924107"/>
                <a:gd name="connsiteX9" fmla="*/ 2738571 w 3223587"/>
                <a:gd name="connsiteY9" fmla="*/ 499543 h 924107"/>
                <a:gd name="connsiteX10" fmla="*/ 2820813 w 3223587"/>
                <a:gd name="connsiteY10" fmla="*/ 613081 h 924107"/>
                <a:gd name="connsiteX11" fmla="*/ 2650774 w 3223587"/>
                <a:gd name="connsiteY11" fmla="*/ 819755 h 924107"/>
                <a:gd name="connsiteX12" fmla="*/ 2386957 w 3223587"/>
                <a:gd name="connsiteY12" fmla="*/ 462054 h 924107"/>
                <a:gd name="connsiteX13" fmla="*/ 2777556 w 3223587"/>
                <a:gd name="connsiteY13" fmla="*/ 835990 h 924107"/>
                <a:gd name="connsiteX14" fmla="*/ 2908609 w 3223587"/>
                <a:gd name="connsiteY14" fmla="*/ 616071 h 924107"/>
                <a:gd name="connsiteX15" fmla="*/ 2784391 w 3223587"/>
                <a:gd name="connsiteY15" fmla="*/ 424671 h 924107"/>
                <a:gd name="connsiteX16" fmla="*/ 2701615 w 3223587"/>
                <a:gd name="connsiteY16" fmla="*/ 309958 h 924107"/>
                <a:gd name="connsiteX17" fmla="*/ 2872295 w 3223587"/>
                <a:gd name="connsiteY17" fmla="*/ 104459 h 924107"/>
                <a:gd name="connsiteX18" fmla="*/ 3135898 w 3223587"/>
                <a:gd name="connsiteY18" fmla="*/ 462054 h 924107"/>
                <a:gd name="connsiteX19" fmla="*/ 2777662 w 3223587"/>
                <a:gd name="connsiteY19" fmla="*/ 835990 h 924107"/>
                <a:gd name="connsiteX20" fmla="*/ 107 w 3223587"/>
                <a:gd name="connsiteY20" fmla="*/ 405659 h 924107"/>
                <a:gd name="connsiteX21" fmla="*/ 14312 w 3223587"/>
                <a:gd name="connsiteY21" fmla="*/ 374257 h 924107"/>
                <a:gd name="connsiteX22" fmla="*/ 73805 w 3223587"/>
                <a:gd name="connsiteY22" fmla="*/ 393055 h 924107"/>
                <a:gd name="connsiteX23" fmla="*/ 108517 w 3223587"/>
                <a:gd name="connsiteY23" fmla="*/ 373723 h 924107"/>
                <a:gd name="connsiteX24" fmla="*/ 3738 w 3223587"/>
                <a:gd name="connsiteY24" fmla="*/ 296180 h 924107"/>
                <a:gd name="connsiteX25" fmla="*/ 79679 w 3223587"/>
                <a:gd name="connsiteY25" fmla="*/ 239999 h 924107"/>
                <a:gd name="connsiteX26" fmla="*/ 142269 w 3223587"/>
                <a:gd name="connsiteY26" fmla="*/ 255913 h 924107"/>
                <a:gd name="connsiteX27" fmla="*/ 129345 w 3223587"/>
                <a:gd name="connsiteY27" fmla="*/ 287635 h 924107"/>
                <a:gd name="connsiteX28" fmla="*/ 79359 w 3223587"/>
                <a:gd name="connsiteY28" fmla="*/ 273430 h 924107"/>
                <a:gd name="connsiteX29" fmla="*/ 45073 w 3223587"/>
                <a:gd name="connsiteY29" fmla="*/ 294044 h 924107"/>
                <a:gd name="connsiteX30" fmla="*/ 149852 w 3223587"/>
                <a:gd name="connsiteY30" fmla="*/ 370519 h 924107"/>
                <a:gd name="connsiteX31" fmla="*/ 73377 w 3223587"/>
                <a:gd name="connsiteY31" fmla="*/ 426380 h 924107"/>
                <a:gd name="connsiteX32" fmla="*/ 0 w 3223587"/>
                <a:gd name="connsiteY32" fmla="*/ 405552 h 924107"/>
                <a:gd name="connsiteX33" fmla="*/ 172496 w 3223587"/>
                <a:gd name="connsiteY33" fmla="*/ 344137 h 924107"/>
                <a:gd name="connsiteX34" fmla="*/ 172496 w 3223587"/>
                <a:gd name="connsiteY34" fmla="*/ 243203 h 924107"/>
                <a:gd name="connsiteX35" fmla="*/ 214258 w 3223587"/>
                <a:gd name="connsiteY35" fmla="*/ 243203 h 924107"/>
                <a:gd name="connsiteX36" fmla="*/ 214258 w 3223587"/>
                <a:gd name="connsiteY36" fmla="*/ 342642 h 924107"/>
                <a:gd name="connsiteX37" fmla="*/ 254418 w 3223587"/>
                <a:gd name="connsiteY37" fmla="*/ 391026 h 924107"/>
                <a:gd name="connsiteX38" fmla="*/ 294578 w 3223587"/>
                <a:gd name="connsiteY38" fmla="*/ 342642 h 924107"/>
                <a:gd name="connsiteX39" fmla="*/ 294578 w 3223587"/>
                <a:gd name="connsiteY39" fmla="*/ 243203 h 924107"/>
                <a:gd name="connsiteX40" fmla="*/ 335806 w 3223587"/>
                <a:gd name="connsiteY40" fmla="*/ 243203 h 924107"/>
                <a:gd name="connsiteX41" fmla="*/ 335806 w 3223587"/>
                <a:gd name="connsiteY41" fmla="*/ 344137 h 924107"/>
                <a:gd name="connsiteX42" fmla="*/ 254204 w 3223587"/>
                <a:gd name="connsiteY42" fmla="*/ 426593 h 924107"/>
                <a:gd name="connsiteX43" fmla="*/ 172603 w 3223587"/>
                <a:gd name="connsiteY43" fmla="*/ 344137 h 924107"/>
                <a:gd name="connsiteX44" fmla="*/ 358449 w 3223587"/>
                <a:gd name="connsiteY44" fmla="*/ 405659 h 924107"/>
                <a:gd name="connsiteX45" fmla="*/ 372655 w 3223587"/>
                <a:gd name="connsiteY45" fmla="*/ 374257 h 924107"/>
                <a:gd name="connsiteX46" fmla="*/ 432147 w 3223587"/>
                <a:gd name="connsiteY46" fmla="*/ 393055 h 924107"/>
                <a:gd name="connsiteX47" fmla="*/ 466860 w 3223587"/>
                <a:gd name="connsiteY47" fmla="*/ 373723 h 924107"/>
                <a:gd name="connsiteX48" fmla="*/ 362081 w 3223587"/>
                <a:gd name="connsiteY48" fmla="*/ 296180 h 924107"/>
                <a:gd name="connsiteX49" fmla="*/ 438022 w 3223587"/>
                <a:gd name="connsiteY49" fmla="*/ 239999 h 924107"/>
                <a:gd name="connsiteX50" fmla="*/ 500612 w 3223587"/>
                <a:gd name="connsiteY50" fmla="*/ 255913 h 924107"/>
                <a:gd name="connsiteX51" fmla="*/ 487688 w 3223587"/>
                <a:gd name="connsiteY51" fmla="*/ 287635 h 924107"/>
                <a:gd name="connsiteX52" fmla="*/ 437701 w 3223587"/>
                <a:gd name="connsiteY52" fmla="*/ 273430 h 924107"/>
                <a:gd name="connsiteX53" fmla="*/ 403416 w 3223587"/>
                <a:gd name="connsiteY53" fmla="*/ 294044 h 924107"/>
                <a:gd name="connsiteX54" fmla="*/ 508195 w 3223587"/>
                <a:gd name="connsiteY54" fmla="*/ 370519 h 924107"/>
                <a:gd name="connsiteX55" fmla="*/ 431720 w 3223587"/>
                <a:gd name="connsiteY55" fmla="*/ 426380 h 924107"/>
                <a:gd name="connsiteX56" fmla="*/ 358343 w 3223587"/>
                <a:gd name="connsiteY56" fmla="*/ 405552 h 924107"/>
                <a:gd name="connsiteX57" fmla="*/ 571853 w 3223587"/>
                <a:gd name="connsiteY57" fmla="*/ 277168 h 924107"/>
                <a:gd name="connsiteX58" fmla="*/ 514176 w 3223587"/>
                <a:gd name="connsiteY58" fmla="*/ 277168 h 924107"/>
                <a:gd name="connsiteX59" fmla="*/ 514176 w 3223587"/>
                <a:gd name="connsiteY59" fmla="*/ 243203 h 924107"/>
                <a:gd name="connsiteX60" fmla="*/ 671292 w 3223587"/>
                <a:gd name="connsiteY60" fmla="*/ 243203 h 924107"/>
                <a:gd name="connsiteX61" fmla="*/ 671292 w 3223587"/>
                <a:gd name="connsiteY61" fmla="*/ 277168 h 924107"/>
                <a:gd name="connsiteX62" fmla="*/ 613615 w 3223587"/>
                <a:gd name="connsiteY62" fmla="*/ 277168 h 924107"/>
                <a:gd name="connsiteX63" fmla="*/ 613615 w 3223587"/>
                <a:gd name="connsiteY63" fmla="*/ 423389 h 924107"/>
                <a:gd name="connsiteX64" fmla="*/ 571853 w 3223587"/>
                <a:gd name="connsiteY64" fmla="*/ 423389 h 924107"/>
                <a:gd name="connsiteX65" fmla="*/ 571853 w 3223587"/>
                <a:gd name="connsiteY65" fmla="*/ 277168 h 924107"/>
                <a:gd name="connsiteX66" fmla="*/ 787606 w 3223587"/>
                <a:gd name="connsiteY66" fmla="*/ 384831 h 924107"/>
                <a:gd name="connsiteX67" fmla="*/ 703868 w 3223587"/>
                <a:gd name="connsiteY67" fmla="*/ 384831 h 924107"/>
                <a:gd name="connsiteX68" fmla="*/ 687954 w 3223587"/>
                <a:gd name="connsiteY68" fmla="*/ 423496 h 924107"/>
                <a:gd name="connsiteX69" fmla="*/ 645230 w 3223587"/>
                <a:gd name="connsiteY69" fmla="*/ 423496 h 924107"/>
                <a:gd name="connsiteX70" fmla="*/ 725550 w 3223587"/>
                <a:gd name="connsiteY70" fmla="*/ 243203 h 924107"/>
                <a:gd name="connsiteX71" fmla="*/ 766778 w 3223587"/>
                <a:gd name="connsiteY71" fmla="*/ 243203 h 924107"/>
                <a:gd name="connsiteX72" fmla="*/ 847419 w 3223587"/>
                <a:gd name="connsiteY72" fmla="*/ 423496 h 924107"/>
                <a:gd name="connsiteX73" fmla="*/ 803627 w 3223587"/>
                <a:gd name="connsiteY73" fmla="*/ 423496 h 924107"/>
                <a:gd name="connsiteX74" fmla="*/ 787713 w 3223587"/>
                <a:gd name="connsiteY74" fmla="*/ 384831 h 924107"/>
                <a:gd name="connsiteX75" fmla="*/ 774469 w 3223587"/>
                <a:gd name="connsiteY75" fmla="*/ 353109 h 924107"/>
                <a:gd name="connsiteX76" fmla="*/ 745844 w 3223587"/>
                <a:gd name="connsiteY76" fmla="*/ 284111 h 924107"/>
                <a:gd name="connsiteX77" fmla="*/ 717219 w 3223587"/>
                <a:gd name="connsiteY77" fmla="*/ 353109 h 924107"/>
                <a:gd name="connsiteX78" fmla="*/ 774362 w 3223587"/>
                <a:gd name="connsiteY78" fmla="*/ 353109 h 924107"/>
                <a:gd name="connsiteX79" fmla="*/ 862372 w 3223587"/>
                <a:gd name="connsiteY79" fmla="*/ 243203 h 924107"/>
                <a:gd name="connsiteX80" fmla="*/ 904134 w 3223587"/>
                <a:gd name="connsiteY80" fmla="*/ 243203 h 924107"/>
                <a:gd name="connsiteX81" fmla="*/ 904134 w 3223587"/>
                <a:gd name="connsiteY81" fmla="*/ 423496 h 924107"/>
                <a:gd name="connsiteX82" fmla="*/ 862372 w 3223587"/>
                <a:gd name="connsiteY82" fmla="*/ 423496 h 924107"/>
                <a:gd name="connsiteX83" fmla="*/ 862372 w 3223587"/>
                <a:gd name="connsiteY83" fmla="*/ 243096 h 924107"/>
                <a:gd name="connsiteX84" fmla="*/ 1107284 w 3223587"/>
                <a:gd name="connsiteY84" fmla="*/ 243203 h 924107"/>
                <a:gd name="connsiteX85" fmla="*/ 1107284 w 3223587"/>
                <a:gd name="connsiteY85" fmla="*/ 423496 h 924107"/>
                <a:gd name="connsiteX86" fmla="*/ 1072998 w 3223587"/>
                <a:gd name="connsiteY86" fmla="*/ 423496 h 924107"/>
                <a:gd name="connsiteX87" fmla="*/ 983172 w 3223587"/>
                <a:gd name="connsiteY87" fmla="*/ 314017 h 924107"/>
                <a:gd name="connsiteX88" fmla="*/ 983172 w 3223587"/>
                <a:gd name="connsiteY88" fmla="*/ 423496 h 924107"/>
                <a:gd name="connsiteX89" fmla="*/ 941944 w 3223587"/>
                <a:gd name="connsiteY89" fmla="*/ 423496 h 924107"/>
                <a:gd name="connsiteX90" fmla="*/ 941944 w 3223587"/>
                <a:gd name="connsiteY90" fmla="*/ 243096 h 924107"/>
                <a:gd name="connsiteX91" fmla="*/ 976443 w 3223587"/>
                <a:gd name="connsiteY91" fmla="*/ 243096 h 924107"/>
                <a:gd name="connsiteX92" fmla="*/ 1066056 w 3223587"/>
                <a:gd name="connsiteY92" fmla="*/ 352575 h 924107"/>
                <a:gd name="connsiteX93" fmla="*/ 1066056 w 3223587"/>
                <a:gd name="connsiteY93" fmla="*/ 243096 h 924107"/>
                <a:gd name="connsiteX94" fmla="*/ 1107284 w 3223587"/>
                <a:gd name="connsiteY94" fmla="*/ 243096 h 924107"/>
                <a:gd name="connsiteX95" fmla="*/ 1265040 w 3223587"/>
                <a:gd name="connsiteY95" fmla="*/ 384831 h 924107"/>
                <a:gd name="connsiteX96" fmla="*/ 1181302 w 3223587"/>
                <a:gd name="connsiteY96" fmla="*/ 384831 h 924107"/>
                <a:gd name="connsiteX97" fmla="*/ 1165388 w 3223587"/>
                <a:gd name="connsiteY97" fmla="*/ 423496 h 924107"/>
                <a:gd name="connsiteX98" fmla="*/ 1122664 w 3223587"/>
                <a:gd name="connsiteY98" fmla="*/ 423496 h 924107"/>
                <a:gd name="connsiteX99" fmla="*/ 1202984 w 3223587"/>
                <a:gd name="connsiteY99" fmla="*/ 243203 h 924107"/>
                <a:gd name="connsiteX100" fmla="*/ 1244212 w 3223587"/>
                <a:gd name="connsiteY100" fmla="*/ 243203 h 924107"/>
                <a:gd name="connsiteX101" fmla="*/ 1324853 w 3223587"/>
                <a:gd name="connsiteY101" fmla="*/ 423496 h 924107"/>
                <a:gd name="connsiteX102" fmla="*/ 1281061 w 3223587"/>
                <a:gd name="connsiteY102" fmla="*/ 423496 h 924107"/>
                <a:gd name="connsiteX103" fmla="*/ 1265147 w 3223587"/>
                <a:gd name="connsiteY103" fmla="*/ 384831 h 924107"/>
                <a:gd name="connsiteX104" fmla="*/ 1251903 w 3223587"/>
                <a:gd name="connsiteY104" fmla="*/ 353109 h 924107"/>
                <a:gd name="connsiteX105" fmla="*/ 1223278 w 3223587"/>
                <a:gd name="connsiteY105" fmla="*/ 284111 h 924107"/>
                <a:gd name="connsiteX106" fmla="*/ 1194653 w 3223587"/>
                <a:gd name="connsiteY106" fmla="*/ 353109 h 924107"/>
                <a:gd name="connsiteX107" fmla="*/ 1251796 w 3223587"/>
                <a:gd name="connsiteY107" fmla="*/ 353109 h 924107"/>
                <a:gd name="connsiteX108" fmla="*/ 1505146 w 3223587"/>
                <a:gd name="connsiteY108" fmla="*/ 374257 h 924107"/>
                <a:gd name="connsiteX109" fmla="*/ 1433050 w 3223587"/>
                <a:gd name="connsiteY109" fmla="*/ 423389 h 924107"/>
                <a:gd name="connsiteX110" fmla="*/ 1339806 w 3223587"/>
                <a:gd name="connsiteY110" fmla="*/ 423389 h 924107"/>
                <a:gd name="connsiteX111" fmla="*/ 1339806 w 3223587"/>
                <a:gd name="connsiteY111" fmla="*/ 243096 h 924107"/>
                <a:gd name="connsiteX112" fmla="*/ 1427923 w 3223587"/>
                <a:gd name="connsiteY112" fmla="*/ 243096 h 924107"/>
                <a:gd name="connsiteX113" fmla="*/ 1496174 w 3223587"/>
                <a:gd name="connsiteY113" fmla="*/ 289985 h 924107"/>
                <a:gd name="connsiteX114" fmla="*/ 1472249 w 3223587"/>
                <a:gd name="connsiteY114" fmla="*/ 329611 h 924107"/>
                <a:gd name="connsiteX115" fmla="*/ 1505252 w 3223587"/>
                <a:gd name="connsiteY115" fmla="*/ 374150 h 924107"/>
                <a:gd name="connsiteX116" fmla="*/ 1381248 w 3223587"/>
                <a:gd name="connsiteY116" fmla="*/ 274605 h 924107"/>
                <a:gd name="connsiteX117" fmla="*/ 1381248 w 3223587"/>
                <a:gd name="connsiteY117" fmla="*/ 317114 h 924107"/>
                <a:gd name="connsiteX118" fmla="*/ 1422690 w 3223587"/>
                <a:gd name="connsiteY118" fmla="*/ 317114 h 924107"/>
                <a:gd name="connsiteX119" fmla="*/ 1454091 w 3223587"/>
                <a:gd name="connsiteY119" fmla="*/ 295753 h 924107"/>
                <a:gd name="connsiteX120" fmla="*/ 1422690 w 3223587"/>
                <a:gd name="connsiteY120" fmla="*/ 274605 h 924107"/>
                <a:gd name="connsiteX121" fmla="*/ 1381248 w 3223587"/>
                <a:gd name="connsiteY121" fmla="*/ 274605 h 924107"/>
                <a:gd name="connsiteX122" fmla="*/ 1463170 w 3223587"/>
                <a:gd name="connsiteY122" fmla="*/ 369878 h 924107"/>
                <a:gd name="connsiteX123" fmla="*/ 1429952 w 3223587"/>
                <a:gd name="connsiteY123" fmla="*/ 347448 h 924107"/>
                <a:gd name="connsiteX124" fmla="*/ 1381248 w 3223587"/>
                <a:gd name="connsiteY124" fmla="*/ 347448 h 924107"/>
                <a:gd name="connsiteX125" fmla="*/ 1381248 w 3223587"/>
                <a:gd name="connsiteY125" fmla="*/ 391987 h 924107"/>
                <a:gd name="connsiteX126" fmla="*/ 1429952 w 3223587"/>
                <a:gd name="connsiteY126" fmla="*/ 391987 h 924107"/>
                <a:gd name="connsiteX127" fmla="*/ 1463170 w 3223587"/>
                <a:gd name="connsiteY127" fmla="*/ 369878 h 924107"/>
                <a:gd name="connsiteX128" fmla="*/ 1533450 w 3223587"/>
                <a:gd name="connsiteY128" fmla="*/ 243203 h 924107"/>
                <a:gd name="connsiteX129" fmla="*/ 1575212 w 3223587"/>
                <a:gd name="connsiteY129" fmla="*/ 243203 h 924107"/>
                <a:gd name="connsiteX130" fmla="*/ 1575212 w 3223587"/>
                <a:gd name="connsiteY130" fmla="*/ 423496 h 924107"/>
                <a:gd name="connsiteX131" fmla="*/ 1533450 w 3223587"/>
                <a:gd name="connsiteY131" fmla="*/ 423496 h 924107"/>
                <a:gd name="connsiteX132" fmla="*/ 1533450 w 3223587"/>
                <a:gd name="connsiteY132" fmla="*/ 243096 h 924107"/>
                <a:gd name="connsiteX133" fmla="*/ 1613022 w 3223587"/>
                <a:gd name="connsiteY133" fmla="*/ 243203 h 924107"/>
                <a:gd name="connsiteX134" fmla="*/ 1654784 w 3223587"/>
                <a:gd name="connsiteY134" fmla="*/ 243203 h 924107"/>
                <a:gd name="connsiteX135" fmla="*/ 1654784 w 3223587"/>
                <a:gd name="connsiteY135" fmla="*/ 389424 h 924107"/>
                <a:gd name="connsiteX136" fmla="*/ 1745144 w 3223587"/>
                <a:gd name="connsiteY136" fmla="*/ 389424 h 924107"/>
                <a:gd name="connsiteX137" fmla="*/ 1745144 w 3223587"/>
                <a:gd name="connsiteY137" fmla="*/ 423389 h 924107"/>
                <a:gd name="connsiteX138" fmla="*/ 1613022 w 3223587"/>
                <a:gd name="connsiteY138" fmla="*/ 423389 h 924107"/>
                <a:gd name="connsiteX139" fmla="*/ 1613022 w 3223587"/>
                <a:gd name="connsiteY139" fmla="*/ 243096 h 924107"/>
                <a:gd name="connsiteX140" fmla="*/ 1762127 w 3223587"/>
                <a:gd name="connsiteY140" fmla="*/ 243203 h 924107"/>
                <a:gd name="connsiteX141" fmla="*/ 1803889 w 3223587"/>
                <a:gd name="connsiteY141" fmla="*/ 243203 h 924107"/>
                <a:gd name="connsiteX142" fmla="*/ 1803889 w 3223587"/>
                <a:gd name="connsiteY142" fmla="*/ 423496 h 924107"/>
                <a:gd name="connsiteX143" fmla="*/ 1762127 w 3223587"/>
                <a:gd name="connsiteY143" fmla="*/ 423496 h 924107"/>
                <a:gd name="connsiteX144" fmla="*/ 1762127 w 3223587"/>
                <a:gd name="connsiteY144" fmla="*/ 243096 h 924107"/>
                <a:gd name="connsiteX145" fmla="*/ 1877587 w 3223587"/>
                <a:gd name="connsiteY145" fmla="*/ 277168 h 924107"/>
                <a:gd name="connsiteX146" fmla="*/ 1819910 w 3223587"/>
                <a:gd name="connsiteY146" fmla="*/ 277168 h 924107"/>
                <a:gd name="connsiteX147" fmla="*/ 1819910 w 3223587"/>
                <a:gd name="connsiteY147" fmla="*/ 243203 h 924107"/>
                <a:gd name="connsiteX148" fmla="*/ 1977026 w 3223587"/>
                <a:gd name="connsiteY148" fmla="*/ 243203 h 924107"/>
                <a:gd name="connsiteX149" fmla="*/ 1977026 w 3223587"/>
                <a:gd name="connsiteY149" fmla="*/ 277168 h 924107"/>
                <a:gd name="connsiteX150" fmla="*/ 1919349 w 3223587"/>
                <a:gd name="connsiteY150" fmla="*/ 277168 h 924107"/>
                <a:gd name="connsiteX151" fmla="*/ 1919349 w 3223587"/>
                <a:gd name="connsiteY151" fmla="*/ 423389 h 924107"/>
                <a:gd name="connsiteX152" fmla="*/ 1877587 w 3223587"/>
                <a:gd name="connsiteY152" fmla="*/ 423389 h 924107"/>
                <a:gd name="connsiteX153" fmla="*/ 1877587 w 3223587"/>
                <a:gd name="connsiteY153" fmla="*/ 277168 h 924107"/>
                <a:gd name="connsiteX154" fmla="*/ 2093874 w 3223587"/>
                <a:gd name="connsiteY154" fmla="*/ 359624 h 924107"/>
                <a:gd name="connsiteX155" fmla="*/ 2093874 w 3223587"/>
                <a:gd name="connsiteY155" fmla="*/ 423496 h 924107"/>
                <a:gd name="connsiteX156" fmla="*/ 2052112 w 3223587"/>
                <a:gd name="connsiteY156" fmla="*/ 423496 h 924107"/>
                <a:gd name="connsiteX157" fmla="*/ 2052112 w 3223587"/>
                <a:gd name="connsiteY157" fmla="*/ 359090 h 924107"/>
                <a:gd name="connsiteX158" fmla="*/ 1982366 w 3223587"/>
                <a:gd name="connsiteY158" fmla="*/ 243203 h 924107"/>
                <a:gd name="connsiteX159" fmla="*/ 2026692 w 3223587"/>
                <a:gd name="connsiteY159" fmla="*/ 243203 h 924107"/>
                <a:gd name="connsiteX160" fmla="*/ 2074862 w 3223587"/>
                <a:gd name="connsiteY160" fmla="*/ 323309 h 924107"/>
                <a:gd name="connsiteX161" fmla="*/ 2123033 w 3223587"/>
                <a:gd name="connsiteY161" fmla="*/ 243203 h 924107"/>
                <a:gd name="connsiteX162" fmla="*/ 2163941 w 3223587"/>
                <a:gd name="connsiteY162" fmla="*/ 243203 h 924107"/>
                <a:gd name="connsiteX163" fmla="*/ 2093874 w 3223587"/>
                <a:gd name="connsiteY163" fmla="*/ 359624 h 924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Lst>
              <a:rect l="l" t="t" r="r" b="b"/>
              <a:pathLst>
                <a:path w="3223587" h="924107">
                  <a:moveTo>
                    <a:pt x="2761534" y="0"/>
                  </a:moveTo>
                  <a:cubicBezTo>
                    <a:pt x="2506796" y="0"/>
                    <a:pt x="2299481" y="207315"/>
                    <a:pt x="2299481" y="462054"/>
                  </a:cubicBezTo>
                  <a:cubicBezTo>
                    <a:pt x="2299481" y="716792"/>
                    <a:pt x="2506796" y="924107"/>
                    <a:pt x="2761534" y="924107"/>
                  </a:cubicBezTo>
                  <a:cubicBezTo>
                    <a:pt x="3016273" y="924107"/>
                    <a:pt x="3223588" y="716792"/>
                    <a:pt x="3223588" y="462054"/>
                  </a:cubicBezTo>
                  <a:cubicBezTo>
                    <a:pt x="3223588" y="207315"/>
                    <a:pt x="3016273" y="0"/>
                    <a:pt x="2761534" y="0"/>
                  </a:cubicBezTo>
                  <a:close/>
                  <a:moveTo>
                    <a:pt x="2387170" y="462054"/>
                  </a:moveTo>
                  <a:cubicBezTo>
                    <a:pt x="2387170" y="261040"/>
                    <a:pt x="2546422" y="96555"/>
                    <a:pt x="2745406" y="88117"/>
                  </a:cubicBezTo>
                  <a:cubicBezTo>
                    <a:pt x="2679826" y="143871"/>
                    <a:pt x="2616702" y="221734"/>
                    <a:pt x="2613925" y="307181"/>
                  </a:cubicBezTo>
                  <a:cubicBezTo>
                    <a:pt x="2610934" y="400318"/>
                    <a:pt x="2679933" y="463122"/>
                    <a:pt x="2738250" y="499330"/>
                  </a:cubicBezTo>
                  <a:lnTo>
                    <a:pt x="2738571" y="499543"/>
                  </a:lnTo>
                  <a:cubicBezTo>
                    <a:pt x="2795286" y="534043"/>
                    <a:pt x="2822201" y="571212"/>
                    <a:pt x="2820813" y="613081"/>
                  </a:cubicBezTo>
                  <a:cubicBezTo>
                    <a:pt x="2818250" y="690303"/>
                    <a:pt x="2722763" y="777673"/>
                    <a:pt x="2650774" y="819755"/>
                  </a:cubicBezTo>
                  <a:cubicBezTo>
                    <a:pt x="2498144" y="772546"/>
                    <a:pt x="2386957" y="630063"/>
                    <a:pt x="2386957" y="462054"/>
                  </a:cubicBezTo>
                  <a:close/>
                  <a:moveTo>
                    <a:pt x="2777556" y="835990"/>
                  </a:moveTo>
                  <a:cubicBezTo>
                    <a:pt x="2841107" y="781732"/>
                    <a:pt x="2905619" y="703868"/>
                    <a:pt x="2908609" y="616071"/>
                  </a:cubicBezTo>
                  <a:cubicBezTo>
                    <a:pt x="2911814" y="522294"/>
                    <a:pt x="2842922" y="460238"/>
                    <a:pt x="2784391" y="424671"/>
                  </a:cubicBezTo>
                  <a:cubicBezTo>
                    <a:pt x="2728103" y="389744"/>
                    <a:pt x="2700226" y="351080"/>
                    <a:pt x="2701615" y="309958"/>
                  </a:cubicBezTo>
                  <a:cubicBezTo>
                    <a:pt x="2704071" y="234658"/>
                    <a:pt x="2798276" y="148357"/>
                    <a:pt x="2872295" y="104459"/>
                  </a:cubicBezTo>
                  <a:cubicBezTo>
                    <a:pt x="3024817" y="151775"/>
                    <a:pt x="3135898" y="294151"/>
                    <a:pt x="3135898" y="462054"/>
                  </a:cubicBezTo>
                  <a:cubicBezTo>
                    <a:pt x="3135898" y="663067"/>
                    <a:pt x="2976647" y="827552"/>
                    <a:pt x="2777662" y="835990"/>
                  </a:cubicBezTo>
                  <a:close/>
                  <a:moveTo>
                    <a:pt x="107" y="405659"/>
                  </a:moveTo>
                  <a:lnTo>
                    <a:pt x="14312" y="374257"/>
                  </a:lnTo>
                  <a:cubicBezTo>
                    <a:pt x="29479" y="385365"/>
                    <a:pt x="52123" y="393055"/>
                    <a:pt x="73805" y="393055"/>
                  </a:cubicBezTo>
                  <a:cubicBezTo>
                    <a:pt x="98477" y="393055"/>
                    <a:pt x="108517" y="384831"/>
                    <a:pt x="108517" y="373723"/>
                  </a:cubicBezTo>
                  <a:cubicBezTo>
                    <a:pt x="108517" y="339971"/>
                    <a:pt x="3738" y="363149"/>
                    <a:pt x="3738" y="296180"/>
                  </a:cubicBezTo>
                  <a:cubicBezTo>
                    <a:pt x="3738" y="265526"/>
                    <a:pt x="28411" y="239999"/>
                    <a:pt x="79679" y="239999"/>
                  </a:cubicBezTo>
                  <a:cubicBezTo>
                    <a:pt x="102323" y="239999"/>
                    <a:pt x="125500" y="245446"/>
                    <a:pt x="142269" y="255913"/>
                  </a:cubicBezTo>
                  <a:lnTo>
                    <a:pt x="129345" y="287635"/>
                  </a:lnTo>
                  <a:cubicBezTo>
                    <a:pt x="112576" y="278129"/>
                    <a:pt x="95380" y="273430"/>
                    <a:pt x="79359" y="273430"/>
                  </a:cubicBezTo>
                  <a:cubicBezTo>
                    <a:pt x="54686" y="273430"/>
                    <a:pt x="45073" y="282722"/>
                    <a:pt x="45073" y="294044"/>
                  </a:cubicBezTo>
                  <a:cubicBezTo>
                    <a:pt x="45073" y="327261"/>
                    <a:pt x="149852" y="304297"/>
                    <a:pt x="149852" y="370519"/>
                  </a:cubicBezTo>
                  <a:cubicBezTo>
                    <a:pt x="149852" y="400639"/>
                    <a:pt x="124859" y="426380"/>
                    <a:pt x="73377" y="426380"/>
                  </a:cubicBezTo>
                  <a:cubicBezTo>
                    <a:pt x="44753" y="426380"/>
                    <a:pt x="15914" y="417835"/>
                    <a:pt x="0" y="405552"/>
                  </a:cubicBezTo>
                  <a:close/>
                  <a:moveTo>
                    <a:pt x="172496" y="344137"/>
                  </a:moveTo>
                  <a:lnTo>
                    <a:pt x="172496" y="243203"/>
                  </a:lnTo>
                  <a:lnTo>
                    <a:pt x="214258" y="243203"/>
                  </a:lnTo>
                  <a:lnTo>
                    <a:pt x="214258" y="342642"/>
                  </a:lnTo>
                  <a:cubicBezTo>
                    <a:pt x="214258" y="376927"/>
                    <a:pt x="229211" y="391026"/>
                    <a:pt x="254418" y="391026"/>
                  </a:cubicBezTo>
                  <a:cubicBezTo>
                    <a:pt x="279625" y="391026"/>
                    <a:pt x="294578" y="376820"/>
                    <a:pt x="294578" y="342642"/>
                  </a:cubicBezTo>
                  <a:lnTo>
                    <a:pt x="294578" y="243203"/>
                  </a:lnTo>
                  <a:lnTo>
                    <a:pt x="335806" y="243203"/>
                  </a:lnTo>
                  <a:lnTo>
                    <a:pt x="335806" y="344137"/>
                  </a:lnTo>
                  <a:cubicBezTo>
                    <a:pt x="335806" y="397221"/>
                    <a:pt x="305472" y="426593"/>
                    <a:pt x="254204" y="426593"/>
                  </a:cubicBezTo>
                  <a:cubicBezTo>
                    <a:pt x="202936" y="426593"/>
                    <a:pt x="172603" y="397221"/>
                    <a:pt x="172603" y="344137"/>
                  </a:cubicBezTo>
                  <a:close/>
                  <a:moveTo>
                    <a:pt x="358449" y="405659"/>
                  </a:moveTo>
                  <a:lnTo>
                    <a:pt x="372655" y="374257"/>
                  </a:lnTo>
                  <a:cubicBezTo>
                    <a:pt x="387822" y="385365"/>
                    <a:pt x="410465" y="393055"/>
                    <a:pt x="432147" y="393055"/>
                  </a:cubicBezTo>
                  <a:cubicBezTo>
                    <a:pt x="456820" y="393055"/>
                    <a:pt x="466860" y="384831"/>
                    <a:pt x="466860" y="373723"/>
                  </a:cubicBezTo>
                  <a:cubicBezTo>
                    <a:pt x="466860" y="339971"/>
                    <a:pt x="362081" y="363149"/>
                    <a:pt x="362081" y="296180"/>
                  </a:cubicBezTo>
                  <a:cubicBezTo>
                    <a:pt x="362081" y="265526"/>
                    <a:pt x="386754" y="239999"/>
                    <a:pt x="438022" y="239999"/>
                  </a:cubicBezTo>
                  <a:cubicBezTo>
                    <a:pt x="460665" y="239999"/>
                    <a:pt x="483843" y="245446"/>
                    <a:pt x="500612" y="255913"/>
                  </a:cubicBezTo>
                  <a:lnTo>
                    <a:pt x="487688" y="287635"/>
                  </a:lnTo>
                  <a:cubicBezTo>
                    <a:pt x="470919" y="278129"/>
                    <a:pt x="453723" y="273430"/>
                    <a:pt x="437701" y="273430"/>
                  </a:cubicBezTo>
                  <a:cubicBezTo>
                    <a:pt x="413029" y="273430"/>
                    <a:pt x="403416" y="282722"/>
                    <a:pt x="403416" y="294044"/>
                  </a:cubicBezTo>
                  <a:cubicBezTo>
                    <a:pt x="403416" y="327261"/>
                    <a:pt x="508195" y="304297"/>
                    <a:pt x="508195" y="370519"/>
                  </a:cubicBezTo>
                  <a:cubicBezTo>
                    <a:pt x="508195" y="400639"/>
                    <a:pt x="483202" y="426380"/>
                    <a:pt x="431720" y="426380"/>
                  </a:cubicBezTo>
                  <a:cubicBezTo>
                    <a:pt x="403095" y="426380"/>
                    <a:pt x="374257" y="417835"/>
                    <a:pt x="358343" y="405552"/>
                  </a:cubicBezTo>
                  <a:close/>
                  <a:moveTo>
                    <a:pt x="571853" y="277168"/>
                  </a:moveTo>
                  <a:lnTo>
                    <a:pt x="514176" y="277168"/>
                  </a:lnTo>
                  <a:lnTo>
                    <a:pt x="514176" y="243203"/>
                  </a:lnTo>
                  <a:lnTo>
                    <a:pt x="671292" y="243203"/>
                  </a:lnTo>
                  <a:lnTo>
                    <a:pt x="671292" y="277168"/>
                  </a:lnTo>
                  <a:lnTo>
                    <a:pt x="613615" y="277168"/>
                  </a:lnTo>
                  <a:lnTo>
                    <a:pt x="613615" y="423389"/>
                  </a:lnTo>
                  <a:lnTo>
                    <a:pt x="571853" y="423389"/>
                  </a:lnTo>
                  <a:lnTo>
                    <a:pt x="571853" y="277168"/>
                  </a:lnTo>
                  <a:close/>
                  <a:moveTo>
                    <a:pt x="787606" y="384831"/>
                  </a:moveTo>
                  <a:lnTo>
                    <a:pt x="703868" y="384831"/>
                  </a:lnTo>
                  <a:lnTo>
                    <a:pt x="687954" y="423496"/>
                  </a:lnTo>
                  <a:lnTo>
                    <a:pt x="645230" y="423496"/>
                  </a:lnTo>
                  <a:lnTo>
                    <a:pt x="725550" y="243203"/>
                  </a:lnTo>
                  <a:lnTo>
                    <a:pt x="766778" y="243203"/>
                  </a:lnTo>
                  <a:lnTo>
                    <a:pt x="847419" y="423496"/>
                  </a:lnTo>
                  <a:lnTo>
                    <a:pt x="803627" y="423496"/>
                  </a:lnTo>
                  <a:lnTo>
                    <a:pt x="787713" y="384831"/>
                  </a:lnTo>
                  <a:close/>
                  <a:moveTo>
                    <a:pt x="774469" y="353109"/>
                  </a:moveTo>
                  <a:lnTo>
                    <a:pt x="745844" y="284111"/>
                  </a:lnTo>
                  <a:lnTo>
                    <a:pt x="717219" y="353109"/>
                  </a:lnTo>
                  <a:lnTo>
                    <a:pt x="774362" y="353109"/>
                  </a:lnTo>
                  <a:close/>
                  <a:moveTo>
                    <a:pt x="862372" y="243203"/>
                  </a:moveTo>
                  <a:lnTo>
                    <a:pt x="904134" y="243203"/>
                  </a:lnTo>
                  <a:lnTo>
                    <a:pt x="904134" y="423496"/>
                  </a:lnTo>
                  <a:lnTo>
                    <a:pt x="862372" y="423496"/>
                  </a:lnTo>
                  <a:lnTo>
                    <a:pt x="862372" y="243096"/>
                  </a:lnTo>
                  <a:close/>
                  <a:moveTo>
                    <a:pt x="1107284" y="243203"/>
                  </a:moveTo>
                  <a:lnTo>
                    <a:pt x="1107284" y="423496"/>
                  </a:lnTo>
                  <a:lnTo>
                    <a:pt x="1072998" y="423496"/>
                  </a:lnTo>
                  <a:lnTo>
                    <a:pt x="983172" y="314017"/>
                  </a:lnTo>
                  <a:lnTo>
                    <a:pt x="983172" y="423496"/>
                  </a:lnTo>
                  <a:lnTo>
                    <a:pt x="941944" y="423496"/>
                  </a:lnTo>
                  <a:lnTo>
                    <a:pt x="941944" y="243096"/>
                  </a:lnTo>
                  <a:lnTo>
                    <a:pt x="976443" y="243096"/>
                  </a:lnTo>
                  <a:lnTo>
                    <a:pt x="1066056" y="352575"/>
                  </a:lnTo>
                  <a:lnTo>
                    <a:pt x="1066056" y="243096"/>
                  </a:lnTo>
                  <a:lnTo>
                    <a:pt x="1107284" y="243096"/>
                  </a:lnTo>
                  <a:close/>
                  <a:moveTo>
                    <a:pt x="1265040" y="384831"/>
                  </a:moveTo>
                  <a:lnTo>
                    <a:pt x="1181302" y="384831"/>
                  </a:lnTo>
                  <a:lnTo>
                    <a:pt x="1165388" y="423496"/>
                  </a:lnTo>
                  <a:lnTo>
                    <a:pt x="1122664" y="423496"/>
                  </a:lnTo>
                  <a:lnTo>
                    <a:pt x="1202984" y="243203"/>
                  </a:lnTo>
                  <a:lnTo>
                    <a:pt x="1244212" y="243203"/>
                  </a:lnTo>
                  <a:lnTo>
                    <a:pt x="1324853" y="423496"/>
                  </a:lnTo>
                  <a:lnTo>
                    <a:pt x="1281061" y="423496"/>
                  </a:lnTo>
                  <a:lnTo>
                    <a:pt x="1265147" y="384831"/>
                  </a:lnTo>
                  <a:close/>
                  <a:moveTo>
                    <a:pt x="1251903" y="353109"/>
                  </a:moveTo>
                  <a:lnTo>
                    <a:pt x="1223278" y="284111"/>
                  </a:lnTo>
                  <a:lnTo>
                    <a:pt x="1194653" y="353109"/>
                  </a:lnTo>
                  <a:lnTo>
                    <a:pt x="1251796" y="353109"/>
                  </a:lnTo>
                  <a:close/>
                  <a:moveTo>
                    <a:pt x="1505146" y="374257"/>
                  </a:moveTo>
                  <a:cubicBezTo>
                    <a:pt x="1505146" y="405445"/>
                    <a:pt x="1480473" y="423389"/>
                    <a:pt x="1433050" y="423389"/>
                  </a:cubicBezTo>
                  <a:lnTo>
                    <a:pt x="1339806" y="423389"/>
                  </a:lnTo>
                  <a:lnTo>
                    <a:pt x="1339806" y="243096"/>
                  </a:lnTo>
                  <a:lnTo>
                    <a:pt x="1427923" y="243096"/>
                  </a:lnTo>
                  <a:cubicBezTo>
                    <a:pt x="1472996" y="243096"/>
                    <a:pt x="1496174" y="261894"/>
                    <a:pt x="1496174" y="289985"/>
                  </a:cubicBezTo>
                  <a:cubicBezTo>
                    <a:pt x="1496174" y="308036"/>
                    <a:pt x="1486881" y="321921"/>
                    <a:pt x="1472249" y="329611"/>
                  </a:cubicBezTo>
                  <a:cubicBezTo>
                    <a:pt x="1492329" y="336020"/>
                    <a:pt x="1505252" y="351507"/>
                    <a:pt x="1505252" y="374150"/>
                  </a:cubicBezTo>
                  <a:close/>
                  <a:moveTo>
                    <a:pt x="1381248" y="274605"/>
                  </a:moveTo>
                  <a:lnTo>
                    <a:pt x="1381248" y="317114"/>
                  </a:lnTo>
                  <a:lnTo>
                    <a:pt x="1422690" y="317114"/>
                  </a:lnTo>
                  <a:cubicBezTo>
                    <a:pt x="1442983" y="317114"/>
                    <a:pt x="1454091" y="309851"/>
                    <a:pt x="1454091" y="295753"/>
                  </a:cubicBezTo>
                  <a:cubicBezTo>
                    <a:pt x="1454091" y="281654"/>
                    <a:pt x="1442983" y="274605"/>
                    <a:pt x="1422690" y="274605"/>
                  </a:cubicBezTo>
                  <a:lnTo>
                    <a:pt x="1381248" y="274605"/>
                  </a:lnTo>
                  <a:close/>
                  <a:moveTo>
                    <a:pt x="1463170" y="369878"/>
                  </a:moveTo>
                  <a:cubicBezTo>
                    <a:pt x="1463170" y="354711"/>
                    <a:pt x="1451635" y="347448"/>
                    <a:pt x="1429952" y="347448"/>
                  </a:cubicBezTo>
                  <a:lnTo>
                    <a:pt x="1381248" y="347448"/>
                  </a:lnTo>
                  <a:lnTo>
                    <a:pt x="1381248" y="391987"/>
                  </a:lnTo>
                  <a:lnTo>
                    <a:pt x="1429952" y="391987"/>
                  </a:lnTo>
                  <a:cubicBezTo>
                    <a:pt x="1451635" y="391987"/>
                    <a:pt x="1463170" y="385258"/>
                    <a:pt x="1463170" y="369878"/>
                  </a:cubicBezTo>
                  <a:close/>
                  <a:moveTo>
                    <a:pt x="1533450" y="243203"/>
                  </a:moveTo>
                  <a:lnTo>
                    <a:pt x="1575212" y="243203"/>
                  </a:lnTo>
                  <a:lnTo>
                    <a:pt x="1575212" y="423496"/>
                  </a:lnTo>
                  <a:lnTo>
                    <a:pt x="1533450" y="423496"/>
                  </a:lnTo>
                  <a:lnTo>
                    <a:pt x="1533450" y="243096"/>
                  </a:lnTo>
                  <a:close/>
                  <a:moveTo>
                    <a:pt x="1613022" y="243203"/>
                  </a:moveTo>
                  <a:lnTo>
                    <a:pt x="1654784" y="243203"/>
                  </a:lnTo>
                  <a:lnTo>
                    <a:pt x="1654784" y="389424"/>
                  </a:lnTo>
                  <a:lnTo>
                    <a:pt x="1745144" y="389424"/>
                  </a:lnTo>
                  <a:lnTo>
                    <a:pt x="1745144" y="423389"/>
                  </a:lnTo>
                  <a:lnTo>
                    <a:pt x="1613022" y="423389"/>
                  </a:lnTo>
                  <a:lnTo>
                    <a:pt x="1613022" y="243096"/>
                  </a:lnTo>
                  <a:close/>
                  <a:moveTo>
                    <a:pt x="1762127" y="243203"/>
                  </a:moveTo>
                  <a:lnTo>
                    <a:pt x="1803889" y="243203"/>
                  </a:lnTo>
                  <a:lnTo>
                    <a:pt x="1803889" y="423496"/>
                  </a:lnTo>
                  <a:lnTo>
                    <a:pt x="1762127" y="423496"/>
                  </a:lnTo>
                  <a:lnTo>
                    <a:pt x="1762127" y="243096"/>
                  </a:lnTo>
                  <a:close/>
                  <a:moveTo>
                    <a:pt x="1877587" y="277168"/>
                  </a:moveTo>
                  <a:lnTo>
                    <a:pt x="1819910" y="277168"/>
                  </a:lnTo>
                  <a:lnTo>
                    <a:pt x="1819910" y="243203"/>
                  </a:lnTo>
                  <a:lnTo>
                    <a:pt x="1977026" y="243203"/>
                  </a:lnTo>
                  <a:lnTo>
                    <a:pt x="1977026" y="277168"/>
                  </a:lnTo>
                  <a:lnTo>
                    <a:pt x="1919349" y="277168"/>
                  </a:lnTo>
                  <a:lnTo>
                    <a:pt x="1919349" y="423389"/>
                  </a:lnTo>
                  <a:lnTo>
                    <a:pt x="1877587" y="423389"/>
                  </a:lnTo>
                  <a:lnTo>
                    <a:pt x="1877587" y="277168"/>
                  </a:lnTo>
                  <a:close/>
                  <a:moveTo>
                    <a:pt x="2093874" y="359624"/>
                  </a:moveTo>
                  <a:lnTo>
                    <a:pt x="2093874" y="423496"/>
                  </a:lnTo>
                  <a:lnTo>
                    <a:pt x="2052112" y="423496"/>
                  </a:lnTo>
                  <a:lnTo>
                    <a:pt x="2052112" y="359090"/>
                  </a:lnTo>
                  <a:lnTo>
                    <a:pt x="1982366" y="243203"/>
                  </a:lnTo>
                  <a:lnTo>
                    <a:pt x="2026692" y="243203"/>
                  </a:lnTo>
                  <a:lnTo>
                    <a:pt x="2074862" y="323309"/>
                  </a:lnTo>
                  <a:lnTo>
                    <a:pt x="2123033" y="243203"/>
                  </a:lnTo>
                  <a:lnTo>
                    <a:pt x="2163941" y="243203"/>
                  </a:lnTo>
                  <a:lnTo>
                    <a:pt x="2093874" y="359624"/>
                  </a:lnTo>
                  <a:close/>
                </a:path>
              </a:pathLst>
            </a:custGeom>
            <a:solidFill>
              <a:srgbClr val="FFFFFF"/>
            </a:solidFill>
            <a:ln w="10662" cap="flat">
              <a:noFill/>
              <a:prstDash val="solid"/>
              <a:miter/>
            </a:ln>
          </p:spPr>
          <p:txBody>
            <a:bodyPr rtlCol="0" anchor="ctr"/>
            <a:lstStyle/>
            <a:p>
              <a:endParaRPr lang="en-GB"/>
            </a:p>
          </p:txBody>
        </p:sp>
        <p:sp>
          <p:nvSpPr>
            <p:cNvPr id="104" name="Freeform: Shape 103">
              <a:extLst>
                <a:ext uri="{FF2B5EF4-FFF2-40B4-BE49-F238E27FC236}">
                  <a16:creationId xmlns:a16="http://schemas.microsoft.com/office/drawing/2014/main" id="{2CC0684A-6889-9304-FC64-473F1E70DCB0}"/>
                </a:ext>
              </a:extLst>
            </p:cNvPr>
            <p:cNvSpPr>
              <a:spLocks noGrp="1" noRot="1" noMove="1" noResize="1" noEditPoints="1" noAdjustHandles="1" noChangeArrowheads="1" noChangeShapeType="1"/>
            </p:cNvSpPr>
            <p:nvPr userDrawn="1"/>
          </p:nvSpPr>
          <p:spPr>
            <a:xfrm>
              <a:off x="8369358" y="1085109"/>
              <a:ext cx="2238599" cy="186594"/>
            </a:xfrm>
            <a:custGeom>
              <a:avLst/>
              <a:gdLst>
                <a:gd name="connsiteX0" fmla="*/ 0 w 2238599"/>
                <a:gd name="connsiteY0" fmla="*/ 3097 h 186594"/>
                <a:gd name="connsiteX1" fmla="*/ 41762 w 2238599"/>
                <a:gd name="connsiteY1" fmla="*/ 3097 h 186594"/>
                <a:gd name="connsiteX2" fmla="*/ 41762 w 2238599"/>
                <a:gd name="connsiteY2" fmla="*/ 183390 h 186594"/>
                <a:gd name="connsiteX3" fmla="*/ 0 w 2238599"/>
                <a:gd name="connsiteY3" fmla="*/ 183390 h 186594"/>
                <a:gd name="connsiteX4" fmla="*/ 0 w 2238599"/>
                <a:gd name="connsiteY4" fmla="*/ 3097 h 186594"/>
                <a:gd name="connsiteX5" fmla="*/ 244912 w 2238599"/>
                <a:gd name="connsiteY5" fmla="*/ 3097 h 186594"/>
                <a:gd name="connsiteX6" fmla="*/ 244912 w 2238599"/>
                <a:gd name="connsiteY6" fmla="*/ 183390 h 186594"/>
                <a:gd name="connsiteX7" fmla="*/ 210626 w 2238599"/>
                <a:gd name="connsiteY7" fmla="*/ 183390 h 186594"/>
                <a:gd name="connsiteX8" fmla="*/ 120800 w 2238599"/>
                <a:gd name="connsiteY8" fmla="*/ 73911 h 186594"/>
                <a:gd name="connsiteX9" fmla="*/ 120800 w 2238599"/>
                <a:gd name="connsiteY9" fmla="*/ 183390 h 186594"/>
                <a:gd name="connsiteX10" fmla="*/ 79572 w 2238599"/>
                <a:gd name="connsiteY10" fmla="*/ 183390 h 186594"/>
                <a:gd name="connsiteX11" fmla="*/ 79572 w 2238599"/>
                <a:gd name="connsiteY11" fmla="*/ 3097 h 186594"/>
                <a:gd name="connsiteX12" fmla="*/ 114072 w 2238599"/>
                <a:gd name="connsiteY12" fmla="*/ 3097 h 186594"/>
                <a:gd name="connsiteX13" fmla="*/ 203684 w 2238599"/>
                <a:gd name="connsiteY13" fmla="*/ 112576 h 186594"/>
                <a:gd name="connsiteX14" fmla="*/ 203684 w 2238599"/>
                <a:gd name="connsiteY14" fmla="*/ 3097 h 186594"/>
                <a:gd name="connsiteX15" fmla="*/ 244912 w 2238599"/>
                <a:gd name="connsiteY15" fmla="*/ 3097 h 186594"/>
                <a:gd name="connsiteX16" fmla="*/ 349264 w 2238599"/>
                <a:gd name="connsiteY16" fmla="*/ 93244 h 186594"/>
                <a:gd name="connsiteX17" fmla="*/ 447848 w 2238599"/>
                <a:gd name="connsiteY17" fmla="*/ 0 h 186594"/>
                <a:gd name="connsiteX18" fmla="*/ 546432 w 2238599"/>
                <a:gd name="connsiteY18" fmla="*/ 93244 h 186594"/>
                <a:gd name="connsiteX19" fmla="*/ 447848 w 2238599"/>
                <a:gd name="connsiteY19" fmla="*/ 186488 h 186594"/>
                <a:gd name="connsiteX20" fmla="*/ 349264 w 2238599"/>
                <a:gd name="connsiteY20" fmla="*/ 93244 h 186594"/>
                <a:gd name="connsiteX21" fmla="*/ 504243 w 2238599"/>
                <a:gd name="connsiteY21" fmla="*/ 93244 h 186594"/>
                <a:gd name="connsiteX22" fmla="*/ 447848 w 2238599"/>
                <a:gd name="connsiteY22" fmla="*/ 35567 h 186594"/>
                <a:gd name="connsiteX23" fmla="*/ 391453 w 2238599"/>
                <a:gd name="connsiteY23" fmla="*/ 93244 h 186594"/>
                <a:gd name="connsiteX24" fmla="*/ 447848 w 2238599"/>
                <a:gd name="connsiteY24" fmla="*/ 150920 h 186594"/>
                <a:gd name="connsiteX25" fmla="*/ 504243 w 2238599"/>
                <a:gd name="connsiteY25" fmla="*/ 93244 h 186594"/>
                <a:gd name="connsiteX26" fmla="*/ 571746 w 2238599"/>
                <a:gd name="connsiteY26" fmla="*/ 104031 h 186594"/>
                <a:gd name="connsiteX27" fmla="*/ 571746 w 2238599"/>
                <a:gd name="connsiteY27" fmla="*/ 3097 h 186594"/>
                <a:gd name="connsiteX28" fmla="*/ 613508 w 2238599"/>
                <a:gd name="connsiteY28" fmla="*/ 3097 h 186594"/>
                <a:gd name="connsiteX29" fmla="*/ 613508 w 2238599"/>
                <a:gd name="connsiteY29" fmla="*/ 102536 h 186594"/>
                <a:gd name="connsiteX30" fmla="*/ 653668 w 2238599"/>
                <a:gd name="connsiteY30" fmla="*/ 150920 h 186594"/>
                <a:gd name="connsiteX31" fmla="*/ 693828 w 2238599"/>
                <a:gd name="connsiteY31" fmla="*/ 102536 h 186594"/>
                <a:gd name="connsiteX32" fmla="*/ 693828 w 2238599"/>
                <a:gd name="connsiteY32" fmla="*/ 3097 h 186594"/>
                <a:gd name="connsiteX33" fmla="*/ 735056 w 2238599"/>
                <a:gd name="connsiteY33" fmla="*/ 3097 h 186594"/>
                <a:gd name="connsiteX34" fmla="*/ 735056 w 2238599"/>
                <a:gd name="connsiteY34" fmla="*/ 104031 h 186594"/>
                <a:gd name="connsiteX35" fmla="*/ 653455 w 2238599"/>
                <a:gd name="connsiteY35" fmla="*/ 186488 h 186594"/>
                <a:gd name="connsiteX36" fmla="*/ 571853 w 2238599"/>
                <a:gd name="connsiteY36" fmla="*/ 104031 h 186594"/>
                <a:gd name="connsiteX37" fmla="*/ 886831 w 2238599"/>
                <a:gd name="connsiteY37" fmla="*/ 183390 h 186594"/>
                <a:gd name="connsiteX38" fmla="*/ 852118 w 2238599"/>
                <a:gd name="connsiteY38" fmla="*/ 133190 h 186594"/>
                <a:gd name="connsiteX39" fmla="*/ 813774 w 2238599"/>
                <a:gd name="connsiteY39" fmla="*/ 133190 h 186594"/>
                <a:gd name="connsiteX40" fmla="*/ 813774 w 2238599"/>
                <a:gd name="connsiteY40" fmla="*/ 183390 h 186594"/>
                <a:gd name="connsiteX41" fmla="*/ 772012 w 2238599"/>
                <a:gd name="connsiteY41" fmla="*/ 183390 h 186594"/>
                <a:gd name="connsiteX42" fmla="*/ 772012 w 2238599"/>
                <a:gd name="connsiteY42" fmla="*/ 3097 h 186594"/>
                <a:gd name="connsiteX43" fmla="*/ 850089 w 2238599"/>
                <a:gd name="connsiteY43" fmla="*/ 3097 h 186594"/>
                <a:gd name="connsiteX44" fmla="*/ 928380 w 2238599"/>
                <a:gd name="connsiteY44" fmla="*/ 68464 h 186594"/>
                <a:gd name="connsiteX45" fmla="*/ 891317 w 2238599"/>
                <a:gd name="connsiteY45" fmla="*/ 125393 h 186594"/>
                <a:gd name="connsiteX46" fmla="*/ 931798 w 2238599"/>
                <a:gd name="connsiteY46" fmla="*/ 183283 h 186594"/>
                <a:gd name="connsiteX47" fmla="*/ 886938 w 2238599"/>
                <a:gd name="connsiteY47" fmla="*/ 183283 h 186594"/>
                <a:gd name="connsiteX48" fmla="*/ 847739 w 2238599"/>
                <a:gd name="connsiteY48" fmla="*/ 37169 h 186594"/>
                <a:gd name="connsiteX49" fmla="*/ 813774 w 2238599"/>
                <a:gd name="connsiteY49" fmla="*/ 37169 h 186594"/>
                <a:gd name="connsiteX50" fmla="*/ 813774 w 2238599"/>
                <a:gd name="connsiteY50" fmla="*/ 99973 h 186594"/>
                <a:gd name="connsiteX51" fmla="*/ 847739 w 2238599"/>
                <a:gd name="connsiteY51" fmla="*/ 99973 h 186594"/>
                <a:gd name="connsiteX52" fmla="*/ 886083 w 2238599"/>
                <a:gd name="connsiteY52" fmla="*/ 68571 h 186594"/>
                <a:gd name="connsiteX53" fmla="*/ 847739 w 2238599"/>
                <a:gd name="connsiteY53" fmla="*/ 37169 h 186594"/>
                <a:gd name="connsiteX54" fmla="*/ 1020021 w 2238599"/>
                <a:gd name="connsiteY54" fmla="*/ 165660 h 186594"/>
                <a:gd name="connsiteX55" fmla="*/ 1034227 w 2238599"/>
                <a:gd name="connsiteY55" fmla="*/ 134258 h 186594"/>
                <a:gd name="connsiteX56" fmla="*/ 1093719 w 2238599"/>
                <a:gd name="connsiteY56" fmla="*/ 153057 h 186594"/>
                <a:gd name="connsiteX57" fmla="*/ 1128432 w 2238599"/>
                <a:gd name="connsiteY57" fmla="*/ 133724 h 186594"/>
                <a:gd name="connsiteX58" fmla="*/ 1023653 w 2238599"/>
                <a:gd name="connsiteY58" fmla="*/ 56181 h 186594"/>
                <a:gd name="connsiteX59" fmla="*/ 1099594 w 2238599"/>
                <a:gd name="connsiteY59" fmla="*/ 0 h 186594"/>
                <a:gd name="connsiteX60" fmla="*/ 1162184 w 2238599"/>
                <a:gd name="connsiteY60" fmla="*/ 15914 h 186594"/>
                <a:gd name="connsiteX61" fmla="*/ 1149260 w 2238599"/>
                <a:gd name="connsiteY61" fmla="*/ 47637 h 186594"/>
                <a:gd name="connsiteX62" fmla="*/ 1099273 w 2238599"/>
                <a:gd name="connsiteY62" fmla="*/ 33431 h 186594"/>
                <a:gd name="connsiteX63" fmla="*/ 1064988 w 2238599"/>
                <a:gd name="connsiteY63" fmla="*/ 54045 h 186594"/>
                <a:gd name="connsiteX64" fmla="*/ 1169767 w 2238599"/>
                <a:gd name="connsiteY64" fmla="*/ 130520 h 186594"/>
                <a:gd name="connsiteX65" fmla="*/ 1093292 w 2238599"/>
                <a:gd name="connsiteY65" fmla="*/ 186381 h 186594"/>
                <a:gd name="connsiteX66" fmla="*/ 1019915 w 2238599"/>
                <a:gd name="connsiteY66" fmla="*/ 165553 h 186594"/>
                <a:gd name="connsiteX67" fmla="*/ 1335213 w 2238599"/>
                <a:gd name="connsiteY67" fmla="*/ 149959 h 186594"/>
                <a:gd name="connsiteX68" fmla="*/ 1335213 w 2238599"/>
                <a:gd name="connsiteY68" fmla="*/ 183390 h 186594"/>
                <a:gd name="connsiteX69" fmla="*/ 1195615 w 2238599"/>
                <a:gd name="connsiteY69" fmla="*/ 183390 h 186594"/>
                <a:gd name="connsiteX70" fmla="*/ 1195615 w 2238599"/>
                <a:gd name="connsiteY70" fmla="*/ 3097 h 186594"/>
                <a:gd name="connsiteX71" fmla="*/ 1331795 w 2238599"/>
                <a:gd name="connsiteY71" fmla="*/ 3097 h 186594"/>
                <a:gd name="connsiteX72" fmla="*/ 1331795 w 2238599"/>
                <a:gd name="connsiteY72" fmla="*/ 36528 h 186594"/>
                <a:gd name="connsiteX73" fmla="*/ 1237056 w 2238599"/>
                <a:gd name="connsiteY73" fmla="*/ 36528 h 186594"/>
                <a:gd name="connsiteX74" fmla="*/ 1237056 w 2238599"/>
                <a:gd name="connsiteY74" fmla="*/ 75620 h 186594"/>
                <a:gd name="connsiteX75" fmla="*/ 1320794 w 2238599"/>
                <a:gd name="connsiteY75" fmla="*/ 75620 h 186594"/>
                <a:gd name="connsiteX76" fmla="*/ 1320794 w 2238599"/>
                <a:gd name="connsiteY76" fmla="*/ 108090 h 186594"/>
                <a:gd name="connsiteX77" fmla="*/ 1237056 w 2238599"/>
                <a:gd name="connsiteY77" fmla="*/ 108090 h 186594"/>
                <a:gd name="connsiteX78" fmla="*/ 1237056 w 2238599"/>
                <a:gd name="connsiteY78" fmla="*/ 149852 h 186594"/>
                <a:gd name="connsiteX79" fmla="*/ 1335213 w 2238599"/>
                <a:gd name="connsiteY79" fmla="*/ 149852 h 186594"/>
                <a:gd name="connsiteX80" fmla="*/ 1350594 w 2238599"/>
                <a:gd name="connsiteY80" fmla="*/ 93351 h 186594"/>
                <a:gd name="connsiteX81" fmla="*/ 1448430 w 2238599"/>
                <a:gd name="connsiteY81" fmla="*/ 107 h 186594"/>
                <a:gd name="connsiteX82" fmla="*/ 1522555 w 2238599"/>
                <a:gd name="connsiteY82" fmla="*/ 32043 h 186594"/>
                <a:gd name="connsiteX83" fmla="*/ 1495746 w 2238599"/>
                <a:gd name="connsiteY83" fmla="*/ 56715 h 186594"/>
                <a:gd name="connsiteX84" fmla="*/ 1450460 w 2238599"/>
                <a:gd name="connsiteY84" fmla="*/ 35567 h 186594"/>
                <a:gd name="connsiteX85" fmla="*/ 1392783 w 2238599"/>
                <a:gd name="connsiteY85" fmla="*/ 93244 h 186594"/>
                <a:gd name="connsiteX86" fmla="*/ 1450460 w 2238599"/>
                <a:gd name="connsiteY86" fmla="*/ 150920 h 186594"/>
                <a:gd name="connsiteX87" fmla="*/ 1495746 w 2238599"/>
                <a:gd name="connsiteY87" fmla="*/ 129559 h 186594"/>
                <a:gd name="connsiteX88" fmla="*/ 1522555 w 2238599"/>
                <a:gd name="connsiteY88" fmla="*/ 154231 h 186594"/>
                <a:gd name="connsiteX89" fmla="*/ 1448110 w 2238599"/>
                <a:gd name="connsiteY89" fmla="*/ 186381 h 186594"/>
                <a:gd name="connsiteX90" fmla="*/ 1350487 w 2238599"/>
                <a:gd name="connsiteY90" fmla="*/ 93137 h 186594"/>
                <a:gd name="connsiteX91" fmla="*/ 1590379 w 2238599"/>
                <a:gd name="connsiteY91" fmla="*/ 37169 h 186594"/>
                <a:gd name="connsiteX92" fmla="*/ 1532702 w 2238599"/>
                <a:gd name="connsiteY92" fmla="*/ 37169 h 186594"/>
                <a:gd name="connsiteX93" fmla="*/ 1532702 w 2238599"/>
                <a:gd name="connsiteY93" fmla="*/ 3204 h 186594"/>
                <a:gd name="connsiteX94" fmla="*/ 1689818 w 2238599"/>
                <a:gd name="connsiteY94" fmla="*/ 3204 h 186594"/>
                <a:gd name="connsiteX95" fmla="*/ 1689818 w 2238599"/>
                <a:gd name="connsiteY95" fmla="*/ 37169 h 186594"/>
                <a:gd name="connsiteX96" fmla="*/ 1632141 w 2238599"/>
                <a:gd name="connsiteY96" fmla="*/ 37169 h 186594"/>
                <a:gd name="connsiteX97" fmla="*/ 1632141 w 2238599"/>
                <a:gd name="connsiteY97" fmla="*/ 183390 h 186594"/>
                <a:gd name="connsiteX98" fmla="*/ 1590379 w 2238599"/>
                <a:gd name="connsiteY98" fmla="*/ 183390 h 186594"/>
                <a:gd name="connsiteX99" fmla="*/ 1590379 w 2238599"/>
                <a:gd name="connsiteY99" fmla="*/ 37169 h 186594"/>
                <a:gd name="connsiteX100" fmla="*/ 1692274 w 2238599"/>
                <a:gd name="connsiteY100" fmla="*/ 93351 h 186594"/>
                <a:gd name="connsiteX101" fmla="*/ 1790858 w 2238599"/>
                <a:gd name="connsiteY101" fmla="*/ 107 h 186594"/>
                <a:gd name="connsiteX102" fmla="*/ 1889443 w 2238599"/>
                <a:gd name="connsiteY102" fmla="*/ 93351 h 186594"/>
                <a:gd name="connsiteX103" fmla="*/ 1790858 w 2238599"/>
                <a:gd name="connsiteY103" fmla="*/ 186594 h 186594"/>
                <a:gd name="connsiteX104" fmla="*/ 1692274 w 2238599"/>
                <a:gd name="connsiteY104" fmla="*/ 93351 h 186594"/>
                <a:gd name="connsiteX105" fmla="*/ 1847253 w 2238599"/>
                <a:gd name="connsiteY105" fmla="*/ 93351 h 186594"/>
                <a:gd name="connsiteX106" fmla="*/ 1790858 w 2238599"/>
                <a:gd name="connsiteY106" fmla="*/ 35674 h 186594"/>
                <a:gd name="connsiteX107" fmla="*/ 1734464 w 2238599"/>
                <a:gd name="connsiteY107" fmla="*/ 93351 h 186594"/>
                <a:gd name="connsiteX108" fmla="*/ 1790858 w 2238599"/>
                <a:gd name="connsiteY108" fmla="*/ 151027 h 186594"/>
                <a:gd name="connsiteX109" fmla="*/ 1847253 w 2238599"/>
                <a:gd name="connsiteY109" fmla="*/ 93351 h 186594"/>
                <a:gd name="connsiteX110" fmla="*/ 2031498 w 2238599"/>
                <a:gd name="connsiteY110" fmla="*/ 183497 h 186594"/>
                <a:gd name="connsiteX111" fmla="*/ 1996785 w 2238599"/>
                <a:gd name="connsiteY111" fmla="*/ 133297 h 186594"/>
                <a:gd name="connsiteX112" fmla="*/ 1958441 w 2238599"/>
                <a:gd name="connsiteY112" fmla="*/ 133297 h 186594"/>
                <a:gd name="connsiteX113" fmla="*/ 1958441 w 2238599"/>
                <a:gd name="connsiteY113" fmla="*/ 183497 h 186594"/>
                <a:gd name="connsiteX114" fmla="*/ 1916679 w 2238599"/>
                <a:gd name="connsiteY114" fmla="*/ 183497 h 186594"/>
                <a:gd name="connsiteX115" fmla="*/ 1916679 w 2238599"/>
                <a:gd name="connsiteY115" fmla="*/ 3204 h 186594"/>
                <a:gd name="connsiteX116" fmla="*/ 1994756 w 2238599"/>
                <a:gd name="connsiteY116" fmla="*/ 3204 h 186594"/>
                <a:gd name="connsiteX117" fmla="*/ 2073047 w 2238599"/>
                <a:gd name="connsiteY117" fmla="*/ 68571 h 186594"/>
                <a:gd name="connsiteX118" fmla="*/ 2035984 w 2238599"/>
                <a:gd name="connsiteY118" fmla="*/ 125500 h 186594"/>
                <a:gd name="connsiteX119" fmla="*/ 2076464 w 2238599"/>
                <a:gd name="connsiteY119" fmla="*/ 183390 h 186594"/>
                <a:gd name="connsiteX120" fmla="*/ 2031605 w 2238599"/>
                <a:gd name="connsiteY120" fmla="*/ 183390 h 186594"/>
                <a:gd name="connsiteX121" fmla="*/ 1992406 w 2238599"/>
                <a:gd name="connsiteY121" fmla="*/ 37276 h 186594"/>
                <a:gd name="connsiteX122" fmla="*/ 1958441 w 2238599"/>
                <a:gd name="connsiteY122" fmla="*/ 37276 h 186594"/>
                <a:gd name="connsiteX123" fmla="*/ 1958441 w 2238599"/>
                <a:gd name="connsiteY123" fmla="*/ 100080 h 186594"/>
                <a:gd name="connsiteX124" fmla="*/ 1992406 w 2238599"/>
                <a:gd name="connsiteY124" fmla="*/ 100080 h 186594"/>
                <a:gd name="connsiteX125" fmla="*/ 2030750 w 2238599"/>
                <a:gd name="connsiteY125" fmla="*/ 68678 h 186594"/>
                <a:gd name="connsiteX126" fmla="*/ 1992406 w 2238599"/>
                <a:gd name="connsiteY126" fmla="*/ 37276 h 186594"/>
                <a:gd name="connsiteX127" fmla="*/ 2088854 w 2238599"/>
                <a:gd name="connsiteY127" fmla="*/ 165767 h 186594"/>
                <a:gd name="connsiteX128" fmla="*/ 2103060 w 2238599"/>
                <a:gd name="connsiteY128" fmla="*/ 134365 h 186594"/>
                <a:gd name="connsiteX129" fmla="*/ 2162552 w 2238599"/>
                <a:gd name="connsiteY129" fmla="*/ 153163 h 186594"/>
                <a:gd name="connsiteX130" fmla="*/ 2197265 w 2238599"/>
                <a:gd name="connsiteY130" fmla="*/ 133831 h 186594"/>
                <a:gd name="connsiteX131" fmla="*/ 2092486 w 2238599"/>
                <a:gd name="connsiteY131" fmla="*/ 56288 h 186594"/>
                <a:gd name="connsiteX132" fmla="*/ 2168427 w 2238599"/>
                <a:gd name="connsiteY132" fmla="*/ 107 h 186594"/>
                <a:gd name="connsiteX133" fmla="*/ 2231016 w 2238599"/>
                <a:gd name="connsiteY133" fmla="*/ 16021 h 186594"/>
                <a:gd name="connsiteX134" fmla="*/ 2218093 w 2238599"/>
                <a:gd name="connsiteY134" fmla="*/ 47743 h 186594"/>
                <a:gd name="connsiteX135" fmla="*/ 2168106 w 2238599"/>
                <a:gd name="connsiteY135" fmla="*/ 33538 h 186594"/>
                <a:gd name="connsiteX136" fmla="*/ 2133821 w 2238599"/>
                <a:gd name="connsiteY136" fmla="*/ 54152 h 186594"/>
                <a:gd name="connsiteX137" fmla="*/ 2238600 w 2238599"/>
                <a:gd name="connsiteY137" fmla="*/ 130627 h 186594"/>
                <a:gd name="connsiteX138" fmla="*/ 2162125 w 2238599"/>
                <a:gd name="connsiteY138" fmla="*/ 186488 h 186594"/>
                <a:gd name="connsiteX139" fmla="*/ 2088747 w 2238599"/>
                <a:gd name="connsiteY139" fmla="*/ 165660 h 186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2238599" h="186594">
                  <a:moveTo>
                    <a:pt x="0" y="3097"/>
                  </a:moveTo>
                  <a:lnTo>
                    <a:pt x="41762" y="3097"/>
                  </a:lnTo>
                  <a:lnTo>
                    <a:pt x="41762" y="183390"/>
                  </a:lnTo>
                  <a:lnTo>
                    <a:pt x="0" y="183390"/>
                  </a:lnTo>
                  <a:lnTo>
                    <a:pt x="0" y="3097"/>
                  </a:lnTo>
                  <a:close/>
                  <a:moveTo>
                    <a:pt x="244912" y="3097"/>
                  </a:moveTo>
                  <a:lnTo>
                    <a:pt x="244912" y="183390"/>
                  </a:lnTo>
                  <a:lnTo>
                    <a:pt x="210626" y="183390"/>
                  </a:lnTo>
                  <a:lnTo>
                    <a:pt x="120800" y="73911"/>
                  </a:lnTo>
                  <a:lnTo>
                    <a:pt x="120800" y="183390"/>
                  </a:lnTo>
                  <a:lnTo>
                    <a:pt x="79572" y="183390"/>
                  </a:lnTo>
                  <a:lnTo>
                    <a:pt x="79572" y="3097"/>
                  </a:lnTo>
                  <a:lnTo>
                    <a:pt x="114072" y="3097"/>
                  </a:lnTo>
                  <a:lnTo>
                    <a:pt x="203684" y="112576"/>
                  </a:lnTo>
                  <a:lnTo>
                    <a:pt x="203684" y="3097"/>
                  </a:lnTo>
                  <a:lnTo>
                    <a:pt x="244912" y="3097"/>
                  </a:lnTo>
                  <a:close/>
                  <a:moveTo>
                    <a:pt x="349264" y="93244"/>
                  </a:moveTo>
                  <a:cubicBezTo>
                    <a:pt x="349264" y="39733"/>
                    <a:pt x="391026" y="0"/>
                    <a:pt x="447848" y="0"/>
                  </a:cubicBezTo>
                  <a:cubicBezTo>
                    <a:pt x="504670" y="0"/>
                    <a:pt x="546432" y="39412"/>
                    <a:pt x="546432" y="93244"/>
                  </a:cubicBezTo>
                  <a:cubicBezTo>
                    <a:pt x="546432" y="147075"/>
                    <a:pt x="504457" y="186488"/>
                    <a:pt x="447848" y="186488"/>
                  </a:cubicBezTo>
                  <a:cubicBezTo>
                    <a:pt x="391240" y="186488"/>
                    <a:pt x="349264" y="146862"/>
                    <a:pt x="349264" y="93244"/>
                  </a:cubicBezTo>
                  <a:close/>
                  <a:moveTo>
                    <a:pt x="504243" y="93244"/>
                  </a:moveTo>
                  <a:cubicBezTo>
                    <a:pt x="504243" y="58958"/>
                    <a:pt x="479997" y="35567"/>
                    <a:pt x="447848" y="35567"/>
                  </a:cubicBezTo>
                  <a:cubicBezTo>
                    <a:pt x="415699" y="35567"/>
                    <a:pt x="391453" y="58958"/>
                    <a:pt x="391453" y="93244"/>
                  </a:cubicBezTo>
                  <a:cubicBezTo>
                    <a:pt x="391453" y="127529"/>
                    <a:pt x="415699" y="150920"/>
                    <a:pt x="447848" y="150920"/>
                  </a:cubicBezTo>
                  <a:cubicBezTo>
                    <a:pt x="479997" y="150920"/>
                    <a:pt x="504243" y="127529"/>
                    <a:pt x="504243" y="93244"/>
                  </a:cubicBezTo>
                  <a:close/>
                  <a:moveTo>
                    <a:pt x="571746" y="104031"/>
                  </a:moveTo>
                  <a:lnTo>
                    <a:pt x="571746" y="3097"/>
                  </a:lnTo>
                  <a:lnTo>
                    <a:pt x="613508" y="3097"/>
                  </a:lnTo>
                  <a:lnTo>
                    <a:pt x="613508" y="102536"/>
                  </a:lnTo>
                  <a:cubicBezTo>
                    <a:pt x="613508" y="136822"/>
                    <a:pt x="628461" y="150920"/>
                    <a:pt x="653668" y="150920"/>
                  </a:cubicBezTo>
                  <a:cubicBezTo>
                    <a:pt x="678875" y="150920"/>
                    <a:pt x="693828" y="136715"/>
                    <a:pt x="693828" y="102536"/>
                  </a:cubicBezTo>
                  <a:lnTo>
                    <a:pt x="693828" y="3097"/>
                  </a:lnTo>
                  <a:lnTo>
                    <a:pt x="735056" y="3097"/>
                  </a:lnTo>
                  <a:lnTo>
                    <a:pt x="735056" y="104031"/>
                  </a:lnTo>
                  <a:cubicBezTo>
                    <a:pt x="735056" y="157115"/>
                    <a:pt x="704723" y="186488"/>
                    <a:pt x="653455" y="186488"/>
                  </a:cubicBezTo>
                  <a:cubicBezTo>
                    <a:pt x="602186" y="186488"/>
                    <a:pt x="571853" y="157115"/>
                    <a:pt x="571853" y="104031"/>
                  </a:cubicBezTo>
                  <a:close/>
                  <a:moveTo>
                    <a:pt x="886831" y="183390"/>
                  </a:moveTo>
                  <a:lnTo>
                    <a:pt x="852118" y="133190"/>
                  </a:lnTo>
                  <a:lnTo>
                    <a:pt x="813774" y="133190"/>
                  </a:lnTo>
                  <a:lnTo>
                    <a:pt x="813774" y="183390"/>
                  </a:lnTo>
                  <a:lnTo>
                    <a:pt x="772012" y="183390"/>
                  </a:lnTo>
                  <a:lnTo>
                    <a:pt x="772012" y="3097"/>
                  </a:lnTo>
                  <a:lnTo>
                    <a:pt x="850089" y="3097"/>
                  </a:lnTo>
                  <a:cubicBezTo>
                    <a:pt x="898260" y="3097"/>
                    <a:pt x="928380" y="28091"/>
                    <a:pt x="928380" y="68464"/>
                  </a:cubicBezTo>
                  <a:cubicBezTo>
                    <a:pt x="928380" y="95487"/>
                    <a:pt x="914708" y="115353"/>
                    <a:pt x="891317" y="125393"/>
                  </a:cubicBezTo>
                  <a:lnTo>
                    <a:pt x="931798" y="183283"/>
                  </a:lnTo>
                  <a:lnTo>
                    <a:pt x="886938" y="183283"/>
                  </a:lnTo>
                  <a:close/>
                  <a:moveTo>
                    <a:pt x="847739" y="37169"/>
                  </a:moveTo>
                  <a:lnTo>
                    <a:pt x="813774" y="37169"/>
                  </a:lnTo>
                  <a:lnTo>
                    <a:pt x="813774" y="99973"/>
                  </a:lnTo>
                  <a:lnTo>
                    <a:pt x="847739" y="99973"/>
                  </a:lnTo>
                  <a:cubicBezTo>
                    <a:pt x="873266" y="99973"/>
                    <a:pt x="886083" y="88117"/>
                    <a:pt x="886083" y="68571"/>
                  </a:cubicBezTo>
                  <a:cubicBezTo>
                    <a:pt x="886083" y="49025"/>
                    <a:pt x="873160" y="37169"/>
                    <a:pt x="847739" y="37169"/>
                  </a:cubicBezTo>
                  <a:close/>
                  <a:moveTo>
                    <a:pt x="1020021" y="165660"/>
                  </a:moveTo>
                  <a:lnTo>
                    <a:pt x="1034227" y="134258"/>
                  </a:lnTo>
                  <a:cubicBezTo>
                    <a:pt x="1049394" y="145366"/>
                    <a:pt x="1072037" y="153057"/>
                    <a:pt x="1093719" y="153057"/>
                  </a:cubicBezTo>
                  <a:cubicBezTo>
                    <a:pt x="1118392" y="153057"/>
                    <a:pt x="1128432" y="144832"/>
                    <a:pt x="1128432" y="133724"/>
                  </a:cubicBezTo>
                  <a:cubicBezTo>
                    <a:pt x="1128432" y="99973"/>
                    <a:pt x="1023653" y="123150"/>
                    <a:pt x="1023653" y="56181"/>
                  </a:cubicBezTo>
                  <a:cubicBezTo>
                    <a:pt x="1023653" y="25527"/>
                    <a:pt x="1048326" y="0"/>
                    <a:pt x="1099594" y="0"/>
                  </a:cubicBezTo>
                  <a:cubicBezTo>
                    <a:pt x="1122237" y="0"/>
                    <a:pt x="1145415" y="5447"/>
                    <a:pt x="1162184" y="15914"/>
                  </a:cubicBezTo>
                  <a:lnTo>
                    <a:pt x="1149260" y="47637"/>
                  </a:lnTo>
                  <a:cubicBezTo>
                    <a:pt x="1132491" y="38131"/>
                    <a:pt x="1115295" y="33431"/>
                    <a:pt x="1099273" y="33431"/>
                  </a:cubicBezTo>
                  <a:cubicBezTo>
                    <a:pt x="1074601" y="33431"/>
                    <a:pt x="1064988" y="42723"/>
                    <a:pt x="1064988" y="54045"/>
                  </a:cubicBezTo>
                  <a:cubicBezTo>
                    <a:pt x="1064988" y="87263"/>
                    <a:pt x="1169767" y="64299"/>
                    <a:pt x="1169767" y="130520"/>
                  </a:cubicBezTo>
                  <a:cubicBezTo>
                    <a:pt x="1169767" y="160640"/>
                    <a:pt x="1144774" y="186381"/>
                    <a:pt x="1093292" y="186381"/>
                  </a:cubicBezTo>
                  <a:cubicBezTo>
                    <a:pt x="1064667" y="186381"/>
                    <a:pt x="1035829" y="177836"/>
                    <a:pt x="1019915" y="165553"/>
                  </a:cubicBezTo>
                  <a:close/>
                  <a:moveTo>
                    <a:pt x="1335213" y="149959"/>
                  </a:moveTo>
                  <a:lnTo>
                    <a:pt x="1335213" y="183390"/>
                  </a:lnTo>
                  <a:lnTo>
                    <a:pt x="1195615" y="183390"/>
                  </a:lnTo>
                  <a:lnTo>
                    <a:pt x="1195615" y="3097"/>
                  </a:lnTo>
                  <a:lnTo>
                    <a:pt x="1331795" y="3097"/>
                  </a:lnTo>
                  <a:lnTo>
                    <a:pt x="1331795" y="36528"/>
                  </a:lnTo>
                  <a:lnTo>
                    <a:pt x="1237056" y="36528"/>
                  </a:lnTo>
                  <a:lnTo>
                    <a:pt x="1237056" y="75620"/>
                  </a:lnTo>
                  <a:lnTo>
                    <a:pt x="1320794" y="75620"/>
                  </a:lnTo>
                  <a:lnTo>
                    <a:pt x="1320794" y="108090"/>
                  </a:lnTo>
                  <a:lnTo>
                    <a:pt x="1237056" y="108090"/>
                  </a:lnTo>
                  <a:lnTo>
                    <a:pt x="1237056" y="149852"/>
                  </a:lnTo>
                  <a:lnTo>
                    <a:pt x="1335213" y="149852"/>
                  </a:lnTo>
                  <a:close/>
                  <a:moveTo>
                    <a:pt x="1350594" y="93351"/>
                  </a:moveTo>
                  <a:cubicBezTo>
                    <a:pt x="1350594" y="38985"/>
                    <a:pt x="1392356" y="107"/>
                    <a:pt x="1448430" y="107"/>
                  </a:cubicBezTo>
                  <a:cubicBezTo>
                    <a:pt x="1479618" y="107"/>
                    <a:pt x="1505573" y="11429"/>
                    <a:pt x="1522555" y="32043"/>
                  </a:cubicBezTo>
                  <a:lnTo>
                    <a:pt x="1495746" y="56715"/>
                  </a:lnTo>
                  <a:cubicBezTo>
                    <a:pt x="1483677" y="42830"/>
                    <a:pt x="1468403" y="35567"/>
                    <a:pt x="1450460" y="35567"/>
                  </a:cubicBezTo>
                  <a:cubicBezTo>
                    <a:pt x="1416708" y="35567"/>
                    <a:pt x="1392783" y="59279"/>
                    <a:pt x="1392783" y="93244"/>
                  </a:cubicBezTo>
                  <a:cubicBezTo>
                    <a:pt x="1392783" y="127209"/>
                    <a:pt x="1416708" y="150920"/>
                    <a:pt x="1450460" y="150920"/>
                  </a:cubicBezTo>
                  <a:cubicBezTo>
                    <a:pt x="1468510" y="150920"/>
                    <a:pt x="1483677" y="143657"/>
                    <a:pt x="1495746" y="129559"/>
                  </a:cubicBezTo>
                  <a:lnTo>
                    <a:pt x="1522555" y="154231"/>
                  </a:lnTo>
                  <a:cubicBezTo>
                    <a:pt x="1505573" y="175059"/>
                    <a:pt x="1479512" y="186381"/>
                    <a:pt x="1448110" y="186381"/>
                  </a:cubicBezTo>
                  <a:cubicBezTo>
                    <a:pt x="1392249" y="186381"/>
                    <a:pt x="1350487" y="147503"/>
                    <a:pt x="1350487" y="93137"/>
                  </a:cubicBezTo>
                  <a:close/>
                  <a:moveTo>
                    <a:pt x="1590379" y="37169"/>
                  </a:moveTo>
                  <a:lnTo>
                    <a:pt x="1532702" y="37169"/>
                  </a:lnTo>
                  <a:lnTo>
                    <a:pt x="1532702" y="3204"/>
                  </a:lnTo>
                  <a:lnTo>
                    <a:pt x="1689818" y="3204"/>
                  </a:lnTo>
                  <a:lnTo>
                    <a:pt x="1689818" y="37169"/>
                  </a:lnTo>
                  <a:lnTo>
                    <a:pt x="1632141" y="37169"/>
                  </a:lnTo>
                  <a:lnTo>
                    <a:pt x="1632141" y="183390"/>
                  </a:lnTo>
                  <a:lnTo>
                    <a:pt x="1590379" y="183390"/>
                  </a:lnTo>
                  <a:lnTo>
                    <a:pt x="1590379" y="37169"/>
                  </a:lnTo>
                  <a:close/>
                  <a:moveTo>
                    <a:pt x="1692274" y="93351"/>
                  </a:moveTo>
                  <a:cubicBezTo>
                    <a:pt x="1692274" y="39840"/>
                    <a:pt x="1734036" y="107"/>
                    <a:pt x="1790858" y="107"/>
                  </a:cubicBezTo>
                  <a:cubicBezTo>
                    <a:pt x="1847681" y="107"/>
                    <a:pt x="1889443" y="39519"/>
                    <a:pt x="1889443" y="93351"/>
                  </a:cubicBezTo>
                  <a:cubicBezTo>
                    <a:pt x="1889443" y="147182"/>
                    <a:pt x="1847467" y="186594"/>
                    <a:pt x="1790858" y="186594"/>
                  </a:cubicBezTo>
                  <a:cubicBezTo>
                    <a:pt x="1734250" y="186594"/>
                    <a:pt x="1692274" y="146968"/>
                    <a:pt x="1692274" y="93351"/>
                  </a:cubicBezTo>
                  <a:close/>
                  <a:moveTo>
                    <a:pt x="1847253" y="93351"/>
                  </a:moveTo>
                  <a:cubicBezTo>
                    <a:pt x="1847253" y="59065"/>
                    <a:pt x="1823008" y="35674"/>
                    <a:pt x="1790858" y="35674"/>
                  </a:cubicBezTo>
                  <a:cubicBezTo>
                    <a:pt x="1758709" y="35674"/>
                    <a:pt x="1734464" y="59065"/>
                    <a:pt x="1734464" y="93351"/>
                  </a:cubicBezTo>
                  <a:cubicBezTo>
                    <a:pt x="1734464" y="127636"/>
                    <a:pt x="1758709" y="151027"/>
                    <a:pt x="1790858" y="151027"/>
                  </a:cubicBezTo>
                  <a:cubicBezTo>
                    <a:pt x="1823008" y="151027"/>
                    <a:pt x="1847253" y="127636"/>
                    <a:pt x="1847253" y="93351"/>
                  </a:cubicBezTo>
                  <a:close/>
                  <a:moveTo>
                    <a:pt x="2031498" y="183497"/>
                  </a:moveTo>
                  <a:lnTo>
                    <a:pt x="1996785" y="133297"/>
                  </a:lnTo>
                  <a:lnTo>
                    <a:pt x="1958441" y="133297"/>
                  </a:lnTo>
                  <a:lnTo>
                    <a:pt x="1958441" y="183497"/>
                  </a:lnTo>
                  <a:lnTo>
                    <a:pt x="1916679" y="183497"/>
                  </a:lnTo>
                  <a:lnTo>
                    <a:pt x="1916679" y="3204"/>
                  </a:lnTo>
                  <a:lnTo>
                    <a:pt x="1994756" y="3204"/>
                  </a:lnTo>
                  <a:cubicBezTo>
                    <a:pt x="2042927" y="3204"/>
                    <a:pt x="2073047" y="28197"/>
                    <a:pt x="2073047" y="68571"/>
                  </a:cubicBezTo>
                  <a:cubicBezTo>
                    <a:pt x="2073047" y="95594"/>
                    <a:pt x="2059375" y="115460"/>
                    <a:pt x="2035984" y="125500"/>
                  </a:cubicBezTo>
                  <a:lnTo>
                    <a:pt x="2076464" y="183390"/>
                  </a:lnTo>
                  <a:lnTo>
                    <a:pt x="2031605" y="183390"/>
                  </a:lnTo>
                  <a:close/>
                  <a:moveTo>
                    <a:pt x="1992406" y="37276"/>
                  </a:moveTo>
                  <a:lnTo>
                    <a:pt x="1958441" y="37276"/>
                  </a:lnTo>
                  <a:lnTo>
                    <a:pt x="1958441" y="100080"/>
                  </a:lnTo>
                  <a:lnTo>
                    <a:pt x="1992406" y="100080"/>
                  </a:lnTo>
                  <a:cubicBezTo>
                    <a:pt x="2017933" y="100080"/>
                    <a:pt x="2030750" y="88224"/>
                    <a:pt x="2030750" y="68678"/>
                  </a:cubicBezTo>
                  <a:cubicBezTo>
                    <a:pt x="2030750" y="49132"/>
                    <a:pt x="2017827" y="37276"/>
                    <a:pt x="1992406" y="37276"/>
                  </a:cubicBezTo>
                  <a:close/>
                  <a:moveTo>
                    <a:pt x="2088854" y="165767"/>
                  </a:moveTo>
                  <a:lnTo>
                    <a:pt x="2103060" y="134365"/>
                  </a:lnTo>
                  <a:cubicBezTo>
                    <a:pt x="2118227" y="145473"/>
                    <a:pt x="2140870" y="153163"/>
                    <a:pt x="2162552" y="153163"/>
                  </a:cubicBezTo>
                  <a:cubicBezTo>
                    <a:pt x="2187225" y="153163"/>
                    <a:pt x="2197265" y="144939"/>
                    <a:pt x="2197265" y="133831"/>
                  </a:cubicBezTo>
                  <a:cubicBezTo>
                    <a:pt x="2197265" y="100080"/>
                    <a:pt x="2092486" y="123257"/>
                    <a:pt x="2092486" y="56288"/>
                  </a:cubicBezTo>
                  <a:cubicBezTo>
                    <a:pt x="2092486" y="25634"/>
                    <a:pt x="2117159" y="107"/>
                    <a:pt x="2168427" y="107"/>
                  </a:cubicBezTo>
                  <a:cubicBezTo>
                    <a:pt x="2191070" y="107"/>
                    <a:pt x="2214247" y="5554"/>
                    <a:pt x="2231016" y="16021"/>
                  </a:cubicBezTo>
                  <a:lnTo>
                    <a:pt x="2218093" y="47743"/>
                  </a:lnTo>
                  <a:cubicBezTo>
                    <a:pt x="2201324" y="38237"/>
                    <a:pt x="2184128" y="33538"/>
                    <a:pt x="2168106" y="33538"/>
                  </a:cubicBezTo>
                  <a:cubicBezTo>
                    <a:pt x="2143433" y="33538"/>
                    <a:pt x="2133821" y="42830"/>
                    <a:pt x="2133821" y="54152"/>
                  </a:cubicBezTo>
                  <a:cubicBezTo>
                    <a:pt x="2133821" y="87369"/>
                    <a:pt x="2238600" y="64406"/>
                    <a:pt x="2238600" y="130627"/>
                  </a:cubicBezTo>
                  <a:cubicBezTo>
                    <a:pt x="2238600" y="160747"/>
                    <a:pt x="2213607" y="186488"/>
                    <a:pt x="2162125" y="186488"/>
                  </a:cubicBezTo>
                  <a:cubicBezTo>
                    <a:pt x="2133500" y="186488"/>
                    <a:pt x="2104662" y="177943"/>
                    <a:pt x="2088747" y="165660"/>
                  </a:cubicBezTo>
                  <a:close/>
                </a:path>
              </a:pathLst>
            </a:custGeom>
            <a:solidFill>
              <a:schemeClr val="accent2"/>
            </a:solidFill>
            <a:ln w="10662" cap="flat">
              <a:noFill/>
              <a:prstDash val="solid"/>
              <a:miter/>
            </a:ln>
          </p:spPr>
          <p:txBody>
            <a:bodyPr rtlCol="0" anchor="ctr"/>
            <a:lstStyle/>
            <a:p>
              <a:endParaRPr lang="en-GB"/>
            </a:p>
          </p:txBody>
        </p:sp>
      </p:grpSp>
      <p:sp>
        <p:nvSpPr>
          <p:cNvPr id="106" name="Rectangle 105">
            <a:extLst>
              <a:ext uri="{FF2B5EF4-FFF2-40B4-BE49-F238E27FC236}">
                <a16:creationId xmlns:a16="http://schemas.microsoft.com/office/drawing/2014/main" id="{511651C9-6B9A-50F3-180A-905C60173DCB}"/>
              </a:ext>
            </a:extLst>
          </p:cNvPr>
          <p:cNvSpPr/>
          <p:nvPr userDrawn="1"/>
        </p:nvSpPr>
        <p:spPr>
          <a:xfrm>
            <a:off x="12352866" y="0"/>
            <a:ext cx="2302933" cy="24574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b="1" i="0" dirty="0">
                <a:solidFill>
                  <a:schemeClr val="bg1"/>
                </a:solidFill>
                <a:effectLst/>
                <a:latin typeface="+mn-lt"/>
                <a:ea typeface="Calibri" panose="020F0502020204030204" pitchFamily="34" charset="0"/>
              </a:rPr>
              <a:t>NOTE:</a:t>
            </a:r>
          </a:p>
          <a:p>
            <a:r>
              <a:rPr lang="en-US" sz="1200" i="1" dirty="0">
                <a:solidFill>
                  <a:schemeClr val="bg1"/>
                </a:solidFill>
                <a:effectLst/>
                <a:latin typeface="+mn-lt"/>
                <a:ea typeface="Calibri" panose="020F0502020204030204" pitchFamily="34" charset="0"/>
              </a:rPr>
              <a:t>These slides should only be used for sustainability related sections of HFW pitches. To ensure correct usage of our HFW sustainability visual identity, make sure the divider slide is in place before using the body text slide.</a:t>
            </a:r>
          </a:p>
          <a:p>
            <a:r>
              <a:rPr lang="en-US" sz="1200" i="0" dirty="0">
                <a:solidFill>
                  <a:schemeClr val="bg1"/>
                </a:solidFill>
                <a:effectLst/>
                <a:latin typeface="+mj-lt"/>
                <a:ea typeface="Calibri" panose="020F0502020204030204" pitchFamily="34" charset="0"/>
              </a:rPr>
              <a:t>This is the Divider Slide</a:t>
            </a:r>
          </a:p>
        </p:txBody>
      </p:sp>
      <p:sp>
        <p:nvSpPr>
          <p:cNvPr id="5" name="Graphic 13">
            <a:extLst>
              <a:ext uri="{FF2B5EF4-FFF2-40B4-BE49-F238E27FC236}">
                <a16:creationId xmlns:a16="http://schemas.microsoft.com/office/drawing/2014/main" id="{455230E9-19CF-8272-0273-58BE8C03C621}"/>
              </a:ext>
            </a:extLst>
          </p:cNvPr>
          <p:cNvSpPr>
            <a:spLocks noGrp="1" noRot="1" noMove="1" noResize="1" noEditPoints="1" noAdjustHandles="1" noChangeArrowheads="1" noChangeShapeType="1"/>
          </p:cNvSpPr>
          <p:nvPr userDrawn="1"/>
        </p:nvSpPr>
        <p:spPr>
          <a:xfrm>
            <a:off x="585463" y="588011"/>
            <a:ext cx="1522695" cy="922576"/>
          </a:xfrm>
          <a:custGeom>
            <a:avLst/>
            <a:gdLst>
              <a:gd name="connsiteX0" fmla="*/ 618149 w 1522695"/>
              <a:gd name="connsiteY0" fmla="*/ 39943 h 922576"/>
              <a:gd name="connsiteX1" fmla="*/ 421345 w 1522695"/>
              <a:gd name="connsiteY1" fmla="*/ 876531 h 922576"/>
              <a:gd name="connsiteX2" fmla="*/ 388753 w 1522695"/>
              <a:gd name="connsiteY2" fmla="*/ 915365 h 922576"/>
              <a:gd name="connsiteX3" fmla="*/ 349364 w 1522695"/>
              <a:gd name="connsiteY3" fmla="*/ 922577 h 922576"/>
              <a:gd name="connsiteX4" fmla="*/ 328006 w 1522695"/>
              <a:gd name="connsiteY4" fmla="*/ 897196 h 922576"/>
              <a:gd name="connsiteX5" fmla="*/ 431608 w 1522695"/>
              <a:gd name="connsiteY5" fmla="*/ 465033 h 922576"/>
              <a:gd name="connsiteX6" fmla="*/ 224958 w 1522695"/>
              <a:gd name="connsiteY6" fmla="*/ 504838 h 922576"/>
              <a:gd name="connsiteX7" fmla="*/ 185292 w 1522695"/>
              <a:gd name="connsiteY7" fmla="*/ 702473 h 922576"/>
              <a:gd name="connsiteX8" fmla="*/ 159634 w 1522695"/>
              <a:gd name="connsiteY8" fmla="*/ 738117 h 922576"/>
              <a:gd name="connsiteX9" fmla="*/ 102771 w 1522695"/>
              <a:gd name="connsiteY9" fmla="*/ 719671 h 922576"/>
              <a:gd name="connsiteX10" fmla="*/ 150203 w 1522695"/>
              <a:gd name="connsiteY10" fmla="*/ 519816 h 922576"/>
              <a:gd name="connsiteX11" fmla="*/ 62411 w 1522695"/>
              <a:gd name="connsiteY11" fmla="*/ 533547 h 922576"/>
              <a:gd name="connsiteX12" fmla="*/ 0 w 1522695"/>
              <a:gd name="connsiteY12" fmla="*/ 507750 h 922576"/>
              <a:gd name="connsiteX13" fmla="*/ 163795 w 1522695"/>
              <a:gd name="connsiteY13" fmla="*/ 465588 h 922576"/>
              <a:gd name="connsiteX14" fmla="*/ 234805 w 1522695"/>
              <a:gd name="connsiteY14" fmla="*/ 162547 h 922576"/>
              <a:gd name="connsiteX15" fmla="*/ 258244 w 1522695"/>
              <a:gd name="connsiteY15" fmla="*/ 135502 h 922576"/>
              <a:gd name="connsiteX16" fmla="*/ 300961 w 1522695"/>
              <a:gd name="connsiteY16" fmla="*/ 126625 h 922576"/>
              <a:gd name="connsiteX17" fmla="*/ 316772 w 1522695"/>
              <a:gd name="connsiteY17" fmla="*/ 149232 h 922576"/>
              <a:gd name="connsiteX18" fmla="*/ 239104 w 1522695"/>
              <a:gd name="connsiteY18" fmla="*/ 449084 h 922576"/>
              <a:gd name="connsiteX19" fmla="*/ 447697 w 1522695"/>
              <a:gd name="connsiteY19" fmla="*/ 404564 h 922576"/>
              <a:gd name="connsiteX20" fmla="*/ 542839 w 1522695"/>
              <a:gd name="connsiteY20" fmla="*/ 34950 h 922576"/>
              <a:gd name="connsiteX21" fmla="*/ 557402 w 1522695"/>
              <a:gd name="connsiteY21" fmla="*/ 6935 h 922576"/>
              <a:gd name="connsiteX22" fmla="*/ 592907 w 1522695"/>
              <a:gd name="connsiteY22" fmla="*/ 0 h 922576"/>
              <a:gd name="connsiteX23" fmla="*/ 620506 w 1522695"/>
              <a:gd name="connsiteY23" fmla="*/ 25381 h 922576"/>
              <a:gd name="connsiteX24" fmla="*/ 618426 w 1522695"/>
              <a:gd name="connsiteY24" fmla="*/ 40359 h 922576"/>
              <a:gd name="connsiteX25" fmla="*/ 845048 w 1522695"/>
              <a:gd name="connsiteY25" fmla="*/ 445755 h 922576"/>
              <a:gd name="connsiteX26" fmla="*/ 684582 w 1522695"/>
              <a:gd name="connsiteY26" fmla="*/ 476544 h 922576"/>
              <a:gd name="connsiteX27" fmla="*/ 729241 w 1522695"/>
              <a:gd name="connsiteY27" fmla="*/ 311918 h 922576"/>
              <a:gd name="connsiteX28" fmla="*/ 1087204 w 1522695"/>
              <a:gd name="connsiteY28" fmla="*/ 231060 h 922576"/>
              <a:gd name="connsiteX29" fmla="*/ 1110643 w 1522695"/>
              <a:gd name="connsiteY29" fmla="*/ 218994 h 922576"/>
              <a:gd name="connsiteX30" fmla="*/ 1053363 w 1522695"/>
              <a:gd name="connsiteY30" fmla="*/ 185708 h 922576"/>
              <a:gd name="connsiteX31" fmla="*/ 1029785 w 1522695"/>
              <a:gd name="connsiteY31" fmla="*/ 187927 h 922576"/>
              <a:gd name="connsiteX32" fmla="*/ 636872 w 1522695"/>
              <a:gd name="connsiteY32" fmla="*/ 267536 h 922576"/>
              <a:gd name="connsiteX33" fmla="*/ 610798 w 1522695"/>
              <a:gd name="connsiteY33" fmla="*/ 284595 h 922576"/>
              <a:gd name="connsiteX34" fmla="*/ 652683 w 1522695"/>
              <a:gd name="connsiteY34" fmla="*/ 321210 h 922576"/>
              <a:gd name="connsiteX35" fmla="*/ 524948 w 1522695"/>
              <a:gd name="connsiteY35" fmla="*/ 802192 h 922576"/>
              <a:gd name="connsiteX36" fmla="*/ 537569 w 1522695"/>
              <a:gd name="connsiteY36" fmla="*/ 815646 h 922576"/>
              <a:gd name="connsiteX37" fmla="*/ 595542 w 1522695"/>
              <a:gd name="connsiteY37" fmla="*/ 802886 h 922576"/>
              <a:gd name="connsiteX38" fmla="*/ 616762 w 1522695"/>
              <a:gd name="connsiteY38" fmla="*/ 763914 h 922576"/>
              <a:gd name="connsiteX39" fmla="*/ 669603 w 1522695"/>
              <a:gd name="connsiteY39" fmla="*/ 537430 h 922576"/>
              <a:gd name="connsiteX40" fmla="*/ 808988 w 1522695"/>
              <a:gd name="connsiteY40" fmla="*/ 509276 h 922576"/>
              <a:gd name="connsiteX41" fmla="*/ 859611 w 1522695"/>
              <a:gd name="connsiteY41" fmla="*/ 477238 h 922576"/>
              <a:gd name="connsiteX42" fmla="*/ 872232 w 1522695"/>
              <a:gd name="connsiteY42" fmla="*/ 451996 h 922576"/>
              <a:gd name="connsiteX43" fmla="*/ 845187 w 1522695"/>
              <a:gd name="connsiteY43" fmla="*/ 445755 h 922576"/>
              <a:gd name="connsiteX44" fmla="*/ 1479701 w 1522695"/>
              <a:gd name="connsiteY44" fmla="*/ 159218 h 922576"/>
              <a:gd name="connsiteX45" fmla="*/ 1409801 w 1522695"/>
              <a:gd name="connsiteY45" fmla="*/ 217052 h 922576"/>
              <a:gd name="connsiteX46" fmla="*/ 1212442 w 1522695"/>
              <a:gd name="connsiteY46" fmla="*/ 666691 h 922576"/>
              <a:gd name="connsiteX47" fmla="*/ 1231721 w 1522695"/>
              <a:gd name="connsiteY47" fmla="*/ 323845 h 922576"/>
              <a:gd name="connsiteX48" fmla="*/ 1206895 w 1522695"/>
              <a:gd name="connsiteY48" fmla="*/ 300683 h 922576"/>
              <a:gd name="connsiteX49" fmla="*/ 1151002 w 1522695"/>
              <a:gd name="connsiteY49" fmla="*/ 324677 h 922576"/>
              <a:gd name="connsiteX50" fmla="*/ 1137549 w 1522695"/>
              <a:gd name="connsiteY50" fmla="*/ 353525 h 922576"/>
              <a:gd name="connsiteX51" fmla="*/ 980689 w 1522695"/>
              <a:gd name="connsiteY51" fmla="*/ 605528 h 922576"/>
              <a:gd name="connsiteX52" fmla="*/ 1041574 w 1522695"/>
              <a:gd name="connsiteY52" fmla="*/ 331196 h 922576"/>
              <a:gd name="connsiteX53" fmla="*/ 1029369 w 1522695"/>
              <a:gd name="connsiteY53" fmla="*/ 319962 h 922576"/>
              <a:gd name="connsiteX54" fmla="*/ 988871 w 1522695"/>
              <a:gd name="connsiteY54" fmla="*/ 327728 h 922576"/>
              <a:gd name="connsiteX55" fmla="*/ 954892 w 1522695"/>
              <a:gd name="connsiteY55" fmla="*/ 369752 h 922576"/>
              <a:gd name="connsiteX56" fmla="*/ 880553 w 1522695"/>
              <a:gd name="connsiteY56" fmla="*/ 711766 h 922576"/>
              <a:gd name="connsiteX57" fmla="*/ 902328 w 1522695"/>
              <a:gd name="connsiteY57" fmla="*/ 741862 h 922576"/>
              <a:gd name="connsiteX58" fmla="*/ 960024 w 1522695"/>
              <a:gd name="connsiteY58" fmla="*/ 718423 h 922576"/>
              <a:gd name="connsiteX59" fmla="*/ 1144483 w 1522695"/>
              <a:gd name="connsiteY59" fmla="*/ 419542 h 922576"/>
              <a:gd name="connsiteX60" fmla="*/ 1128950 w 1522695"/>
              <a:gd name="connsiteY60" fmla="*/ 709546 h 922576"/>
              <a:gd name="connsiteX61" fmla="*/ 1162375 w 1522695"/>
              <a:gd name="connsiteY61" fmla="*/ 786798 h 922576"/>
              <a:gd name="connsiteX62" fmla="*/ 1235049 w 1522695"/>
              <a:gd name="connsiteY62" fmla="*/ 740891 h 922576"/>
              <a:gd name="connsiteX63" fmla="*/ 1512016 w 1522695"/>
              <a:gd name="connsiteY63" fmla="*/ 203322 h 922576"/>
              <a:gd name="connsiteX64" fmla="*/ 1522696 w 1522695"/>
              <a:gd name="connsiteY64" fmla="*/ 183766 h 922576"/>
              <a:gd name="connsiteX65" fmla="*/ 1479840 w 1522695"/>
              <a:gd name="connsiteY65" fmla="*/ 159357 h 922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522695" h="922576">
                <a:moveTo>
                  <a:pt x="618149" y="39943"/>
                </a:moveTo>
                <a:cubicBezTo>
                  <a:pt x="568774" y="240214"/>
                  <a:pt x="450887" y="614404"/>
                  <a:pt x="421345" y="876531"/>
                </a:cubicBezTo>
                <a:cubicBezTo>
                  <a:pt x="418849" y="898167"/>
                  <a:pt x="420374" y="906627"/>
                  <a:pt x="388753" y="915365"/>
                </a:cubicBezTo>
                <a:cubicBezTo>
                  <a:pt x="373497" y="919526"/>
                  <a:pt x="359350" y="922577"/>
                  <a:pt x="349364" y="922577"/>
                </a:cubicBezTo>
                <a:cubicBezTo>
                  <a:pt x="333831" y="922577"/>
                  <a:pt x="328006" y="913978"/>
                  <a:pt x="328006" y="897196"/>
                </a:cubicBezTo>
                <a:cubicBezTo>
                  <a:pt x="328006" y="851567"/>
                  <a:pt x="390972" y="623280"/>
                  <a:pt x="431608" y="465033"/>
                </a:cubicBezTo>
                <a:cubicBezTo>
                  <a:pt x="377380" y="475296"/>
                  <a:pt x="300961" y="489998"/>
                  <a:pt x="224958" y="504838"/>
                </a:cubicBezTo>
                <a:cubicBezTo>
                  <a:pt x="206512" y="579870"/>
                  <a:pt x="193336" y="642697"/>
                  <a:pt x="185292" y="702473"/>
                </a:cubicBezTo>
                <a:cubicBezTo>
                  <a:pt x="183350" y="716897"/>
                  <a:pt x="185292" y="730489"/>
                  <a:pt x="159634" y="738117"/>
                </a:cubicBezTo>
                <a:cubicBezTo>
                  <a:pt x="116362" y="751015"/>
                  <a:pt x="100968" y="743803"/>
                  <a:pt x="102771" y="719671"/>
                </a:cubicBezTo>
                <a:cubicBezTo>
                  <a:pt x="105683" y="679589"/>
                  <a:pt x="118443" y="648661"/>
                  <a:pt x="150203" y="519816"/>
                </a:cubicBezTo>
                <a:cubicBezTo>
                  <a:pt x="110676" y="527722"/>
                  <a:pt x="79748" y="533547"/>
                  <a:pt x="62411" y="533547"/>
                </a:cubicBezTo>
                <a:cubicBezTo>
                  <a:pt x="38972" y="533547"/>
                  <a:pt x="0" y="517459"/>
                  <a:pt x="0" y="507750"/>
                </a:cubicBezTo>
                <a:cubicBezTo>
                  <a:pt x="0" y="496239"/>
                  <a:pt x="27184" y="496377"/>
                  <a:pt x="163795" y="465588"/>
                </a:cubicBezTo>
                <a:cubicBezTo>
                  <a:pt x="190146" y="360876"/>
                  <a:pt x="227038" y="219133"/>
                  <a:pt x="234805" y="162547"/>
                </a:cubicBezTo>
                <a:cubicBezTo>
                  <a:pt x="236192" y="152145"/>
                  <a:pt x="239798" y="140633"/>
                  <a:pt x="258244" y="135502"/>
                </a:cubicBezTo>
                <a:cubicBezTo>
                  <a:pt x="269339" y="132451"/>
                  <a:pt x="290004" y="126625"/>
                  <a:pt x="300961" y="126625"/>
                </a:cubicBezTo>
                <a:cubicBezTo>
                  <a:pt x="313304" y="126625"/>
                  <a:pt x="316772" y="137721"/>
                  <a:pt x="316772" y="149232"/>
                </a:cubicBezTo>
                <a:cubicBezTo>
                  <a:pt x="316772" y="170036"/>
                  <a:pt x="273916" y="298048"/>
                  <a:pt x="239104" y="449084"/>
                </a:cubicBezTo>
                <a:cubicBezTo>
                  <a:pt x="309837" y="433689"/>
                  <a:pt x="385424" y="417739"/>
                  <a:pt x="447697" y="404564"/>
                </a:cubicBezTo>
                <a:cubicBezTo>
                  <a:pt x="485421" y="261434"/>
                  <a:pt x="522313" y="121910"/>
                  <a:pt x="542839" y="34950"/>
                </a:cubicBezTo>
                <a:cubicBezTo>
                  <a:pt x="547277" y="16227"/>
                  <a:pt x="546445" y="10679"/>
                  <a:pt x="557402" y="6935"/>
                </a:cubicBezTo>
                <a:cubicBezTo>
                  <a:pt x="562533" y="5132"/>
                  <a:pt x="578205" y="0"/>
                  <a:pt x="592907" y="0"/>
                </a:cubicBezTo>
                <a:cubicBezTo>
                  <a:pt x="607608" y="0"/>
                  <a:pt x="620506" y="5548"/>
                  <a:pt x="620506" y="25381"/>
                </a:cubicBezTo>
                <a:cubicBezTo>
                  <a:pt x="620506" y="29680"/>
                  <a:pt x="619813" y="34673"/>
                  <a:pt x="618426" y="40359"/>
                </a:cubicBezTo>
                <a:close/>
                <a:moveTo>
                  <a:pt x="845048" y="445755"/>
                </a:moveTo>
                <a:cubicBezTo>
                  <a:pt x="796922" y="454076"/>
                  <a:pt x="739920" y="465865"/>
                  <a:pt x="684582" y="476544"/>
                </a:cubicBezTo>
                <a:cubicBezTo>
                  <a:pt x="700670" y="412608"/>
                  <a:pt x="716620" y="352970"/>
                  <a:pt x="729241" y="311918"/>
                </a:cubicBezTo>
                <a:cubicBezTo>
                  <a:pt x="838946" y="287092"/>
                  <a:pt x="1056276" y="236053"/>
                  <a:pt x="1087204" y="231060"/>
                </a:cubicBezTo>
                <a:cubicBezTo>
                  <a:pt x="1104679" y="228148"/>
                  <a:pt x="1110643" y="223155"/>
                  <a:pt x="1110643" y="218994"/>
                </a:cubicBezTo>
                <a:cubicBezTo>
                  <a:pt x="1110643" y="211089"/>
                  <a:pt x="1084985" y="185708"/>
                  <a:pt x="1053363" y="185708"/>
                </a:cubicBezTo>
                <a:cubicBezTo>
                  <a:pt x="1046428" y="185708"/>
                  <a:pt x="1038662" y="186402"/>
                  <a:pt x="1029785" y="187927"/>
                </a:cubicBezTo>
                <a:cubicBezTo>
                  <a:pt x="966542" y="199023"/>
                  <a:pt x="709269" y="252974"/>
                  <a:pt x="636872" y="267536"/>
                </a:cubicBezTo>
                <a:cubicBezTo>
                  <a:pt x="618842" y="271142"/>
                  <a:pt x="610798" y="277661"/>
                  <a:pt x="610798" y="284595"/>
                </a:cubicBezTo>
                <a:cubicBezTo>
                  <a:pt x="610798" y="295136"/>
                  <a:pt x="636317" y="316217"/>
                  <a:pt x="652683" y="321210"/>
                </a:cubicBezTo>
                <a:cubicBezTo>
                  <a:pt x="616623" y="461427"/>
                  <a:pt x="524948" y="770571"/>
                  <a:pt x="524948" y="802192"/>
                </a:cubicBezTo>
                <a:cubicBezTo>
                  <a:pt x="524948" y="809959"/>
                  <a:pt x="527583" y="815646"/>
                  <a:pt x="537569" y="815646"/>
                </a:cubicBezTo>
                <a:cubicBezTo>
                  <a:pt x="551299" y="815646"/>
                  <a:pt x="579176" y="809682"/>
                  <a:pt x="595542" y="802886"/>
                </a:cubicBezTo>
                <a:cubicBezTo>
                  <a:pt x="611908" y="795951"/>
                  <a:pt x="611630" y="787907"/>
                  <a:pt x="616762" y="763914"/>
                </a:cubicBezTo>
                <a:cubicBezTo>
                  <a:pt x="627996" y="712043"/>
                  <a:pt x="648106" y="624945"/>
                  <a:pt x="669603" y="537430"/>
                </a:cubicBezTo>
                <a:cubicBezTo>
                  <a:pt x="735620" y="523422"/>
                  <a:pt x="777505" y="516488"/>
                  <a:pt x="808988" y="509276"/>
                </a:cubicBezTo>
                <a:cubicBezTo>
                  <a:pt x="843661" y="501370"/>
                  <a:pt x="850180" y="491107"/>
                  <a:pt x="859611" y="477238"/>
                </a:cubicBezTo>
                <a:cubicBezTo>
                  <a:pt x="865852" y="468223"/>
                  <a:pt x="872232" y="456850"/>
                  <a:pt x="872232" y="451996"/>
                </a:cubicBezTo>
                <a:cubicBezTo>
                  <a:pt x="872232" y="444368"/>
                  <a:pt x="864742" y="442288"/>
                  <a:pt x="845187" y="445755"/>
                </a:cubicBezTo>
                <a:close/>
                <a:moveTo>
                  <a:pt x="1479701" y="159218"/>
                </a:moveTo>
                <a:cubicBezTo>
                  <a:pt x="1459452" y="159218"/>
                  <a:pt x="1437955" y="171978"/>
                  <a:pt x="1409801" y="217052"/>
                </a:cubicBezTo>
                <a:cubicBezTo>
                  <a:pt x="1369857" y="281128"/>
                  <a:pt x="1274854" y="509553"/>
                  <a:pt x="1212442" y="666691"/>
                </a:cubicBezTo>
                <a:cubicBezTo>
                  <a:pt x="1210639" y="502202"/>
                  <a:pt x="1231721" y="360598"/>
                  <a:pt x="1231721" y="323845"/>
                </a:cubicBezTo>
                <a:cubicBezTo>
                  <a:pt x="1231721" y="305399"/>
                  <a:pt x="1220348" y="300683"/>
                  <a:pt x="1206895" y="300683"/>
                </a:cubicBezTo>
                <a:cubicBezTo>
                  <a:pt x="1188310" y="300683"/>
                  <a:pt x="1160988" y="301516"/>
                  <a:pt x="1151002" y="324677"/>
                </a:cubicBezTo>
                <a:cubicBezTo>
                  <a:pt x="1144483" y="339795"/>
                  <a:pt x="1143374" y="343262"/>
                  <a:pt x="1137549" y="353525"/>
                </a:cubicBezTo>
                <a:cubicBezTo>
                  <a:pt x="1125205" y="375577"/>
                  <a:pt x="1053502" y="501786"/>
                  <a:pt x="980689" y="605528"/>
                </a:cubicBezTo>
                <a:cubicBezTo>
                  <a:pt x="1012588" y="432995"/>
                  <a:pt x="1041574" y="349087"/>
                  <a:pt x="1041574" y="331196"/>
                </a:cubicBezTo>
                <a:cubicBezTo>
                  <a:pt x="1041574" y="322874"/>
                  <a:pt x="1036165" y="319962"/>
                  <a:pt x="1029369" y="319962"/>
                </a:cubicBezTo>
                <a:cubicBezTo>
                  <a:pt x="1021325" y="319962"/>
                  <a:pt x="1000799" y="324816"/>
                  <a:pt x="988871" y="327728"/>
                </a:cubicBezTo>
                <a:cubicBezTo>
                  <a:pt x="974864" y="331196"/>
                  <a:pt x="963768" y="335772"/>
                  <a:pt x="954892" y="369752"/>
                </a:cubicBezTo>
                <a:cubicBezTo>
                  <a:pt x="925905" y="479734"/>
                  <a:pt x="880553" y="665720"/>
                  <a:pt x="880553" y="711766"/>
                </a:cubicBezTo>
                <a:cubicBezTo>
                  <a:pt x="880553" y="731876"/>
                  <a:pt x="884575" y="741862"/>
                  <a:pt x="902328" y="741862"/>
                </a:cubicBezTo>
                <a:cubicBezTo>
                  <a:pt x="921051" y="741862"/>
                  <a:pt x="947541" y="736591"/>
                  <a:pt x="960024" y="718423"/>
                </a:cubicBezTo>
                <a:cubicBezTo>
                  <a:pt x="1022851" y="626609"/>
                  <a:pt x="1086372" y="516349"/>
                  <a:pt x="1144483" y="419542"/>
                </a:cubicBezTo>
                <a:cubicBezTo>
                  <a:pt x="1135191" y="510801"/>
                  <a:pt x="1128950" y="628967"/>
                  <a:pt x="1128950" y="709546"/>
                </a:cubicBezTo>
                <a:cubicBezTo>
                  <a:pt x="1128950" y="765023"/>
                  <a:pt x="1130614" y="786798"/>
                  <a:pt x="1162375" y="786798"/>
                </a:cubicBezTo>
                <a:cubicBezTo>
                  <a:pt x="1191223" y="786798"/>
                  <a:pt x="1217019" y="781666"/>
                  <a:pt x="1235049" y="740891"/>
                </a:cubicBezTo>
                <a:cubicBezTo>
                  <a:pt x="1297599" y="599148"/>
                  <a:pt x="1429911" y="303735"/>
                  <a:pt x="1512016" y="203322"/>
                </a:cubicBezTo>
                <a:cubicBezTo>
                  <a:pt x="1517425" y="196803"/>
                  <a:pt x="1522696" y="191256"/>
                  <a:pt x="1522696" y="183766"/>
                </a:cubicBezTo>
                <a:cubicBezTo>
                  <a:pt x="1522696" y="173365"/>
                  <a:pt x="1498563" y="159357"/>
                  <a:pt x="1479840" y="159357"/>
                </a:cubicBezTo>
                <a:close/>
              </a:path>
            </a:pathLst>
          </a:custGeom>
          <a:solidFill>
            <a:schemeClr val="bg1"/>
          </a:solidFill>
          <a:ln w="13855" cap="flat">
            <a:noFill/>
            <a:prstDash val="solid"/>
            <a:miter/>
          </a:ln>
        </p:spPr>
        <p:txBody>
          <a:bodyPr rtlCol="0" anchor="ctr"/>
          <a:lstStyle/>
          <a:p>
            <a:endParaRPr lang="en-GB"/>
          </a:p>
        </p:txBody>
      </p:sp>
    </p:spTree>
    <p:extLst>
      <p:ext uri="{BB962C8B-B14F-4D97-AF65-F5344CB8AC3E}">
        <p14:creationId xmlns:p14="http://schemas.microsoft.com/office/powerpoint/2010/main" val="4141426242"/>
      </p:ext>
    </p:extLst>
  </p:cSld>
  <p:clrMapOvr>
    <a:masterClrMapping/>
  </p:clrMapOvr>
  <p:transition spd="med">
    <p:fade/>
  </p:transition>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Sustainability Content Slide">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DDA220CA-4B95-785B-2350-2F228A541C2D}"/>
              </a:ext>
            </a:extLst>
          </p:cNvPr>
          <p:cNvSpPr>
            <a:spLocks noGrp="1"/>
          </p:cNvSpPr>
          <p:nvPr>
            <p:ph type="pic" sz="quarter" idx="13" hasCustomPrompt="1"/>
          </p:nvPr>
        </p:nvSpPr>
        <p:spPr>
          <a:xfrm>
            <a:off x="7978902" y="0"/>
            <a:ext cx="4213098" cy="6858000"/>
          </a:xfrm>
          <a:custGeom>
            <a:avLst/>
            <a:gdLst>
              <a:gd name="connsiteX0" fmla="*/ 3526067 w 4213098"/>
              <a:gd name="connsiteY0" fmla="*/ 558684 h 6858000"/>
              <a:gd name="connsiteX1" fmla="*/ 3657974 w 4213098"/>
              <a:gd name="connsiteY1" fmla="*/ 737625 h 6858000"/>
              <a:gd name="connsiteX2" fmla="*/ 3478713 w 4213098"/>
              <a:gd name="connsiteY2" fmla="*/ 924743 h 6858000"/>
              <a:gd name="connsiteX3" fmla="*/ 3478660 w 4213098"/>
              <a:gd name="connsiteY3" fmla="*/ 924743 h 6858000"/>
              <a:gd name="connsiteX4" fmla="*/ 3544239 w 4213098"/>
              <a:gd name="connsiteY4" fmla="*/ 814695 h 6858000"/>
              <a:gd name="connsiteX5" fmla="*/ 3482080 w 4213098"/>
              <a:gd name="connsiteY5" fmla="*/ 718918 h 6858000"/>
              <a:gd name="connsiteX6" fmla="*/ 3440659 w 4213098"/>
              <a:gd name="connsiteY6" fmla="*/ 661516 h 6858000"/>
              <a:gd name="connsiteX7" fmla="*/ 3526067 w 4213098"/>
              <a:gd name="connsiteY7" fmla="*/ 558684 h 6858000"/>
              <a:gd name="connsiteX8" fmla="*/ 3462572 w 4213098"/>
              <a:gd name="connsiteY8" fmla="*/ 550507 h 6858000"/>
              <a:gd name="connsiteX9" fmla="*/ 3396779 w 4213098"/>
              <a:gd name="connsiteY9" fmla="*/ 660127 h 6858000"/>
              <a:gd name="connsiteX10" fmla="*/ 3458991 w 4213098"/>
              <a:gd name="connsiteY10" fmla="*/ 756278 h 6858000"/>
              <a:gd name="connsiteX11" fmla="*/ 3459151 w 4213098"/>
              <a:gd name="connsiteY11" fmla="*/ 756385 h 6858000"/>
              <a:gd name="connsiteX12" fmla="*/ 3500306 w 4213098"/>
              <a:gd name="connsiteY12" fmla="*/ 813199 h 6858000"/>
              <a:gd name="connsiteX13" fmla="*/ 3415218 w 4213098"/>
              <a:gd name="connsiteY13" fmla="*/ 916619 h 6858000"/>
              <a:gd name="connsiteX14" fmla="*/ 3283204 w 4213098"/>
              <a:gd name="connsiteY14" fmla="*/ 737625 h 6858000"/>
              <a:gd name="connsiteX15" fmla="*/ 3283311 w 4213098"/>
              <a:gd name="connsiteY15" fmla="*/ 737625 h 6858000"/>
              <a:gd name="connsiteX16" fmla="*/ 3462572 w 4213098"/>
              <a:gd name="connsiteY16" fmla="*/ 550507 h 6858000"/>
              <a:gd name="connsiteX17" fmla="*/ 3470643 w 4213098"/>
              <a:gd name="connsiteY17" fmla="*/ 506413 h 6858000"/>
              <a:gd name="connsiteX18" fmla="*/ 3239431 w 4213098"/>
              <a:gd name="connsiteY18" fmla="*/ 737625 h 6858000"/>
              <a:gd name="connsiteX19" fmla="*/ 3470643 w 4213098"/>
              <a:gd name="connsiteY19" fmla="*/ 968836 h 6858000"/>
              <a:gd name="connsiteX20" fmla="*/ 3701854 w 4213098"/>
              <a:gd name="connsiteY20" fmla="*/ 737625 h 6858000"/>
              <a:gd name="connsiteX21" fmla="*/ 3470643 w 4213098"/>
              <a:gd name="connsiteY21" fmla="*/ 506413 h 6858000"/>
              <a:gd name="connsiteX22" fmla="*/ 1081043 w 4213098"/>
              <a:gd name="connsiteY22" fmla="*/ 0 h 6858000"/>
              <a:gd name="connsiteX23" fmla="*/ 4213098 w 4213098"/>
              <a:gd name="connsiteY23" fmla="*/ 0 h 6858000"/>
              <a:gd name="connsiteX24" fmla="*/ 4213098 w 4213098"/>
              <a:gd name="connsiteY24" fmla="*/ 6858000 h 6858000"/>
              <a:gd name="connsiteX25" fmla="*/ 68876 w 4213098"/>
              <a:gd name="connsiteY25" fmla="*/ 6858000 h 6858000"/>
              <a:gd name="connsiteX26" fmla="*/ 112154 w 4213098"/>
              <a:gd name="connsiteY26" fmla="*/ 6819948 h 6858000"/>
              <a:gd name="connsiteX27" fmla="*/ 573979 w 4213098"/>
              <a:gd name="connsiteY27" fmla="*/ 3429000 h 6858000"/>
              <a:gd name="connsiteX28" fmla="*/ 1030887 w 4213098"/>
              <a:gd name="connsiteY28" fmla="*/ 4528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213098" h="6858000">
                <a:moveTo>
                  <a:pt x="3526067" y="558684"/>
                </a:moveTo>
                <a:cubicBezTo>
                  <a:pt x="3602389" y="582361"/>
                  <a:pt x="3657974" y="653606"/>
                  <a:pt x="3657974" y="737625"/>
                </a:cubicBezTo>
                <a:cubicBezTo>
                  <a:pt x="3657974" y="838212"/>
                  <a:pt x="3578285" y="920520"/>
                  <a:pt x="3478713" y="924743"/>
                </a:cubicBezTo>
                <a:lnTo>
                  <a:pt x="3478660" y="924743"/>
                </a:lnTo>
                <a:cubicBezTo>
                  <a:pt x="3510461" y="897592"/>
                  <a:pt x="3542742" y="858629"/>
                  <a:pt x="3544239" y="814695"/>
                </a:cubicBezTo>
                <a:cubicBezTo>
                  <a:pt x="3545842" y="767769"/>
                  <a:pt x="3511369" y="736716"/>
                  <a:pt x="3482080" y="718918"/>
                </a:cubicBezTo>
                <a:cubicBezTo>
                  <a:pt x="3453914" y="701441"/>
                  <a:pt x="3439964" y="682093"/>
                  <a:pt x="3440659" y="661516"/>
                </a:cubicBezTo>
                <a:cubicBezTo>
                  <a:pt x="3441888" y="623836"/>
                  <a:pt x="3489028" y="580651"/>
                  <a:pt x="3526067" y="558684"/>
                </a:cubicBezTo>
                <a:close/>
                <a:moveTo>
                  <a:pt x="3462572" y="550507"/>
                </a:moveTo>
                <a:cubicBezTo>
                  <a:pt x="3429756" y="578406"/>
                  <a:pt x="3398168" y="617369"/>
                  <a:pt x="3396779" y="660127"/>
                </a:cubicBezTo>
                <a:cubicBezTo>
                  <a:pt x="3395282" y="706732"/>
                  <a:pt x="3429809" y="738159"/>
                  <a:pt x="3458991" y="756278"/>
                </a:cubicBezTo>
                <a:lnTo>
                  <a:pt x="3459151" y="756385"/>
                </a:lnTo>
                <a:cubicBezTo>
                  <a:pt x="3487532" y="773648"/>
                  <a:pt x="3501000" y="792248"/>
                  <a:pt x="3500306" y="813199"/>
                </a:cubicBezTo>
                <a:cubicBezTo>
                  <a:pt x="3499023" y="851841"/>
                  <a:pt x="3451241" y="895561"/>
                  <a:pt x="3415218" y="916619"/>
                </a:cubicBezTo>
                <a:cubicBezTo>
                  <a:pt x="3338842" y="892995"/>
                  <a:pt x="3283204" y="821697"/>
                  <a:pt x="3283204" y="737625"/>
                </a:cubicBezTo>
                <a:lnTo>
                  <a:pt x="3283311" y="737625"/>
                </a:lnTo>
                <a:cubicBezTo>
                  <a:pt x="3283311" y="637038"/>
                  <a:pt x="3363001" y="554729"/>
                  <a:pt x="3462572" y="550507"/>
                </a:cubicBezTo>
                <a:close/>
                <a:moveTo>
                  <a:pt x="3470643" y="506413"/>
                </a:moveTo>
                <a:cubicBezTo>
                  <a:pt x="3343172" y="506413"/>
                  <a:pt x="3239431" y="610154"/>
                  <a:pt x="3239431" y="737625"/>
                </a:cubicBezTo>
                <a:cubicBezTo>
                  <a:pt x="3239431" y="865096"/>
                  <a:pt x="3343172" y="968836"/>
                  <a:pt x="3470643" y="968836"/>
                </a:cubicBezTo>
                <a:cubicBezTo>
                  <a:pt x="3598114" y="968836"/>
                  <a:pt x="3701854" y="865096"/>
                  <a:pt x="3701854" y="737625"/>
                </a:cubicBezTo>
                <a:cubicBezTo>
                  <a:pt x="3701854" y="610154"/>
                  <a:pt x="3598114" y="506413"/>
                  <a:pt x="3470643" y="506413"/>
                </a:cubicBezTo>
                <a:close/>
                <a:moveTo>
                  <a:pt x="1081043" y="0"/>
                </a:moveTo>
                <a:lnTo>
                  <a:pt x="4213098" y="0"/>
                </a:lnTo>
                <a:lnTo>
                  <a:pt x="4213098" y="6858000"/>
                </a:lnTo>
                <a:lnTo>
                  <a:pt x="68876" y="6858000"/>
                </a:lnTo>
                <a:lnTo>
                  <a:pt x="112154" y="6819948"/>
                </a:lnTo>
                <a:cubicBezTo>
                  <a:pt x="746576" y="6221005"/>
                  <a:pt x="1813134" y="4604032"/>
                  <a:pt x="573979" y="3429000"/>
                </a:cubicBezTo>
                <a:cubicBezTo>
                  <a:pt x="-667668" y="2225906"/>
                  <a:pt x="398366" y="652909"/>
                  <a:pt x="1030887" y="45282"/>
                </a:cubicBezTo>
                <a:close/>
              </a:path>
            </a:pathLst>
          </a:custGeom>
          <a:solidFill>
            <a:schemeClr val="tx1"/>
          </a:solidFill>
        </p:spPr>
        <p:txBody>
          <a:bodyPr wrap="square" anchor="ctr">
            <a:noAutofit/>
          </a:bodyPr>
          <a:lstStyle>
            <a:lvl1pPr algn="ctr">
              <a:defRPr sz="2400" b="0">
                <a:solidFill>
                  <a:schemeClr val="bg1"/>
                </a:solidFill>
                <a:latin typeface="+mj-lt"/>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US" dirty="0"/>
              <a:t>ADD RELATED </a:t>
            </a:r>
            <a:br>
              <a:rPr lang="en-US" dirty="0"/>
            </a:br>
            <a:r>
              <a:rPr lang="en-US" dirty="0"/>
              <a:t>IMAGE </a:t>
            </a:r>
            <a:br>
              <a:rPr lang="en-US" dirty="0"/>
            </a:br>
            <a:r>
              <a:rPr lang="en-US" dirty="0"/>
              <a:t>FROM HFW </a:t>
            </a:r>
            <a:br>
              <a:rPr lang="en-US" dirty="0"/>
            </a:br>
            <a:r>
              <a:rPr lang="en-US" dirty="0"/>
              <a:t>IMAGE </a:t>
            </a:r>
            <a:br>
              <a:rPr lang="en-US" dirty="0"/>
            </a:br>
            <a:r>
              <a:rPr lang="en-US" dirty="0"/>
              <a:t>LIBRARY</a:t>
            </a:r>
          </a:p>
        </p:txBody>
      </p:sp>
      <p:sp>
        <p:nvSpPr>
          <p:cNvPr id="3" name="Content Placeholder 2">
            <a:extLst>
              <a:ext uri="{FF2B5EF4-FFF2-40B4-BE49-F238E27FC236}">
                <a16:creationId xmlns:a16="http://schemas.microsoft.com/office/drawing/2014/main" id="{2C9D0421-861F-1F31-21DF-28C03450E328}"/>
              </a:ext>
            </a:extLst>
          </p:cNvPr>
          <p:cNvSpPr>
            <a:spLocks noGrp="1"/>
          </p:cNvSpPr>
          <p:nvPr userDrawn="1">
            <p:ph idx="1" hasCustomPrompt="1"/>
          </p:nvPr>
        </p:nvSpPr>
        <p:spPr>
          <a:xfrm>
            <a:off x="508000" y="1244882"/>
            <a:ext cx="7125758" cy="291662"/>
          </a:xfrm>
        </p:spPr>
        <p:txBody>
          <a:bodyPr vert="horz" lIns="0" tIns="45720" rIns="0" bIns="45720" numCol="1" spcCol="288000" rtlCol="0">
            <a:noAutofit/>
          </a:bodyPr>
          <a:lstStyle>
            <a:lvl1pPr>
              <a:defRPr lang="en-US" cap="all" baseline="0" dirty="0" smtClean="0"/>
            </a:lvl1pPr>
            <a:lvl2pPr>
              <a:defRPr lang="en-US" dirty="0"/>
            </a:lvl2pPr>
            <a:lvl3pPr>
              <a:defRPr lang="en-US" dirty="0"/>
            </a:lvl3pPr>
            <a:lvl4pPr>
              <a:defRPr lang="en-US" dirty="0"/>
            </a:lvl4pPr>
            <a:lvl5pPr>
              <a:defRPr lang="en-US" dirty="0"/>
            </a:lvl5pPr>
          </a:lstStyle>
          <a:p>
            <a:pPr lvl="0"/>
            <a:r>
              <a:rPr lang="en-US" dirty="0"/>
              <a:t>subhead</a:t>
            </a:r>
          </a:p>
        </p:txBody>
      </p:sp>
      <p:sp>
        <p:nvSpPr>
          <p:cNvPr id="6" name="Content Placeholder 2">
            <a:extLst>
              <a:ext uri="{FF2B5EF4-FFF2-40B4-BE49-F238E27FC236}">
                <a16:creationId xmlns:a16="http://schemas.microsoft.com/office/drawing/2014/main" id="{61D7555B-43BA-02AA-50BE-B9AF296C7453}"/>
              </a:ext>
            </a:extLst>
          </p:cNvPr>
          <p:cNvSpPr>
            <a:spLocks noGrp="1"/>
          </p:cNvSpPr>
          <p:nvPr userDrawn="1">
            <p:ph idx="16" hasCustomPrompt="1"/>
          </p:nvPr>
        </p:nvSpPr>
        <p:spPr>
          <a:xfrm>
            <a:off x="508000" y="1613017"/>
            <a:ext cx="3400425" cy="4606808"/>
          </a:xfrm>
        </p:spPr>
        <p:txBody>
          <a:bodyPr vert="horz" lIns="0" tIns="45720" rIns="0" bIns="4572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7" name="Content Placeholder 2">
            <a:extLst>
              <a:ext uri="{FF2B5EF4-FFF2-40B4-BE49-F238E27FC236}">
                <a16:creationId xmlns:a16="http://schemas.microsoft.com/office/drawing/2014/main" id="{8162D917-4EB8-0AA3-2A7D-903E7F4B9B6A}"/>
              </a:ext>
            </a:extLst>
          </p:cNvPr>
          <p:cNvSpPr>
            <a:spLocks noGrp="1"/>
          </p:cNvSpPr>
          <p:nvPr userDrawn="1">
            <p:ph idx="24" hasCustomPrompt="1"/>
          </p:nvPr>
        </p:nvSpPr>
        <p:spPr>
          <a:xfrm>
            <a:off x="4233333" y="1613017"/>
            <a:ext cx="3400425" cy="4606808"/>
          </a:xfrm>
        </p:spPr>
        <p:txBody>
          <a:bodyPr vert="horz" lIns="0" tIns="45720" rIns="0" bIns="4572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8" name="Title 7">
            <a:extLst>
              <a:ext uri="{FF2B5EF4-FFF2-40B4-BE49-F238E27FC236}">
                <a16:creationId xmlns:a16="http://schemas.microsoft.com/office/drawing/2014/main" id="{FA5CD49C-2730-8DD2-580B-DC8E3ACF2A69}"/>
              </a:ext>
            </a:extLst>
          </p:cNvPr>
          <p:cNvSpPr>
            <a:spLocks noGrp="1"/>
          </p:cNvSpPr>
          <p:nvPr userDrawn="1">
            <p:ph type="title" hasCustomPrompt="1"/>
          </p:nvPr>
        </p:nvSpPr>
        <p:spPr>
          <a:xfrm>
            <a:off x="508001" y="454014"/>
            <a:ext cx="7125758" cy="731320"/>
          </a:xfrm>
        </p:spPr>
        <p:txBody>
          <a:bodyPr/>
          <a:lstStyle/>
          <a:p>
            <a:r>
              <a:rPr lang="en-US" dirty="0"/>
              <a:t>TITLE: subtitle</a:t>
            </a:r>
            <a:endParaRPr lang="en-GB" dirty="0"/>
          </a:p>
        </p:txBody>
      </p:sp>
      <p:sp>
        <p:nvSpPr>
          <p:cNvPr id="9" name="Footer Placeholder 8">
            <a:extLst>
              <a:ext uri="{FF2B5EF4-FFF2-40B4-BE49-F238E27FC236}">
                <a16:creationId xmlns:a16="http://schemas.microsoft.com/office/drawing/2014/main" id="{CD537503-3559-7CB7-6716-3DB036465665}"/>
              </a:ext>
            </a:extLst>
          </p:cNvPr>
          <p:cNvSpPr>
            <a:spLocks noGrp="1"/>
          </p:cNvSpPr>
          <p:nvPr userDrawn="1">
            <p:ph type="ftr" sz="quarter" idx="25"/>
          </p:nvPr>
        </p:nvSpPr>
        <p:spPr/>
        <p:txBody>
          <a:bodyPr/>
          <a:lstStyle/>
          <a:p>
            <a:r>
              <a:rPr lang="en-GB"/>
              <a:t>INSERT FOOTER HERE</a:t>
            </a:r>
            <a:endParaRPr lang="en-GB" dirty="0"/>
          </a:p>
        </p:txBody>
      </p:sp>
      <p:sp>
        <p:nvSpPr>
          <p:cNvPr id="10" name="Slide Number Placeholder 9">
            <a:extLst>
              <a:ext uri="{FF2B5EF4-FFF2-40B4-BE49-F238E27FC236}">
                <a16:creationId xmlns:a16="http://schemas.microsoft.com/office/drawing/2014/main" id="{5B9E1058-E867-C15F-2C4F-F07C635F0FC8}"/>
              </a:ext>
            </a:extLst>
          </p:cNvPr>
          <p:cNvSpPr>
            <a:spLocks noGrp="1"/>
          </p:cNvSpPr>
          <p:nvPr userDrawn="1">
            <p:ph type="sldNum" sz="quarter" idx="26"/>
          </p:nvPr>
        </p:nvSpPr>
        <p:spPr/>
        <p:txBody>
          <a:bodyPr/>
          <a:lstStyle>
            <a:lvl1pPr>
              <a:defRPr>
                <a:solidFill>
                  <a:schemeClr val="bg1"/>
                </a:solidFill>
              </a:defRPr>
            </a:lvl1pPr>
          </a:lstStyle>
          <a:p>
            <a:fld id="{8CFE0557-AA98-4E6C-B0C3-581794696B68}" type="slidenum">
              <a:rPr lang="en-GB" smtClean="0"/>
              <a:pPr/>
              <a:t>‹#›</a:t>
            </a:fld>
            <a:endParaRPr lang="en-GB" dirty="0"/>
          </a:p>
        </p:txBody>
      </p:sp>
      <p:sp>
        <p:nvSpPr>
          <p:cNvPr id="5" name="Freeform: Shape 4">
            <a:extLst>
              <a:ext uri="{FF2B5EF4-FFF2-40B4-BE49-F238E27FC236}">
                <a16:creationId xmlns:a16="http://schemas.microsoft.com/office/drawing/2014/main" id="{5BB28205-96F3-E227-029B-8D26B45E433E}"/>
              </a:ext>
            </a:extLst>
          </p:cNvPr>
          <p:cNvSpPr>
            <a:spLocks noGrp="1" noRot="1" noMove="1" noResize="1" noEditPoints="1" noAdjustHandles="1" noChangeArrowheads="1" noChangeShapeType="1"/>
          </p:cNvSpPr>
          <p:nvPr userDrawn="1"/>
        </p:nvSpPr>
        <p:spPr>
          <a:xfrm>
            <a:off x="11218333" y="506413"/>
            <a:ext cx="462423" cy="462423"/>
          </a:xfrm>
          <a:custGeom>
            <a:avLst/>
            <a:gdLst>
              <a:gd name="connsiteX0" fmla="*/ 477540 w 955079"/>
              <a:gd name="connsiteY0" fmla="*/ 0 h 955079"/>
              <a:gd name="connsiteX1" fmla="*/ 0 w 955079"/>
              <a:gd name="connsiteY1" fmla="*/ 477540 h 955079"/>
              <a:gd name="connsiteX2" fmla="*/ 477540 w 955079"/>
              <a:gd name="connsiteY2" fmla="*/ 955079 h 955079"/>
              <a:gd name="connsiteX3" fmla="*/ 955080 w 955079"/>
              <a:gd name="connsiteY3" fmla="*/ 477540 h 955079"/>
              <a:gd name="connsiteX4" fmla="*/ 477540 w 955079"/>
              <a:gd name="connsiteY4" fmla="*/ 0 h 955079"/>
              <a:gd name="connsiteX5" fmla="*/ 90629 w 955079"/>
              <a:gd name="connsiteY5" fmla="*/ 477540 h 955079"/>
              <a:gd name="connsiteX6" fmla="*/ 460871 w 955079"/>
              <a:gd name="connsiteY6" fmla="*/ 91070 h 955079"/>
              <a:gd name="connsiteX7" fmla="*/ 324983 w 955079"/>
              <a:gd name="connsiteY7" fmla="*/ 317477 h 955079"/>
              <a:gd name="connsiteX8" fmla="*/ 453475 w 955079"/>
              <a:gd name="connsiteY8" fmla="*/ 516065 h 955079"/>
              <a:gd name="connsiteX9" fmla="*/ 453806 w 955079"/>
              <a:gd name="connsiteY9" fmla="*/ 516286 h 955079"/>
              <a:gd name="connsiteX10" fmla="*/ 538805 w 955079"/>
              <a:gd name="connsiteY10" fmla="*/ 633629 h 955079"/>
              <a:gd name="connsiteX11" fmla="*/ 363067 w 955079"/>
              <a:gd name="connsiteY11" fmla="*/ 847230 h 955079"/>
              <a:gd name="connsiteX12" fmla="*/ 90408 w 955079"/>
              <a:gd name="connsiteY12" fmla="*/ 477540 h 955079"/>
              <a:gd name="connsiteX13" fmla="*/ 494098 w 955079"/>
              <a:gd name="connsiteY13" fmla="*/ 864009 h 955079"/>
              <a:gd name="connsiteX14" fmla="*/ 629544 w 955079"/>
              <a:gd name="connsiteY14" fmla="*/ 636720 h 955079"/>
              <a:gd name="connsiteX15" fmla="*/ 501163 w 955079"/>
              <a:gd name="connsiteY15" fmla="*/ 438904 h 955079"/>
              <a:gd name="connsiteX16" fmla="*/ 415612 w 955079"/>
              <a:gd name="connsiteY16" fmla="*/ 320347 h 955079"/>
              <a:gd name="connsiteX17" fmla="*/ 592012 w 955079"/>
              <a:gd name="connsiteY17" fmla="*/ 107960 h 955079"/>
              <a:gd name="connsiteX18" fmla="*/ 864451 w 955079"/>
              <a:gd name="connsiteY18" fmla="*/ 477540 h 955079"/>
              <a:gd name="connsiteX19" fmla="*/ 494208 w 955079"/>
              <a:gd name="connsiteY19" fmla="*/ 864009 h 955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55079" h="955079">
                <a:moveTo>
                  <a:pt x="477540" y="0"/>
                </a:moveTo>
                <a:cubicBezTo>
                  <a:pt x="214264" y="0"/>
                  <a:pt x="0" y="214264"/>
                  <a:pt x="0" y="477540"/>
                </a:cubicBezTo>
                <a:cubicBezTo>
                  <a:pt x="0" y="740816"/>
                  <a:pt x="214264" y="955079"/>
                  <a:pt x="477540" y="955079"/>
                </a:cubicBezTo>
                <a:cubicBezTo>
                  <a:pt x="740816" y="955079"/>
                  <a:pt x="955080" y="740816"/>
                  <a:pt x="955080" y="477540"/>
                </a:cubicBezTo>
                <a:cubicBezTo>
                  <a:pt x="955080" y="214264"/>
                  <a:pt x="740816" y="0"/>
                  <a:pt x="477540" y="0"/>
                </a:cubicBezTo>
                <a:close/>
                <a:moveTo>
                  <a:pt x="90629" y="477540"/>
                </a:moveTo>
                <a:cubicBezTo>
                  <a:pt x="90629" y="269789"/>
                  <a:pt x="255218" y="99791"/>
                  <a:pt x="460871" y="91070"/>
                </a:cubicBezTo>
                <a:cubicBezTo>
                  <a:pt x="393093" y="148693"/>
                  <a:pt x="327853" y="229166"/>
                  <a:pt x="324983" y="317477"/>
                </a:cubicBezTo>
                <a:cubicBezTo>
                  <a:pt x="321892" y="413735"/>
                  <a:pt x="393203" y="478644"/>
                  <a:pt x="453475" y="516065"/>
                </a:cubicBezTo>
                <a:lnTo>
                  <a:pt x="453806" y="516286"/>
                </a:lnTo>
                <a:cubicBezTo>
                  <a:pt x="512422" y="551941"/>
                  <a:pt x="540240" y="590357"/>
                  <a:pt x="538805" y="633629"/>
                </a:cubicBezTo>
                <a:cubicBezTo>
                  <a:pt x="536156" y="713439"/>
                  <a:pt x="437469" y="803737"/>
                  <a:pt x="363067" y="847230"/>
                </a:cubicBezTo>
                <a:cubicBezTo>
                  <a:pt x="205322" y="798438"/>
                  <a:pt x="90408" y="651180"/>
                  <a:pt x="90408" y="477540"/>
                </a:cubicBezTo>
                <a:close/>
                <a:moveTo>
                  <a:pt x="494098" y="864009"/>
                </a:moveTo>
                <a:cubicBezTo>
                  <a:pt x="559779" y="807932"/>
                  <a:pt x="626453" y="727459"/>
                  <a:pt x="629544" y="636720"/>
                </a:cubicBezTo>
                <a:cubicBezTo>
                  <a:pt x="632856" y="539799"/>
                  <a:pt x="561656" y="475663"/>
                  <a:pt x="501163" y="438904"/>
                </a:cubicBezTo>
                <a:cubicBezTo>
                  <a:pt x="442988" y="402807"/>
                  <a:pt x="414177" y="362846"/>
                  <a:pt x="415612" y="320347"/>
                </a:cubicBezTo>
                <a:cubicBezTo>
                  <a:pt x="418151" y="242523"/>
                  <a:pt x="515513" y="153329"/>
                  <a:pt x="592012" y="107960"/>
                </a:cubicBezTo>
                <a:cubicBezTo>
                  <a:pt x="749647" y="156862"/>
                  <a:pt x="864451" y="304009"/>
                  <a:pt x="864451" y="477540"/>
                </a:cubicBezTo>
                <a:cubicBezTo>
                  <a:pt x="864451" y="685290"/>
                  <a:pt x="699862" y="855288"/>
                  <a:pt x="494208" y="864009"/>
                </a:cubicBezTo>
                <a:close/>
              </a:path>
            </a:pathLst>
          </a:custGeom>
          <a:solidFill>
            <a:srgbClr val="FFFFFF"/>
          </a:solidFill>
          <a:ln w="11031" cap="flat">
            <a:noFill/>
            <a:prstDash val="solid"/>
            <a:miter/>
          </a:ln>
        </p:spPr>
        <p:txBody>
          <a:bodyPr rtlCol="0" anchor="ctr"/>
          <a:lstStyle/>
          <a:p>
            <a:endParaRPr lang="en-GB"/>
          </a:p>
        </p:txBody>
      </p:sp>
      <p:sp>
        <p:nvSpPr>
          <p:cNvPr id="11" name="TextBox 4">
            <a:extLst>
              <a:ext uri="{FF2B5EF4-FFF2-40B4-BE49-F238E27FC236}">
                <a16:creationId xmlns:a16="http://schemas.microsoft.com/office/drawing/2014/main" id="{0CFBD18A-98C7-F85D-6B9D-F604D1013EE2}"/>
              </a:ext>
            </a:extLst>
          </p:cNvPr>
          <p:cNvSpPr txBox="1"/>
          <p:nvPr userDrawn="1"/>
        </p:nvSpPr>
        <p:spPr>
          <a:xfrm>
            <a:off x="12346713" y="2534018"/>
            <a:ext cx="1934437" cy="318548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INSERTING IMAGES:</a:t>
            </a:r>
          </a:p>
          <a:p>
            <a:pPr marL="179388" indent="-179388">
              <a:spcBef>
                <a:spcPts val="200"/>
              </a:spcBef>
              <a:spcAft>
                <a:spcPts val="200"/>
              </a:spcAft>
              <a:buFont typeface="+mj-lt"/>
              <a:buAutoNum type="arabicPeriod"/>
            </a:pPr>
            <a:r>
              <a:rPr lang="en-US" sz="900" dirty="0">
                <a:solidFill>
                  <a:schemeClr val="tx1"/>
                </a:solidFill>
                <a:latin typeface="+mn-lt"/>
              </a:rPr>
              <a:t>Simply click the image placeholder and select your image.</a:t>
            </a:r>
          </a:p>
          <a:p>
            <a:pPr marL="179388" indent="-179388">
              <a:spcBef>
                <a:spcPts val="200"/>
              </a:spcBef>
              <a:spcAft>
                <a:spcPts val="200"/>
              </a:spcAft>
              <a:buFont typeface="+mj-lt"/>
              <a:buAutoNum type="arabicPeriod"/>
            </a:pPr>
            <a:r>
              <a:rPr lang="en-US" sz="900" dirty="0">
                <a:solidFill>
                  <a:schemeClr val="tx1"/>
                </a:solidFill>
                <a:latin typeface="+mn-lt"/>
              </a:rPr>
              <a:t>Once your image is inserted into the shape it may be distorted. (Stretched or Squashed)</a:t>
            </a:r>
          </a:p>
          <a:p>
            <a:pPr marL="179388" indent="-179388">
              <a:spcBef>
                <a:spcPts val="200"/>
              </a:spcBef>
              <a:spcAft>
                <a:spcPts val="200"/>
              </a:spcAft>
              <a:buFont typeface="+mj-lt"/>
              <a:buAutoNum type="arabicPeriod"/>
            </a:pPr>
            <a:endParaRPr lang="en-US" sz="900" dirty="0">
              <a:solidFill>
                <a:schemeClr val="tx1"/>
              </a:solidFill>
              <a:latin typeface="+mn-lt"/>
            </a:endParaRPr>
          </a:p>
          <a:p>
            <a:pPr>
              <a:spcBef>
                <a:spcPts val="200"/>
              </a:spcBef>
              <a:spcAft>
                <a:spcPts val="200"/>
              </a:spcAft>
            </a:pPr>
            <a:r>
              <a:rPr lang="en-US" sz="900" b="1" dirty="0">
                <a:solidFill>
                  <a:schemeClr val="tx1"/>
                </a:solidFill>
                <a:latin typeface="+mn-lt"/>
              </a:rPr>
              <a:t>To fix this:</a:t>
            </a:r>
          </a:p>
          <a:p>
            <a:pPr marL="179388" indent="-179388">
              <a:spcBef>
                <a:spcPts val="200"/>
              </a:spcBef>
              <a:spcAft>
                <a:spcPts val="200"/>
              </a:spcAft>
              <a:buFont typeface="+mj-lt"/>
              <a:buAutoNum type="arabicPeriod"/>
            </a:pPr>
            <a:r>
              <a:rPr lang="en-US" sz="900" dirty="0">
                <a:solidFill>
                  <a:schemeClr val="tx1"/>
                </a:solidFill>
                <a:latin typeface="+mn-lt"/>
              </a:rPr>
              <a:t>Click on the image and from the top menu under </a:t>
            </a:r>
            <a:r>
              <a:rPr lang="en-US" sz="900" b="1" dirty="0">
                <a:solidFill>
                  <a:schemeClr val="tx1"/>
                </a:solidFill>
                <a:latin typeface="+mn-lt"/>
              </a:rPr>
              <a:t>PICTURE FORMAT </a:t>
            </a:r>
            <a:r>
              <a:rPr lang="en-US" sz="900" dirty="0">
                <a:solidFill>
                  <a:schemeClr val="tx1"/>
                </a:solidFill>
                <a:latin typeface="+mn-lt"/>
              </a:rPr>
              <a:t>select the </a:t>
            </a:r>
            <a:r>
              <a:rPr lang="en-US" sz="900" b="1" dirty="0">
                <a:solidFill>
                  <a:schemeClr val="tx1"/>
                </a:solidFill>
                <a:latin typeface="+mn-lt"/>
              </a:rPr>
              <a:t>CROP</a:t>
            </a:r>
            <a:r>
              <a:rPr lang="en-US" sz="900" dirty="0">
                <a:solidFill>
                  <a:schemeClr val="tx1"/>
                </a:solidFill>
                <a:latin typeface="+mn-lt"/>
              </a:rPr>
              <a:t> on the right and from the drop down menu select </a:t>
            </a:r>
            <a:r>
              <a:rPr lang="en-US" sz="900" b="1" kern="1200" dirty="0">
                <a:solidFill>
                  <a:schemeClr val="tx1"/>
                </a:solidFill>
                <a:latin typeface="+mn-lt"/>
                <a:ea typeface="+mn-ea"/>
                <a:cs typeface="+mn-cs"/>
              </a:rPr>
              <a:t>FILL</a:t>
            </a:r>
          </a:p>
          <a:p>
            <a:pPr marL="179388" indent="-179388">
              <a:spcBef>
                <a:spcPts val="200"/>
              </a:spcBef>
              <a:spcAft>
                <a:spcPts val="200"/>
              </a:spcAft>
              <a:buFont typeface="+mj-lt"/>
              <a:buAutoNum type="arabicPeriod"/>
            </a:pPr>
            <a:r>
              <a:rPr lang="en-US" sz="900" b="0" kern="1200" dirty="0">
                <a:solidFill>
                  <a:schemeClr val="tx1"/>
                </a:solidFill>
                <a:latin typeface="+mn-lt"/>
                <a:ea typeface="+mn-ea"/>
                <a:cs typeface="+mn-cs"/>
              </a:rPr>
              <a:t>From here you can move the image within the shape for best visual appearance</a:t>
            </a:r>
          </a:p>
        </p:txBody>
      </p:sp>
      <p:sp>
        <p:nvSpPr>
          <p:cNvPr id="13" name="Rectangle 12">
            <a:extLst>
              <a:ext uri="{FF2B5EF4-FFF2-40B4-BE49-F238E27FC236}">
                <a16:creationId xmlns:a16="http://schemas.microsoft.com/office/drawing/2014/main" id="{4E0D922A-7FA5-2849-478F-2D531958894D}"/>
              </a:ext>
            </a:extLst>
          </p:cNvPr>
          <p:cNvSpPr/>
          <p:nvPr userDrawn="1"/>
        </p:nvSpPr>
        <p:spPr>
          <a:xfrm>
            <a:off x="12352866" y="0"/>
            <a:ext cx="2302933" cy="24574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b="1" i="0" dirty="0">
                <a:solidFill>
                  <a:schemeClr val="bg1"/>
                </a:solidFill>
                <a:effectLst/>
                <a:latin typeface="+mn-lt"/>
                <a:ea typeface="Calibri" panose="020F0502020204030204" pitchFamily="34" charset="0"/>
              </a:rPr>
              <a:t>NOTE:</a:t>
            </a:r>
          </a:p>
          <a:p>
            <a:r>
              <a:rPr lang="en-US" sz="1200" i="1" dirty="0">
                <a:solidFill>
                  <a:schemeClr val="bg1"/>
                </a:solidFill>
                <a:effectLst/>
                <a:latin typeface="+mn-lt"/>
                <a:ea typeface="Calibri" panose="020F0502020204030204" pitchFamily="34" charset="0"/>
              </a:rPr>
              <a:t>These slides should only be used for sustainability related sections of HFW pitches. To ensure correct usage of our HFW sustainability visual identity, make sure the divider slide is in place before using the body text slide.</a:t>
            </a:r>
          </a:p>
          <a:p>
            <a:r>
              <a:rPr lang="en-US" sz="1200" i="0" dirty="0">
                <a:solidFill>
                  <a:schemeClr val="bg1"/>
                </a:solidFill>
                <a:effectLst/>
                <a:latin typeface="+mj-lt"/>
                <a:ea typeface="Calibri" panose="020F0502020204030204" pitchFamily="34" charset="0"/>
              </a:rPr>
              <a:t>This is the Body text Slide</a:t>
            </a:r>
          </a:p>
        </p:txBody>
      </p:sp>
    </p:spTree>
    <p:extLst>
      <p:ext uri="{BB962C8B-B14F-4D97-AF65-F5344CB8AC3E}">
        <p14:creationId xmlns:p14="http://schemas.microsoft.com/office/powerpoint/2010/main" val="2287699409"/>
      </p:ext>
    </p:extLst>
  </p:cSld>
  <p:clrMapOvr>
    <a:masterClrMapping/>
  </p:clrMapOvr>
  <p:transition spd="med">
    <p:fade/>
  </p:transition>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Clos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FCAB5C5-FCD1-102C-8C5D-56BF4FF2B35E}"/>
              </a:ext>
            </a:extLst>
          </p:cNvPr>
          <p:cNvSpPr/>
          <p:nvPr userDrawn="1"/>
        </p:nvSpPr>
        <p:spPr>
          <a:xfrm>
            <a:off x="0" y="0"/>
            <a:ext cx="1219199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5F816705-64C6-CAED-FD39-B5FFCFADD825}"/>
              </a:ext>
            </a:extLst>
          </p:cNvPr>
          <p:cNvSpPr txBox="1"/>
          <p:nvPr userDrawn="1"/>
        </p:nvSpPr>
        <p:spPr>
          <a:xfrm>
            <a:off x="508000" y="4930432"/>
            <a:ext cx="7643814" cy="1115498"/>
          </a:xfrm>
          <a:prstGeom prst="rect">
            <a:avLst/>
          </a:prstGeom>
          <a:noFill/>
        </p:spPr>
        <p:txBody>
          <a:bodyPr wrap="square" lIns="0" rtlCol="0">
            <a:spAutoFit/>
          </a:bodyPr>
          <a:lstStyle/>
          <a:p>
            <a:pPr algn="l">
              <a:lnSpc>
                <a:spcPct val="110000"/>
              </a:lnSpc>
              <a:spcBef>
                <a:spcPts val="300"/>
              </a:spcBef>
              <a:spcAft>
                <a:spcPts val="300"/>
              </a:spcAft>
            </a:pPr>
            <a:r>
              <a:rPr lang="en-US" sz="1600" b="1" i="0" u="none" strike="noStrike" baseline="0" dirty="0">
                <a:solidFill>
                  <a:schemeClr val="accent2"/>
                </a:solidFill>
                <a:latin typeface="+mn-lt"/>
              </a:rPr>
              <a:t>hfw.com</a:t>
            </a:r>
          </a:p>
          <a:p>
            <a:pPr algn="l">
              <a:lnSpc>
                <a:spcPct val="110000"/>
              </a:lnSpc>
              <a:spcBef>
                <a:spcPts val="300"/>
              </a:spcBef>
              <a:spcAft>
                <a:spcPts val="300"/>
              </a:spcAft>
            </a:pPr>
            <a:r>
              <a:rPr lang="en-US" sz="900" b="0" i="0" u="none" strike="noStrike" baseline="0" dirty="0">
                <a:solidFill>
                  <a:srgbClr val="FFFFFF"/>
                </a:solidFill>
                <a:latin typeface="Montserrat" pitchFamily="2" charset="0"/>
              </a:rPr>
              <a:t>© 2024 Holman Fenwick Willan LLP. All rights reserved. </a:t>
            </a:r>
          </a:p>
          <a:p>
            <a:pPr algn="l">
              <a:lnSpc>
                <a:spcPct val="110000"/>
              </a:lnSpc>
              <a:spcBef>
                <a:spcPts val="300"/>
              </a:spcBef>
              <a:spcAft>
                <a:spcPts val="300"/>
              </a:spcAft>
            </a:pPr>
            <a:r>
              <a:rPr lang="en-US" sz="900" b="0" i="0" u="none" strike="noStrike" baseline="0" dirty="0">
                <a:solidFill>
                  <a:srgbClr val="FFFFFF"/>
                </a:solidFill>
                <a:latin typeface="Montserrat" pitchFamily="2" charset="0"/>
              </a:rPr>
              <a:t>Whilst every care has been taken to ensure the accuracy of this information at the time of publication, the information is intended as guidance only. It should not be considered as legal advice. Holman Fenwick Willan LLP is the Data Controller for any data that it holds about you. To correct your personal details or change your mailing preferences please email hfwenquiries@hfw.com</a:t>
            </a:r>
            <a:endParaRPr lang="en-GB" sz="100" dirty="0"/>
          </a:p>
        </p:txBody>
      </p:sp>
      <p:sp>
        <p:nvSpPr>
          <p:cNvPr id="10" name="TextBox 9">
            <a:extLst>
              <a:ext uri="{FF2B5EF4-FFF2-40B4-BE49-F238E27FC236}">
                <a16:creationId xmlns:a16="http://schemas.microsoft.com/office/drawing/2014/main" id="{CCA01A76-FD09-EE82-8548-301AE8AFD667}"/>
              </a:ext>
            </a:extLst>
          </p:cNvPr>
          <p:cNvSpPr txBox="1"/>
          <p:nvPr userDrawn="1"/>
        </p:nvSpPr>
        <p:spPr>
          <a:xfrm>
            <a:off x="508000" y="6026149"/>
            <a:ext cx="4897967" cy="282706"/>
          </a:xfrm>
          <a:prstGeom prst="rect">
            <a:avLst/>
          </a:prstGeom>
          <a:noFill/>
        </p:spPr>
        <p:txBody>
          <a:bodyPr wrap="square" lIns="0" rtlCol="0">
            <a:spAutoFit/>
          </a:bodyPr>
          <a:lstStyle/>
          <a:p>
            <a:pPr algn="l">
              <a:lnSpc>
                <a:spcPct val="110000"/>
              </a:lnSpc>
              <a:spcBef>
                <a:spcPts val="200"/>
              </a:spcBef>
              <a:spcAft>
                <a:spcPts val="200"/>
              </a:spcAft>
            </a:pPr>
            <a:r>
              <a:rPr lang="en-US" sz="1200" b="0" i="0" u="none" strike="noStrike" baseline="0" dirty="0">
                <a:solidFill>
                  <a:srgbClr val="FFFFFF"/>
                </a:solidFill>
                <a:latin typeface="Montserrat" pitchFamily="2" charset="0"/>
              </a:rPr>
              <a:t>Americas   |   Europe   |   Middle East   |   Asia Pacific</a:t>
            </a:r>
            <a:endParaRPr lang="en-GB" sz="500" dirty="0"/>
          </a:p>
        </p:txBody>
      </p:sp>
      <p:sp>
        <p:nvSpPr>
          <p:cNvPr id="2" name="Graphic 13">
            <a:extLst>
              <a:ext uri="{FF2B5EF4-FFF2-40B4-BE49-F238E27FC236}">
                <a16:creationId xmlns:a16="http://schemas.microsoft.com/office/drawing/2014/main" id="{7053C0A5-CB07-DA53-72C5-5D97627394AE}"/>
              </a:ext>
            </a:extLst>
          </p:cNvPr>
          <p:cNvSpPr>
            <a:spLocks noGrp="1" noRot="1" noMove="1" noResize="1" noEditPoints="1" noAdjustHandles="1" noChangeArrowheads="1" noChangeShapeType="1"/>
          </p:cNvSpPr>
          <p:nvPr userDrawn="1"/>
        </p:nvSpPr>
        <p:spPr>
          <a:xfrm>
            <a:off x="585463" y="588011"/>
            <a:ext cx="1522695" cy="922576"/>
          </a:xfrm>
          <a:custGeom>
            <a:avLst/>
            <a:gdLst>
              <a:gd name="connsiteX0" fmla="*/ 618149 w 1522695"/>
              <a:gd name="connsiteY0" fmla="*/ 39943 h 922576"/>
              <a:gd name="connsiteX1" fmla="*/ 421345 w 1522695"/>
              <a:gd name="connsiteY1" fmla="*/ 876531 h 922576"/>
              <a:gd name="connsiteX2" fmla="*/ 388753 w 1522695"/>
              <a:gd name="connsiteY2" fmla="*/ 915365 h 922576"/>
              <a:gd name="connsiteX3" fmla="*/ 349364 w 1522695"/>
              <a:gd name="connsiteY3" fmla="*/ 922577 h 922576"/>
              <a:gd name="connsiteX4" fmla="*/ 328006 w 1522695"/>
              <a:gd name="connsiteY4" fmla="*/ 897196 h 922576"/>
              <a:gd name="connsiteX5" fmla="*/ 431608 w 1522695"/>
              <a:gd name="connsiteY5" fmla="*/ 465033 h 922576"/>
              <a:gd name="connsiteX6" fmla="*/ 224958 w 1522695"/>
              <a:gd name="connsiteY6" fmla="*/ 504838 h 922576"/>
              <a:gd name="connsiteX7" fmla="*/ 185292 w 1522695"/>
              <a:gd name="connsiteY7" fmla="*/ 702473 h 922576"/>
              <a:gd name="connsiteX8" fmla="*/ 159634 w 1522695"/>
              <a:gd name="connsiteY8" fmla="*/ 738117 h 922576"/>
              <a:gd name="connsiteX9" fmla="*/ 102771 w 1522695"/>
              <a:gd name="connsiteY9" fmla="*/ 719671 h 922576"/>
              <a:gd name="connsiteX10" fmla="*/ 150203 w 1522695"/>
              <a:gd name="connsiteY10" fmla="*/ 519816 h 922576"/>
              <a:gd name="connsiteX11" fmla="*/ 62411 w 1522695"/>
              <a:gd name="connsiteY11" fmla="*/ 533547 h 922576"/>
              <a:gd name="connsiteX12" fmla="*/ 0 w 1522695"/>
              <a:gd name="connsiteY12" fmla="*/ 507750 h 922576"/>
              <a:gd name="connsiteX13" fmla="*/ 163795 w 1522695"/>
              <a:gd name="connsiteY13" fmla="*/ 465588 h 922576"/>
              <a:gd name="connsiteX14" fmla="*/ 234805 w 1522695"/>
              <a:gd name="connsiteY14" fmla="*/ 162547 h 922576"/>
              <a:gd name="connsiteX15" fmla="*/ 258244 w 1522695"/>
              <a:gd name="connsiteY15" fmla="*/ 135502 h 922576"/>
              <a:gd name="connsiteX16" fmla="*/ 300961 w 1522695"/>
              <a:gd name="connsiteY16" fmla="*/ 126625 h 922576"/>
              <a:gd name="connsiteX17" fmla="*/ 316772 w 1522695"/>
              <a:gd name="connsiteY17" fmla="*/ 149232 h 922576"/>
              <a:gd name="connsiteX18" fmla="*/ 239104 w 1522695"/>
              <a:gd name="connsiteY18" fmla="*/ 449084 h 922576"/>
              <a:gd name="connsiteX19" fmla="*/ 447697 w 1522695"/>
              <a:gd name="connsiteY19" fmla="*/ 404564 h 922576"/>
              <a:gd name="connsiteX20" fmla="*/ 542839 w 1522695"/>
              <a:gd name="connsiteY20" fmla="*/ 34950 h 922576"/>
              <a:gd name="connsiteX21" fmla="*/ 557402 w 1522695"/>
              <a:gd name="connsiteY21" fmla="*/ 6935 h 922576"/>
              <a:gd name="connsiteX22" fmla="*/ 592907 w 1522695"/>
              <a:gd name="connsiteY22" fmla="*/ 0 h 922576"/>
              <a:gd name="connsiteX23" fmla="*/ 620506 w 1522695"/>
              <a:gd name="connsiteY23" fmla="*/ 25381 h 922576"/>
              <a:gd name="connsiteX24" fmla="*/ 618426 w 1522695"/>
              <a:gd name="connsiteY24" fmla="*/ 40359 h 922576"/>
              <a:gd name="connsiteX25" fmla="*/ 845048 w 1522695"/>
              <a:gd name="connsiteY25" fmla="*/ 445755 h 922576"/>
              <a:gd name="connsiteX26" fmla="*/ 684582 w 1522695"/>
              <a:gd name="connsiteY26" fmla="*/ 476544 h 922576"/>
              <a:gd name="connsiteX27" fmla="*/ 729241 w 1522695"/>
              <a:gd name="connsiteY27" fmla="*/ 311918 h 922576"/>
              <a:gd name="connsiteX28" fmla="*/ 1087204 w 1522695"/>
              <a:gd name="connsiteY28" fmla="*/ 231060 h 922576"/>
              <a:gd name="connsiteX29" fmla="*/ 1110643 w 1522695"/>
              <a:gd name="connsiteY29" fmla="*/ 218994 h 922576"/>
              <a:gd name="connsiteX30" fmla="*/ 1053363 w 1522695"/>
              <a:gd name="connsiteY30" fmla="*/ 185708 h 922576"/>
              <a:gd name="connsiteX31" fmla="*/ 1029785 w 1522695"/>
              <a:gd name="connsiteY31" fmla="*/ 187927 h 922576"/>
              <a:gd name="connsiteX32" fmla="*/ 636872 w 1522695"/>
              <a:gd name="connsiteY32" fmla="*/ 267536 h 922576"/>
              <a:gd name="connsiteX33" fmla="*/ 610798 w 1522695"/>
              <a:gd name="connsiteY33" fmla="*/ 284595 h 922576"/>
              <a:gd name="connsiteX34" fmla="*/ 652683 w 1522695"/>
              <a:gd name="connsiteY34" fmla="*/ 321210 h 922576"/>
              <a:gd name="connsiteX35" fmla="*/ 524948 w 1522695"/>
              <a:gd name="connsiteY35" fmla="*/ 802192 h 922576"/>
              <a:gd name="connsiteX36" fmla="*/ 537569 w 1522695"/>
              <a:gd name="connsiteY36" fmla="*/ 815646 h 922576"/>
              <a:gd name="connsiteX37" fmla="*/ 595542 w 1522695"/>
              <a:gd name="connsiteY37" fmla="*/ 802886 h 922576"/>
              <a:gd name="connsiteX38" fmla="*/ 616762 w 1522695"/>
              <a:gd name="connsiteY38" fmla="*/ 763914 h 922576"/>
              <a:gd name="connsiteX39" fmla="*/ 669603 w 1522695"/>
              <a:gd name="connsiteY39" fmla="*/ 537430 h 922576"/>
              <a:gd name="connsiteX40" fmla="*/ 808988 w 1522695"/>
              <a:gd name="connsiteY40" fmla="*/ 509276 h 922576"/>
              <a:gd name="connsiteX41" fmla="*/ 859611 w 1522695"/>
              <a:gd name="connsiteY41" fmla="*/ 477238 h 922576"/>
              <a:gd name="connsiteX42" fmla="*/ 872232 w 1522695"/>
              <a:gd name="connsiteY42" fmla="*/ 451996 h 922576"/>
              <a:gd name="connsiteX43" fmla="*/ 845187 w 1522695"/>
              <a:gd name="connsiteY43" fmla="*/ 445755 h 922576"/>
              <a:gd name="connsiteX44" fmla="*/ 1479701 w 1522695"/>
              <a:gd name="connsiteY44" fmla="*/ 159218 h 922576"/>
              <a:gd name="connsiteX45" fmla="*/ 1409801 w 1522695"/>
              <a:gd name="connsiteY45" fmla="*/ 217052 h 922576"/>
              <a:gd name="connsiteX46" fmla="*/ 1212442 w 1522695"/>
              <a:gd name="connsiteY46" fmla="*/ 666691 h 922576"/>
              <a:gd name="connsiteX47" fmla="*/ 1231721 w 1522695"/>
              <a:gd name="connsiteY47" fmla="*/ 323845 h 922576"/>
              <a:gd name="connsiteX48" fmla="*/ 1206895 w 1522695"/>
              <a:gd name="connsiteY48" fmla="*/ 300683 h 922576"/>
              <a:gd name="connsiteX49" fmla="*/ 1151002 w 1522695"/>
              <a:gd name="connsiteY49" fmla="*/ 324677 h 922576"/>
              <a:gd name="connsiteX50" fmla="*/ 1137549 w 1522695"/>
              <a:gd name="connsiteY50" fmla="*/ 353525 h 922576"/>
              <a:gd name="connsiteX51" fmla="*/ 980689 w 1522695"/>
              <a:gd name="connsiteY51" fmla="*/ 605528 h 922576"/>
              <a:gd name="connsiteX52" fmla="*/ 1041574 w 1522695"/>
              <a:gd name="connsiteY52" fmla="*/ 331196 h 922576"/>
              <a:gd name="connsiteX53" fmla="*/ 1029369 w 1522695"/>
              <a:gd name="connsiteY53" fmla="*/ 319962 h 922576"/>
              <a:gd name="connsiteX54" fmla="*/ 988871 w 1522695"/>
              <a:gd name="connsiteY54" fmla="*/ 327728 h 922576"/>
              <a:gd name="connsiteX55" fmla="*/ 954892 w 1522695"/>
              <a:gd name="connsiteY55" fmla="*/ 369752 h 922576"/>
              <a:gd name="connsiteX56" fmla="*/ 880553 w 1522695"/>
              <a:gd name="connsiteY56" fmla="*/ 711766 h 922576"/>
              <a:gd name="connsiteX57" fmla="*/ 902328 w 1522695"/>
              <a:gd name="connsiteY57" fmla="*/ 741862 h 922576"/>
              <a:gd name="connsiteX58" fmla="*/ 960024 w 1522695"/>
              <a:gd name="connsiteY58" fmla="*/ 718423 h 922576"/>
              <a:gd name="connsiteX59" fmla="*/ 1144483 w 1522695"/>
              <a:gd name="connsiteY59" fmla="*/ 419542 h 922576"/>
              <a:gd name="connsiteX60" fmla="*/ 1128950 w 1522695"/>
              <a:gd name="connsiteY60" fmla="*/ 709546 h 922576"/>
              <a:gd name="connsiteX61" fmla="*/ 1162375 w 1522695"/>
              <a:gd name="connsiteY61" fmla="*/ 786798 h 922576"/>
              <a:gd name="connsiteX62" fmla="*/ 1235049 w 1522695"/>
              <a:gd name="connsiteY62" fmla="*/ 740891 h 922576"/>
              <a:gd name="connsiteX63" fmla="*/ 1512016 w 1522695"/>
              <a:gd name="connsiteY63" fmla="*/ 203322 h 922576"/>
              <a:gd name="connsiteX64" fmla="*/ 1522696 w 1522695"/>
              <a:gd name="connsiteY64" fmla="*/ 183766 h 922576"/>
              <a:gd name="connsiteX65" fmla="*/ 1479840 w 1522695"/>
              <a:gd name="connsiteY65" fmla="*/ 159357 h 922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522695" h="922576">
                <a:moveTo>
                  <a:pt x="618149" y="39943"/>
                </a:moveTo>
                <a:cubicBezTo>
                  <a:pt x="568774" y="240214"/>
                  <a:pt x="450887" y="614404"/>
                  <a:pt x="421345" y="876531"/>
                </a:cubicBezTo>
                <a:cubicBezTo>
                  <a:pt x="418849" y="898167"/>
                  <a:pt x="420374" y="906627"/>
                  <a:pt x="388753" y="915365"/>
                </a:cubicBezTo>
                <a:cubicBezTo>
                  <a:pt x="373497" y="919526"/>
                  <a:pt x="359350" y="922577"/>
                  <a:pt x="349364" y="922577"/>
                </a:cubicBezTo>
                <a:cubicBezTo>
                  <a:pt x="333831" y="922577"/>
                  <a:pt x="328006" y="913978"/>
                  <a:pt x="328006" y="897196"/>
                </a:cubicBezTo>
                <a:cubicBezTo>
                  <a:pt x="328006" y="851567"/>
                  <a:pt x="390972" y="623280"/>
                  <a:pt x="431608" y="465033"/>
                </a:cubicBezTo>
                <a:cubicBezTo>
                  <a:pt x="377380" y="475296"/>
                  <a:pt x="300961" y="489998"/>
                  <a:pt x="224958" y="504838"/>
                </a:cubicBezTo>
                <a:cubicBezTo>
                  <a:pt x="206512" y="579870"/>
                  <a:pt x="193336" y="642697"/>
                  <a:pt x="185292" y="702473"/>
                </a:cubicBezTo>
                <a:cubicBezTo>
                  <a:pt x="183350" y="716897"/>
                  <a:pt x="185292" y="730489"/>
                  <a:pt x="159634" y="738117"/>
                </a:cubicBezTo>
                <a:cubicBezTo>
                  <a:pt x="116362" y="751015"/>
                  <a:pt x="100968" y="743803"/>
                  <a:pt x="102771" y="719671"/>
                </a:cubicBezTo>
                <a:cubicBezTo>
                  <a:pt x="105683" y="679589"/>
                  <a:pt x="118443" y="648661"/>
                  <a:pt x="150203" y="519816"/>
                </a:cubicBezTo>
                <a:cubicBezTo>
                  <a:pt x="110676" y="527722"/>
                  <a:pt x="79748" y="533547"/>
                  <a:pt x="62411" y="533547"/>
                </a:cubicBezTo>
                <a:cubicBezTo>
                  <a:pt x="38972" y="533547"/>
                  <a:pt x="0" y="517459"/>
                  <a:pt x="0" y="507750"/>
                </a:cubicBezTo>
                <a:cubicBezTo>
                  <a:pt x="0" y="496239"/>
                  <a:pt x="27184" y="496377"/>
                  <a:pt x="163795" y="465588"/>
                </a:cubicBezTo>
                <a:cubicBezTo>
                  <a:pt x="190146" y="360876"/>
                  <a:pt x="227038" y="219133"/>
                  <a:pt x="234805" y="162547"/>
                </a:cubicBezTo>
                <a:cubicBezTo>
                  <a:pt x="236192" y="152145"/>
                  <a:pt x="239798" y="140633"/>
                  <a:pt x="258244" y="135502"/>
                </a:cubicBezTo>
                <a:cubicBezTo>
                  <a:pt x="269339" y="132451"/>
                  <a:pt x="290004" y="126625"/>
                  <a:pt x="300961" y="126625"/>
                </a:cubicBezTo>
                <a:cubicBezTo>
                  <a:pt x="313304" y="126625"/>
                  <a:pt x="316772" y="137721"/>
                  <a:pt x="316772" y="149232"/>
                </a:cubicBezTo>
                <a:cubicBezTo>
                  <a:pt x="316772" y="170036"/>
                  <a:pt x="273916" y="298048"/>
                  <a:pt x="239104" y="449084"/>
                </a:cubicBezTo>
                <a:cubicBezTo>
                  <a:pt x="309837" y="433689"/>
                  <a:pt x="385424" y="417739"/>
                  <a:pt x="447697" y="404564"/>
                </a:cubicBezTo>
                <a:cubicBezTo>
                  <a:pt x="485421" y="261434"/>
                  <a:pt x="522313" y="121910"/>
                  <a:pt x="542839" y="34950"/>
                </a:cubicBezTo>
                <a:cubicBezTo>
                  <a:pt x="547277" y="16227"/>
                  <a:pt x="546445" y="10679"/>
                  <a:pt x="557402" y="6935"/>
                </a:cubicBezTo>
                <a:cubicBezTo>
                  <a:pt x="562533" y="5132"/>
                  <a:pt x="578205" y="0"/>
                  <a:pt x="592907" y="0"/>
                </a:cubicBezTo>
                <a:cubicBezTo>
                  <a:pt x="607608" y="0"/>
                  <a:pt x="620506" y="5548"/>
                  <a:pt x="620506" y="25381"/>
                </a:cubicBezTo>
                <a:cubicBezTo>
                  <a:pt x="620506" y="29680"/>
                  <a:pt x="619813" y="34673"/>
                  <a:pt x="618426" y="40359"/>
                </a:cubicBezTo>
                <a:close/>
                <a:moveTo>
                  <a:pt x="845048" y="445755"/>
                </a:moveTo>
                <a:cubicBezTo>
                  <a:pt x="796922" y="454076"/>
                  <a:pt x="739920" y="465865"/>
                  <a:pt x="684582" y="476544"/>
                </a:cubicBezTo>
                <a:cubicBezTo>
                  <a:pt x="700670" y="412608"/>
                  <a:pt x="716620" y="352970"/>
                  <a:pt x="729241" y="311918"/>
                </a:cubicBezTo>
                <a:cubicBezTo>
                  <a:pt x="838946" y="287092"/>
                  <a:pt x="1056276" y="236053"/>
                  <a:pt x="1087204" y="231060"/>
                </a:cubicBezTo>
                <a:cubicBezTo>
                  <a:pt x="1104679" y="228148"/>
                  <a:pt x="1110643" y="223155"/>
                  <a:pt x="1110643" y="218994"/>
                </a:cubicBezTo>
                <a:cubicBezTo>
                  <a:pt x="1110643" y="211089"/>
                  <a:pt x="1084985" y="185708"/>
                  <a:pt x="1053363" y="185708"/>
                </a:cubicBezTo>
                <a:cubicBezTo>
                  <a:pt x="1046428" y="185708"/>
                  <a:pt x="1038662" y="186402"/>
                  <a:pt x="1029785" y="187927"/>
                </a:cubicBezTo>
                <a:cubicBezTo>
                  <a:pt x="966542" y="199023"/>
                  <a:pt x="709269" y="252974"/>
                  <a:pt x="636872" y="267536"/>
                </a:cubicBezTo>
                <a:cubicBezTo>
                  <a:pt x="618842" y="271142"/>
                  <a:pt x="610798" y="277661"/>
                  <a:pt x="610798" y="284595"/>
                </a:cubicBezTo>
                <a:cubicBezTo>
                  <a:pt x="610798" y="295136"/>
                  <a:pt x="636317" y="316217"/>
                  <a:pt x="652683" y="321210"/>
                </a:cubicBezTo>
                <a:cubicBezTo>
                  <a:pt x="616623" y="461427"/>
                  <a:pt x="524948" y="770571"/>
                  <a:pt x="524948" y="802192"/>
                </a:cubicBezTo>
                <a:cubicBezTo>
                  <a:pt x="524948" y="809959"/>
                  <a:pt x="527583" y="815646"/>
                  <a:pt x="537569" y="815646"/>
                </a:cubicBezTo>
                <a:cubicBezTo>
                  <a:pt x="551299" y="815646"/>
                  <a:pt x="579176" y="809682"/>
                  <a:pt x="595542" y="802886"/>
                </a:cubicBezTo>
                <a:cubicBezTo>
                  <a:pt x="611908" y="795951"/>
                  <a:pt x="611630" y="787907"/>
                  <a:pt x="616762" y="763914"/>
                </a:cubicBezTo>
                <a:cubicBezTo>
                  <a:pt x="627996" y="712043"/>
                  <a:pt x="648106" y="624945"/>
                  <a:pt x="669603" y="537430"/>
                </a:cubicBezTo>
                <a:cubicBezTo>
                  <a:pt x="735620" y="523422"/>
                  <a:pt x="777505" y="516488"/>
                  <a:pt x="808988" y="509276"/>
                </a:cubicBezTo>
                <a:cubicBezTo>
                  <a:pt x="843661" y="501370"/>
                  <a:pt x="850180" y="491107"/>
                  <a:pt x="859611" y="477238"/>
                </a:cubicBezTo>
                <a:cubicBezTo>
                  <a:pt x="865852" y="468223"/>
                  <a:pt x="872232" y="456850"/>
                  <a:pt x="872232" y="451996"/>
                </a:cubicBezTo>
                <a:cubicBezTo>
                  <a:pt x="872232" y="444368"/>
                  <a:pt x="864742" y="442288"/>
                  <a:pt x="845187" y="445755"/>
                </a:cubicBezTo>
                <a:close/>
                <a:moveTo>
                  <a:pt x="1479701" y="159218"/>
                </a:moveTo>
                <a:cubicBezTo>
                  <a:pt x="1459452" y="159218"/>
                  <a:pt x="1437955" y="171978"/>
                  <a:pt x="1409801" y="217052"/>
                </a:cubicBezTo>
                <a:cubicBezTo>
                  <a:pt x="1369857" y="281128"/>
                  <a:pt x="1274854" y="509553"/>
                  <a:pt x="1212442" y="666691"/>
                </a:cubicBezTo>
                <a:cubicBezTo>
                  <a:pt x="1210639" y="502202"/>
                  <a:pt x="1231721" y="360598"/>
                  <a:pt x="1231721" y="323845"/>
                </a:cubicBezTo>
                <a:cubicBezTo>
                  <a:pt x="1231721" y="305399"/>
                  <a:pt x="1220348" y="300683"/>
                  <a:pt x="1206895" y="300683"/>
                </a:cubicBezTo>
                <a:cubicBezTo>
                  <a:pt x="1188310" y="300683"/>
                  <a:pt x="1160988" y="301516"/>
                  <a:pt x="1151002" y="324677"/>
                </a:cubicBezTo>
                <a:cubicBezTo>
                  <a:pt x="1144483" y="339795"/>
                  <a:pt x="1143374" y="343262"/>
                  <a:pt x="1137549" y="353525"/>
                </a:cubicBezTo>
                <a:cubicBezTo>
                  <a:pt x="1125205" y="375577"/>
                  <a:pt x="1053502" y="501786"/>
                  <a:pt x="980689" y="605528"/>
                </a:cubicBezTo>
                <a:cubicBezTo>
                  <a:pt x="1012588" y="432995"/>
                  <a:pt x="1041574" y="349087"/>
                  <a:pt x="1041574" y="331196"/>
                </a:cubicBezTo>
                <a:cubicBezTo>
                  <a:pt x="1041574" y="322874"/>
                  <a:pt x="1036165" y="319962"/>
                  <a:pt x="1029369" y="319962"/>
                </a:cubicBezTo>
                <a:cubicBezTo>
                  <a:pt x="1021325" y="319962"/>
                  <a:pt x="1000799" y="324816"/>
                  <a:pt x="988871" y="327728"/>
                </a:cubicBezTo>
                <a:cubicBezTo>
                  <a:pt x="974864" y="331196"/>
                  <a:pt x="963768" y="335772"/>
                  <a:pt x="954892" y="369752"/>
                </a:cubicBezTo>
                <a:cubicBezTo>
                  <a:pt x="925905" y="479734"/>
                  <a:pt x="880553" y="665720"/>
                  <a:pt x="880553" y="711766"/>
                </a:cubicBezTo>
                <a:cubicBezTo>
                  <a:pt x="880553" y="731876"/>
                  <a:pt x="884575" y="741862"/>
                  <a:pt x="902328" y="741862"/>
                </a:cubicBezTo>
                <a:cubicBezTo>
                  <a:pt x="921051" y="741862"/>
                  <a:pt x="947541" y="736591"/>
                  <a:pt x="960024" y="718423"/>
                </a:cubicBezTo>
                <a:cubicBezTo>
                  <a:pt x="1022851" y="626609"/>
                  <a:pt x="1086372" y="516349"/>
                  <a:pt x="1144483" y="419542"/>
                </a:cubicBezTo>
                <a:cubicBezTo>
                  <a:pt x="1135191" y="510801"/>
                  <a:pt x="1128950" y="628967"/>
                  <a:pt x="1128950" y="709546"/>
                </a:cubicBezTo>
                <a:cubicBezTo>
                  <a:pt x="1128950" y="765023"/>
                  <a:pt x="1130614" y="786798"/>
                  <a:pt x="1162375" y="786798"/>
                </a:cubicBezTo>
                <a:cubicBezTo>
                  <a:pt x="1191223" y="786798"/>
                  <a:pt x="1217019" y="781666"/>
                  <a:pt x="1235049" y="740891"/>
                </a:cubicBezTo>
                <a:cubicBezTo>
                  <a:pt x="1297599" y="599148"/>
                  <a:pt x="1429911" y="303735"/>
                  <a:pt x="1512016" y="203322"/>
                </a:cubicBezTo>
                <a:cubicBezTo>
                  <a:pt x="1517425" y="196803"/>
                  <a:pt x="1522696" y="191256"/>
                  <a:pt x="1522696" y="183766"/>
                </a:cubicBezTo>
                <a:cubicBezTo>
                  <a:pt x="1522696" y="173365"/>
                  <a:pt x="1498563" y="159357"/>
                  <a:pt x="1479840" y="159357"/>
                </a:cubicBezTo>
                <a:close/>
              </a:path>
            </a:pathLst>
          </a:custGeom>
          <a:solidFill>
            <a:schemeClr val="bg1"/>
          </a:solidFill>
          <a:ln w="13855" cap="flat">
            <a:noFill/>
            <a:prstDash val="solid"/>
            <a:miter/>
          </a:ln>
        </p:spPr>
        <p:txBody>
          <a:bodyPr rtlCol="0" anchor="ctr"/>
          <a:lstStyle/>
          <a:p>
            <a:endParaRPr lang="en-GB"/>
          </a:p>
        </p:txBody>
      </p:sp>
    </p:spTree>
    <p:extLst>
      <p:ext uri="{BB962C8B-B14F-4D97-AF65-F5344CB8AC3E}">
        <p14:creationId xmlns:p14="http://schemas.microsoft.com/office/powerpoint/2010/main" val="1168101504"/>
      </p:ext>
    </p:extLst>
  </p:cSld>
  <p:clrMapOvr>
    <a:masterClrMapping/>
  </p:clrMapOvr>
  <p:transition spd="med">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HIPPING Boilerplate">
    <p:spTree>
      <p:nvGrpSpPr>
        <p:cNvPr id="1" name=""/>
        <p:cNvGrpSpPr/>
        <p:nvPr/>
      </p:nvGrpSpPr>
      <p:grpSpPr>
        <a:xfrm>
          <a:off x="0" y="0"/>
          <a:ext cx="0" cy="0"/>
          <a:chOff x="0" y="0"/>
          <a:chExt cx="0" cy="0"/>
        </a:xfrm>
      </p:grpSpPr>
      <p:pic>
        <p:nvPicPr>
          <p:cNvPr id="45" name="Graphic 44">
            <a:extLst>
              <a:ext uri="{FF2B5EF4-FFF2-40B4-BE49-F238E27FC236}">
                <a16:creationId xmlns:a16="http://schemas.microsoft.com/office/drawing/2014/main" id="{7C4F3DDB-5FEC-175E-F5D5-45A41EE3F37B}"/>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66653"/>
          <a:stretch/>
        </p:blipFill>
        <p:spPr>
          <a:xfrm>
            <a:off x="8126412" y="0"/>
            <a:ext cx="4065587" cy="6858000"/>
          </a:xfrm>
          <a:prstGeom prst="rect">
            <a:avLst/>
          </a:prstGeom>
        </p:spPr>
      </p:pic>
      <p:sp>
        <p:nvSpPr>
          <p:cNvPr id="19" name="TextBox 18">
            <a:extLst>
              <a:ext uri="{FF2B5EF4-FFF2-40B4-BE49-F238E27FC236}">
                <a16:creationId xmlns:a16="http://schemas.microsoft.com/office/drawing/2014/main" id="{9A3147A1-8B85-C541-5789-A15D5D5E2A94}"/>
              </a:ext>
            </a:extLst>
          </p:cNvPr>
          <p:cNvSpPr txBox="1"/>
          <p:nvPr userDrawn="1"/>
        </p:nvSpPr>
        <p:spPr>
          <a:xfrm>
            <a:off x="8839200" y="1123947"/>
            <a:ext cx="2843213" cy="1447800"/>
          </a:xfrm>
          <a:prstGeom prst="rect">
            <a:avLst/>
          </a:prstGeom>
        </p:spPr>
        <p:txBody>
          <a:bodyPr vert="horz" wrap="square" lIns="0" tIns="45720" rIns="0" bIns="45720" rtlCol="0">
            <a:normAutofit/>
          </a:bodyPr>
          <a:lstStyle/>
          <a:p>
            <a:pPr algn="l">
              <a:lnSpc>
                <a:spcPct val="80000"/>
              </a:lnSpc>
            </a:pPr>
            <a:r>
              <a:rPr lang="en-GB" sz="7200" dirty="0">
                <a:solidFill>
                  <a:schemeClr val="bg1"/>
                </a:solidFill>
                <a:latin typeface="+mj-lt"/>
              </a:rPr>
              <a:t>55+</a:t>
            </a:r>
          </a:p>
          <a:p>
            <a:pPr algn="l">
              <a:lnSpc>
                <a:spcPct val="80000"/>
              </a:lnSpc>
            </a:pPr>
            <a:r>
              <a:rPr lang="en-GB" sz="3200" dirty="0">
                <a:solidFill>
                  <a:schemeClr val="accent2"/>
                </a:solidFill>
                <a:latin typeface="+mn-lt"/>
              </a:rPr>
              <a:t>partners</a:t>
            </a:r>
            <a:endParaRPr lang="en-GB" sz="8000" kern="1200" dirty="0">
              <a:solidFill>
                <a:schemeClr val="accent2"/>
              </a:solidFill>
              <a:latin typeface="+mj-lt"/>
              <a:ea typeface="+mn-ea"/>
              <a:cs typeface="+mn-cs"/>
            </a:endParaRPr>
          </a:p>
        </p:txBody>
      </p:sp>
      <p:sp>
        <p:nvSpPr>
          <p:cNvPr id="20" name="TextBox 19">
            <a:extLst>
              <a:ext uri="{FF2B5EF4-FFF2-40B4-BE49-F238E27FC236}">
                <a16:creationId xmlns:a16="http://schemas.microsoft.com/office/drawing/2014/main" id="{3019B024-ECC0-8CAB-885B-BD03E95309EB}"/>
              </a:ext>
            </a:extLst>
          </p:cNvPr>
          <p:cNvSpPr txBox="1"/>
          <p:nvPr userDrawn="1"/>
        </p:nvSpPr>
        <p:spPr>
          <a:xfrm>
            <a:off x="8839200" y="2819215"/>
            <a:ext cx="2843213" cy="1447800"/>
          </a:xfrm>
          <a:prstGeom prst="rect">
            <a:avLst/>
          </a:prstGeom>
        </p:spPr>
        <p:txBody>
          <a:bodyPr vert="horz" wrap="square" lIns="0" tIns="45720" rIns="0" bIns="45720" rtlCol="0">
            <a:normAutofit/>
          </a:bodyPr>
          <a:lstStyle/>
          <a:p>
            <a:pPr algn="l">
              <a:lnSpc>
                <a:spcPct val="80000"/>
              </a:lnSpc>
            </a:pPr>
            <a:r>
              <a:rPr lang="en-GB" sz="7200" dirty="0">
                <a:solidFill>
                  <a:schemeClr val="bg1"/>
                </a:solidFill>
                <a:latin typeface="+mj-lt"/>
              </a:rPr>
              <a:t>200+</a:t>
            </a:r>
          </a:p>
          <a:p>
            <a:pPr algn="l">
              <a:lnSpc>
                <a:spcPct val="80000"/>
              </a:lnSpc>
            </a:pPr>
            <a:r>
              <a:rPr lang="en-GB" sz="3200" dirty="0">
                <a:solidFill>
                  <a:schemeClr val="accent2"/>
                </a:solidFill>
                <a:latin typeface="+mn-lt"/>
              </a:rPr>
              <a:t>lawyers</a:t>
            </a:r>
            <a:endParaRPr lang="en-GB" sz="8000" kern="1200" dirty="0">
              <a:solidFill>
                <a:schemeClr val="accent2"/>
              </a:solidFill>
              <a:latin typeface="+mj-lt"/>
              <a:ea typeface="+mn-ea"/>
              <a:cs typeface="+mn-cs"/>
            </a:endParaRPr>
          </a:p>
        </p:txBody>
      </p:sp>
      <p:sp>
        <p:nvSpPr>
          <p:cNvPr id="21" name="TextBox 20">
            <a:extLst>
              <a:ext uri="{FF2B5EF4-FFF2-40B4-BE49-F238E27FC236}">
                <a16:creationId xmlns:a16="http://schemas.microsoft.com/office/drawing/2014/main" id="{E0F6897E-82C4-7490-4C43-CA91A1D33D28}"/>
              </a:ext>
            </a:extLst>
          </p:cNvPr>
          <p:cNvSpPr txBox="1"/>
          <p:nvPr userDrawn="1"/>
        </p:nvSpPr>
        <p:spPr>
          <a:xfrm>
            <a:off x="8778240" y="4546753"/>
            <a:ext cx="2843213" cy="1775416"/>
          </a:xfrm>
          <a:prstGeom prst="rect">
            <a:avLst/>
          </a:prstGeom>
        </p:spPr>
        <p:txBody>
          <a:bodyPr vert="horz" wrap="square" lIns="0" tIns="45720" rIns="0" bIns="45720" rtlCol="0">
            <a:normAutofit/>
          </a:bodyPr>
          <a:lstStyle/>
          <a:p>
            <a:pPr marL="92075" indent="-92075" algn="l">
              <a:lnSpc>
                <a:spcPct val="100000"/>
              </a:lnSpc>
              <a:spcBef>
                <a:spcPts val="200"/>
              </a:spcBef>
              <a:spcAft>
                <a:spcPts val="200"/>
              </a:spcAft>
            </a:pPr>
            <a:r>
              <a:rPr lang="en-US" sz="1600" dirty="0">
                <a:solidFill>
                  <a:schemeClr val="bg1"/>
                </a:solidFill>
                <a:latin typeface="+mj-lt"/>
              </a:rPr>
              <a:t>“The world’s leading shipping law firm.”</a:t>
            </a:r>
          </a:p>
          <a:p>
            <a:pPr marL="92075" indent="0" algn="l">
              <a:lnSpc>
                <a:spcPct val="100000"/>
              </a:lnSpc>
              <a:spcBef>
                <a:spcPts val="200"/>
              </a:spcBef>
              <a:spcAft>
                <a:spcPts val="200"/>
              </a:spcAft>
            </a:pPr>
            <a:r>
              <a:rPr lang="en-US" sz="1200" dirty="0">
                <a:solidFill>
                  <a:schemeClr val="accent2"/>
                </a:solidFill>
                <a:latin typeface="+mj-lt"/>
              </a:rPr>
              <a:t>THE TIMES</a:t>
            </a:r>
            <a:endParaRPr lang="en-GB" sz="1400" kern="1200" dirty="0">
              <a:solidFill>
                <a:schemeClr val="accent2"/>
              </a:solidFill>
              <a:latin typeface="+mj-lt"/>
              <a:ea typeface="+mn-ea"/>
              <a:cs typeface="+mn-cs"/>
            </a:endParaRPr>
          </a:p>
        </p:txBody>
      </p:sp>
      <p:sp>
        <p:nvSpPr>
          <p:cNvPr id="5" name="Footer Placeholder 4"/>
          <p:cNvSpPr>
            <a:spLocks noGrp="1"/>
          </p:cNvSpPr>
          <p:nvPr>
            <p:ph type="ftr" sz="quarter" idx="11"/>
          </p:nvPr>
        </p:nvSpPr>
        <p:spPr/>
        <p:txBody>
          <a:bodyPr/>
          <a:lstStyle/>
          <a:p>
            <a:r>
              <a:rPr lang="en-GB"/>
              <a:t>INSERT FOOTER HER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8CFE0557-AA98-4E6C-B0C3-581794696B68}" type="slidenum">
              <a:rPr lang="en-GB" smtClean="0"/>
              <a:pPr/>
              <a:t>‹#›</a:t>
            </a:fld>
            <a:endParaRPr lang="en-GB" dirty="0"/>
          </a:p>
        </p:txBody>
      </p:sp>
      <p:sp>
        <p:nvSpPr>
          <p:cNvPr id="23" name="Title 3">
            <a:extLst>
              <a:ext uri="{FF2B5EF4-FFF2-40B4-BE49-F238E27FC236}">
                <a16:creationId xmlns:a16="http://schemas.microsoft.com/office/drawing/2014/main" id="{8AB09B44-EDBF-17A6-8435-B2F4F07AB3F6}"/>
              </a:ext>
            </a:extLst>
          </p:cNvPr>
          <p:cNvSpPr txBox="1">
            <a:spLocks/>
          </p:cNvSpPr>
          <p:nvPr userDrawn="1"/>
        </p:nvSpPr>
        <p:spPr>
          <a:xfrm>
            <a:off x="508000" y="454014"/>
            <a:ext cx="7134225" cy="669934"/>
          </a:xfrm>
          <a:prstGeom prst="rect">
            <a:avLst/>
          </a:prstGeom>
        </p:spPr>
        <p:txBody>
          <a:bodyPr vert="horz" lIns="0" tIns="0" rIns="0" bIns="72000" rtlCol="0" anchor="t" anchorCtr="0">
            <a:noAutofit/>
          </a:bodyPr>
          <a:lstStyle>
            <a:lvl1pPr algn="l" defTabSz="914400" rtl="0" eaLnBrk="1" latinLnBrk="0" hangingPunct="1">
              <a:lnSpc>
                <a:spcPct val="90000"/>
              </a:lnSpc>
              <a:spcBef>
                <a:spcPct val="0"/>
              </a:spcBef>
              <a:buNone/>
              <a:defRPr sz="3200" kern="1200" cap="all" baseline="0">
                <a:solidFill>
                  <a:schemeClr val="tx2"/>
                </a:solidFill>
                <a:latin typeface="+mn-lt"/>
                <a:ea typeface="+mj-ea"/>
                <a:cs typeface="+mj-cs"/>
              </a:defRPr>
            </a:lvl1pPr>
          </a:lstStyle>
          <a:p>
            <a:r>
              <a:rPr lang="en-US" dirty="0"/>
              <a:t>SHIPPING</a:t>
            </a:r>
            <a:endParaRPr lang="en-GB" dirty="0"/>
          </a:p>
        </p:txBody>
      </p:sp>
      <p:sp>
        <p:nvSpPr>
          <p:cNvPr id="25" name="TextBox 24">
            <a:extLst>
              <a:ext uri="{FF2B5EF4-FFF2-40B4-BE49-F238E27FC236}">
                <a16:creationId xmlns:a16="http://schemas.microsoft.com/office/drawing/2014/main" id="{A5EA36E1-4129-FEF6-9C2F-9D7197C7629D}"/>
              </a:ext>
            </a:extLst>
          </p:cNvPr>
          <p:cNvSpPr txBox="1"/>
          <p:nvPr userDrawn="1"/>
        </p:nvSpPr>
        <p:spPr>
          <a:xfrm>
            <a:off x="504826" y="1123946"/>
            <a:ext cx="7183961" cy="1027119"/>
          </a:xfrm>
          <a:prstGeom prst="rect">
            <a:avLst/>
          </a:prstGeom>
        </p:spPr>
        <p:txBody>
          <a:bodyPr vert="horz" wrap="square" lIns="0" tIns="45720" rIns="0" bIns="45720" rtlCol="0">
            <a:noAutofit/>
          </a:bodyPr>
          <a:lstStyle/>
          <a:p>
            <a:pPr marL="0" lvl="0" indent="0" algn="l" defTabSz="914400" rtl="0" eaLnBrk="1" latinLnBrk="0" hangingPunct="1">
              <a:lnSpc>
                <a:spcPct val="110000"/>
              </a:lnSpc>
              <a:spcBef>
                <a:spcPts val="300"/>
              </a:spcBef>
              <a:spcAft>
                <a:spcPts val="300"/>
              </a:spcAft>
              <a:buFont typeface="Arial" panose="020B0604020202020204" pitchFamily="34" charset="0"/>
              <a:buNone/>
            </a:pPr>
            <a:r>
              <a:rPr lang="en-US" sz="2000" kern="1200" dirty="0">
                <a:solidFill>
                  <a:schemeClr val="accent2"/>
                </a:solidFill>
                <a:latin typeface="+mj-lt"/>
                <a:ea typeface="+mn-ea"/>
                <a:cs typeface="+mn-cs"/>
              </a:rPr>
              <a:t>HFW is widely </a:t>
            </a:r>
            <a:r>
              <a:rPr lang="en-US" sz="2000" kern="1200" dirty="0" err="1">
                <a:solidFill>
                  <a:schemeClr val="accent2"/>
                </a:solidFill>
                <a:latin typeface="+mj-lt"/>
                <a:ea typeface="+mn-ea"/>
                <a:cs typeface="+mn-cs"/>
              </a:rPr>
              <a:t>recognised</a:t>
            </a:r>
            <a:r>
              <a:rPr lang="en-US" sz="2000" kern="1200" dirty="0">
                <a:solidFill>
                  <a:schemeClr val="accent2"/>
                </a:solidFill>
                <a:latin typeface="+mj-lt"/>
                <a:ea typeface="+mn-ea"/>
                <a:cs typeface="+mn-cs"/>
              </a:rPr>
              <a:t> as the world’s leading shipping and maritime law firm, and has been serving clients in the industry for almost 140 years.</a:t>
            </a:r>
          </a:p>
        </p:txBody>
      </p:sp>
      <p:sp>
        <p:nvSpPr>
          <p:cNvPr id="26" name="TextBox 25">
            <a:extLst>
              <a:ext uri="{FF2B5EF4-FFF2-40B4-BE49-F238E27FC236}">
                <a16:creationId xmlns:a16="http://schemas.microsoft.com/office/drawing/2014/main" id="{FDFD0AFD-8043-093A-16C9-665D20AE7490}"/>
              </a:ext>
            </a:extLst>
          </p:cNvPr>
          <p:cNvSpPr txBox="1"/>
          <p:nvPr userDrawn="1"/>
        </p:nvSpPr>
        <p:spPr>
          <a:xfrm>
            <a:off x="504826" y="2195825"/>
            <a:ext cx="3403599" cy="4022429"/>
          </a:xfrm>
          <a:prstGeom prst="rect">
            <a:avLst/>
          </a:prstGeom>
        </p:spPr>
        <p:txBody>
          <a:bodyPr vert="horz" lIns="0" tIns="45720" rIns="0" bIns="45720" rtlCol="0">
            <a:normAutofit/>
          </a:bodyPr>
          <a:lstStyle>
            <a:lvl1pPr indent="0" defTabSz="914400">
              <a:lnSpc>
                <a:spcPct val="130000"/>
              </a:lnSpc>
              <a:spcBef>
                <a:spcPts val="300"/>
              </a:spcBef>
              <a:spcAft>
                <a:spcPts val="300"/>
              </a:spcAft>
              <a:buFont typeface="Arial" panose="020B0604020202020204" pitchFamily="34" charset="0"/>
              <a:buNone/>
              <a:defRPr sz="1400">
                <a:solidFill>
                  <a:schemeClr val="tx2"/>
                </a:solidFill>
                <a:latin typeface="+mj-lt"/>
              </a:defRPr>
            </a:lvl1pPr>
            <a:lvl2pPr marL="0" lvl="1" indent="0" defTabSz="914400">
              <a:lnSpc>
                <a:spcPct val="130000"/>
              </a:lnSpc>
              <a:spcBef>
                <a:spcPts val="300"/>
              </a:spcBef>
              <a:spcAft>
                <a:spcPts val="300"/>
              </a:spcAft>
              <a:buFont typeface="Arial" panose="020B0604020202020204" pitchFamily="34" charset="0"/>
              <a:buNone/>
              <a:defRPr sz="1100"/>
            </a:lvl2pPr>
            <a:lvl3pPr marL="180975" indent="-180975" defTabSz="914400">
              <a:lnSpc>
                <a:spcPct val="130000"/>
              </a:lnSpc>
              <a:spcBef>
                <a:spcPts val="300"/>
              </a:spcBef>
              <a:spcAft>
                <a:spcPts val="300"/>
              </a:spcAft>
              <a:buClr>
                <a:schemeClr val="tx2"/>
              </a:buClr>
              <a:buSzPct val="105000"/>
              <a:buFont typeface="Arial" panose="020B0604020202020204" pitchFamily="34" charset="0"/>
              <a:buChar char="•"/>
              <a:defRPr sz="1100"/>
            </a:lvl3pPr>
            <a:lvl4pPr marL="539750" indent="-180975" defTabSz="914400">
              <a:lnSpc>
                <a:spcPct val="130000"/>
              </a:lnSpc>
              <a:spcBef>
                <a:spcPts val="300"/>
              </a:spcBef>
              <a:spcAft>
                <a:spcPts val="300"/>
              </a:spcAft>
              <a:buClr>
                <a:schemeClr val="tx2"/>
              </a:buClr>
              <a:buSzPct val="105000"/>
              <a:buFont typeface="Arial" panose="020B0604020202020204" pitchFamily="34" charset="0"/>
              <a:buChar char="•"/>
              <a:defRPr sz="1050"/>
            </a:lvl4pPr>
            <a:lvl5pPr marL="898525" indent="-180975" defTabSz="914400">
              <a:lnSpc>
                <a:spcPct val="130000"/>
              </a:lnSpc>
              <a:spcBef>
                <a:spcPts val="300"/>
              </a:spcBef>
              <a:spcAft>
                <a:spcPts val="300"/>
              </a:spcAft>
              <a:buClr>
                <a:schemeClr val="tx2"/>
              </a:buClr>
              <a:buSzPct val="105000"/>
              <a:buFont typeface="Arial" panose="020B0604020202020204" pitchFamily="34" charset="0"/>
              <a:buChar char="•"/>
              <a:defRPr sz="105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1"/>
            <a:r>
              <a:rPr lang="en-US" dirty="0"/>
              <a:t>We have more than 200 shipping lawyers and nine Master Mariners across our global network, </a:t>
            </a:r>
            <a:r>
              <a:rPr lang="en-US" dirty="0" err="1"/>
              <a:t>specialising</a:t>
            </a:r>
            <a:r>
              <a:rPr lang="en-US" dirty="0"/>
              <a:t> in dry shipping, admiralty and crisis management, and transactional work for clients across the industry. </a:t>
            </a:r>
          </a:p>
          <a:p>
            <a:pPr lvl="1"/>
            <a:r>
              <a:rPr lang="en-US" dirty="0"/>
              <a:t>We have more top-tier rankings for shipping in Chambers and The Legal 500 than any other law firm, and our lawyers have featured in Lloyd’s List’s ranking of the 100 most influential people in the shipping industry for four consecutive years. The Lawyer’s Litigation Tracker shows that we have handled over 60% more shipping litigation cases in the English Courts since 2015 than our nearest rival.</a:t>
            </a:r>
            <a:endParaRPr lang="en-GB" dirty="0"/>
          </a:p>
        </p:txBody>
      </p:sp>
      <p:sp>
        <p:nvSpPr>
          <p:cNvPr id="43" name="TextBox 42">
            <a:extLst>
              <a:ext uri="{FF2B5EF4-FFF2-40B4-BE49-F238E27FC236}">
                <a16:creationId xmlns:a16="http://schemas.microsoft.com/office/drawing/2014/main" id="{3D8EE971-80E6-E69B-3D58-09C4EDC6DB89}"/>
              </a:ext>
            </a:extLst>
          </p:cNvPr>
          <p:cNvSpPr txBox="1"/>
          <p:nvPr userDrawn="1"/>
        </p:nvSpPr>
        <p:spPr>
          <a:xfrm>
            <a:off x="4233546" y="2195825"/>
            <a:ext cx="3403599" cy="4022429"/>
          </a:xfrm>
          <a:prstGeom prst="rect">
            <a:avLst/>
          </a:prstGeom>
        </p:spPr>
        <p:txBody>
          <a:bodyPr vert="horz" lIns="0" tIns="45720" rIns="0" bIns="45720" rtlCol="0">
            <a:normAutofit/>
          </a:bodyPr>
          <a:lstStyle>
            <a:lvl1pPr indent="0" defTabSz="914400">
              <a:lnSpc>
                <a:spcPct val="130000"/>
              </a:lnSpc>
              <a:spcBef>
                <a:spcPts val="300"/>
              </a:spcBef>
              <a:spcAft>
                <a:spcPts val="300"/>
              </a:spcAft>
              <a:buFont typeface="Arial" panose="020B0604020202020204" pitchFamily="34" charset="0"/>
              <a:buNone/>
              <a:defRPr sz="1400">
                <a:solidFill>
                  <a:schemeClr val="tx2"/>
                </a:solidFill>
                <a:latin typeface="+mj-lt"/>
              </a:defRPr>
            </a:lvl1pPr>
            <a:lvl2pPr marL="0" lvl="1" indent="0" defTabSz="914400">
              <a:lnSpc>
                <a:spcPct val="130000"/>
              </a:lnSpc>
              <a:spcBef>
                <a:spcPts val="300"/>
              </a:spcBef>
              <a:spcAft>
                <a:spcPts val="300"/>
              </a:spcAft>
              <a:buFont typeface="Arial" panose="020B0604020202020204" pitchFamily="34" charset="0"/>
              <a:buNone/>
              <a:defRPr sz="1100"/>
            </a:lvl2pPr>
            <a:lvl3pPr marL="180975" indent="-180975" defTabSz="914400">
              <a:lnSpc>
                <a:spcPct val="130000"/>
              </a:lnSpc>
              <a:spcBef>
                <a:spcPts val="300"/>
              </a:spcBef>
              <a:spcAft>
                <a:spcPts val="300"/>
              </a:spcAft>
              <a:buClr>
                <a:schemeClr val="tx2"/>
              </a:buClr>
              <a:buSzPct val="105000"/>
              <a:buFont typeface="Arial" panose="020B0604020202020204" pitchFamily="34" charset="0"/>
              <a:buChar char="•"/>
              <a:defRPr sz="1100"/>
            </a:lvl3pPr>
            <a:lvl4pPr marL="539750" indent="-180975" defTabSz="914400">
              <a:lnSpc>
                <a:spcPct val="130000"/>
              </a:lnSpc>
              <a:spcBef>
                <a:spcPts val="300"/>
              </a:spcBef>
              <a:spcAft>
                <a:spcPts val="300"/>
              </a:spcAft>
              <a:buClr>
                <a:schemeClr val="tx2"/>
              </a:buClr>
              <a:buSzPct val="105000"/>
              <a:buFont typeface="Arial" panose="020B0604020202020204" pitchFamily="34" charset="0"/>
              <a:buChar char="•"/>
              <a:defRPr sz="1050"/>
            </a:lvl4pPr>
            <a:lvl5pPr marL="898525" indent="-180975" defTabSz="914400">
              <a:lnSpc>
                <a:spcPct val="130000"/>
              </a:lnSpc>
              <a:spcBef>
                <a:spcPts val="300"/>
              </a:spcBef>
              <a:spcAft>
                <a:spcPts val="300"/>
              </a:spcAft>
              <a:buClr>
                <a:schemeClr val="tx2"/>
              </a:buClr>
              <a:buSzPct val="105000"/>
              <a:buFont typeface="Arial" panose="020B0604020202020204" pitchFamily="34" charset="0"/>
              <a:buChar char="•"/>
              <a:defRPr sz="105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1"/>
            <a:r>
              <a:rPr lang="en-US" dirty="0"/>
              <a:t>Our position as the market leader was reflected by our instruction to advise the owners and P&amp;I insurers on the high-profile grounding of the MV Ever Given in the Suez Canal – one of the most significant marine casualties for decades.</a:t>
            </a:r>
            <a:endParaRPr lang="en-GB" dirty="0"/>
          </a:p>
        </p:txBody>
      </p:sp>
    </p:spTree>
    <p:extLst>
      <p:ext uri="{BB962C8B-B14F-4D97-AF65-F5344CB8AC3E}">
        <p14:creationId xmlns:p14="http://schemas.microsoft.com/office/powerpoint/2010/main" val="3133494494"/>
      </p:ext>
    </p:extLst>
  </p:cSld>
  <p:clrMapOvr>
    <a:masterClrMapping/>
  </p:clrMapOvr>
  <p:transition spd="med">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oilerplat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261A4C7-E98D-3660-5C37-C13B3A230A80}"/>
              </a:ext>
            </a:extLst>
          </p:cNvPr>
          <p:cNvSpPr/>
          <p:nvPr userDrawn="1"/>
        </p:nvSpPr>
        <p:spPr>
          <a:xfrm>
            <a:off x="8126413" y="0"/>
            <a:ext cx="4065587"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Footer Placeholder 4"/>
          <p:cNvSpPr>
            <a:spLocks noGrp="1"/>
          </p:cNvSpPr>
          <p:nvPr userDrawn="1">
            <p:ph type="ftr" sz="quarter" idx="11"/>
          </p:nvPr>
        </p:nvSpPr>
        <p:spPr/>
        <p:txBody>
          <a:bodyPr/>
          <a:lstStyle/>
          <a:p>
            <a:r>
              <a:rPr lang="en-GB"/>
              <a:t>INSERT FOOTER HERE</a:t>
            </a:r>
          </a:p>
        </p:txBody>
      </p:sp>
      <p:sp>
        <p:nvSpPr>
          <p:cNvPr id="6" name="Slide Number Placeholder 5"/>
          <p:cNvSpPr>
            <a:spLocks noGrp="1"/>
          </p:cNvSpPr>
          <p:nvPr userDrawn="1">
            <p:ph type="sldNum" sz="quarter" idx="12"/>
          </p:nvPr>
        </p:nvSpPr>
        <p:spPr/>
        <p:txBody>
          <a:bodyPr/>
          <a:lstStyle>
            <a:lvl1pPr>
              <a:defRPr>
                <a:solidFill>
                  <a:schemeClr val="tx1"/>
                </a:solidFill>
              </a:defRPr>
            </a:lvl1pPr>
          </a:lstStyle>
          <a:p>
            <a:fld id="{8CFE0557-AA98-4E6C-B0C3-581794696B68}" type="slidenum">
              <a:rPr lang="en-GB" smtClean="0"/>
              <a:pPr/>
              <a:t>‹#›</a:t>
            </a:fld>
            <a:endParaRPr lang="en-GB" dirty="0"/>
          </a:p>
        </p:txBody>
      </p:sp>
      <p:sp>
        <p:nvSpPr>
          <p:cNvPr id="14" name="Content Placeholder 2">
            <a:extLst>
              <a:ext uri="{FF2B5EF4-FFF2-40B4-BE49-F238E27FC236}">
                <a16:creationId xmlns:a16="http://schemas.microsoft.com/office/drawing/2014/main" id="{E72CD05C-B4F0-E849-8BE5-946F20E9023A}"/>
              </a:ext>
            </a:extLst>
          </p:cNvPr>
          <p:cNvSpPr>
            <a:spLocks noGrp="1"/>
          </p:cNvSpPr>
          <p:nvPr>
            <p:ph idx="19" hasCustomPrompt="1"/>
          </p:nvPr>
        </p:nvSpPr>
        <p:spPr>
          <a:xfrm>
            <a:off x="508001" y="1123947"/>
            <a:ext cx="7134224" cy="626992"/>
          </a:xfrm>
        </p:spPr>
        <p:txBody>
          <a:bodyPr vert="horz" lIns="0" tIns="0" rIns="0" bIns="0" numCol="1" spcCol="216000" rtlCol="0">
            <a:noAutofit/>
          </a:bodyPr>
          <a:lstStyle>
            <a:lvl1pPr>
              <a:lnSpc>
                <a:spcPct val="110000"/>
              </a:lnSpc>
              <a:defRPr lang="en-US" sz="2000" dirty="0">
                <a:solidFill>
                  <a:schemeClr val="accent2"/>
                </a:solidFill>
              </a:defRPr>
            </a:lvl1pPr>
            <a:lvl2pPr>
              <a:defRPr lang="en-US" sz="900" dirty="0">
                <a:solidFill>
                  <a:schemeClr val="tx1"/>
                </a:solidFill>
              </a:defRPr>
            </a:lvl2pPr>
            <a:lvl3pPr>
              <a:defRPr lang="en-US" sz="800" dirty="0">
                <a:solidFill>
                  <a:schemeClr val="tx1"/>
                </a:solidFill>
              </a:defRPr>
            </a:lvl3pPr>
            <a:lvl4pPr>
              <a:defRPr lang="en-US" sz="700" dirty="0">
                <a:solidFill>
                  <a:schemeClr val="tx1"/>
                </a:solidFill>
              </a:defRPr>
            </a:lvl4pPr>
            <a:lvl5pPr>
              <a:defRPr lang="en-US" sz="700" dirty="0">
                <a:solidFill>
                  <a:schemeClr val="tx1"/>
                </a:solidFill>
              </a:defRPr>
            </a:lvl5pPr>
          </a:lstStyle>
          <a:p>
            <a:pPr lvl="0"/>
            <a:r>
              <a:rPr lang="en-US" dirty="0"/>
              <a:t>Intro paragraph text goes here, spans the columns. </a:t>
            </a:r>
            <a:r>
              <a:rPr lang="en-US" dirty="0" err="1"/>
              <a:t>sintum</a:t>
            </a:r>
            <a:r>
              <a:rPr lang="en-US" dirty="0"/>
              <a:t> </a:t>
            </a:r>
            <a:r>
              <a:rPr lang="en-US" dirty="0" err="1"/>
              <a:t>fuga</a:t>
            </a:r>
            <a:r>
              <a:rPr lang="en-US" dirty="0"/>
              <a:t>. Nam </a:t>
            </a:r>
            <a:r>
              <a:rPr lang="en-US" dirty="0" err="1"/>
              <a:t>reperis</a:t>
            </a:r>
            <a:r>
              <a:rPr lang="en-US" dirty="0"/>
              <a:t> et </a:t>
            </a:r>
            <a:r>
              <a:rPr lang="en-US" dirty="0" err="1"/>
              <a:t>offici</a:t>
            </a:r>
            <a:r>
              <a:rPr lang="en-US" dirty="0"/>
              <a:t> rat.</a:t>
            </a:r>
          </a:p>
        </p:txBody>
      </p:sp>
      <p:sp>
        <p:nvSpPr>
          <p:cNvPr id="19" name="Content Placeholder 2">
            <a:extLst>
              <a:ext uri="{FF2B5EF4-FFF2-40B4-BE49-F238E27FC236}">
                <a16:creationId xmlns:a16="http://schemas.microsoft.com/office/drawing/2014/main" id="{C0E0C3DE-23B8-688A-FFA9-104670A26887}"/>
              </a:ext>
            </a:extLst>
          </p:cNvPr>
          <p:cNvSpPr>
            <a:spLocks noGrp="1"/>
          </p:cNvSpPr>
          <p:nvPr>
            <p:ph idx="21" hasCustomPrompt="1"/>
          </p:nvPr>
        </p:nvSpPr>
        <p:spPr>
          <a:xfrm>
            <a:off x="504826" y="2197395"/>
            <a:ext cx="3403599" cy="3060405"/>
          </a:xfrm>
        </p:spPr>
        <p:txBody>
          <a:bodyPr vert="horz" lIns="0" tIns="45720" rIns="0" bIns="4572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4" name="Content Placeholder 2">
            <a:extLst>
              <a:ext uri="{FF2B5EF4-FFF2-40B4-BE49-F238E27FC236}">
                <a16:creationId xmlns:a16="http://schemas.microsoft.com/office/drawing/2014/main" id="{7C3FFC52-0891-597B-A8F4-D532FCBA08B1}"/>
              </a:ext>
            </a:extLst>
          </p:cNvPr>
          <p:cNvSpPr>
            <a:spLocks noGrp="1"/>
          </p:cNvSpPr>
          <p:nvPr>
            <p:ph idx="22" hasCustomPrompt="1"/>
          </p:nvPr>
        </p:nvSpPr>
        <p:spPr>
          <a:xfrm>
            <a:off x="4238626" y="2197395"/>
            <a:ext cx="3403599" cy="3060405"/>
          </a:xfrm>
        </p:spPr>
        <p:txBody>
          <a:bodyPr vert="horz" lIns="0" tIns="45720" rIns="0" bIns="4572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2" name="Title 1">
            <a:extLst>
              <a:ext uri="{FF2B5EF4-FFF2-40B4-BE49-F238E27FC236}">
                <a16:creationId xmlns:a16="http://schemas.microsoft.com/office/drawing/2014/main" id="{EE98A0E2-B34B-F6E3-95F2-52A2CE8F6393}"/>
              </a:ext>
            </a:extLst>
          </p:cNvPr>
          <p:cNvSpPr>
            <a:spLocks noGrp="1"/>
          </p:cNvSpPr>
          <p:nvPr>
            <p:ph type="title" hasCustomPrompt="1"/>
          </p:nvPr>
        </p:nvSpPr>
        <p:spPr>
          <a:xfrm>
            <a:off x="508000" y="454014"/>
            <a:ext cx="7134225" cy="669934"/>
          </a:xfrm>
        </p:spPr>
        <p:txBody>
          <a:bodyPr/>
          <a:lstStyle>
            <a:lvl1pPr>
              <a:defRPr/>
            </a:lvl1pPr>
          </a:lstStyle>
          <a:p>
            <a:r>
              <a:rPr lang="en-US" dirty="0"/>
              <a:t>BOILERPLATE PAGE</a:t>
            </a:r>
            <a:endParaRPr lang="en-GB" dirty="0"/>
          </a:p>
        </p:txBody>
      </p:sp>
      <p:sp>
        <p:nvSpPr>
          <p:cNvPr id="9" name="Content Placeholder 2">
            <a:extLst>
              <a:ext uri="{FF2B5EF4-FFF2-40B4-BE49-F238E27FC236}">
                <a16:creationId xmlns:a16="http://schemas.microsoft.com/office/drawing/2014/main" id="{133AE144-DD08-72A6-72C9-D21FB35AF968}"/>
              </a:ext>
            </a:extLst>
          </p:cNvPr>
          <p:cNvSpPr>
            <a:spLocks noGrp="1"/>
          </p:cNvSpPr>
          <p:nvPr>
            <p:ph idx="23" hasCustomPrompt="1"/>
          </p:nvPr>
        </p:nvSpPr>
        <p:spPr>
          <a:xfrm>
            <a:off x="8737600" y="1464308"/>
            <a:ext cx="2963863" cy="4755516"/>
          </a:xfrm>
        </p:spPr>
        <p:txBody>
          <a:bodyPr vert="horz" lIns="0" tIns="45720" rIns="0" bIns="45720" rtlCol="0">
            <a:normAutofit/>
          </a:bodyPr>
          <a:lstStyle>
            <a:lvl1pPr algn="l" defTabSz="914400" rtl="0" eaLnBrk="1" latinLnBrk="0" hangingPunct="1">
              <a:lnSpc>
                <a:spcPct val="130000"/>
              </a:lnSpc>
              <a:spcBef>
                <a:spcPts val="300"/>
              </a:spcBef>
              <a:spcAft>
                <a:spcPts val="300"/>
              </a:spcAft>
              <a:buFont typeface="Arial" panose="020B0604020202020204" pitchFamily="34" charset="0"/>
              <a:defRPr lang="en-US" sz="1100" kern="1200" dirty="0">
                <a:solidFill>
                  <a:schemeClr val="tx1"/>
                </a:solidFill>
                <a:latin typeface="+mn-lt"/>
                <a:ea typeface="+mn-ea"/>
                <a:cs typeface="+mn-cs"/>
              </a:defRPr>
            </a:lvl1pPr>
            <a:lvl2pPr>
              <a:buClr>
                <a:schemeClr val="tx1"/>
              </a:buClr>
              <a:defRPr lang="en-US" dirty="0"/>
            </a:lvl2pPr>
            <a:lvl3pPr>
              <a:buClr>
                <a:schemeClr val="tx1"/>
              </a:buClr>
              <a:defRPr lang="en-US" dirty="0"/>
            </a:lvl3pPr>
            <a:lvl4pPr>
              <a:buClr>
                <a:schemeClr val="tx1"/>
              </a:buClr>
              <a:defRPr lang="en-US" dirty="0"/>
            </a:lvl4pPr>
            <a:lvl5pPr>
              <a:buClr>
                <a:schemeClr val="tx1"/>
              </a:buClr>
              <a:defRPr lang="en-US" dirty="0"/>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12" name="Text Placeholder 12">
            <a:extLst>
              <a:ext uri="{FF2B5EF4-FFF2-40B4-BE49-F238E27FC236}">
                <a16:creationId xmlns:a16="http://schemas.microsoft.com/office/drawing/2014/main" id="{274A3A9B-6199-8864-E2E6-D1BE82F7D34C}"/>
              </a:ext>
            </a:extLst>
          </p:cNvPr>
          <p:cNvSpPr>
            <a:spLocks noGrp="1"/>
          </p:cNvSpPr>
          <p:nvPr>
            <p:ph type="body" sz="quarter" idx="18" hasCustomPrompt="1"/>
          </p:nvPr>
        </p:nvSpPr>
        <p:spPr>
          <a:xfrm>
            <a:off x="508000" y="5334846"/>
            <a:ext cx="7127876" cy="681779"/>
          </a:xfrm>
        </p:spPr>
        <p:txBody>
          <a:bodyPr vert="horz" lIns="0" tIns="45720" rIns="0" bIns="0" rtlCol="0" anchor="b" anchorCtr="0">
            <a:noAutofit/>
          </a:bodyPr>
          <a:lstStyle>
            <a:lvl1pPr marL="108000" indent="-108000">
              <a:lnSpc>
                <a:spcPct val="110000"/>
              </a:lnSpc>
              <a:spcBef>
                <a:spcPts val="0"/>
              </a:spcBef>
              <a:spcAft>
                <a:spcPts val="0"/>
              </a:spcAft>
              <a:defRPr lang="en-US" sz="2000" dirty="0">
                <a:solidFill>
                  <a:schemeClr val="accent2"/>
                </a:solidFill>
              </a:defRPr>
            </a:lvl1pPr>
            <a:lvl2pPr>
              <a:defRPr lang="en-US" sz="1400" dirty="0">
                <a:solidFill>
                  <a:schemeClr val="tx2"/>
                </a:solidFill>
                <a:latin typeface="+mj-lt"/>
              </a:defRPr>
            </a:lvl2pPr>
          </a:lstStyle>
          <a:p>
            <a:pPr marL="108000" lvl="0" indent="-108000">
              <a:lnSpc>
                <a:spcPct val="100000"/>
              </a:lnSpc>
              <a:spcBef>
                <a:spcPts val="200"/>
              </a:spcBef>
              <a:spcAft>
                <a:spcPts val="200"/>
              </a:spcAft>
            </a:pPr>
            <a:r>
              <a:rPr lang="en-US" dirty="0"/>
              <a:t>“Quote goes here.”</a:t>
            </a:r>
          </a:p>
        </p:txBody>
      </p:sp>
      <p:sp>
        <p:nvSpPr>
          <p:cNvPr id="15" name="Text Placeholder 7">
            <a:extLst>
              <a:ext uri="{FF2B5EF4-FFF2-40B4-BE49-F238E27FC236}">
                <a16:creationId xmlns:a16="http://schemas.microsoft.com/office/drawing/2014/main" id="{BB086A23-57E1-2853-3EAF-9D5F97EADD20}"/>
              </a:ext>
            </a:extLst>
          </p:cNvPr>
          <p:cNvSpPr>
            <a:spLocks noGrp="1"/>
          </p:cNvSpPr>
          <p:nvPr>
            <p:ph type="body" sz="quarter" idx="24" hasCustomPrompt="1"/>
          </p:nvPr>
        </p:nvSpPr>
        <p:spPr>
          <a:xfrm>
            <a:off x="508000" y="6047121"/>
            <a:ext cx="7127876" cy="215444"/>
          </a:xfrm>
        </p:spPr>
        <p:txBody>
          <a:bodyPr wrap="square" tIns="0" bIns="0" anchor="b" anchorCtr="0">
            <a:spAutoFit/>
          </a:bodyPr>
          <a:lstStyle>
            <a:lvl1pPr marL="108000">
              <a:lnSpc>
                <a:spcPct val="100000"/>
              </a:lnSpc>
              <a:defRPr sz="1400" cap="all" baseline="0">
                <a:solidFill>
                  <a:schemeClr val="tx2"/>
                </a:solidFill>
                <a:latin typeface="+mj-lt"/>
              </a:defRPr>
            </a:lvl1pPr>
            <a:lvl2pPr marL="108000">
              <a:lnSpc>
                <a:spcPct val="100000"/>
              </a:lnSpc>
              <a:defRPr sz="1400" cap="all" baseline="0">
                <a:solidFill>
                  <a:schemeClr val="tx2"/>
                </a:solidFill>
                <a:latin typeface="+mj-lt"/>
              </a:defRPr>
            </a:lvl2pPr>
            <a:lvl3pPr marL="108000">
              <a:lnSpc>
                <a:spcPct val="100000"/>
              </a:lnSpc>
              <a:defRPr sz="1400" cap="all" baseline="0">
                <a:solidFill>
                  <a:schemeClr val="tx2"/>
                </a:solidFill>
                <a:latin typeface="+mj-lt"/>
              </a:defRPr>
            </a:lvl3pPr>
            <a:lvl4pPr marL="108000">
              <a:lnSpc>
                <a:spcPct val="100000"/>
              </a:lnSpc>
              <a:defRPr sz="1400" cap="all" baseline="0">
                <a:solidFill>
                  <a:schemeClr val="tx2"/>
                </a:solidFill>
                <a:latin typeface="+mj-lt"/>
              </a:defRPr>
            </a:lvl4pPr>
            <a:lvl5pPr marL="108000">
              <a:lnSpc>
                <a:spcPct val="100000"/>
              </a:lnSpc>
              <a:defRPr sz="1400" cap="all" baseline="0">
                <a:solidFill>
                  <a:schemeClr val="tx2"/>
                </a:solidFill>
                <a:latin typeface="+mj-lt"/>
              </a:defRPr>
            </a:lvl5pPr>
          </a:lstStyle>
          <a:p>
            <a:pPr lvl="0"/>
            <a:r>
              <a:rPr lang="en-US" dirty="0"/>
              <a:t>quote author</a:t>
            </a:r>
            <a:endParaRPr lang="en-GB" dirty="0"/>
          </a:p>
        </p:txBody>
      </p:sp>
      <p:sp>
        <p:nvSpPr>
          <p:cNvPr id="16" name="Content Placeholder 2">
            <a:extLst>
              <a:ext uri="{FF2B5EF4-FFF2-40B4-BE49-F238E27FC236}">
                <a16:creationId xmlns:a16="http://schemas.microsoft.com/office/drawing/2014/main" id="{7F778683-5AD4-1900-5690-65E041D7BD95}"/>
              </a:ext>
            </a:extLst>
          </p:cNvPr>
          <p:cNvSpPr>
            <a:spLocks noGrp="1"/>
          </p:cNvSpPr>
          <p:nvPr>
            <p:ph idx="1" hasCustomPrompt="1"/>
          </p:nvPr>
        </p:nvSpPr>
        <p:spPr>
          <a:xfrm>
            <a:off x="8737600" y="1098547"/>
            <a:ext cx="2946399" cy="365761"/>
          </a:xfrm>
        </p:spPr>
        <p:txBody>
          <a:bodyPr/>
          <a:lstStyle>
            <a:lvl1pPr>
              <a:defRPr cap="all" baseline="0"/>
            </a:lvl1pPr>
          </a:lstStyle>
          <a:p>
            <a:pPr lvl="0"/>
            <a:r>
              <a:rPr lang="en-US" dirty="0"/>
              <a:t>subhead</a:t>
            </a:r>
          </a:p>
        </p:txBody>
      </p:sp>
    </p:spTree>
    <p:extLst>
      <p:ext uri="{BB962C8B-B14F-4D97-AF65-F5344CB8AC3E}">
        <p14:creationId xmlns:p14="http://schemas.microsoft.com/office/powerpoint/2010/main" val="1314180507"/>
      </p:ext>
    </p:extLst>
  </p:cSld>
  <p:clrMapOvr>
    <a:masterClrMapping/>
  </p:clrMapOvr>
  <p:transition spd="med">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RPORATE - Boilerplat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261A4C7-E98D-3660-5C37-C13B3A230A80}"/>
              </a:ext>
            </a:extLst>
          </p:cNvPr>
          <p:cNvSpPr/>
          <p:nvPr userDrawn="1"/>
        </p:nvSpPr>
        <p:spPr>
          <a:xfrm>
            <a:off x="8126413" y="0"/>
            <a:ext cx="4065587"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Footer Placeholder 4"/>
          <p:cNvSpPr>
            <a:spLocks noGrp="1"/>
          </p:cNvSpPr>
          <p:nvPr userDrawn="1">
            <p:ph type="ftr" sz="quarter" idx="11"/>
          </p:nvPr>
        </p:nvSpPr>
        <p:spPr/>
        <p:txBody>
          <a:bodyPr/>
          <a:lstStyle/>
          <a:p>
            <a:r>
              <a:rPr lang="en-GB"/>
              <a:t>INSERT FOOTER HERE</a:t>
            </a:r>
          </a:p>
        </p:txBody>
      </p:sp>
      <p:sp>
        <p:nvSpPr>
          <p:cNvPr id="6" name="Slide Number Placeholder 5"/>
          <p:cNvSpPr>
            <a:spLocks noGrp="1"/>
          </p:cNvSpPr>
          <p:nvPr userDrawn="1">
            <p:ph type="sldNum" sz="quarter" idx="12"/>
          </p:nvPr>
        </p:nvSpPr>
        <p:spPr/>
        <p:txBody>
          <a:bodyPr/>
          <a:lstStyle>
            <a:lvl1pPr>
              <a:defRPr>
                <a:solidFill>
                  <a:schemeClr val="tx1"/>
                </a:solidFill>
              </a:defRPr>
            </a:lvl1pPr>
          </a:lstStyle>
          <a:p>
            <a:fld id="{8CFE0557-AA98-4E6C-B0C3-581794696B68}" type="slidenum">
              <a:rPr lang="en-GB" smtClean="0"/>
              <a:pPr/>
              <a:t>‹#›</a:t>
            </a:fld>
            <a:endParaRPr lang="en-GB" dirty="0"/>
          </a:p>
        </p:txBody>
      </p:sp>
      <p:sp>
        <p:nvSpPr>
          <p:cNvPr id="3" name="Title 3">
            <a:extLst>
              <a:ext uri="{FF2B5EF4-FFF2-40B4-BE49-F238E27FC236}">
                <a16:creationId xmlns:a16="http://schemas.microsoft.com/office/drawing/2014/main" id="{C3707BBE-F8C2-9986-1A8F-9666AD5EC096}"/>
              </a:ext>
            </a:extLst>
          </p:cNvPr>
          <p:cNvSpPr txBox="1">
            <a:spLocks/>
          </p:cNvSpPr>
          <p:nvPr userDrawn="1"/>
        </p:nvSpPr>
        <p:spPr>
          <a:xfrm>
            <a:off x="508000" y="454014"/>
            <a:ext cx="7134225" cy="669934"/>
          </a:xfrm>
          <a:prstGeom prst="rect">
            <a:avLst/>
          </a:prstGeom>
        </p:spPr>
        <p:txBody>
          <a:bodyPr vert="horz" lIns="0" tIns="0" rIns="0" bIns="72000" rtlCol="0" anchor="t" anchorCtr="0">
            <a:noAutofit/>
          </a:bodyPr>
          <a:lstStyle>
            <a:lvl1pPr algn="l" defTabSz="914400" rtl="0" eaLnBrk="1" latinLnBrk="0" hangingPunct="1">
              <a:lnSpc>
                <a:spcPct val="90000"/>
              </a:lnSpc>
              <a:spcBef>
                <a:spcPct val="0"/>
              </a:spcBef>
              <a:buNone/>
              <a:defRPr sz="3200" kern="1200" cap="all" baseline="0">
                <a:solidFill>
                  <a:schemeClr val="tx2"/>
                </a:solidFill>
                <a:latin typeface="+mn-lt"/>
                <a:ea typeface="+mj-ea"/>
                <a:cs typeface="+mj-cs"/>
              </a:defRPr>
            </a:lvl1pPr>
          </a:lstStyle>
          <a:p>
            <a:r>
              <a:rPr lang="en-US" dirty="0"/>
              <a:t>CORPORATE</a:t>
            </a:r>
            <a:endParaRPr lang="en-GB" dirty="0"/>
          </a:p>
        </p:txBody>
      </p:sp>
      <p:sp>
        <p:nvSpPr>
          <p:cNvPr id="7" name="TextBox 6">
            <a:extLst>
              <a:ext uri="{FF2B5EF4-FFF2-40B4-BE49-F238E27FC236}">
                <a16:creationId xmlns:a16="http://schemas.microsoft.com/office/drawing/2014/main" id="{BD678108-0AEA-3AE9-BD3D-097F233A58C0}"/>
              </a:ext>
            </a:extLst>
          </p:cNvPr>
          <p:cNvSpPr txBox="1"/>
          <p:nvPr userDrawn="1"/>
        </p:nvSpPr>
        <p:spPr>
          <a:xfrm>
            <a:off x="504826" y="1123946"/>
            <a:ext cx="7183961" cy="1027119"/>
          </a:xfrm>
          <a:prstGeom prst="rect">
            <a:avLst/>
          </a:prstGeom>
        </p:spPr>
        <p:txBody>
          <a:bodyPr vert="horz" wrap="square" lIns="0" tIns="45720" rIns="0" bIns="45720" rtlCol="0">
            <a:noAutofit/>
          </a:bodyPr>
          <a:lstStyle/>
          <a:p>
            <a:pPr marL="0" lvl="0" indent="0" algn="l" defTabSz="914400" rtl="0" eaLnBrk="1" latinLnBrk="0" hangingPunct="1">
              <a:lnSpc>
                <a:spcPct val="110000"/>
              </a:lnSpc>
              <a:spcBef>
                <a:spcPts val="300"/>
              </a:spcBef>
              <a:spcAft>
                <a:spcPts val="300"/>
              </a:spcAft>
              <a:buFont typeface="Arial" panose="020B0604020202020204" pitchFamily="34" charset="0"/>
              <a:buNone/>
            </a:pPr>
            <a:r>
              <a:rPr lang="en-US" sz="2000" kern="1200" dirty="0">
                <a:solidFill>
                  <a:schemeClr val="accent2"/>
                </a:solidFill>
                <a:latin typeface="+mj-lt"/>
                <a:ea typeface="+mn-ea"/>
                <a:cs typeface="+mn-cs"/>
              </a:rPr>
              <a:t>Our international corporate team has extensive experience acting on complex and high-value domestic and cross-border transactions.</a:t>
            </a:r>
          </a:p>
        </p:txBody>
      </p:sp>
      <p:sp>
        <p:nvSpPr>
          <p:cNvPr id="10" name="TextBox 9">
            <a:extLst>
              <a:ext uri="{FF2B5EF4-FFF2-40B4-BE49-F238E27FC236}">
                <a16:creationId xmlns:a16="http://schemas.microsoft.com/office/drawing/2014/main" id="{12754B59-8BC6-79B9-F2AC-33CA58AACA6B}"/>
              </a:ext>
            </a:extLst>
          </p:cNvPr>
          <p:cNvSpPr txBox="1"/>
          <p:nvPr userDrawn="1"/>
        </p:nvSpPr>
        <p:spPr>
          <a:xfrm>
            <a:off x="504826" y="2195825"/>
            <a:ext cx="3403599" cy="4022429"/>
          </a:xfrm>
          <a:prstGeom prst="rect">
            <a:avLst/>
          </a:prstGeom>
        </p:spPr>
        <p:txBody>
          <a:bodyPr vert="horz" lIns="0" tIns="45720" rIns="0" bIns="45720" rtlCol="0">
            <a:normAutofit/>
          </a:bodyPr>
          <a:lstStyle>
            <a:lvl1pPr indent="0" defTabSz="914400">
              <a:lnSpc>
                <a:spcPct val="130000"/>
              </a:lnSpc>
              <a:spcBef>
                <a:spcPts val="300"/>
              </a:spcBef>
              <a:spcAft>
                <a:spcPts val="300"/>
              </a:spcAft>
              <a:buFont typeface="Arial" panose="020B0604020202020204" pitchFamily="34" charset="0"/>
              <a:buNone/>
              <a:defRPr sz="1400">
                <a:solidFill>
                  <a:schemeClr val="tx2"/>
                </a:solidFill>
                <a:latin typeface="+mj-lt"/>
              </a:defRPr>
            </a:lvl1pPr>
            <a:lvl2pPr marL="0" lvl="1" indent="0" defTabSz="914400">
              <a:lnSpc>
                <a:spcPct val="130000"/>
              </a:lnSpc>
              <a:spcBef>
                <a:spcPts val="300"/>
              </a:spcBef>
              <a:spcAft>
                <a:spcPts val="300"/>
              </a:spcAft>
              <a:buFont typeface="Arial" panose="020B0604020202020204" pitchFamily="34" charset="0"/>
              <a:buNone/>
              <a:defRPr sz="1100"/>
            </a:lvl2pPr>
            <a:lvl3pPr marL="180975" indent="-180975" defTabSz="914400">
              <a:lnSpc>
                <a:spcPct val="130000"/>
              </a:lnSpc>
              <a:spcBef>
                <a:spcPts val="300"/>
              </a:spcBef>
              <a:spcAft>
                <a:spcPts val="300"/>
              </a:spcAft>
              <a:buClr>
                <a:schemeClr val="tx2"/>
              </a:buClr>
              <a:buSzPct val="105000"/>
              <a:buFont typeface="Arial" panose="020B0604020202020204" pitchFamily="34" charset="0"/>
              <a:buChar char="•"/>
              <a:defRPr sz="1100"/>
            </a:lvl3pPr>
            <a:lvl4pPr marL="539750" indent="-180975" defTabSz="914400">
              <a:lnSpc>
                <a:spcPct val="130000"/>
              </a:lnSpc>
              <a:spcBef>
                <a:spcPts val="300"/>
              </a:spcBef>
              <a:spcAft>
                <a:spcPts val="300"/>
              </a:spcAft>
              <a:buClr>
                <a:schemeClr val="tx2"/>
              </a:buClr>
              <a:buSzPct val="105000"/>
              <a:buFont typeface="Arial" panose="020B0604020202020204" pitchFamily="34" charset="0"/>
              <a:buChar char="•"/>
              <a:defRPr sz="1050"/>
            </a:lvl4pPr>
            <a:lvl5pPr marL="898525" indent="-180975" defTabSz="914400">
              <a:lnSpc>
                <a:spcPct val="130000"/>
              </a:lnSpc>
              <a:spcBef>
                <a:spcPts val="300"/>
              </a:spcBef>
              <a:spcAft>
                <a:spcPts val="300"/>
              </a:spcAft>
              <a:buClr>
                <a:schemeClr val="tx2"/>
              </a:buClr>
              <a:buSzPct val="105000"/>
              <a:buFont typeface="Arial" panose="020B0604020202020204" pitchFamily="34" charset="0"/>
              <a:buChar char="•"/>
              <a:defRPr sz="105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1"/>
            <a:r>
              <a:rPr lang="en-US" dirty="0"/>
              <a:t>We advise many of the world’s largest companies, private and institutional investors, insurers, governments, private equity funds and investment banks across the full spectrum of corporate transactions, as well as corporate governance and day-to-day issues relating to regulatory, stock market and company law compliance.</a:t>
            </a:r>
          </a:p>
          <a:p>
            <a:pPr lvl="1"/>
            <a:r>
              <a:rPr lang="en-US" dirty="0"/>
              <a:t>Our team combines in-depth sector expertise with experience across all corporate disciplines to deliver pragmatic and commercially valuable advice.</a:t>
            </a:r>
          </a:p>
        </p:txBody>
      </p:sp>
      <p:sp>
        <p:nvSpPr>
          <p:cNvPr id="11" name="TextBox 10">
            <a:extLst>
              <a:ext uri="{FF2B5EF4-FFF2-40B4-BE49-F238E27FC236}">
                <a16:creationId xmlns:a16="http://schemas.microsoft.com/office/drawing/2014/main" id="{894F8806-1066-CED5-541E-B865188B52BB}"/>
              </a:ext>
            </a:extLst>
          </p:cNvPr>
          <p:cNvSpPr txBox="1"/>
          <p:nvPr userDrawn="1"/>
        </p:nvSpPr>
        <p:spPr>
          <a:xfrm>
            <a:off x="4233546" y="2195825"/>
            <a:ext cx="3403599" cy="4022429"/>
          </a:xfrm>
          <a:prstGeom prst="rect">
            <a:avLst/>
          </a:prstGeom>
        </p:spPr>
        <p:txBody>
          <a:bodyPr vert="horz" lIns="0" tIns="45720" rIns="0" bIns="45720" rtlCol="0">
            <a:normAutofit/>
          </a:bodyPr>
          <a:lstStyle>
            <a:lvl1pPr indent="0" defTabSz="914400">
              <a:lnSpc>
                <a:spcPct val="130000"/>
              </a:lnSpc>
              <a:spcBef>
                <a:spcPts val="300"/>
              </a:spcBef>
              <a:spcAft>
                <a:spcPts val="300"/>
              </a:spcAft>
              <a:buFont typeface="Arial" panose="020B0604020202020204" pitchFamily="34" charset="0"/>
              <a:buNone/>
              <a:defRPr sz="1400">
                <a:solidFill>
                  <a:schemeClr val="tx2"/>
                </a:solidFill>
                <a:latin typeface="+mj-lt"/>
              </a:defRPr>
            </a:lvl1pPr>
            <a:lvl2pPr marL="0" lvl="1" indent="0" defTabSz="914400">
              <a:lnSpc>
                <a:spcPct val="130000"/>
              </a:lnSpc>
              <a:spcBef>
                <a:spcPts val="300"/>
              </a:spcBef>
              <a:spcAft>
                <a:spcPts val="300"/>
              </a:spcAft>
              <a:buFont typeface="Arial" panose="020B0604020202020204" pitchFamily="34" charset="0"/>
              <a:buNone/>
              <a:defRPr sz="1100"/>
            </a:lvl2pPr>
            <a:lvl3pPr marL="180975" indent="-180975" defTabSz="914400">
              <a:lnSpc>
                <a:spcPct val="130000"/>
              </a:lnSpc>
              <a:spcBef>
                <a:spcPts val="300"/>
              </a:spcBef>
              <a:spcAft>
                <a:spcPts val="300"/>
              </a:spcAft>
              <a:buClr>
                <a:schemeClr val="tx2"/>
              </a:buClr>
              <a:buSzPct val="105000"/>
              <a:buFont typeface="Arial" panose="020B0604020202020204" pitchFamily="34" charset="0"/>
              <a:buChar char="•"/>
              <a:defRPr sz="1100"/>
            </a:lvl3pPr>
            <a:lvl4pPr marL="539750" indent="-180975" defTabSz="914400">
              <a:lnSpc>
                <a:spcPct val="130000"/>
              </a:lnSpc>
              <a:spcBef>
                <a:spcPts val="300"/>
              </a:spcBef>
              <a:spcAft>
                <a:spcPts val="300"/>
              </a:spcAft>
              <a:buClr>
                <a:schemeClr val="tx2"/>
              </a:buClr>
              <a:buSzPct val="105000"/>
              <a:buFont typeface="Arial" panose="020B0604020202020204" pitchFamily="34" charset="0"/>
              <a:buChar char="•"/>
              <a:defRPr sz="1050"/>
            </a:lvl4pPr>
            <a:lvl5pPr marL="898525" indent="-180975" defTabSz="914400">
              <a:lnSpc>
                <a:spcPct val="130000"/>
              </a:lnSpc>
              <a:spcBef>
                <a:spcPts val="300"/>
              </a:spcBef>
              <a:spcAft>
                <a:spcPts val="300"/>
              </a:spcAft>
              <a:buClr>
                <a:schemeClr val="tx2"/>
              </a:buClr>
              <a:buSzPct val="105000"/>
              <a:buFont typeface="Arial" panose="020B0604020202020204" pitchFamily="34" charset="0"/>
              <a:buChar char="•"/>
              <a:defRPr sz="105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1"/>
            <a:r>
              <a:rPr lang="en-US" dirty="0"/>
              <a:t>We have worked on corporate transactions in markets around the world, including the UK, continental Europe, Russia, Africa, the Middle East, India, Malaysia, China, Hong Kong, Singapore, Indonesia, Australia and South America.</a:t>
            </a:r>
            <a:endParaRPr lang="en-GB" dirty="0"/>
          </a:p>
        </p:txBody>
      </p:sp>
      <p:sp>
        <p:nvSpPr>
          <p:cNvPr id="18" name="Content Placeholder 6">
            <a:extLst>
              <a:ext uri="{FF2B5EF4-FFF2-40B4-BE49-F238E27FC236}">
                <a16:creationId xmlns:a16="http://schemas.microsoft.com/office/drawing/2014/main" id="{52475DE9-CB19-61DB-1E0C-FA7A0CCA4259}"/>
              </a:ext>
            </a:extLst>
          </p:cNvPr>
          <p:cNvSpPr txBox="1">
            <a:spLocks/>
          </p:cNvSpPr>
          <p:nvPr userDrawn="1"/>
        </p:nvSpPr>
        <p:spPr>
          <a:xfrm>
            <a:off x="8755064" y="1464308"/>
            <a:ext cx="2963863" cy="4755516"/>
          </a:xfrm>
          <a:prstGeom prst="rect">
            <a:avLst/>
          </a:prstGeom>
        </p:spPr>
        <p:txBody>
          <a:bodyPr vert="horz" lIns="0" tIns="45720" rIns="0" bIns="45720" rtlCol="0">
            <a:normAutofit/>
          </a:bodyPr>
          <a:lstStyle>
            <a:lvl1pPr marL="0" indent="0" algn="l" defTabSz="914400" rtl="0" eaLnBrk="1" latinLnBrk="0" hangingPunct="1">
              <a:lnSpc>
                <a:spcPct val="130000"/>
              </a:lnSpc>
              <a:spcBef>
                <a:spcPts val="300"/>
              </a:spcBef>
              <a:spcAft>
                <a:spcPts val="300"/>
              </a:spcAft>
              <a:buFont typeface="Arial" panose="020B0604020202020204" pitchFamily="34" charset="0"/>
              <a:buNone/>
              <a:defRPr lang="en-US" sz="1100" kern="1200" dirty="0">
                <a:solidFill>
                  <a:schemeClr val="tx1"/>
                </a:solidFill>
                <a:latin typeface="+mn-lt"/>
                <a:ea typeface="+mn-ea"/>
                <a:cs typeface="+mn-cs"/>
              </a:defRPr>
            </a:lvl1pPr>
            <a:lvl2pPr marL="0" indent="0" algn="l" defTabSz="914400" rtl="0" eaLnBrk="1" latinLnBrk="0" hangingPunct="1">
              <a:lnSpc>
                <a:spcPct val="130000"/>
              </a:lnSpc>
              <a:spcBef>
                <a:spcPts val="300"/>
              </a:spcBef>
              <a:spcAft>
                <a:spcPts val="300"/>
              </a:spcAft>
              <a:buFont typeface="Arial" panose="020B0604020202020204" pitchFamily="34" charset="0"/>
              <a:buNone/>
              <a:defRPr lang="en-US" sz="1100" kern="1200" dirty="0">
                <a:solidFill>
                  <a:schemeClr val="tx1"/>
                </a:solidFill>
                <a:latin typeface="+mn-lt"/>
                <a:ea typeface="+mn-ea"/>
                <a:cs typeface="+mn-cs"/>
              </a:defRPr>
            </a:lvl2pPr>
            <a:lvl3pPr marL="180975" indent="-180975" algn="l" defTabSz="914400" rtl="0" eaLnBrk="1" latinLnBrk="0" hangingPunct="1">
              <a:lnSpc>
                <a:spcPct val="130000"/>
              </a:lnSpc>
              <a:spcBef>
                <a:spcPts val="300"/>
              </a:spcBef>
              <a:spcAft>
                <a:spcPts val="300"/>
              </a:spcAft>
              <a:buClr>
                <a:schemeClr val="tx2"/>
              </a:buClr>
              <a:buSzPct val="105000"/>
              <a:buFont typeface="Arial" panose="020B0604020202020204" pitchFamily="34" charset="0"/>
              <a:buChar char="•"/>
              <a:defRPr lang="en-US" sz="1100" kern="1200" dirty="0">
                <a:solidFill>
                  <a:schemeClr val="tx1"/>
                </a:solidFill>
                <a:latin typeface="+mn-lt"/>
                <a:ea typeface="+mn-ea"/>
                <a:cs typeface="+mn-cs"/>
              </a:defRPr>
            </a:lvl3pPr>
            <a:lvl4pPr marL="539750" indent="-180975" algn="l" defTabSz="914400" rtl="0" eaLnBrk="1" latinLnBrk="0" hangingPunct="1">
              <a:lnSpc>
                <a:spcPct val="130000"/>
              </a:lnSpc>
              <a:spcBef>
                <a:spcPts val="300"/>
              </a:spcBef>
              <a:spcAft>
                <a:spcPts val="300"/>
              </a:spcAft>
              <a:buClr>
                <a:schemeClr val="tx2"/>
              </a:buClr>
              <a:buSzPct val="105000"/>
              <a:buFont typeface="Arial" panose="020B0604020202020204" pitchFamily="34" charset="0"/>
              <a:buChar char="•"/>
              <a:defRPr lang="en-US" sz="1050" kern="1200" dirty="0">
                <a:solidFill>
                  <a:schemeClr val="tx1"/>
                </a:solidFill>
                <a:latin typeface="+mn-lt"/>
                <a:ea typeface="+mn-ea"/>
                <a:cs typeface="+mn-cs"/>
              </a:defRPr>
            </a:lvl4pPr>
            <a:lvl5pPr marL="898525" indent="-180975" algn="l" defTabSz="914400" rtl="0" eaLnBrk="1" latinLnBrk="0" hangingPunct="1">
              <a:lnSpc>
                <a:spcPct val="130000"/>
              </a:lnSpc>
              <a:spcBef>
                <a:spcPts val="300"/>
              </a:spcBef>
              <a:spcAft>
                <a:spcPts val="300"/>
              </a:spcAft>
              <a:buClr>
                <a:schemeClr val="tx2"/>
              </a:buClr>
              <a:buSzPct val="105000"/>
              <a:buFont typeface="Arial" panose="020B0604020202020204" pitchFamily="34" charset="0"/>
              <a:buChar char="•"/>
              <a:defRPr lang="en-US" sz="105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2">
              <a:buClr>
                <a:schemeClr val="tx1"/>
              </a:buClr>
            </a:pPr>
            <a:r>
              <a:rPr lang="en-US" dirty="0"/>
              <a:t>Capital markets (equity and debt, including IPOs and secondary fundraisings)</a:t>
            </a:r>
          </a:p>
          <a:p>
            <a:pPr lvl="2">
              <a:buClr>
                <a:schemeClr val="tx1"/>
              </a:buClr>
            </a:pPr>
            <a:r>
              <a:rPr lang="en-US" dirty="0"/>
              <a:t>Corporate governance and </a:t>
            </a:r>
            <a:br>
              <a:rPr lang="en-US" dirty="0"/>
            </a:br>
            <a:r>
              <a:rPr lang="en-US" dirty="0"/>
              <a:t>compliance</a:t>
            </a:r>
          </a:p>
          <a:p>
            <a:pPr lvl="2">
              <a:buClr>
                <a:schemeClr val="tx1"/>
              </a:buClr>
            </a:pPr>
            <a:r>
              <a:rPr lang="en-US" dirty="0"/>
              <a:t>Corporate insurance transactions</a:t>
            </a:r>
          </a:p>
          <a:p>
            <a:pPr lvl="2">
              <a:buClr>
                <a:schemeClr val="tx1"/>
              </a:buClr>
            </a:pPr>
            <a:r>
              <a:rPr lang="en-US" dirty="0"/>
              <a:t>Corporate simplification and restructuring</a:t>
            </a:r>
          </a:p>
          <a:p>
            <a:pPr lvl="2">
              <a:buClr>
                <a:schemeClr val="tx1"/>
              </a:buClr>
            </a:pPr>
            <a:r>
              <a:rPr lang="en-US" dirty="0"/>
              <a:t>Disposals</a:t>
            </a:r>
          </a:p>
          <a:p>
            <a:pPr lvl="2">
              <a:buClr>
                <a:schemeClr val="tx1"/>
              </a:buClr>
            </a:pPr>
            <a:r>
              <a:rPr lang="en-US" dirty="0"/>
              <a:t>JVs</a:t>
            </a:r>
          </a:p>
          <a:p>
            <a:pPr lvl="2">
              <a:buClr>
                <a:schemeClr val="tx1"/>
              </a:buClr>
            </a:pPr>
            <a:r>
              <a:rPr lang="en-US" dirty="0"/>
              <a:t>Public/private M&amp;A</a:t>
            </a:r>
          </a:p>
        </p:txBody>
      </p:sp>
      <p:sp>
        <p:nvSpPr>
          <p:cNvPr id="20" name="Content Placeholder 78">
            <a:extLst>
              <a:ext uri="{FF2B5EF4-FFF2-40B4-BE49-F238E27FC236}">
                <a16:creationId xmlns:a16="http://schemas.microsoft.com/office/drawing/2014/main" id="{EC447A09-E145-F1DE-19CE-0D6E32F9FA96}"/>
              </a:ext>
            </a:extLst>
          </p:cNvPr>
          <p:cNvSpPr txBox="1">
            <a:spLocks/>
          </p:cNvSpPr>
          <p:nvPr userDrawn="1"/>
        </p:nvSpPr>
        <p:spPr>
          <a:xfrm>
            <a:off x="8755064" y="1098547"/>
            <a:ext cx="2946399" cy="365761"/>
          </a:xfrm>
          <a:prstGeom prst="rect">
            <a:avLst/>
          </a:prstGeom>
        </p:spPr>
        <p:txBody>
          <a:bodyPr vert="horz" lIns="0" tIns="45720" rIns="0" bIns="45720" rtlCol="0">
            <a:normAutofit/>
          </a:bodyPr>
          <a:lstStyle>
            <a:lvl1pPr marL="0" indent="0" algn="l" defTabSz="914400" rtl="0" eaLnBrk="1" latinLnBrk="0" hangingPunct="1">
              <a:lnSpc>
                <a:spcPct val="130000"/>
              </a:lnSpc>
              <a:spcBef>
                <a:spcPts val="300"/>
              </a:spcBef>
              <a:spcAft>
                <a:spcPts val="300"/>
              </a:spcAft>
              <a:buFont typeface="Arial" panose="020B0604020202020204" pitchFamily="34" charset="0"/>
              <a:buNone/>
              <a:defRPr sz="1400" kern="1200" cap="all" baseline="0">
                <a:solidFill>
                  <a:schemeClr val="tx2"/>
                </a:solidFill>
                <a:latin typeface="+mj-lt"/>
                <a:ea typeface="+mn-ea"/>
                <a:cs typeface="+mn-cs"/>
              </a:defRPr>
            </a:lvl1pPr>
            <a:lvl2pPr marL="0" indent="0" algn="l" defTabSz="914400" rtl="0" eaLnBrk="1" latinLnBrk="0" hangingPunct="1">
              <a:lnSpc>
                <a:spcPct val="130000"/>
              </a:lnSpc>
              <a:spcBef>
                <a:spcPts val="300"/>
              </a:spcBef>
              <a:spcAft>
                <a:spcPts val="300"/>
              </a:spcAft>
              <a:buFont typeface="Arial" panose="020B0604020202020204" pitchFamily="34" charset="0"/>
              <a:buNone/>
              <a:defRPr sz="1100" kern="1200">
                <a:solidFill>
                  <a:schemeClr val="tx1"/>
                </a:solidFill>
                <a:latin typeface="+mn-lt"/>
                <a:ea typeface="+mn-ea"/>
                <a:cs typeface="+mn-cs"/>
              </a:defRPr>
            </a:lvl2pPr>
            <a:lvl3pPr marL="180975" indent="-180975" algn="l" defTabSz="914400" rtl="0" eaLnBrk="1" latinLnBrk="0" hangingPunct="1">
              <a:lnSpc>
                <a:spcPct val="130000"/>
              </a:lnSpc>
              <a:spcBef>
                <a:spcPts val="300"/>
              </a:spcBef>
              <a:spcAft>
                <a:spcPts val="300"/>
              </a:spcAft>
              <a:buClr>
                <a:schemeClr val="tx2"/>
              </a:buClr>
              <a:buSzPct val="105000"/>
              <a:buFont typeface="Arial" panose="020B0604020202020204" pitchFamily="34" charset="0"/>
              <a:buChar char="•"/>
              <a:defRPr sz="1100" kern="1200">
                <a:solidFill>
                  <a:schemeClr val="tx1"/>
                </a:solidFill>
                <a:latin typeface="+mn-lt"/>
                <a:ea typeface="+mn-ea"/>
                <a:cs typeface="+mn-cs"/>
              </a:defRPr>
            </a:lvl3pPr>
            <a:lvl4pPr marL="539750" indent="-180975" algn="l" defTabSz="914400" rtl="0" eaLnBrk="1" latinLnBrk="0" hangingPunct="1">
              <a:lnSpc>
                <a:spcPct val="130000"/>
              </a:lnSpc>
              <a:spcBef>
                <a:spcPts val="300"/>
              </a:spcBef>
              <a:spcAft>
                <a:spcPts val="300"/>
              </a:spcAft>
              <a:buClr>
                <a:schemeClr val="tx2"/>
              </a:buClr>
              <a:buSzPct val="105000"/>
              <a:buFont typeface="Arial" panose="020B0604020202020204" pitchFamily="34" charset="0"/>
              <a:buChar char="•"/>
              <a:defRPr sz="1050" kern="1200">
                <a:solidFill>
                  <a:schemeClr val="tx1"/>
                </a:solidFill>
                <a:latin typeface="+mn-lt"/>
                <a:ea typeface="+mn-ea"/>
                <a:cs typeface="+mn-cs"/>
              </a:defRPr>
            </a:lvl4pPr>
            <a:lvl5pPr marL="898525" indent="-180975" algn="l" defTabSz="914400" rtl="0" eaLnBrk="1" latinLnBrk="0" hangingPunct="1">
              <a:lnSpc>
                <a:spcPct val="130000"/>
              </a:lnSpc>
              <a:spcBef>
                <a:spcPts val="300"/>
              </a:spcBef>
              <a:spcAft>
                <a:spcPts val="300"/>
              </a:spcAft>
              <a:buClr>
                <a:schemeClr val="tx2"/>
              </a:buClr>
              <a:buSzPct val="105000"/>
              <a:buFont typeface="Arial" panose="020B0604020202020204" pitchFamily="34" charset="0"/>
              <a:buChar char="•"/>
              <a:defRPr sz="105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OUR PRACTICE</a:t>
            </a:r>
            <a:endParaRPr lang="en-GB" dirty="0"/>
          </a:p>
        </p:txBody>
      </p:sp>
      <p:sp>
        <p:nvSpPr>
          <p:cNvPr id="24" name="Text Placeholder 18">
            <a:extLst>
              <a:ext uri="{FF2B5EF4-FFF2-40B4-BE49-F238E27FC236}">
                <a16:creationId xmlns:a16="http://schemas.microsoft.com/office/drawing/2014/main" id="{343D304B-5755-33C8-57B8-EB513241D2B2}"/>
              </a:ext>
            </a:extLst>
          </p:cNvPr>
          <p:cNvSpPr txBox="1">
            <a:spLocks/>
          </p:cNvSpPr>
          <p:nvPr userDrawn="1"/>
        </p:nvSpPr>
        <p:spPr>
          <a:xfrm>
            <a:off x="508000" y="5334846"/>
            <a:ext cx="7127876" cy="681779"/>
          </a:xfrm>
          <a:prstGeom prst="rect">
            <a:avLst/>
          </a:prstGeom>
        </p:spPr>
        <p:txBody>
          <a:bodyPr vert="horz" lIns="0" tIns="45720" rIns="0" bIns="0" rtlCol="0" anchor="b" anchorCtr="0">
            <a:noAutofit/>
          </a:bodyPr>
          <a:lstStyle>
            <a:lvl1pPr marL="108000" indent="-108000" algn="l" defTabSz="914400" rtl="0" eaLnBrk="1" latinLnBrk="0" hangingPunct="1">
              <a:lnSpc>
                <a:spcPct val="110000"/>
              </a:lnSpc>
              <a:spcBef>
                <a:spcPts val="0"/>
              </a:spcBef>
              <a:spcAft>
                <a:spcPts val="0"/>
              </a:spcAft>
              <a:buFont typeface="Arial" panose="020B0604020202020204" pitchFamily="34" charset="0"/>
              <a:buNone/>
              <a:defRPr lang="en-US" sz="2000" kern="1200" dirty="0">
                <a:solidFill>
                  <a:schemeClr val="accent3"/>
                </a:solidFill>
                <a:latin typeface="+mj-lt"/>
                <a:ea typeface="+mn-ea"/>
                <a:cs typeface="+mn-cs"/>
              </a:defRPr>
            </a:lvl1pPr>
            <a:lvl2pPr marL="0" indent="0" algn="l" defTabSz="914400" rtl="0" eaLnBrk="1" latinLnBrk="0" hangingPunct="1">
              <a:lnSpc>
                <a:spcPct val="130000"/>
              </a:lnSpc>
              <a:spcBef>
                <a:spcPts val="300"/>
              </a:spcBef>
              <a:spcAft>
                <a:spcPts val="300"/>
              </a:spcAft>
              <a:buFont typeface="Arial" panose="020B0604020202020204" pitchFamily="34" charset="0"/>
              <a:buNone/>
              <a:defRPr lang="en-US" sz="1400" kern="1200" dirty="0">
                <a:solidFill>
                  <a:schemeClr val="tx2"/>
                </a:solidFill>
                <a:latin typeface="+mj-lt"/>
                <a:ea typeface="+mn-ea"/>
                <a:cs typeface="+mn-cs"/>
              </a:defRPr>
            </a:lvl2pPr>
            <a:lvl3pPr marL="180975" indent="-180975" algn="l" defTabSz="914400" rtl="0" eaLnBrk="1" latinLnBrk="0" hangingPunct="1">
              <a:lnSpc>
                <a:spcPct val="130000"/>
              </a:lnSpc>
              <a:spcBef>
                <a:spcPts val="300"/>
              </a:spcBef>
              <a:spcAft>
                <a:spcPts val="300"/>
              </a:spcAft>
              <a:buClr>
                <a:schemeClr val="tx2"/>
              </a:buClr>
              <a:buSzPct val="105000"/>
              <a:buFont typeface="Arial" panose="020B0604020202020204" pitchFamily="34" charset="0"/>
              <a:buChar char="•"/>
              <a:defRPr sz="1100" kern="1200">
                <a:solidFill>
                  <a:schemeClr val="tx1"/>
                </a:solidFill>
                <a:latin typeface="+mn-lt"/>
                <a:ea typeface="+mn-ea"/>
                <a:cs typeface="+mn-cs"/>
              </a:defRPr>
            </a:lvl3pPr>
            <a:lvl4pPr marL="539750" indent="-180975" algn="l" defTabSz="914400" rtl="0" eaLnBrk="1" latinLnBrk="0" hangingPunct="1">
              <a:lnSpc>
                <a:spcPct val="130000"/>
              </a:lnSpc>
              <a:spcBef>
                <a:spcPts val="300"/>
              </a:spcBef>
              <a:spcAft>
                <a:spcPts val="300"/>
              </a:spcAft>
              <a:buClr>
                <a:schemeClr val="tx2"/>
              </a:buClr>
              <a:buSzPct val="105000"/>
              <a:buFont typeface="Arial" panose="020B0604020202020204" pitchFamily="34" charset="0"/>
              <a:buChar char="•"/>
              <a:defRPr sz="1050" kern="1200">
                <a:solidFill>
                  <a:schemeClr val="tx1"/>
                </a:solidFill>
                <a:latin typeface="+mn-lt"/>
                <a:ea typeface="+mn-ea"/>
                <a:cs typeface="+mn-cs"/>
              </a:defRPr>
            </a:lvl4pPr>
            <a:lvl5pPr marL="898525" indent="-180975" algn="l" defTabSz="914400" rtl="0" eaLnBrk="1" latinLnBrk="0" hangingPunct="1">
              <a:lnSpc>
                <a:spcPct val="130000"/>
              </a:lnSpc>
              <a:spcBef>
                <a:spcPts val="300"/>
              </a:spcBef>
              <a:spcAft>
                <a:spcPts val="300"/>
              </a:spcAft>
              <a:buClr>
                <a:schemeClr val="tx2"/>
              </a:buClr>
              <a:buSzPct val="105000"/>
              <a:buFont typeface="Arial" panose="020B0604020202020204" pitchFamily="34" charset="0"/>
              <a:buChar char="•"/>
              <a:defRPr sz="105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accent2"/>
                </a:solidFill>
              </a:rPr>
              <a:t>“Very market oriented – </a:t>
            </a:r>
            <a:br>
              <a:rPr lang="en-GB" dirty="0">
                <a:solidFill>
                  <a:schemeClr val="accent2"/>
                </a:solidFill>
              </a:rPr>
            </a:br>
            <a:r>
              <a:rPr lang="en-GB" dirty="0">
                <a:solidFill>
                  <a:schemeClr val="accent2"/>
                </a:solidFill>
              </a:rPr>
              <a:t>they are outstanding.”</a:t>
            </a:r>
          </a:p>
        </p:txBody>
      </p:sp>
      <p:sp>
        <p:nvSpPr>
          <p:cNvPr id="25" name="Text Placeholder 19">
            <a:extLst>
              <a:ext uri="{FF2B5EF4-FFF2-40B4-BE49-F238E27FC236}">
                <a16:creationId xmlns:a16="http://schemas.microsoft.com/office/drawing/2014/main" id="{81B002E7-4B60-BB45-BF28-565D1FE11C77}"/>
              </a:ext>
            </a:extLst>
          </p:cNvPr>
          <p:cNvSpPr txBox="1">
            <a:spLocks/>
          </p:cNvSpPr>
          <p:nvPr userDrawn="1"/>
        </p:nvSpPr>
        <p:spPr>
          <a:xfrm>
            <a:off x="508000" y="6047121"/>
            <a:ext cx="7127876" cy="215444"/>
          </a:xfrm>
          <a:prstGeom prst="rect">
            <a:avLst/>
          </a:prstGeom>
        </p:spPr>
        <p:txBody>
          <a:bodyPr vert="horz" wrap="square" lIns="0" tIns="0" rIns="0" bIns="0" rtlCol="0" anchor="b" anchorCtr="0">
            <a:spAutoFit/>
          </a:bodyPr>
          <a:lstStyle>
            <a:lvl1pPr marL="108000" indent="0" algn="l" defTabSz="914400" rtl="0" eaLnBrk="1" latinLnBrk="0" hangingPunct="1">
              <a:lnSpc>
                <a:spcPct val="100000"/>
              </a:lnSpc>
              <a:spcBef>
                <a:spcPts val="300"/>
              </a:spcBef>
              <a:spcAft>
                <a:spcPts val="300"/>
              </a:spcAft>
              <a:buFont typeface="Arial" panose="020B0604020202020204" pitchFamily="34" charset="0"/>
              <a:buNone/>
              <a:defRPr sz="1400" kern="1200" cap="all" baseline="0">
                <a:solidFill>
                  <a:schemeClr val="tx2"/>
                </a:solidFill>
                <a:latin typeface="+mj-lt"/>
                <a:ea typeface="+mn-ea"/>
                <a:cs typeface="+mn-cs"/>
              </a:defRPr>
            </a:lvl1pPr>
            <a:lvl2pPr marL="108000" indent="0" algn="l" defTabSz="914400" rtl="0" eaLnBrk="1" latinLnBrk="0" hangingPunct="1">
              <a:lnSpc>
                <a:spcPct val="100000"/>
              </a:lnSpc>
              <a:spcBef>
                <a:spcPts val="300"/>
              </a:spcBef>
              <a:spcAft>
                <a:spcPts val="300"/>
              </a:spcAft>
              <a:buFont typeface="Arial" panose="020B0604020202020204" pitchFamily="34" charset="0"/>
              <a:buNone/>
              <a:defRPr sz="1400" kern="1200" cap="all" baseline="0">
                <a:solidFill>
                  <a:schemeClr val="tx2"/>
                </a:solidFill>
                <a:latin typeface="+mj-lt"/>
                <a:ea typeface="+mn-ea"/>
                <a:cs typeface="+mn-cs"/>
              </a:defRPr>
            </a:lvl2pPr>
            <a:lvl3pPr marL="108000" indent="-180975" algn="l" defTabSz="914400" rtl="0" eaLnBrk="1" latinLnBrk="0" hangingPunct="1">
              <a:lnSpc>
                <a:spcPct val="100000"/>
              </a:lnSpc>
              <a:spcBef>
                <a:spcPts val="300"/>
              </a:spcBef>
              <a:spcAft>
                <a:spcPts val="300"/>
              </a:spcAft>
              <a:buClr>
                <a:schemeClr val="tx2"/>
              </a:buClr>
              <a:buSzPct val="105000"/>
              <a:buFont typeface="Arial" panose="020B0604020202020204" pitchFamily="34" charset="0"/>
              <a:buChar char="•"/>
              <a:defRPr sz="1400" kern="1200" cap="all" baseline="0">
                <a:solidFill>
                  <a:schemeClr val="tx2"/>
                </a:solidFill>
                <a:latin typeface="+mj-lt"/>
                <a:ea typeface="+mn-ea"/>
                <a:cs typeface="+mn-cs"/>
              </a:defRPr>
            </a:lvl3pPr>
            <a:lvl4pPr marL="108000" indent="-180975" algn="l" defTabSz="914400" rtl="0" eaLnBrk="1" latinLnBrk="0" hangingPunct="1">
              <a:lnSpc>
                <a:spcPct val="100000"/>
              </a:lnSpc>
              <a:spcBef>
                <a:spcPts val="300"/>
              </a:spcBef>
              <a:spcAft>
                <a:spcPts val="300"/>
              </a:spcAft>
              <a:buClr>
                <a:schemeClr val="tx2"/>
              </a:buClr>
              <a:buSzPct val="105000"/>
              <a:buFont typeface="Arial" panose="020B0604020202020204" pitchFamily="34" charset="0"/>
              <a:buChar char="•"/>
              <a:defRPr sz="1400" kern="1200" cap="all" baseline="0">
                <a:solidFill>
                  <a:schemeClr val="tx2"/>
                </a:solidFill>
                <a:latin typeface="+mj-lt"/>
                <a:ea typeface="+mn-ea"/>
                <a:cs typeface="+mn-cs"/>
              </a:defRPr>
            </a:lvl4pPr>
            <a:lvl5pPr marL="108000" indent="-180975" algn="l" defTabSz="914400" rtl="0" eaLnBrk="1" latinLnBrk="0" hangingPunct="1">
              <a:lnSpc>
                <a:spcPct val="100000"/>
              </a:lnSpc>
              <a:spcBef>
                <a:spcPts val="300"/>
              </a:spcBef>
              <a:spcAft>
                <a:spcPts val="300"/>
              </a:spcAft>
              <a:buClr>
                <a:schemeClr val="tx2"/>
              </a:buClr>
              <a:buSzPct val="105000"/>
              <a:buFont typeface="Arial" panose="020B0604020202020204" pitchFamily="34" charset="0"/>
              <a:buChar char="•"/>
              <a:defRPr sz="1400" kern="1200" cap="all" baseline="0">
                <a:solidFill>
                  <a:schemeClr val="tx2"/>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a:t>FINANCE CLIENT TESTIMONIAL – CHAMBERS</a:t>
            </a:r>
            <a:endParaRPr lang="en-GB" dirty="0"/>
          </a:p>
        </p:txBody>
      </p:sp>
    </p:spTree>
    <p:extLst>
      <p:ext uri="{BB962C8B-B14F-4D97-AF65-F5344CB8AC3E}">
        <p14:creationId xmlns:p14="http://schemas.microsoft.com/office/powerpoint/2010/main" val="2487367987"/>
      </p:ext>
    </p:extLst>
  </p:cSld>
  <p:clrMapOvr>
    <a:masterClrMapping/>
  </p:clrMapOvr>
  <p:transition spd="med">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ISPUTE RESOLUTION - Boilerplat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261A4C7-E98D-3660-5C37-C13B3A230A80}"/>
              </a:ext>
            </a:extLst>
          </p:cNvPr>
          <p:cNvSpPr/>
          <p:nvPr userDrawn="1"/>
        </p:nvSpPr>
        <p:spPr>
          <a:xfrm>
            <a:off x="8126413" y="0"/>
            <a:ext cx="4065587"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Footer Placeholder 4"/>
          <p:cNvSpPr>
            <a:spLocks noGrp="1"/>
          </p:cNvSpPr>
          <p:nvPr userDrawn="1">
            <p:ph type="ftr" sz="quarter" idx="11"/>
          </p:nvPr>
        </p:nvSpPr>
        <p:spPr/>
        <p:txBody>
          <a:bodyPr/>
          <a:lstStyle/>
          <a:p>
            <a:r>
              <a:rPr lang="en-GB"/>
              <a:t>INSERT FOOTER HERE</a:t>
            </a:r>
          </a:p>
        </p:txBody>
      </p:sp>
      <p:sp>
        <p:nvSpPr>
          <p:cNvPr id="6" name="Slide Number Placeholder 5"/>
          <p:cNvSpPr>
            <a:spLocks noGrp="1"/>
          </p:cNvSpPr>
          <p:nvPr userDrawn="1">
            <p:ph type="sldNum" sz="quarter" idx="12"/>
          </p:nvPr>
        </p:nvSpPr>
        <p:spPr/>
        <p:txBody>
          <a:bodyPr/>
          <a:lstStyle>
            <a:lvl1pPr>
              <a:defRPr>
                <a:solidFill>
                  <a:schemeClr val="tx1"/>
                </a:solidFill>
              </a:defRPr>
            </a:lvl1pPr>
          </a:lstStyle>
          <a:p>
            <a:fld id="{8CFE0557-AA98-4E6C-B0C3-581794696B68}" type="slidenum">
              <a:rPr lang="en-GB" smtClean="0"/>
              <a:pPr/>
              <a:t>‹#›</a:t>
            </a:fld>
            <a:endParaRPr lang="en-GB" dirty="0"/>
          </a:p>
        </p:txBody>
      </p:sp>
      <p:sp>
        <p:nvSpPr>
          <p:cNvPr id="3" name="Title 3">
            <a:extLst>
              <a:ext uri="{FF2B5EF4-FFF2-40B4-BE49-F238E27FC236}">
                <a16:creationId xmlns:a16="http://schemas.microsoft.com/office/drawing/2014/main" id="{C3707BBE-F8C2-9986-1A8F-9666AD5EC096}"/>
              </a:ext>
            </a:extLst>
          </p:cNvPr>
          <p:cNvSpPr txBox="1">
            <a:spLocks/>
          </p:cNvSpPr>
          <p:nvPr userDrawn="1"/>
        </p:nvSpPr>
        <p:spPr>
          <a:xfrm>
            <a:off x="508000" y="454014"/>
            <a:ext cx="7134225" cy="669934"/>
          </a:xfrm>
          <a:prstGeom prst="rect">
            <a:avLst/>
          </a:prstGeom>
        </p:spPr>
        <p:txBody>
          <a:bodyPr vert="horz" lIns="0" tIns="0" rIns="0" bIns="72000" rtlCol="0" anchor="t" anchorCtr="0">
            <a:noAutofit/>
          </a:bodyPr>
          <a:lstStyle>
            <a:lvl1pPr algn="l" defTabSz="914400" rtl="0" eaLnBrk="1" latinLnBrk="0" hangingPunct="1">
              <a:lnSpc>
                <a:spcPct val="90000"/>
              </a:lnSpc>
              <a:spcBef>
                <a:spcPct val="0"/>
              </a:spcBef>
              <a:buNone/>
              <a:defRPr sz="3200" kern="1200" cap="all" baseline="0">
                <a:solidFill>
                  <a:schemeClr val="tx2"/>
                </a:solidFill>
                <a:latin typeface="+mn-lt"/>
                <a:ea typeface="+mj-ea"/>
                <a:cs typeface="+mj-cs"/>
              </a:defRPr>
            </a:lvl1pPr>
          </a:lstStyle>
          <a:p>
            <a:r>
              <a:rPr lang="en-US" dirty="0"/>
              <a:t>DISPUTE RESOLUTION</a:t>
            </a:r>
            <a:endParaRPr lang="en-GB" dirty="0"/>
          </a:p>
        </p:txBody>
      </p:sp>
      <p:sp>
        <p:nvSpPr>
          <p:cNvPr id="7" name="TextBox 6">
            <a:extLst>
              <a:ext uri="{FF2B5EF4-FFF2-40B4-BE49-F238E27FC236}">
                <a16:creationId xmlns:a16="http://schemas.microsoft.com/office/drawing/2014/main" id="{BD678108-0AEA-3AE9-BD3D-097F233A58C0}"/>
              </a:ext>
            </a:extLst>
          </p:cNvPr>
          <p:cNvSpPr txBox="1"/>
          <p:nvPr userDrawn="1"/>
        </p:nvSpPr>
        <p:spPr>
          <a:xfrm>
            <a:off x="504826" y="1123946"/>
            <a:ext cx="7183961" cy="1027119"/>
          </a:xfrm>
          <a:prstGeom prst="rect">
            <a:avLst/>
          </a:prstGeom>
        </p:spPr>
        <p:txBody>
          <a:bodyPr vert="horz" wrap="square" lIns="0" tIns="45720" rIns="0" bIns="45720" rtlCol="0">
            <a:noAutofit/>
          </a:bodyPr>
          <a:lstStyle/>
          <a:p>
            <a:pPr marL="0" lvl="0" indent="0" algn="l" defTabSz="914400" rtl="0" eaLnBrk="1" latinLnBrk="0" hangingPunct="1">
              <a:lnSpc>
                <a:spcPct val="110000"/>
              </a:lnSpc>
              <a:spcBef>
                <a:spcPts val="300"/>
              </a:spcBef>
              <a:spcAft>
                <a:spcPts val="300"/>
              </a:spcAft>
              <a:buFont typeface="Arial" panose="020B0604020202020204" pitchFamily="34" charset="0"/>
              <a:buNone/>
            </a:pPr>
            <a:r>
              <a:rPr lang="en-US" sz="2000" kern="1200" dirty="0">
                <a:solidFill>
                  <a:schemeClr val="accent2"/>
                </a:solidFill>
                <a:latin typeface="+mj-lt"/>
                <a:ea typeface="+mn-ea"/>
                <a:cs typeface="+mn-cs"/>
              </a:rPr>
              <a:t>As a leading global disputes firm, around two-thirds of our business is contentious matters, including litigation, international arbitration, mediation and alternative forms of dispute resolution.</a:t>
            </a:r>
          </a:p>
        </p:txBody>
      </p:sp>
      <p:sp>
        <p:nvSpPr>
          <p:cNvPr id="10" name="TextBox 9">
            <a:extLst>
              <a:ext uri="{FF2B5EF4-FFF2-40B4-BE49-F238E27FC236}">
                <a16:creationId xmlns:a16="http://schemas.microsoft.com/office/drawing/2014/main" id="{12754B59-8BC6-79B9-F2AC-33CA58AACA6B}"/>
              </a:ext>
            </a:extLst>
          </p:cNvPr>
          <p:cNvSpPr txBox="1"/>
          <p:nvPr userDrawn="1"/>
        </p:nvSpPr>
        <p:spPr>
          <a:xfrm>
            <a:off x="504826" y="2195825"/>
            <a:ext cx="3403599" cy="4022429"/>
          </a:xfrm>
          <a:prstGeom prst="rect">
            <a:avLst/>
          </a:prstGeom>
        </p:spPr>
        <p:txBody>
          <a:bodyPr vert="horz" lIns="0" tIns="45720" rIns="0" bIns="45720" rtlCol="0">
            <a:normAutofit/>
          </a:bodyPr>
          <a:lstStyle>
            <a:lvl1pPr indent="0" defTabSz="914400">
              <a:lnSpc>
                <a:spcPct val="130000"/>
              </a:lnSpc>
              <a:spcBef>
                <a:spcPts val="300"/>
              </a:spcBef>
              <a:spcAft>
                <a:spcPts val="300"/>
              </a:spcAft>
              <a:buFont typeface="Arial" panose="020B0604020202020204" pitchFamily="34" charset="0"/>
              <a:buNone/>
              <a:defRPr sz="1400">
                <a:solidFill>
                  <a:schemeClr val="tx2"/>
                </a:solidFill>
                <a:latin typeface="+mj-lt"/>
              </a:defRPr>
            </a:lvl1pPr>
            <a:lvl2pPr marL="0" lvl="1" indent="0" defTabSz="914400">
              <a:lnSpc>
                <a:spcPct val="130000"/>
              </a:lnSpc>
              <a:spcBef>
                <a:spcPts val="300"/>
              </a:spcBef>
              <a:spcAft>
                <a:spcPts val="300"/>
              </a:spcAft>
              <a:buFont typeface="Arial" panose="020B0604020202020204" pitchFamily="34" charset="0"/>
              <a:buNone/>
              <a:defRPr sz="1100"/>
            </a:lvl2pPr>
            <a:lvl3pPr marL="180975" indent="-180975" defTabSz="914400">
              <a:lnSpc>
                <a:spcPct val="130000"/>
              </a:lnSpc>
              <a:spcBef>
                <a:spcPts val="300"/>
              </a:spcBef>
              <a:spcAft>
                <a:spcPts val="300"/>
              </a:spcAft>
              <a:buClr>
                <a:schemeClr val="tx2"/>
              </a:buClr>
              <a:buSzPct val="105000"/>
              <a:buFont typeface="Arial" panose="020B0604020202020204" pitchFamily="34" charset="0"/>
              <a:buChar char="•"/>
              <a:defRPr sz="1100"/>
            </a:lvl3pPr>
            <a:lvl4pPr marL="539750" indent="-180975" defTabSz="914400">
              <a:lnSpc>
                <a:spcPct val="130000"/>
              </a:lnSpc>
              <a:spcBef>
                <a:spcPts val="300"/>
              </a:spcBef>
              <a:spcAft>
                <a:spcPts val="300"/>
              </a:spcAft>
              <a:buClr>
                <a:schemeClr val="tx2"/>
              </a:buClr>
              <a:buSzPct val="105000"/>
              <a:buFont typeface="Arial" panose="020B0604020202020204" pitchFamily="34" charset="0"/>
              <a:buChar char="•"/>
              <a:defRPr sz="1050"/>
            </a:lvl4pPr>
            <a:lvl5pPr marL="898525" indent="-180975" defTabSz="914400">
              <a:lnSpc>
                <a:spcPct val="130000"/>
              </a:lnSpc>
              <a:spcBef>
                <a:spcPts val="300"/>
              </a:spcBef>
              <a:spcAft>
                <a:spcPts val="300"/>
              </a:spcAft>
              <a:buClr>
                <a:schemeClr val="tx2"/>
              </a:buClr>
              <a:buSzPct val="105000"/>
              <a:buFont typeface="Arial" panose="020B0604020202020204" pitchFamily="34" charset="0"/>
              <a:buChar char="•"/>
              <a:defRPr sz="105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1"/>
            <a:endParaRPr lang="en-US" dirty="0"/>
          </a:p>
          <a:p>
            <a:pPr lvl="1"/>
            <a:endParaRPr lang="en-US" dirty="0"/>
          </a:p>
          <a:p>
            <a:pPr lvl="1"/>
            <a:r>
              <a:rPr lang="en-US" dirty="0"/>
              <a:t>We have more than 350 disputes lawyers across the Americas, Europe the Middle East and Asia Pacific, </a:t>
            </a:r>
            <a:r>
              <a:rPr lang="en-US" dirty="0" err="1"/>
              <a:t>specialising</a:t>
            </a:r>
            <a:r>
              <a:rPr lang="en-US" dirty="0"/>
              <a:t> in high-value, complex, multi-party and multi-jurisdictional disputes, with a particular focus on commercial litigation, fraud and asset recovery, insolvency, investigations, and enforcement actions.</a:t>
            </a:r>
          </a:p>
        </p:txBody>
      </p:sp>
      <p:sp>
        <p:nvSpPr>
          <p:cNvPr id="11" name="TextBox 10">
            <a:extLst>
              <a:ext uri="{FF2B5EF4-FFF2-40B4-BE49-F238E27FC236}">
                <a16:creationId xmlns:a16="http://schemas.microsoft.com/office/drawing/2014/main" id="{894F8806-1066-CED5-541E-B865188B52BB}"/>
              </a:ext>
            </a:extLst>
          </p:cNvPr>
          <p:cNvSpPr txBox="1"/>
          <p:nvPr userDrawn="1"/>
        </p:nvSpPr>
        <p:spPr>
          <a:xfrm>
            <a:off x="4233546" y="2195825"/>
            <a:ext cx="3403599" cy="4022429"/>
          </a:xfrm>
          <a:prstGeom prst="rect">
            <a:avLst/>
          </a:prstGeom>
        </p:spPr>
        <p:txBody>
          <a:bodyPr vert="horz" lIns="0" tIns="45720" rIns="0" bIns="45720" rtlCol="0">
            <a:normAutofit/>
          </a:bodyPr>
          <a:lstStyle>
            <a:lvl1pPr indent="0" defTabSz="914400">
              <a:lnSpc>
                <a:spcPct val="130000"/>
              </a:lnSpc>
              <a:spcBef>
                <a:spcPts val="300"/>
              </a:spcBef>
              <a:spcAft>
                <a:spcPts val="300"/>
              </a:spcAft>
              <a:buFont typeface="Arial" panose="020B0604020202020204" pitchFamily="34" charset="0"/>
              <a:buNone/>
              <a:defRPr sz="1400">
                <a:solidFill>
                  <a:schemeClr val="tx2"/>
                </a:solidFill>
                <a:latin typeface="+mj-lt"/>
              </a:defRPr>
            </a:lvl1pPr>
            <a:lvl2pPr marL="0" lvl="1" indent="0" defTabSz="914400">
              <a:lnSpc>
                <a:spcPct val="130000"/>
              </a:lnSpc>
              <a:spcBef>
                <a:spcPts val="300"/>
              </a:spcBef>
              <a:spcAft>
                <a:spcPts val="300"/>
              </a:spcAft>
              <a:buFont typeface="Arial" panose="020B0604020202020204" pitchFamily="34" charset="0"/>
              <a:buNone/>
              <a:defRPr sz="1100"/>
            </a:lvl2pPr>
            <a:lvl3pPr marL="180975" indent="-180975" defTabSz="914400">
              <a:lnSpc>
                <a:spcPct val="130000"/>
              </a:lnSpc>
              <a:spcBef>
                <a:spcPts val="300"/>
              </a:spcBef>
              <a:spcAft>
                <a:spcPts val="300"/>
              </a:spcAft>
              <a:buClr>
                <a:schemeClr val="tx2"/>
              </a:buClr>
              <a:buSzPct val="105000"/>
              <a:buFont typeface="Arial" panose="020B0604020202020204" pitchFamily="34" charset="0"/>
              <a:buChar char="•"/>
              <a:defRPr sz="1100"/>
            </a:lvl3pPr>
            <a:lvl4pPr marL="539750" indent="-180975" defTabSz="914400">
              <a:lnSpc>
                <a:spcPct val="130000"/>
              </a:lnSpc>
              <a:spcBef>
                <a:spcPts val="300"/>
              </a:spcBef>
              <a:spcAft>
                <a:spcPts val="300"/>
              </a:spcAft>
              <a:buClr>
                <a:schemeClr val="tx2"/>
              </a:buClr>
              <a:buSzPct val="105000"/>
              <a:buFont typeface="Arial" panose="020B0604020202020204" pitchFamily="34" charset="0"/>
              <a:buChar char="•"/>
              <a:defRPr sz="1050"/>
            </a:lvl4pPr>
            <a:lvl5pPr marL="898525" indent="-180975" defTabSz="914400">
              <a:lnSpc>
                <a:spcPct val="130000"/>
              </a:lnSpc>
              <a:spcBef>
                <a:spcPts val="300"/>
              </a:spcBef>
              <a:spcAft>
                <a:spcPts val="300"/>
              </a:spcAft>
              <a:buClr>
                <a:schemeClr val="tx2"/>
              </a:buClr>
              <a:buSzPct val="105000"/>
              <a:buFont typeface="Arial" panose="020B0604020202020204" pitchFamily="34" charset="0"/>
              <a:buChar char="•"/>
              <a:defRPr sz="105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1"/>
            <a:endParaRPr lang="en-US" dirty="0"/>
          </a:p>
          <a:p>
            <a:pPr lvl="1"/>
            <a:endParaRPr lang="en-US" dirty="0"/>
          </a:p>
          <a:p>
            <a:pPr lvl="1"/>
            <a:r>
              <a:rPr lang="en-US" dirty="0"/>
              <a:t>Our expertise spans a wide range of sectors and industries, including aviation, commodities, construction, energy, insurance and shipping.</a:t>
            </a:r>
          </a:p>
          <a:p>
            <a:pPr lvl="1"/>
            <a:r>
              <a:rPr lang="en-US" dirty="0"/>
              <a:t>We have a specialist funding committee that advises clients and our lawyers on the best approach to financing litigation and arbitration. Our strong relationships with brokers and funders means we can provide a seamless and efficient service. </a:t>
            </a:r>
            <a:endParaRPr lang="en-GB" dirty="0"/>
          </a:p>
        </p:txBody>
      </p:sp>
      <p:sp>
        <p:nvSpPr>
          <p:cNvPr id="18" name="Content Placeholder 6">
            <a:extLst>
              <a:ext uri="{FF2B5EF4-FFF2-40B4-BE49-F238E27FC236}">
                <a16:creationId xmlns:a16="http://schemas.microsoft.com/office/drawing/2014/main" id="{52475DE9-CB19-61DB-1E0C-FA7A0CCA4259}"/>
              </a:ext>
            </a:extLst>
          </p:cNvPr>
          <p:cNvSpPr txBox="1">
            <a:spLocks/>
          </p:cNvSpPr>
          <p:nvPr userDrawn="1"/>
        </p:nvSpPr>
        <p:spPr>
          <a:xfrm>
            <a:off x="8755064" y="1464308"/>
            <a:ext cx="2963863" cy="4755516"/>
          </a:xfrm>
          <a:prstGeom prst="rect">
            <a:avLst/>
          </a:prstGeom>
        </p:spPr>
        <p:txBody>
          <a:bodyPr vert="horz" lIns="0" tIns="45720" rIns="0" bIns="45720" rtlCol="0">
            <a:normAutofit/>
          </a:bodyPr>
          <a:lstStyle>
            <a:lvl1pPr marL="0" indent="0" algn="l" defTabSz="914400" rtl="0" eaLnBrk="1" latinLnBrk="0" hangingPunct="1">
              <a:lnSpc>
                <a:spcPct val="130000"/>
              </a:lnSpc>
              <a:spcBef>
                <a:spcPts val="300"/>
              </a:spcBef>
              <a:spcAft>
                <a:spcPts val="300"/>
              </a:spcAft>
              <a:buFont typeface="Arial" panose="020B0604020202020204" pitchFamily="34" charset="0"/>
              <a:buNone/>
              <a:defRPr lang="en-US" sz="1100" kern="1200" dirty="0">
                <a:solidFill>
                  <a:schemeClr val="tx1"/>
                </a:solidFill>
                <a:latin typeface="+mn-lt"/>
                <a:ea typeface="+mn-ea"/>
                <a:cs typeface="+mn-cs"/>
              </a:defRPr>
            </a:lvl1pPr>
            <a:lvl2pPr marL="0" indent="0" algn="l" defTabSz="914400" rtl="0" eaLnBrk="1" latinLnBrk="0" hangingPunct="1">
              <a:lnSpc>
                <a:spcPct val="130000"/>
              </a:lnSpc>
              <a:spcBef>
                <a:spcPts val="300"/>
              </a:spcBef>
              <a:spcAft>
                <a:spcPts val="300"/>
              </a:spcAft>
              <a:buFont typeface="Arial" panose="020B0604020202020204" pitchFamily="34" charset="0"/>
              <a:buNone/>
              <a:defRPr lang="en-US" sz="1100" kern="1200" dirty="0">
                <a:solidFill>
                  <a:schemeClr val="tx1"/>
                </a:solidFill>
                <a:latin typeface="+mn-lt"/>
                <a:ea typeface="+mn-ea"/>
                <a:cs typeface="+mn-cs"/>
              </a:defRPr>
            </a:lvl2pPr>
            <a:lvl3pPr marL="180975" indent="-180975" algn="l" defTabSz="914400" rtl="0" eaLnBrk="1" latinLnBrk="0" hangingPunct="1">
              <a:lnSpc>
                <a:spcPct val="130000"/>
              </a:lnSpc>
              <a:spcBef>
                <a:spcPts val="300"/>
              </a:spcBef>
              <a:spcAft>
                <a:spcPts val="300"/>
              </a:spcAft>
              <a:buClr>
                <a:schemeClr val="tx2"/>
              </a:buClr>
              <a:buSzPct val="105000"/>
              <a:buFont typeface="Arial" panose="020B0604020202020204" pitchFamily="34" charset="0"/>
              <a:buChar char="•"/>
              <a:defRPr lang="en-US" sz="1100" kern="1200" dirty="0">
                <a:solidFill>
                  <a:schemeClr val="tx1"/>
                </a:solidFill>
                <a:latin typeface="+mn-lt"/>
                <a:ea typeface="+mn-ea"/>
                <a:cs typeface="+mn-cs"/>
              </a:defRPr>
            </a:lvl3pPr>
            <a:lvl4pPr marL="539750" indent="-180975" algn="l" defTabSz="914400" rtl="0" eaLnBrk="1" latinLnBrk="0" hangingPunct="1">
              <a:lnSpc>
                <a:spcPct val="130000"/>
              </a:lnSpc>
              <a:spcBef>
                <a:spcPts val="300"/>
              </a:spcBef>
              <a:spcAft>
                <a:spcPts val="300"/>
              </a:spcAft>
              <a:buClr>
                <a:schemeClr val="tx2"/>
              </a:buClr>
              <a:buSzPct val="105000"/>
              <a:buFont typeface="Arial" panose="020B0604020202020204" pitchFamily="34" charset="0"/>
              <a:buChar char="•"/>
              <a:defRPr lang="en-US" sz="1050" kern="1200" dirty="0">
                <a:solidFill>
                  <a:schemeClr val="tx1"/>
                </a:solidFill>
                <a:latin typeface="+mn-lt"/>
                <a:ea typeface="+mn-ea"/>
                <a:cs typeface="+mn-cs"/>
              </a:defRPr>
            </a:lvl4pPr>
            <a:lvl5pPr marL="898525" indent="-180975" algn="l" defTabSz="914400" rtl="0" eaLnBrk="1" latinLnBrk="0" hangingPunct="1">
              <a:lnSpc>
                <a:spcPct val="130000"/>
              </a:lnSpc>
              <a:spcBef>
                <a:spcPts val="300"/>
              </a:spcBef>
              <a:spcAft>
                <a:spcPts val="300"/>
              </a:spcAft>
              <a:buClr>
                <a:schemeClr val="tx2"/>
              </a:buClr>
              <a:buSzPct val="105000"/>
              <a:buFont typeface="Arial" panose="020B0604020202020204" pitchFamily="34" charset="0"/>
              <a:buChar char="•"/>
              <a:defRPr lang="en-US" sz="105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2">
              <a:buClr>
                <a:schemeClr val="tx1"/>
              </a:buClr>
            </a:pPr>
            <a:r>
              <a:rPr lang="en-US" dirty="0"/>
              <a:t>Alternative dispute resolution</a:t>
            </a:r>
          </a:p>
          <a:p>
            <a:pPr lvl="2">
              <a:buClr>
                <a:schemeClr val="tx1"/>
              </a:buClr>
            </a:pPr>
            <a:r>
              <a:rPr lang="en-US" dirty="0"/>
              <a:t>Commercial litigation</a:t>
            </a:r>
          </a:p>
          <a:p>
            <a:pPr lvl="2">
              <a:buClr>
                <a:schemeClr val="tx1"/>
              </a:buClr>
            </a:pPr>
            <a:r>
              <a:rPr lang="en-US" dirty="0"/>
              <a:t>Corporate litigation</a:t>
            </a:r>
          </a:p>
          <a:p>
            <a:pPr lvl="2">
              <a:buClr>
                <a:schemeClr val="tx1"/>
              </a:buClr>
            </a:pPr>
            <a:r>
              <a:rPr lang="en-US" dirty="0"/>
              <a:t>Dispute funding</a:t>
            </a:r>
          </a:p>
          <a:p>
            <a:pPr lvl="2">
              <a:buClr>
                <a:schemeClr val="tx1"/>
              </a:buClr>
            </a:pPr>
            <a:r>
              <a:rPr lang="en-US" dirty="0"/>
              <a:t>Fraud and asset recovery</a:t>
            </a:r>
          </a:p>
          <a:p>
            <a:pPr lvl="2">
              <a:buClr>
                <a:schemeClr val="tx1"/>
              </a:buClr>
            </a:pPr>
            <a:r>
              <a:rPr lang="en-US" dirty="0"/>
              <a:t>Insolvency litigation</a:t>
            </a:r>
          </a:p>
          <a:p>
            <a:pPr lvl="2">
              <a:buClr>
                <a:schemeClr val="tx1"/>
              </a:buClr>
            </a:pPr>
            <a:r>
              <a:rPr lang="en-US" dirty="0"/>
              <a:t>International arbitration</a:t>
            </a:r>
          </a:p>
          <a:p>
            <a:pPr lvl="2">
              <a:buClr>
                <a:schemeClr val="tx1"/>
              </a:buClr>
            </a:pPr>
            <a:r>
              <a:rPr lang="en-US" dirty="0"/>
              <a:t>Regulated markets</a:t>
            </a:r>
          </a:p>
        </p:txBody>
      </p:sp>
      <p:sp>
        <p:nvSpPr>
          <p:cNvPr id="20" name="Content Placeholder 78">
            <a:extLst>
              <a:ext uri="{FF2B5EF4-FFF2-40B4-BE49-F238E27FC236}">
                <a16:creationId xmlns:a16="http://schemas.microsoft.com/office/drawing/2014/main" id="{EC447A09-E145-F1DE-19CE-0D6E32F9FA96}"/>
              </a:ext>
            </a:extLst>
          </p:cNvPr>
          <p:cNvSpPr txBox="1">
            <a:spLocks/>
          </p:cNvSpPr>
          <p:nvPr userDrawn="1"/>
        </p:nvSpPr>
        <p:spPr>
          <a:xfrm>
            <a:off x="8755064" y="1098547"/>
            <a:ext cx="2946399" cy="365761"/>
          </a:xfrm>
          <a:prstGeom prst="rect">
            <a:avLst/>
          </a:prstGeom>
        </p:spPr>
        <p:txBody>
          <a:bodyPr vert="horz" lIns="0" tIns="45720" rIns="0" bIns="45720" rtlCol="0">
            <a:normAutofit/>
          </a:bodyPr>
          <a:lstStyle>
            <a:lvl1pPr marL="0" indent="0" algn="l" defTabSz="914400" rtl="0" eaLnBrk="1" latinLnBrk="0" hangingPunct="1">
              <a:lnSpc>
                <a:spcPct val="130000"/>
              </a:lnSpc>
              <a:spcBef>
                <a:spcPts val="300"/>
              </a:spcBef>
              <a:spcAft>
                <a:spcPts val="300"/>
              </a:spcAft>
              <a:buFont typeface="Arial" panose="020B0604020202020204" pitchFamily="34" charset="0"/>
              <a:buNone/>
              <a:defRPr sz="1400" kern="1200" cap="all" baseline="0">
                <a:solidFill>
                  <a:schemeClr val="tx2"/>
                </a:solidFill>
                <a:latin typeface="+mj-lt"/>
                <a:ea typeface="+mn-ea"/>
                <a:cs typeface="+mn-cs"/>
              </a:defRPr>
            </a:lvl1pPr>
            <a:lvl2pPr marL="0" indent="0" algn="l" defTabSz="914400" rtl="0" eaLnBrk="1" latinLnBrk="0" hangingPunct="1">
              <a:lnSpc>
                <a:spcPct val="130000"/>
              </a:lnSpc>
              <a:spcBef>
                <a:spcPts val="300"/>
              </a:spcBef>
              <a:spcAft>
                <a:spcPts val="300"/>
              </a:spcAft>
              <a:buFont typeface="Arial" panose="020B0604020202020204" pitchFamily="34" charset="0"/>
              <a:buNone/>
              <a:defRPr sz="1100" kern="1200">
                <a:solidFill>
                  <a:schemeClr val="tx1"/>
                </a:solidFill>
                <a:latin typeface="+mn-lt"/>
                <a:ea typeface="+mn-ea"/>
                <a:cs typeface="+mn-cs"/>
              </a:defRPr>
            </a:lvl2pPr>
            <a:lvl3pPr marL="180975" indent="-180975" algn="l" defTabSz="914400" rtl="0" eaLnBrk="1" latinLnBrk="0" hangingPunct="1">
              <a:lnSpc>
                <a:spcPct val="130000"/>
              </a:lnSpc>
              <a:spcBef>
                <a:spcPts val="300"/>
              </a:spcBef>
              <a:spcAft>
                <a:spcPts val="300"/>
              </a:spcAft>
              <a:buClr>
                <a:schemeClr val="tx2"/>
              </a:buClr>
              <a:buSzPct val="105000"/>
              <a:buFont typeface="Arial" panose="020B0604020202020204" pitchFamily="34" charset="0"/>
              <a:buChar char="•"/>
              <a:defRPr sz="1100" kern="1200">
                <a:solidFill>
                  <a:schemeClr val="tx1"/>
                </a:solidFill>
                <a:latin typeface="+mn-lt"/>
                <a:ea typeface="+mn-ea"/>
                <a:cs typeface="+mn-cs"/>
              </a:defRPr>
            </a:lvl3pPr>
            <a:lvl4pPr marL="539750" indent="-180975" algn="l" defTabSz="914400" rtl="0" eaLnBrk="1" latinLnBrk="0" hangingPunct="1">
              <a:lnSpc>
                <a:spcPct val="130000"/>
              </a:lnSpc>
              <a:spcBef>
                <a:spcPts val="300"/>
              </a:spcBef>
              <a:spcAft>
                <a:spcPts val="300"/>
              </a:spcAft>
              <a:buClr>
                <a:schemeClr val="tx2"/>
              </a:buClr>
              <a:buSzPct val="105000"/>
              <a:buFont typeface="Arial" panose="020B0604020202020204" pitchFamily="34" charset="0"/>
              <a:buChar char="•"/>
              <a:defRPr sz="1050" kern="1200">
                <a:solidFill>
                  <a:schemeClr val="tx1"/>
                </a:solidFill>
                <a:latin typeface="+mn-lt"/>
                <a:ea typeface="+mn-ea"/>
                <a:cs typeface="+mn-cs"/>
              </a:defRPr>
            </a:lvl4pPr>
            <a:lvl5pPr marL="898525" indent="-180975" algn="l" defTabSz="914400" rtl="0" eaLnBrk="1" latinLnBrk="0" hangingPunct="1">
              <a:lnSpc>
                <a:spcPct val="130000"/>
              </a:lnSpc>
              <a:spcBef>
                <a:spcPts val="300"/>
              </a:spcBef>
              <a:spcAft>
                <a:spcPts val="300"/>
              </a:spcAft>
              <a:buClr>
                <a:schemeClr val="tx2"/>
              </a:buClr>
              <a:buSzPct val="105000"/>
              <a:buFont typeface="Arial" panose="020B0604020202020204" pitchFamily="34" charset="0"/>
              <a:buChar char="•"/>
              <a:defRPr sz="105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OUR PRACTICE</a:t>
            </a:r>
            <a:endParaRPr lang="en-GB" dirty="0"/>
          </a:p>
        </p:txBody>
      </p:sp>
      <p:sp>
        <p:nvSpPr>
          <p:cNvPr id="24" name="Text Placeholder 18">
            <a:extLst>
              <a:ext uri="{FF2B5EF4-FFF2-40B4-BE49-F238E27FC236}">
                <a16:creationId xmlns:a16="http://schemas.microsoft.com/office/drawing/2014/main" id="{343D304B-5755-33C8-57B8-EB513241D2B2}"/>
              </a:ext>
            </a:extLst>
          </p:cNvPr>
          <p:cNvSpPr txBox="1">
            <a:spLocks/>
          </p:cNvSpPr>
          <p:nvPr userDrawn="1"/>
        </p:nvSpPr>
        <p:spPr>
          <a:xfrm>
            <a:off x="508000" y="5334846"/>
            <a:ext cx="7127876" cy="681779"/>
          </a:xfrm>
          <a:prstGeom prst="rect">
            <a:avLst/>
          </a:prstGeom>
        </p:spPr>
        <p:txBody>
          <a:bodyPr vert="horz" lIns="0" tIns="45720" rIns="0" bIns="0" rtlCol="0" anchor="b" anchorCtr="0">
            <a:noAutofit/>
          </a:bodyPr>
          <a:lstStyle>
            <a:lvl1pPr marL="108000" indent="-108000" algn="l" defTabSz="914400" rtl="0" eaLnBrk="1" latinLnBrk="0" hangingPunct="1">
              <a:lnSpc>
                <a:spcPct val="110000"/>
              </a:lnSpc>
              <a:spcBef>
                <a:spcPts val="0"/>
              </a:spcBef>
              <a:spcAft>
                <a:spcPts val="0"/>
              </a:spcAft>
              <a:buFont typeface="Arial" panose="020B0604020202020204" pitchFamily="34" charset="0"/>
              <a:buNone/>
              <a:defRPr lang="en-US" sz="2000" kern="1200" dirty="0">
                <a:solidFill>
                  <a:schemeClr val="accent3"/>
                </a:solidFill>
                <a:latin typeface="+mj-lt"/>
                <a:ea typeface="+mn-ea"/>
                <a:cs typeface="+mn-cs"/>
              </a:defRPr>
            </a:lvl1pPr>
            <a:lvl2pPr marL="0" indent="0" algn="l" defTabSz="914400" rtl="0" eaLnBrk="1" latinLnBrk="0" hangingPunct="1">
              <a:lnSpc>
                <a:spcPct val="130000"/>
              </a:lnSpc>
              <a:spcBef>
                <a:spcPts val="300"/>
              </a:spcBef>
              <a:spcAft>
                <a:spcPts val="300"/>
              </a:spcAft>
              <a:buFont typeface="Arial" panose="020B0604020202020204" pitchFamily="34" charset="0"/>
              <a:buNone/>
              <a:defRPr lang="en-US" sz="1400" kern="1200" dirty="0">
                <a:solidFill>
                  <a:schemeClr val="tx2"/>
                </a:solidFill>
                <a:latin typeface="+mj-lt"/>
                <a:ea typeface="+mn-ea"/>
                <a:cs typeface="+mn-cs"/>
              </a:defRPr>
            </a:lvl2pPr>
            <a:lvl3pPr marL="180975" indent="-180975" algn="l" defTabSz="914400" rtl="0" eaLnBrk="1" latinLnBrk="0" hangingPunct="1">
              <a:lnSpc>
                <a:spcPct val="130000"/>
              </a:lnSpc>
              <a:spcBef>
                <a:spcPts val="300"/>
              </a:spcBef>
              <a:spcAft>
                <a:spcPts val="300"/>
              </a:spcAft>
              <a:buClr>
                <a:schemeClr val="tx2"/>
              </a:buClr>
              <a:buSzPct val="105000"/>
              <a:buFont typeface="Arial" panose="020B0604020202020204" pitchFamily="34" charset="0"/>
              <a:buChar char="•"/>
              <a:defRPr sz="1100" kern="1200">
                <a:solidFill>
                  <a:schemeClr val="tx1"/>
                </a:solidFill>
                <a:latin typeface="+mn-lt"/>
                <a:ea typeface="+mn-ea"/>
                <a:cs typeface="+mn-cs"/>
              </a:defRPr>
            </a:lvl3pPr>
            <a:lvl4pPr marL="539750" indent="-180975" algn="l" defTabSz="914400" rtl="0" eaLnBrk="1" latinLnBrk="0" hangingPunct="1">
              <a:lnSpc>
                <a:spcPct val="130000"/>
              </a:lnSpc>
              <a:spcBef>
                <a:spcPts val="300"/>
              </a:spcBef>
              <a:spcAft>
                <a:spcPts val="300"/>
              </a:spcAft>
              <a:buClr>
                <a:schemeClr val="tx2"/>
              </a:buClr>
              <a:buSzPct val="105000"/>
              <a:buFont typeface="Arial" panose="020B0604020202020204" pitchFamily="34" charset="0"/>
              <a:buChar char="•"/>
              <a:defRPr sz="1050" kern="1200">
                <a:solidFill>
                  <a:schemeClr val="tx1"/>
                </a:solidFill>
                <a:latin typeface="+mn-lt"/>
                <a:ea typeface="+mn-ea"/>
                <a:cs typeface="+mn-cs"/>
              </a:defRPr>
            </a:lvl4pPr>
            <a:lvl5pPr marL="898525" indent="-180975" algn="l" defTabSz="914400" rtl="0" eaLnBrk="1" latinLnBrk="0" hangingPunct="1">
              <a:lnSpc>
                <a:spcPct val="130000"/>
              </a:lnSpc>
              <a:spcBef>
                <a:spcPts val="300"/>
              </a:spcBef>
              <a:spcAft>
                <a:spcPts val="300"/>
              </a:spcAft>
              <a:buClr>
                <a:schemeClr val="tx2"/>
              </a:buClr>
              <a:buSzPct val="105000"/>
              <a:buFont typeface="Arial" panose="020B0604020202020204" pitchFamily="34" charset="0"/>
              <a:buChar char="•"/>
              <a:defRPr sz="105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accent2"/>
                </a:solidFill>
              </a:rPr>
              <a:t>“Very market oriented – </a:t>
            </a:r>
            <a:br>
              <a:rPr lang="en-GB" dirty="0">
                <a:solidFill>
                  <a:schemeClr val="accent2"/>
                </a:solidFill>
              </a:rPr>
            </a:br>
            <a:r>
              <a:rPr lang="en-GB" dirty="0">
                <a:solidFill>
                  <a:schemeClr val="accent2"/>
                </a:solidFill>
              </a:rPr>
              <a:t>they are outstanding.”</a:t>
            </a:r>
          </a:p>
        </p:txBody>
      </p:sp>
      <p:sp>
        <p:nvSpPr>
          <p:cNvPr id="25" name="Text Placeholder 19">
            <a:extLst>
              <a:ext uri="{FF2B5EF4-FFF2-40B4-BE49-F238E27FC236}">
                <a16:creationId xmlns:a16="http://schemas.microsoft.com/office/drawing/2014/main" id="{81B002E7-4B60-BB45-BF28-565D1FE11C77}"/>
              </a:ext>
            </a:extLst>
          </p:cNvPr>
          <p:cNvSpPr txBox="1">
            <a:spLocks/>
          </p:cNvSpPr>
          <p:nvPr userDrawn="1"/>
        </p:nvSpPr>
        <p:spPr>
          <a:xfrm>
            <a:off x="508000" y="6047121"/>
            <a:ext cx="7127876" cy="215444"/>
          </a:xfrm>
          <a:prstGeom prst="rect">
            <a:avLst/>
          </a:prstGeom>
        </p:spPr>
        <p:txBody>
          <a:bodyPr vert="horz" wrap="square" lIns="0" tIns="0" rIns="0" bIns="0" rtlCol="0" anchor="b" anchorCtr="0">
            <a:spAutoFit/>
          </a:bodyPr>
          <a:lstStyle>
            <a:lvl1pPr marL="108000" indent="0" algn="l" defTabSz="914400" rtl="0" eaLnBrk="1" latinLnBrk="0" hangingPunct="1">
              <a:lnSpc>
                <a:spcPct val="100000"/>
              </a:lnSpc>
              <a:spcBef>
                <a:spcPts val="300"/>
              </a:spcBef>
              <a:spcAft>
                <a:spcPts val="300"/>
              </a:spcAft>
              <a:buFont typeface="Arial" panose="020B0604020202020204" pitchFamily="34" charset="0"/>
              <a:buNone/>
              <a:defRPr sz="1400" kern="1200" cap="all" baseline="0">
                <a:solidFill>
                  <a:schemeClr val="tx2"/>
                </a:solidFill>
                <a:latin typeface="+mj-lt"/>
                <a:ea typeface="+mn-ea"/>
                <a:cs typeface="+mn-cs"/>
              </a:defRPr>
            </a:lvl1pPr>
            <a:lvl2pPr marL="108000" indent="0" algn="l" defTabSz="914400" rtl="0" eaLnBrk="1" latinLnBrk="0" hangingPunct="1">
              <a:lnSpc>
                <a:spcPct val="100000"/>
              </a:lnSpc>
              <a:spcBef>
                <a:spcPts val="300"/>
              </a:spcBef>
              <a:spcAft>
                <a:spcPts val="300"/>
              </a:spcAft>
              <a:buFont typeface="Arial" panose="020B0604020202020204" pitchFamily="34" charset="0"/>
              <a:buNone/>
              <a:defRPr sz="1400" kern="1200" cap="all" baseline="0">
                <a:solidFill>
                  <a:schemeClr val="tx2"/>
                </a:solidFill>
                <a:latin typeface="+mj-lt"/>
                <a:ea typeface="+mn-ea"/>
                <a:cs typeface="+mn-cs"/>
              </a:defRPr>
            </a:lvl2pPr>
            <a:lvl3pPr marL="108000" indent="-180975" algn="l" defTabSz="914400" rtl="0" eaLnBrk="1" latinLnBrk="0" hangingPunct="1">
              <a:lnSpc>
                <a:spcPct val="100000"/>
              </a:lnSpc>
              <a:spcBef>
                <a:spcPts val="300"/>
              </a:spcBef>
              <a:spcAft>
                <a:spcPts val="300"/>
              </a:spcAft>
              <a:buClr>
                <a:schemeClr val="tx2"/>
              </a:buClr>
              <a:buSzPct val="105000"/>
              <a:buFont typeface="Arial" panose="020B0604020202020204" pitchFamily="34" charset="0"/>
              <a:buChar char="•"/>
              <a:defRPr sz="1400" kern="1200" cap="all" baseline="0">
                <a:solidFill>
                  <a:schemeClr val="tx2"/>
                </a:solidFill>
                <a:latin typeface="+mj-lt"/>
                <a:ea typeface="+mn-ea"/>
                <a:cs typeface="+mn-cs"/>
              </a:defRPr>
            </a:lvl3pPr>
            <a:lvl4pPr marL="108000" indent="-180975" algn="l" defTabSz="914400" rtl="0" eaLnBrk="1" latinLnBrk="0" hangingPunct="1">
              <a:lnSpc>
                <a:spcPct val="100000"/>
              </a:lnSpc>
              <a:spcBef>
                <a:spcPts val="300"/>
              </a:spcBef>
              <a:spcAft>
                <a:spcPts val="300"/>
              </a:spcAft>
              <a:buClr>
                <a:schemeClr val="tx2"/>
              </a:buClr>
              <a:buSzPct val="105000"/>
              <a:buFont typeface="Arial" panose="020B0604020202020204" pitchFamily="34" charset="0"/>
              <a:buChar char="•"/>
              <a:defRPr sz="1400" kern="1200" cap="all" baseline="0">
                <a:solidFill>
                  <a:schemeClr val="tx2"/>
                </a:solidFill>
                <a:latin typeface="+mj-lt"/>
                <a:ea typeface="+mn-ea"/>
                <a:cs typeface="+mn-cs"/>
              </a:defRPr>
            </a:lvl4pPr>
            <a:lvl5pPr marL="108000" indent="-180975" algn="l" defTabSz="914400" rtl="0" eaLnBrk="1" latinLnBrk="0" hangingPunct="1">
              <a:lnSpc>
                <a:spcPct val="100000"/>
              </a:lnSpc>
              <a:spcBef>
                <a:spcPts val="300"/>
              </a:spcBef>
              <a:spcAft>
                <a:spcPts val="300"/>
              </a:spcAft>
              <a:buClr>
                <a:schemeClr val="tx2"/>
              </a:buClr>
              <a:buSzPct val="105000"/>
              <a:buFont typeface="Arial" panose="020B0604020202020204" pitchFamily="34" charset="0"/>
              <a:buChar char="•"/>
              <a:defRPr sz="1400" kern="1200" cap="all" baseline="0">
                <a:solidFill>
                  <a:schemeClr val="tx2"/>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FINANCE CLIENT TESTIMONIAL – CHAMBERS</a:t>
            </a:r>
          </a:p>
        </p:txBody>
      </p:sp>
    </p:spTree>
    <p:extLst>
      <p:ext uri="{BB962C8B-B14F-4D97-AF65-F5344CB8AC3E}">
        <p14:creationId xmlns:p14="http://schemas.microsoft.com/office/powerpoint/2010/main" val="2967728086"/>
      </p:ext>
    </p:extLst>
  </p:cSld>
  <p:clrMapOvr>
    <a:masterClrMapping/>
  </p:clrMapOvr>
  <p:transition spd="med">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INANCE - Boilerplat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261A4C7-E98D-3660-5C37-C13B3A230A80}"/>
              </a:ext>
            </a:extLst>
          </p:cNvPr>
          <p:cNvSpPr/>
          <p:nvPr userDrawn="1"/>
        </p:nvSpPr>
        <p:spPr>
          <a:xfrm>
            <a:off x="8126413" y="0"/>
            <a:ext cx="4065587"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Footer Placeholder 4"/>
          <p:cNvSpPr>
            <a:spLocks noGrp="1"/>
          </p:cNvSpPr>
          <p:nvPr userDrawn="1">
            <p:ph type="ftr" sz="quarter" idx="11"/>
          </p:nvPr>
        </p:nvSpPr>
        <p:spPr/>
        <p:txBody>
          <a:bodyPr/>
          <a:lstStyle/>
          <a:p>
            <a:r>
              <a:rPr lang="en-GB"/>
              <a:t>INSERT FOOTER HERE</a:t>
            </a:r>
          </a:p>
        </p:txBody>
      </p:sp>
      <p:sp>
        <p:nvSpPr>
          <p:cNvPr id="6" name="Slide Number Placeholder 5"/>
          <p:cNvSpPr>
            <a:spLocks noGrp="1"/>
          </p:cNvSpPr>
          <p:nvPr userDrawn="1">
            <p:ph type="sldNum" sz="quarter" idx="12"/>
          </p:nvPr>
        </p:nvSpPr>
        <p:spPr/>
        <p:txBody>
          <a:bodyPr/>
          <a:lstStyle>
            <a:lvl1pPr>
              <a:defRPr>
                <a:solidFill>
                  <a:schemeClr val="tx1"/>
                </a:solidFill>
              </a:defRPr>
            </a:lvl1pPr>
          </a:lstStyle>
          <a:p>
            <a:fld id="{8CFE0557-AA98-4E6C-B0C3-581794696B68}" type="slidenum">
              <a:rPr lang="en-GB" smtClean="0"/>
              <a:pPr/>
              <a:t>‹#›</a:t>
            </a:fld>
            <a:endParaRPr lang="en-GB" dirty="0"/>
          </a:p>
        </p:txBody>
      </p:sp>
      <p:sp>
        <p:nvSpPr>
          <p:cNvPr id="3" name="Title 3">
            <a:extLst>
              <a:ext uri="{FF2B5EF4-FFF2-40B4-BE49-F238E27FC236}">
                <a16:creationId xmlns:a16="http://schemas.microsoft.com/office/drawing/2014/main" id="{C3707BBE-F8C2-9986-1A8F-9666AD5EC096}"/>
              </a:ext>
            </a:extLst>
          </p:cNvPr>
          <p:cNvSpPr txBox="1">
            <a:spLocks/>
          </p:cNvSpPr>
          <p:nvPr userDrawn="1"/>
        </p:nvSpPr>
        <p:spPr>
          <a:xfrm>
            <a:off x="508000" y="454014"/>
            <a:ext cx="7134225" cy="669934"/>
          </a:xfrm>
          <a:prstGeom prst="rect">
            <a:avLst/>
          </a:prstGeom>
        </p:spPr>
        <p:txBody>
          <a:bodyPr vert="horz" lIns="0" tIns="0" rIns="0" bIns="72000" rtlCol="0" anchor="t" anchorCtr="0">
            <a:noAutofit/>
          </a:bodyPr>
          <a:lstStyle>
            <a:lvl1pPr algn="l" defTabSz="914400" rtl="0" eaLnBrk="1" latinLnBrk="0" hangingPunct="1">
              <a:lnSpc>
                <a:spcPct val="90000"/>
              </a:lnSpc>
              <a:spcBef>
                <a:spcPct val="0"/>
              </a:spcBef>
              <a:buNone/>
              <a:defRPr sz="3200" kern="1200" cap="all" baseline="0">
                <a:solidFill>
                  <a:schemeClr val="tx2"/>
                </a:solidFill>
                <a:latin typeface="+mn-lt"/>
                <a:ea typeface="+mj-ea"/>
                <a:cs typeface="+mj-cs"/>
              </a:defRPr>
            </a:lvl1pPr>
          </a:lstStyle>
          <a:p>
            <a:r>
              <a:rPr lang="en-US" dirty="0"/>
              <a:t>FINANCE</a:t>
            </a:r>
            <a:endParaRPr lang="en-GB" dirty="0"/>
          </a:p>
        </p:txBody>
      </p:sp>
      <p:sp>
        <p:nvSpPr>
          <p:cNvPr id="7" name="TextBox 6">
            <a:extLst>
              <a:ext uri="{FF2B5EF4-FFF2-40B4-BE49-F238E27FC236}">
                <a16:creationId xmlns:a16="http://schemas.microsoft.com/office/drawing/2014/main" id="{BD678108-0AEA-3AE9-BD3D-097F233A58C0}"/>
              </a:ext>
            </a:extLst>
          </p:cNvPr>
          <p:cNvSpPr txBox="1"/>
          <p:nvPr userDrawn="1"/>
        </p:nvSpPr>
        <p:spPr>
          <a:xfrm>
            <a:off x="504826" y="1123946"/>
            <a:ext cx="7183961" cy="1027119"/>
          </a:xfrm>
          <a:prstGeom prst="rect">
            <a:avLst/>
          </a:prstGeom>
        </p:spPr>
        <p:txBody>
          <a:bodyPr vert="horz" wrap="square" lIns="0" tIns="45720" rIns="0" bIns="45720" rtlCol="0">
            <a:noAutofit/>
          </a:bodyPr>
          <a:lstStyle/>
          <a:p>
            <a:pPr marL="0" lvl="0" indent="0" algn="l" defTabSz="914400" rtl="0" eaLnBrk="1" latinLnBrk="0" hangingPunct="1">
              <a:lnSpc>
                <a:spcPct val="110000"/>
              </a:lnSpc>
              <a:spcBef>
                <a:spcPts val="300"/>
              </a:spcBef>
              <a:spcAft>
                <a:spcPts val="300"/>
              </a:spcAft>
              <a:buFont typeface="Arial" panose="020B0604020202020204" pitchFamily="34" charset="0"/>
              <a:buNone/>
            </a:pPr>
            <a:r>
              <a:rPr lang="en-US" sz="2000" kern="1200" dirty="0">
                <a:solidFill>
                  <a:schemeClr val="accent2"/>
                </a:solidFill>
                <a:latin typeface="+mj-lt"/>
                <a:ea typeface="+mn-ea"/>
                <a:cs typeface="+mn-cs"/>
              </a:rPr>
              <a:t>Our specialist finance team advise on transactions across a wide range of sectors, jurisdictions and markets, including trade and asset finance, project and infrastructure finance, Islamic finance, and financial services regulation.</a:t>
            </a:r>
          </a:p>
        </p:txBody>
      </p:sp>
      <p:sp>
        <p:nvSpPr>
          <p:cNvPr id="10" name="TextBox 9">
            <a:extLst>
              <a:ext uri="{FF2B5EF4-FFF2-40B4-BE49-F238E27FC236}">
                <a16:creationId xmlns:a16="http://schemas.microsoft.com/office/drawing/2014/main" id="{12754B59-8BC6-79B9-F2AC-33CA58AACA6B}"/>
              </a:ext>
            </a:extLst>
          </p:cNvPr>
          <p:cNvSpPr txBox="1"/>
          <p:nvPr userDrawn="1"/>
        </p:nvSpPr>
        <p:spPr>
          <a:xfrm>
            <a:off x="504826" y="2195825"/>
            <a:ext cx="3403599" cy="4022429"/>
          </a:xfrm>
          <a:prstGeom prst="rect">
            <a:avLst/>
          </a:prstGeom>
        </p:spPr>
        <p:txBody>
          <a:bodyPr vert="horz" lIns="0" tIns="45720" rIns="0" bIns="45720" rtlCol="0">
            <a:normAutofit/>
          </a:bodyPr>
          <a:lstStyle>
            <a:lvl1pPr indent="0" defTabSz="914400">
              <a:lnSpc>
                <a:spcPct val="130000"/>
              </a:lnSpc>
              <a:spcBef>
                <a:spcPts val="300"/>
              </a:spcBef>
              <a:spcAft>
                <a:spcPts val="300"/>
              </a:spcAft>
              <a:buFont typeface="Arial" panose="020B0604020202020204" pitchFamily="34" charset="0"/>
              <a:buNone/>
              <a:defRPr sz="1400">
                <a:solidFill>
                  <a:schemeClr val="tx2"/>
                </a:solidFill>
                <a:latin typeface="+mj-lt"/>
              </a:defRPr>
            </a:lvl1pPr>
            <a:lvl2pPr marL="0" lvl="1" indent="0" defTabSz="914400">
              <a:lnSpc>
                <a:spcPct val="130000"/>
              </a:lnSpc>
              <a:spcBef>
                <a:spcPts val="300"/>
              </a:spcBef>
              <a:spcAft>
                <a:spcPts val="300"/>
              </a:spcAft>
              <a:buFont typeface="Arial" panose="020B0604020202020204" pitchFamily="34" charset="0"/>
              <a:buNone/>
              <a:defRPr sz="1100"/>
            </a:lvl2pPr>
            <a:lvl3pPr marL="180975" indent="-180975" defTabSz="914400">
              <a:lnSpc>
                <a:spcPct val="130000"/>
              </a:lnSpc>
              <a:spcBef>
                <a:spcPts val="300"/>
              </a:spcBef>
              <a:spcAft>
                <a:spcPts val="300"/>
              </a:spcAft>
              <a:buClr>
                <a:schemeClr val="tx2"/>
              </a:buClr>
              <a:buSzPct val="105000"/>
              <a:buFont typeface="Arial" panose="020B0604020202020204" pitchFamily="34" charset="0"/>
              <a:buChar char="•"/>
              <a:defRPr sz="1100"/>
            </a:lvl3pPr>
            <a:lvl4pPr marL="539750" indent="-180975" defTabSz="914400">
              <a:lnSpc>
                <a:spcPct val="130000"/>
              </a:lnSpc>
              <a:spcBef>
                <a:spcPts val="300"/>
              </a:spcBef>
              <a:spcAft>
                <a:spcPts val="300"/>
              </a:spcAft>
              <a:buClr>
                <a:schemeClr val="tx2"/>
              </a:buClr>
              <a:buSzPct val="105000"/>
              <a:buFont typeface="Arial" panose="020B0604020202020204" pitchFamily="34" charset="0"/>
              <a:buChar char="•"/>
              <a:defRPr sz="1050"/>
            </a:lvl4pPr>
            <a:lvl5pPr marL="898525" indent="-180975" defTabSz="914400">
              <a:lnSpc>
                <a:spcPct val="130000"/>
              </a:lnSpc>
              <a:spcBef>
                <a:spcPts val="300"/>
              </a:spcBef>
              <a:spcAft>
                <a:spcPts val="300"/>
              </a:spcAft>
              <a:buClr>
                <a:schemeClr val="tx2"/>
              </a:buClr>
              <a:buSzPct val="105000"/>
              <a:buFont typeface="Arial" panose="020B0604020202020204" pitchFamily="34" charset="0"/>
              <a:buChar char="•"/>
              <a:defRPr sz="105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1"/>
            <a:endParaRPr lang="en-US" dirty="0"/>
          </a:p>
          <a:p>
            <a:pPr lvl="1"/>
            <a:endParaRPr lang="en-US" dirty="0"/>
          </a:p>
          <a:p>
            <a:pPr lvl="1"/>
            <a:endParaRPr lang="en-US" dirty="0"/>
          </a:p>
          <a:p>
            <a:pPr lvl="1"/>
            <a:r>
              <a:rPr lang="en-US" dirty="0"/>
              <a:t>We are well known for our work in the shipping, offshore, yacht and corporate jet sectors, and frequently handle assets relating to the transportation industry.</a:t>
            </a:r>
          </a:p>
        </p:txBody>
      </p:sp>
      <p:sp>
        <p:nvSpPr>
          <p:cNvPr id="18" name="Content Placeholder 6">
            <a:extLst>
              <a:ext uri="{FF2B5EF4-FFF2-40B4-BE49-F238E27FC236}">
                <a16:creationId xmlns:a16="http://schemas.microsoft.com/office/drawing/2014/main" id="{52475DE9-CB19-61DB-1E0C-FA7A0CCA4259}"/>
              </a:ext>
            </a:extLst>
          </p:cNvPr>
          <p:cNvSpPr txBox="1">
            <a:spLocks/>
          </p:cNvSpPr>
          <p:nvPr userDrawn="1"/>
        </p:nvSpPr>
        <p:spPr>
          <a:xfrm>
            <a:off x="8755064" y="1464308"/>
            <a:ext cx="2963863" cy="4755516"/>
          </a:xfrm>
          <a:prstGeom prst="rect">
            <a:avLst/>
          </a:prstGeom>
        </p:spPr>
        <p:txBody>
          <a:bodyPr vert="horz" lIns="0" tIns="45720" rIns="0" bIns="45720" rtlCol="0">
            <a:normAutofit lnSpcReduction="10000"/>
          </a:bodyPr>
          <a:lstStyle>
            <a:lvl1pPr marL="0" indent="0" algn="l" defTabSz="914400" rtl="0" eaLnBrk="1" latinLnBrk="0" hangingPunct="1">
              <a:lnSpc>
                <a:spcPct val="130000"/>
              </a:lnSpc>
              <a:spcBef>
                <a:spcPts val="300"/>
              </a:spcBef>
              <a:spcAft>
                <a:spcPts val="300"/>
              </a:spcAft>
              <a:buFont typeface="Arial" panose="020B0604020202020204" pitchFamily="34" charset="0"/>
              <a:buNone/>
              <a:defRPr lang="en-US" sz="1100" kern="1200" dirty="0">
                <a:solidFill>
                  <a:schemeClr val="tx1"/>
                </a:solidFill>
                <a:latin typeface="+mn-lt"/>
                <a:ea typeface="+mn-ea"/>
                <a:cs typeface="+mn-cs"/>
              </a:defRPr>
            </a:lvl1pPr>
            <a:lvl2pPr marL="0" indent="0" algn="l" defTabSz="914400" rtl="0" eaLnBrk="1" latinLnBrk="0" hangingPunct="1">
              <a:lnSpc>
                <a:spcPct val="130000"/>
              </a:lnSpc>
              <a:spcBef>
                <a:spcPts val="300"/>
              </a:spcBef>
              <a:spcAft>
                <a:spcPts val="300"/>
              </a:spcAft>
              <a:buFont typeface="Arial" panose="020B0604020202020204" pitchFamily="34" charset="0"/>
              <a:buNone/>
              <a:defRPr lang="en-US" sz="1100" kern="1200" dirty="0">
                <a:solidFill>
                  <a:schemeClr val="tx1"/>
                </a:solidFill>
                <a:latin typeface="+mn-lt"/>
                <a:ea typeface="+mn-ea"/>
                <a:cs typeface="+mn-cs"/>
              </a:defRPr>
            </a:lvl2pPr>
            <a:lvl3pPr marL="180975" indent="-180975" algn="l" defTabSz="914400" rtl="0" eaLnBrk="1" latinLnBrk="0" hangingPunct="1">
              <a:lnSpc>
                <a:spcPct val="130000"/>
              </a:lnSpc>
              <a:spcBef>
                <a:spcPts val="300"/>
              </a:spcBef>
              <a:spcAft>
                <a:spcPts val="300"/>
              </a:spcAft>
              <a:buClr>
                <a:schemeClr val="tx2"/>
              </a:buClr>
              <a:buSzPct val="105000"/>
              <a:buFont typeface="Arial" panose="020B0604020202020204" pitchFamily="34" charset="0"/>
              <a:buChar char="•"/>
              <a:defRPr lang="en-US" sz="1100" kern="1200" dirty="0">
                <a:solidFill>
                  <a:schemeClr val="tx1"/>
                </a:solidFill>
                <a:latin typeface="+mn-lt"/>
                <a:ea typeface="+mn-ea"/>
                <a:cs typeface="+mn-cs"/>
              </a:defRPr>
            </a:lvl3pPr>
            <a:lvl4pPr marL="539750" indent="-180975" algn="l" defTabSz="914400" rtl="0" eaLnBrk="1" latinLnBrk="0" hangingPunct="1">
              <a:lnSpc>
                <a:spcPct val="130000"/>
              </a:lnSpc>
              <a:spcBef>
                <a:spcPts val="300"/>
              </a:spcBef>
              <a:spcAft>
                <a:spcPts val="300"/>
              </a:spcAft>
              <a:buClr>
                <a:schemeClr val="tx2"/>
              </a:buClr>
              <a:buSzPct val="105000"/>
              <a:buFont typeface="Arial" panose="020B0604020202020204" pitchFamily="34" charset="0"/>
              <a:buChar char="•"/>
              <a:defRPr lang="en-US" sz="1050" kern="1200" dirty="0">
                <a:solidFill>
                  <a:schemeClr val="tx1"/>
                </a:solidFill>
                <a:latin typeface="+mn-lt"/>
                <a:ea typeface="+mn-ea"/>
                <a:cs typeface="+mn-cs"/>
              </a:defRPr>
            </a:lvl4pPr>
            <a:lvl5pPr marL="898525" indent="-180975" algn="l" defTabSz="914400" rtl="0" eaLnBrk="1" latinLnBrk="0" hangingPunct="1">
              <a:lnSpc>
                <a:spcPct val="130000"/>
              </a:lnSpc>
              <a:spcBef>
                <a:spcPts val="300"/>
              </a:spcBef>
              <a:spcAft>
                <a:spcPts val="300"/>
              </a:spcAft>
              <a:buClr>
                <a:schemeClr val="tx2"/>
              </a:buClr>
              <a:buSzPct val="105000"/>
              <a:buFont typeface="Arial" panose="020B0604020202020204" pitchFamily="34" charset="0"/>
              <a:buChar char="•"/>
              <a:defRPr lang="en-US" sz="105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2">
              <a:buClr>
                <a:schemeClr val="tx1"/>
              </a:buClr>
            </a:pPr>
            <a:r>
              <a:rPr lang="en-US" dirty="0"/>
              <a:t>Asset finance (including ship, aviation and offshore)</a:t>
            </a:r>
          </a:p>
          <a:p>
            <a:pPr lvl="2">
              <a:buClr>
                <a:schemeClr val="tx1"/>
              </a:buClr>
            </a:pPr>
            <a:r>
              <a:rPr lang="en-US" dirty="0"/>
              <a:t>Finance leases</a:t>
            </a:r>
          </a:p>
          <a:p>
            <a:pPr lvl="2">
              <a:buClr>
                <a:schemeClr val="tx1"/>
              </a:buClr>
            </a:pPr>
            <a:r>
              <a:rPr lang="en-US" dirty="0"/>
              <a:t>Structured trade &amp;commodity finance</a:t>
            </a:r>
          </a:p>
          <a:p>
            <a:pPr lvl="2">
              <a:buClr>
                <a:schemeClr val="tx1"/>
              </a:buClr>
            </a:pPr>
            <a:r>
              <a:rPr lang="en-US" dirty="0"/>
              <a:t>Islamic finance</a:t>
            </a:r>
          </a:p>
          <a:p>
            <a:pPr lvl="2">
              <a:buClr>
                <a:schemeClr val="tx1"/>
              </a:buClr>
            </a:pPr>
            <a:r>
              <a:rPr lang="en-US" dirty="0"/>
              <a:t>Climate finance</a:t>
            </a:r>
          </a:p>
          <a:p>
            <a:pPr lvl="2">
              <a:buClr>
                <a:schemeClr val="tx1"/>
              </a:buClr>
            </a:pPr>
            <a:r>
              <a:rPr lang="en-US" dirty="0"/>
              <a:t>Blockchain and DLT</a:t>
            </a:r>
          </a:p>
          <a:p>
            <a:pPr lvl="2">
              <a:buClr>
                <a:schemeClr val="tx1"/>
              </a:buClr>
            </a:pPr>
            <a:r>
              <a:rPr lang="en-US" dirty="0"/>
              <a:t>Leveraged buyouts &amp;acquisition finance</a:t>
            </a:r>
          </a:p>
          <a:p>
            <a:pPr lvl="2">
              <a:buClr>
                <a:schemeClr val="tx1"/>
              </a:buClr>
            </a:pPr>
            <a:r>
              <a:rPr lang="en-US" dirty="0"/>
              <a:t>Project/infrastructure finance</a:t>
            </a:r>
          </a:p>
          <a:p>
            <a:pPr lvl="2">
              <a:buClr>
                <a:schemeClr val="tx1"/>
              </a:buClr>
            </a:pPr>
            <a:r>
              <a:rPr lang="en-US" dirty="0"/>
              <a:t>Corporate finance</a:t>
            </a:r>
          </a:p>
          <a:p>
            <a:pPr lvl="2">
              <a:buClr>
                <a:schemeClr val="tx1"/>
              </a:buClr>
            </a:pPr>
            <a:r>
              <a:rPr lang="en-US" dirty="0"/>
              <a:t>Real estate finance</a:t>
            </a:r>
          </a:p>
          <a:p>
            <a:pPr lvl="2">
              <a:buClr>
                <a:schemeClr val="tx1"/>
              </a:buClr>
            </a:pPr>
            <a:r>
              <a:rPr lang="en-US" dirty="0"/>
              <a:t>Debt security issuances</a:t>
            </a:r>
          </a:p>
          <a:p>
            <a:pPr lvl="2">
              <a:buClr>
                <a:schemeClr val="tx1"/>
              </a:buClr>
            </a:pPr>
            <a:r>
              <a:rPr lang="en-US" dirty="0"/>
              <a:t>Derivatives &amp; structured transactions</a:t>
            </a:r>
          </a:p>
          <a:p>
            <a:pPr lvl="2">
              <a:buClr>
                <a:schemeClr val="tx1"/>
              </a:buClr>
            </a:pPr>
            <a:r>
              <a:rPr lang="en-US" dirty="0"/>
              <a:t>Commodity &amp; financial market regulation</a:t>
            </a:r>
          </a:p>
          <a:p>
            <a:pPr lvl="2">
              <a:buClr>
                <a:schemeClr val="tx1"/>
              </a:buClr>
            </a:pPr>
            <a:r>
              <a:rPr lang="en-US" dirty="0"/>
              <a:t>Financial security &amp; sanctions</a:t>
            </a:r>
          </a:p>
        </p:txBody>
      </p:sp>
      <p:sp>
        <p:nvSpPr>
          <p:cNvPr id="20" name="Content Placeholder 78">
            <a:extLst>
              <a:ext uri="{FF2B5EF4-FFF2-40B4-BE49-F238E27FC236}">
                <a16:creationId xmlns:a16="http://schemas.microsoft.com/office/drawing/2014/main" id="{EC447A09-E145-F1DE-19CE-0D6E32F9FA96}"/>
              </a:ext>
            </a:extLst>
          </p:cNvPr>
          <p:cNvSpPr txBox="1">
            <a:spLocks/>
          </p:cNvSpPr>
          <p:nvPr userDrawn="1"/>
        </p:nvSpPr>
        <p:spPr>
          <a:xfrm>
            <a:off x="8755064" y="1098547"/>
            <a:ext cx="2946399" cy="365761"/>
          </a:xfrm>
          <a:prstGeom prst="rect">
            <a:avLst/>
          </a:prstGeom>
        </p:spPr>
        <p:txBody>
          <a:bodyPr vert="horz" lIns="0" tIns="45720" rIns="0" bIns="45720" rtlCol="0">
            <a:normAutofit/>
          </a:bodyPr>
          <a:lstStyle>
            <a:lvl1pPr marL="0" indent="0" algn="l" defTabSz="914400" rtl="0" eaLnBrk="1" latinLnBrk="0" hangingPunct="1">
              <a:lnSpc>
                <a:spcPct val="130000"/>
              </a:lnSpc>
              <a:spcBef>
                <a:spcPts val="300"/>
              </a:spcBef>
              <a:spcAft>
                <a:spcPts val="300"/>
              </a:spcAft>
              <a:buFont typeface="Arial" panose="020B0604020202020204" pitchFamily="34" charset="0"/>
              <a:buNone/>
              <a:defRPr sz="1400" kern="1200" cap="all" baseline="0">
                <a:solidFill>
                  <a:schemeClr val="tx2"/>
                </a:solidFill>
                <a:latin typeface="+mj-lt"/>
                <a:ea typeface="+mn-ea"/>
                <a:cs typeface="+mn-cs"/>
              </a:defRPr>
            </a:lvl1pPr>
            <a:lvl2pPr marL="0" indent="0" algn="l" defTabSz="914400" rtl="0" eaLnBrk="1" latinLnBrk="0" hangingPunct="1">
              <a:lnSpc>
                <a:spcPct val="130000"/>
              </a:lnSpc>
              <a:spcBef>
                <a:spcPts val="300"/>
              </a:spcBef>
              <a:spcAft>
                <a:spcPts val="300"/>
              </a:spcAft>
              <a:buFont typeface="Arial" panose="020B0604020202020204" pitchFamily="34" charset="0"/>
              <a:buNone/>
              <a:defRPr sz="1100" kern="1200">
                <a:solidFill>
                  <a:schemeClr val="tx1"/>
                </a:solidFill>
                <a:latin typeface="+mn-lt"/>
                <a:ea typeface="+mn-ea"/>
                <a:cs typeface="+mn-cs"/>
              </a:defRPr>
            </a:lvl2pPr>
            <a:lvl3pPr marL="180975" indent="-180975" algn="l" defTabSz="914400" rtl="0" eaLnBrk="1" latinLnBrk="0" hangingPunct="1">
              <a:lnSpc>
                <a:spcPct val="130000"/>
              </a:lnSpc>
              <a:spcBef>
                <a:spcPts val="300"/>
              </a:spcBef>
              <a:spcAft>
                <a:spcPts val="300"/>
              </a:spcAft>
              <a:buClr>
                <a:schemeClr val="tx2"/>
              </a:buClr>
              <a:buSzPct val="105000"/>
              <a:buFont typeface="Arial" panose="020B0604020202020204" pitchFamily="34" charset="0"/>
              <a:buChar char="•"/>
              <a:defRPr sz="1100" kern="1200">
                <a:solidFill>
                  <a:schemeClr val="tx1"/>
                </a:solidFill>
                <a:latin typeface="+mn-lt"/>
                <a:ea typeface="+mn-ea"/>
                <a:cs typeface="+mn-cs"/>
              </a:defRPr>
            </a:lvl3pPr>
            <a:lvl4pPr marL="539750" indent="-180975" algn="l" defTabSz="914400" rtl="0" eaLnBrk="1" latinLnBrk="0" hangingPunct="1">
              <a:lnSpc>
                <a:spcPct val="130000"/>
              </a:lnSpc>
              <a:spcBef>
                <a:spcPts val="300"/>
              </a:spcBef>
              <a:spcAft>
                <a:spcPts val="300"/>
              </a:spcAft>
              <a:buClr>
                <a:schemeClr val="tx2"/>
              </a:buClr>
              <a:buSzPct val="105000"/>
              <a:buFont typeface="Arial" panose="020B0604020202020204" pitchFamily="34" charset="0"/>
              <a:buChar char="•"/>
              <a:defRPr sz="1050" kern="1200">
                <a:solidFill>
                  <a:schemeClr val="tx1"/>
                </a:solidFill>
                <a:latin typeface="+mn-lt"/>
                <a:ea typeface="+mn-ea"/>
                <a:cs typeface="+mn-cs"/>
              </a:defRPr>
            </a:lvl4pPr>
            <a:lvl5pPr marL="898525" indent="-180975" algn="l" defTabSz="914400" rtl="0" eaLnBrk="1" latinLnBrk="0" hangingPunct="1">
              <a:lnSpc>
                <a:spcPct val="130000"/>
              </a:lnSpc>
              <a:spcBef>
                <a:spcPts val="300"/>
              </a:spcBef>
              <a:spcAft>
                <a:spcPts val="300"/>
              </a:spcAft>
              <a:buClr>
                <a:schemeClr val="tx2"/>
              </a:buClr>
              <a:buSzPct val="105000"/>
              <a:buFont typeface="Arial" panose="020B0604020202020204" pitchFamily="34" charset="0"/>
              <a:buChar char="•"/>
              <a:defRPr sz="105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OUR PRACTICE</a:t>
            </a:r>
            <a:endParaRPr lang="en-GB" dirty="0"/>
          </a:p>
        </p:txBody>
      </p:sp>
      <p:sp>
        <p:nvSpPr>
          <p:cNvPr id="24" name="Text Placeholder 18">
            <a:extLst>
              <a:ext uri="{FF2B5EF4-FFF2-40B4-BE49-F238E27FC236}">
                <a16:creationId xmlns:a16="http://schemas.microsoft.com/office/drawing/2014/main" id="{343D304B-5755-33C8-57B8-EB513241D2B2}"/>
              </a:ext>
            </a:extLst>
          </p:cNvPr>
          <p:cNvSpPr txBox="1">
            <a:spLocks/>
          </p:cNvSpPr>
          <p:nvPr userDrawn="1"/>
        </p:nvSpPr>
        <p:spPr>
          <a:xfrm>
            <a:off x="508000" y="5334846"/>
            <a:ext cx="7127876" cy="681779"/>
          </a:xfrm>
          <a:prstGeom prst="rect">
            <a:avLst/>
          </a:prstGeom>
        </p:spPr>
        <p:txBody>
          <a:bodyPr vert="horz" lIns="0" tIns="45720" rIns="0" bIns="0" rtlCol="0" anchor="b" anchorCtr="0">
            <a:noAutofit/>
          </a:bodyPr>
          <a:lstStyle>
            <a:lvl1pPr marL="108000" indent="-108000" algn="l" defTabSz="914400" rtl="0" eaLnBrk="1" latinLnBrk="0" hangingPunct="1">
              <a:lnSpc>
                <a:spcPct val="110000"/>
              </a:lnSpc>
              <a:spcBef>
                <a:spcPts val="0"/>
              </a:spcBef>
              <a:spcAft>
                <a:spcPts val="0"/>
              </a:spcAft>
              <a:buFont typeface="Arial" panose="020B0604020202020204" pitchFamily="34" charset="0"/>
              <a:buNone/>
              <a:defRPr lang="en-US" sz="2000" kern="1200" dirty="0">
                <a:solidFill>
                  <a:schemeClr val="accent3"/>
                </a:solidFill>
                <a:latin typeface="+mj-lt"/>
                <a:ea typeface="+mn-ea"/>
                <a:cs typeface="+mn-cs"/>
              </a:defRPr>
            </a:lvl1pPr>
            <a:lvl2pPr marL="0" indent="0" algn="l" defTabSz="914400" rtl="0" eaLnBrk="1" latinLnBrk="0" hangingPunct="1">
              <a:lnSpc>
                <a:spcPct val="130000"/>
              </a:lnSpc>
              <a:spcBef>
                <a:spcPts val="300"/>
              </a:spcBef>
              <a:spcAft>
                <a:spcPts val="300"/>
              </a:spcAft>
              <a:buFont typeface="Arial" panose="020B0604020202020204" pitchFamily="34" charset="0"/>
              <a:buNone/>
              <a:defRPr lang="en-US" sz="1400" kern="1200" dirty="0">
                <a:solidFill>
                  <a:schemeClr val="tx2"/>
                </a:solidFill>
                <a:latin typeface="+mj-lt"/>
                <a:ea typeface="+mn-ea"/>
                <a:cs typeface="+mn-cs"/>
              </a:defRPr>
            </a:lvl2pPr>
            <a:lvl3pPr marL="180975" indent="-180975" algn="l" defTabSz="914400" rtl="0" eaLnBrk="1" latinLnBrk="0" hangingPunct="1">
              <a:lnSpc>
                <a:spcPct val="130000"/>
              </a:lnSpc>
              <a:spcBef>
                <a:spcPts val="300"/>
              </a:spcBef>
              <a:spcAft>
                <a:spcPts val="300"/>
              </a:spcAft>
              <a:buClr>
                <a:schemeClr val="tx2"/>
              </a:buClr>
              <a:buSzPct val="105000"/>
              <a:buFont typeface="Arial" panose="020B0604020202020204" pitchFamily="34" charset="0"/>
              <a:buChar char="•"/>
              <a:defRPr sz="1100" kern="1200">
                <a:solidFill>
                  <a:schemeClr val="tx1"/>
                </a:solidFill>
                <a:latin typeface="+mn-lt"/>
                <a:ea typeface="+mn-ea"/>
                <a:cs typeface="+mn-cs"/>
              </a:defRPr>
            </a:lvl3pPr>
            <a:lvl4pPr marL="539750" indent="-180975" algn="l" defTabSz="914400" rtl="0" eaLnBrk="1" latinLnBrk="0" hangingPunct="1">
              <a:lnSpc>
                <a:spcPct val="130000"/>
              </a:lnSpc>
              <a:spcBef>
                <a:spcPts val="300"/>
              </a:spcBef>
              <a:spcAft>
                <a:spcPts val="300"/>
              </a:spcAft>
              <a:buClr>
                <a:schemeClr val="tx2"/>
              </a:buClr>
              <a:buSzPct val="105000"/>
              <a:buFont typeface="Arial" panose="020B0604020202020204" pitchFamily="34" charset="0"/>
              <a:buChar char="•"/>
              <a:defRPr sz="1050" kern="1200">
                <a:solidFill>
                  <a:schemeClr val="tx1"/>
                </a:solidFill>
                <a:latin typeface="+mn-lt"/>
                <a:ea typeface="+mn-ea"/>
                <a:cs typeface="+mn-cs"/>
              </a:defRPr>
            </a:lvl4pPr>
            <a:lvl5pPr marL="898525" indent="-180975" algn="l" defTabSz="914400" rtl="0" eaLnBrk="1" latinLnBrk="0" hangingPunct="1">
              <a:lnSpc>
                <a:spcPct val="130000"/>
              </a:lnSpc>
              <a:spcBef>
                <a:spcPts val="300"/>
              </a:spcBef>
              <a:spcAft>
                <a:spcPts val="300"/>
              </a:spcAft>
              <a:buClr>
                <a:schemeClr val="tx2"/>
              </a:buClr>
              <a:buSzPct val="105000"/>
              <a:buFont typeface="Arial" panose="020B0604020202020204" pitchFamily="34" charset="0"/>
              <a:buChar char="•"/>
              <a:defRPr sz="105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accent2"/>
                </a:solidFill>
              </a:rPr>
              <a:t>“A big name in corporate </a:t>
            </a:r>
            <a:br>
              <a:rPr lang="en-GB" dirty="0">
                <a:solidFill>
                  <a:schemeClr val="accent2"/>
                </a:solidFill>
              </a:rPr>
            </a:br>
            <a:r>
              <a:rPr lang="en-GB" dirty="0">
                <a:solidFill>
                  <a:schemeClr val="accent2"/>
                </a:solidFill>
              </a:rPr>
              <a:t>crime litigation.”</a:t>
            </a:r>
          </a:p>
        </p:txBody>
      </p:sp>
      <p:sp>
        <p:nvSpPr>
          <p:cNvPr id="25" name="Text Placeholder 19">
            <a:extLst>
              <a:ext uri="{FF2B5EF4-FFF2-40B4-BE49-F238E27FC236}">
                <a16:creationId xmlns:a16="http://schemas.microsoft.com/office/drawing/2014/main" id="{81B002E7-4B60-BB45-BF28-565D1FE11C77}"/>
              </a:ext>
            </a:extLst>
          </p:cNvPr>
          <p:cNvSpPr txBox="1">
            <a:spLocks/>
          </p:cNvSpPr>
          <p:nvPr userDrawn="1"/>
        </p:nvSpPr>
        <p:spPr>
          <a:xfrm>
            <a:off x="508000" y="6047121"/>
            <a:ext cx="7127876" cy="215444"/>
          </a:xfrm>
          <a:prstGeom prst="rect">
            <a:avLst/>
          </a:prstGeom>
        </p:spPr>
        <p:txBody>
          <a:bodyPr vert="horz" wrap="square" lIns="0" tIns="0" rIns="0" bIns="0" rtlCol="0" anchor="b" anchorCtr="0">
            <a:spAutoFit/>
          </a:bodyPr>
          <a:lstStyle>
            <a:lvl1pPr marL="108000" indent="0" algn="l" defTabSz="914400" rtl="0" eaLnBrk="1" latinLnBrk="0" hangingPunct="1">
              <a:lnSpc>
                <a:spcPct val="100000"/>
              </a:lnSpc>
              <a:spcBef>
                <a:spcPts val="300"/>
              </a:spcBef>
              <a:spcAft>
                <a:spcPts val="300"/>
              </a:spcAft>
              <a:buFont typeface="Arial" panose="020B0604020202020204" pitchFamily="34" charset="0"/>
              <a:buNone/>
              <a:defRPr sz="1400" kern="1200" cap="all" baseline="0">
                <a:solidFill>
                  <a:schemeClr val="tx2"/>
                </a:solidFill>
                <a:latin typeface="+mj-lt"/>
                <a:ea typeface="+mn-ea"/>
                <a:cs typeface="+mn-cs"/>
              </a:defRPr>
            </a:lvl1pPr>
            <a:lvl2pPr marL="108000" indent="0" algn="l" defTabSz="914400" rtl="0" eaLnBrk="1" latinLnBrk="0" hangingPunct="1">
              <a:lnSpc>
                <a:spcPct val="100000"/>
              </a:lnSpc>
              <a:spcBef>
                <a:spcPts val="300"/>
              </a:spcBef>
              <a:spcAft>
                <a:spcPts val="300"/>
              </a:spcAft>
              <a:buFont typeface="Arial" panose="020B0604020202020204" pitchFamily="34" charset="0"/>
              <a:buNone/>
              <a:defRPr sz="1400" kern="1200" cap="all" baseline="0">
                <a:solidFill>
                  <a:schemeClr val="tx2"/>
                </a:solidFill>
                <a:latin typeface="+mj-lt"/>
                <a:ea typeface="+mn-ea"/>
                <a:cs typeface="+mn-cs"/>
              </a:defRPr>
            </a:lvl2pPr>
            <a:lvl3pPr marL="108000" indent="-180975" algn="l" defTabSz="914400" rtl="0" eaLnBrk="1" latinLnBrk="0" hangingPunct="1">
              <a:lnSpc>
                <a:spcPct val="100000"/>
              </a:lnSpc>
              <a:spcBef>
                <a:spcPts val="300"/>
              </a:spcBef>
              <a:spcAft>
                <a:spcPts val="300"/>
              </a:spcAft>
              <a:buClr>
                <a:schemeClr val="tx2"/>
              </a:buClr>
              <a:buSzPct val="105000"/>
              <a:buFont typeface="Arial" panose="020B0604020202020204" pitchFamily="34" charset="0"/>
              <a:buChar char="•"/>
              <a:defRPr sz="1400" kern="1200" cap="all" baseline="0">
                <a:solidFill>
                  <a:schemeClr val="tx2"/>
                </a:solidFill>
                <a:latin typeface="+mj-lt"/>
                <a:ea typeface="+mn-ea"/>
                <a:cs typeface="+mn-cs"/>
              </a:defRPr>
            </a:lvl3pPr>
            <a:lvl4pPr marL="108000" indent="-180975" algn="l" defTabSz="914400" rtl="0" eaLnBrk="1" latinLnBrk="0" hangingPunct="1">
              <a:lnSpc>
                <a:spcPct val="100000"/>
              </a:lnSpc>
              <a:spcBef>
                <a:spcPts val="300"/>
              </a:spcBef>
              <a:spcAft>
                <a:spcPts val="300"/>
              </a:spcAft>
              <a:buClr>
                <a:schemeClr val="tx2"/>
              </a:buClr>
              <a:buSzPct val="105000"/>
              <a:buFont typeface="Arial" panose="020B0604020202020204" pitchFamily="34" charset="0"/>
              <a:buChar char="•"/>
              <a:defRPr sz="1400" kern="1200" cap="all" baseline="0">
                <a:solidFill>
                  <a:schemeClr val="tx2"/>
                </a:solidFill>
                <a:latin typeface="+mj-lt"/>
                <a:ea typeface="+mn-ea"/>
                <a:cs typeface="+mn-cs"/>
              </a:defRPr>
            </a:lvl4pPr>
            <a:lvl5pPr marL="108000" indent="-180975" algn="l" defTabSz="914400" rtl="0" eaLnBrk="1" latinLnBrk="0" hangingPunct="1">
              <a:lnSpc>
                <a:spcPct val="100000"/>
              </a:lnSpc>
              <a:spcBef>
                <a:spcPts val="300"/>
              </a:spcBef>
              <a:spcAft>
                <a:spcPts val="300"/>
              </a:spcAft>
              <a:buClr>
                <a:schemeClr val="tx2"/>
              </a:buClr>
              <a:buSzPct val="105000"/>
              <a:buFont typeface="Arial" panose="020B0604020202020204" pitchFamily="34" charset="0"/>
              <a:buChar char="•"/>
              <a:defRPr sz="1400" kern="1200" cap="all" baseline="0">
                <a:solidFill>
                  <a:schemeClr val="tx2"/>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REGULATORY INVESTIGATIONS CLIENT TESTIMONIAL – THE LEGAL 500</a:t>
            </a:r>
            <a:endParaRPr lang="en-GB" dirty="0"/>
          </a:p>
        </p:txBody>
      </p:sp>
    </p:spTree>
    <p:extLst>
      <p:ext uri="{BB962C8B-B14F-4D97-AF65-F5344CB8AC3E}">
        <p14:creationId xmlns:p14="http://schemas.microsoft.com/office/powerpoint/2010/main" val="3272556606"/>
      </p:ext>
    </p:extLst>
  </p:cSld>
  <p:clrMapOvr>
    <a:masterClrMapping/>
  </p:clrMapOvr>
  <p:transition spd="med">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REGULATORY - Boilerplat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261A4C7-E98D-3660-5C37-C13B3A230A80}"/>
              </a:ext>
            </a:extLst>
          </p:cNvPr>
          <p:cNvSpPr/>
          <p:nvPr userDrawn="1"/>
        </p:nvSpPr>
        <p:spPr>
          <a:xfrm>
            <a:off x="8126413" y="0"/>
            <a:ext cx="4065587"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Footer Placeholder 4"/>
          <p:cNvSpPr>
            <a:spLocks noGrp="1"/>
          </p:cNvSpPr>
          <p:nvPr userDrawn="1">
            <p:ph type="ftr" sz="quarter" idx="11"/>
          </p:nvPr>
        </p:nvSpPr>
        <p:spPr/>
        <p:txBody>
          <a:bodyPr/>
          <a:lstStyle/>
          <a:p>
            <a:r>
              <a:rPr lang="en-GB"/>
              <a:t>INSERT FOOTER HERE</a:t>
            </a:r>
          </a:p>
        </p:txBody>
      </p:sp>
      <p:sp>
        <p:nvSpPr>
          <p:cNvPr id="6" name="Slide Number Placeholder 5"/>
          <p:cNvSpPr>
            <a:spLocks noGrp="1"/>
          </p:cNvSpPr>
          <p:nvPr userDrawn="1">
            <p:ph type="sldNum" sz="quarter" idx="12"/>
          </p:nvPr>
        </p:nvSpPr>
        <p:spPr/>
        <p:txBody>
          <a:bodyPr/>
          <a:lstStyle>
            <a:lvl1pPr>
              <a:defRPr>
                <a:solidFill>
                  <a:schemeClr val="tx1"/>
                </a:solidFill>
              </a:defRPr>
            </a:lvl1pPr>
          </a:lstStyle>
          <a:p>
            <a:fld id="{8CFE0557-AA98-4E6C-B0C3-581794696B68}" type="slidenum">
              <a:rPr lang="en-GB" smtClean="0"/>
              <a:pPr/>
              <a:t>‹#›</a:t>
            </a:fld>
            <a:endParaRPr lang="en-GB" dirty="0"/>
          </a:p>
        </p:txBody>
      </p:sp>
      <p:sp>
        <p:nvSpPr>
          <p:cNvPr id="3" name="Title 3">
            <a:extLst>
              <a:ext uri="{FF2B5EF4-FFF2-40B4-BE49-F238E27FC236}">
                <a16:creationId xmlns:a16="http://schemas.microsoft.com/office/drawing/2014/main" id="{C3707BBE-F8C2-9986-1A8F-9666AD5EC096}"/>
              </a:ext>
            </a:extLst>
          </p:cNvPr>
          <p:cNvSpPr txBox="1">
            <a:spLocks/>
          </p:cNvSpPr>
          <p:nvPr userDrawn="1"/>
        </p:nvSpPr>
        <p:spPr>
          <a:xfrm>
            <a:off x="508000" y="454014"/>
            <a:ext cx="7134225" cy="669934"/>
          </a:xfrm>
          <a:prstGeom prst="rect">
            <a:avLst/>
          </a:prstGeom>
        </p:spPr>
        <p:txBody>
          <a:bodyPr vert="horz" lIns="0" tIns="0" rIns="0" bIns="72000" rtlCol="0" anchor="t" anchorCtr="0">
            <a:noAutofit/>
          </a:bodyPr>
          <a:lstStyle>
            <a:lvl1pPr algn="l" defTabSz="914400" rtl="0" eaLnBrk="1" latinLnBrk="0" hangingPunct="1">
              <a:lnSpc>
                <a:spcPct val="90000"/>
              </a:lnSpc>
              <a:spcBef>
                <a:spcPct val="0"/>
              </a:spcBef>
              <a:buNone/>
              <a:defRPr sz="3200" kern="1200" cap="all" baseline="0">
                <a:solidFill>
                  <a:schemeClr val="tx2"/>
                </a:solidFill>
                <a:latin typeface="+mn-lt"/>
                <a:ea typeface="+mj-ea"/>
                <a:cs typeface="+mj-cs"/>
              </a:defRPr>
            </a:lvl1pPr>
          </a:lstStyle>
          <a:p>
            <a:r>
              <a:rPr lang="en-US" dirty="0"/>
              <a:t>REGULATORY</a:t>
            </a:r>
            <a:endParaRPr lang="en-GB" dirty="0"/>
          </a:p>
        </p:txBody>
      </p:sp>
      <p:sp>
        <p:nvSpPr>
          <p:cNvPr id="7" name="TextBox 6">
            <a:extLst>
              <a:ext uri="{FF2B5EF4-FFF2-40B4-BE49-F238E27FC236}">
                <a16:creationId xmlns:a16="http://schemas.microsoft.com/office/drawing/2014/main" id="{BD678108-0AEA-3AE9-BD3D-097F233A58C0}"/>
              </a:ext>
            </a:extLst>
          </p:cNvPr>
          <p:cNvSpPr txBox="1"/>
          <p:nvPr userDrawn="1"/>
        </p:nvSpPr>
        <p:spPr>
          <a:xfrm>
            <a:off x="504826" y="1123946"/>
            <a:ext cx="7183961" cy="1027119"/>
          </a:xfrm>
          <a:prstGeom prst="rect">
            <a:avLst/>
          </a:prstGeom>
        </p:spPr>
        <p:txBody>
          <a:bodyPr vert="horz" wrap="square" lIns="0" tIns="45720" rIns="0" bIns="45720" rtlCol="0">
            <a:noAutofit/>
          </a:bodyPr>
          <a:lstStyle/>
          <a:p>
            <a:pPr marL="0" lvl="0" indent="0" algn="l" defTabSz="914400" rtl="0" eaLnBrk="1" latinLnBrk="0" hangingPunct="1">
              <a:lnSpc>
                <a:spcPct val="110000"/>
              </a:lnSpc>
              <a:spcBef>
                <a:spcPts val="300"/>
              </a:spcBef>
              <a:spcAft>
                <a:spcPts val="300"/>
              </a:spcAft>
              <a:buFont typeface="Arial" panose="020B0604020202020204" pitchFamily="34" charset="0"/>
              <a:buNone/>
            </a:pPr>
            <a:r>
              <a:rPr lang="en-US" sz="2000" kern="1200" dirty="0">
                <a:solidFill>
                  <a:schemeClr val="accent2"/>
                </a:solidFill>
                <a:latin typeface="+mj-lt"/>
                <a:ea typeface="+mn-ea"/>
                <a:cs typeface="+mn-cs"/>
              </a:rPr>
              <a:t>Our specialist team advise our clients’ key decision-makers on a wide range of regulatory issues including corporate governance, environmental regulation, commodity derivatives and sanctions.</a:t>
            </a:r>
          </a:p>
        </p:txBody>
      </p:sp>
      <p:sp>
        <p:nvSpPr>
          <p:cNvPr id="10" name="TextBox 9">
            <a:extLst>
              <a:ext uri="{FF2B5EF4-FFF2-40B4-BE49-F238E27FC236}">
                <a16:creationId xmlns:a16="http://schemas.microsoft.com/office/drawing/2014/main" id="{12754B59-8BC6-79B9-F2AC-33CA58AACA6B}"/>
              </a:ext>
            </a:extLst>
          </p:cNvPr>
          <p:cNvSpPr txBox="1"/>
          <p:nvPr userDrawn="1"/>
        </p:nvSpPr>
        <p:spPr>
          <a:xfrm>
            <a:off x="504826" y="2195825"/>
            <a:ext cx="3403599" cy="4022429"/>
          </a:xfrm>
          <a:prstGeom prst="rect">
            <a:avLst/>
          </a:prstGeom>
        </p:spPr>
        <p:txBody>
          <a:bodyPr vert="horz" lIns="0" tIns="45720" rIns="0" bIns="45720" rtlCol="0">
            <a:normAutofit/>
          </a:bodyPr>
          <a:lstStyle>
            <a:lvl1pPr indent="0" defTabSz="914400">
              <a:lnSpc>
                <a:spcPct val="130000"/>
              </a:lnSpc>
              <a:spcBef>
                <a:spcPts val="300"/>
              </a:spcBef>
              <a:spcAft>
                <a:spcPts val="300"/>
              </a:spcAft>
              <a:buFont typeface="Arial" panose="020B0604020202020204" pitchFamily="34" charset="0"/>
              <a:buNone/>
              <a:defRPr sz="1400">
                <a:solidFill>
                  <a:schemeClr val="tx2"/>
                </a:solidFill>
                <a:latin typeface="+mj-lt"/>
              </a:defRPr>
            </a:lvl1pPr>
            <a:lvl2pPr marL="0" lvl="1" indent="0" defTabSz="914400">
              <a:lnSpc>
                <a:spcPct val="130000"/>
              </a:lnSpc>
              <a:spcBef>
                <a:spcPts val="300"/>
              </a:spcBef>
              <a:spcAft>
                <a:spcPts val="300"/>
              </a:spcAft>
              <a:buFont typeface="Arial" panose="020B0604020202020204" pitchFamily="34" charset="0"/>
              <a:buNone/>
              <a:defRPr sz="1100"/>
            </a:lvl2pPr>
            <a:lvl3pPr marL="180975" indent="-180975" defTabSz="914400">
              <a:lnSpc>
                <a:spcPct val="130000"/>
              </a:lnSpc>
              <a:spcBef>
                <a:spcPts val="300"/>
              </a:spcBef>
              <a:spcAft>
                <a:spcPts val="300"/>
              </a:spcAft>
              <a:buClr>
                <a:schemeClr val="tx2"/>
              </a:buClr>
              <a:buSzPct val="105000"/>
              <a:buFont typeface="Arial" panose="020B0604020202020204" pitchFamily="34" charset="0"/>
              <a:buChar char="•"/>
              <a:defRPr sz="1100"/>
            </a:lvl3pPr>
            <a:lvl4pPr marL="539750" indent="-180975" defTabSz="914400">
              <a:lnSpc>
                <a:spcPct val="130000"/>
              </a:lnSpc>
              <a:spcBef>
                <a:spcPts val="300"/>
              </a:spcBef>
              <a:spcAft>
                <a:spcPts val="300"/>
              </a:spcAft>
              <a:buClr>
                <a:schemeClr val="tx2"/>
              </a:buClr>
              <a:buSzPct val="105000"/>
              <a:buFont typeface="Arial" panose="020B0604020202020204" pitchFamily="34" charset="0"/>
              <a:buChar char="•"/>
              <a:defRPr sz="1050"/>
            </a:lvl4pPr>
            <a:lvl5pPr marL="898525" indent="-180975" defTabSz="914400">
              <a:lnSpc>
                <a:spcPct val="130000"/>
              </a:lnSpc>
              <a:spcBef>
                <a:spcPts val="300"/>
              </a:spcBef>
              <a:spcAft>
                <a:spcPts val="300"/>
              </a:spcAft>
              <a:buClr>
                <a:schemeClr val="tx2"/>
              </a:buClr>
              <a:buSzPct val="105000"/>
              <a:buFont typeface="Arial" panose="020B0604020202020204" pitchFamily="34" charset="0"/>
              <a:buChar char="•"/>
              <a:defRPr sz="105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1"/>
            <a:endParaRPr lang="en-US" dirty="0"/>
          </a:p>
          <a:p>
            <a:pPr lvl="1"/>
            <a:endParaRPr lang="en-US" dirty="0"/>
          </a:p>
          <a:p>
            <a:pPr lvl="1"/>
            <a:r>
              <a:rPr lang="en-US" dirty="0"/>
              <a:t>We also help clients manage the risk associated with investigations and enforcement actions around the world, advising corporations and individuals on all aspects of business crime and misconduct, including bribery, corruption, fraud, money laundering, market abuse and compliance.</a:t>
            </a:r>
          </a:p>
        </p:txBody>
      </p:sp>
      <p:sp>
        <p:nvSpPr>
          <p:cNvPr id="18" name="Content Placeholder 6">
            <a:extLst>
              <a:ext uri="{FF2B5EF4-FFF2-40B4-BE49-F238E27FC236}">
                <a16:creationId xmlns:a16="http://schemas.microsoft.com/office/drawing/2014/main" id="{52475DE9-CB19-61DB-1E0C-FA7A0CCA4259}"/>
              </a:ext>
            </a:extLst>
          </p:cNvPr>
          <p:cNvSpPr txBox="1">
            <a:spLocks/>
          </p:cNvSpPr>
          <p:nvPr userDrawn="1"/>
        </p:nvSpPr>
        <p:spPr>
          <a:xfrm>
            <a:off x="8755064" y="1464308"/>
            <a:ext cx="2963863" cy="4755516"/>
          </a:xfrm>
          <a:prstGeom prst="rect">
            <a:avLst/>
          </a:prstGeom>
        </p:spPr>
        <p:txBody>
          <a:bodyPr vert="horz" lIns="0" tIns="45720" rIns="0" bIns="45720" rtlCol="0">
            <a:normAutofit/>
          </a:bodyPr>
          <a:lstStyle>
            <a:lvl1pPr marL="0" indent="0" algn="l" defTabSz="914400" rtl="0" eaLnBrk="1" latinLnBrk="0" hangingPunct="1">
              <a:lnSpc>
                <a:spcPct val="130000"/>
              </a:lnSpc>
              <a:spcBef>
                <a:spcPts val="300"/>
              </a:spcBef>
              <a:spcAft>
                <a:spcPts val="300"/>
              </a:spcAft>
              <a:buFont typeface="Arial" panose="020B0604020202020204" pitchFamily="34" charset="0"/>
              <a:buNone/>
              <a:defRPr lang="en-US" sz="1100" kern="1200" dirty="0">
                <a:solidFill>
                  <a:schemeClr val="tx1"/>
                </a:solidFill>
                <a:latin typeface="+mn-lt"/>
                <a:ea typeface="+mn-ea"/>
                <a:cs typeface="+mn-cs"/>
              </a:defRPr>
            </a:lvl1pPr>
            <a:lvl2pPr marL="0" indent="0" algn="l" defTabSz="914400" rtl="0" eaLnBrk="1" latinLnBrk="0" hangingPunct="1">
              <a:lnSpc>
                <a:spcPct val="130000"/>
              </a:lnSpc>
              <a:spcBef>
                <a:spcPts val="300"/>
              </a:spcBef>
              <a:spcAft>
                <a:spcPts val="300"/>
              </a:spcAft>
              <a:buFont typeface="Arial" panose="020B0604020202020204" pitchFamily="34" charset="0"/>
              <a:buNone/>
              <a:defRPr lang="en-US" sz="1100" kern="1200" dirty="0">
                <a:solidFill>
                  <a:schemeClr val="tx1"/>
                </a:solidFill>
                <a:latin typeface="+mn-lt"/>
                <a:ea typeface="+mn-ea"/>
                <a:cs typeface="+mn-cs"/>
              </a:defRPr>
            </a:lvl2pPr>
            <a:lvl3pPr marL="180975" indent="-180975" algn="l" defTabSz="914400" rtl="0" eaLnBrk="1" latinLnBrk="0" hangingPunct="1">
              <a:lnSpc>
                <a:spcPct val="130000"/>
              </a:lnSpc>
              <a:spcBef>
                <a:spcPts val="300"/>
              </a:spcBef>
              <a:spcAft>
                <a:spcPts val="300"/>
              </a:spcAft>
              <a:buClr>
                <a:schemeClr val="tx2"/>
              </a:buClr>
              <a:buSzPct val="105000"/>
              <a:buFont typeface="Arial" panose="020B0604020202020204" pitchFamily="34" charset="0"/>
              <a:buChar char="•"/>
              <a:defRPr lang="en-US" sz="1100" kern="1200" dirty="0">
                <a:solidFill>
                  <a:schemeClr val="tx1"/>
                </a:solidFill>
                <a:latin typeface="+mn-lt"/>
                <a:ea typeface="+mn-ea"/>
                <a:cs typeface="+mn-cs"/>
              </a:defRPr>
            </a:lvl3pPr>
            <a:lvl4pPr marL="539750" indent="-180975" algn="l" defTabSz="914400" rtl="0" eaLnBrk="1" latinLnBrk="0" hangingPunct="1">
              <a:lnSpc>
                <a:spcPct val="130000"/>
              </a:lnSpc>
              <a:spcBef>
                <a:spcPts val="300"/>
              </a:spcBef>
              <a:spcAft>
                <a:spcPts val="300"/>
              </a:spcAft>
              <a:buClr>
                <a:schemeClr val="tx2"/>
              </a:buClr>
              <a:buSzPct val="105000"/>
              <a:buFont typeface="Arial" panose="020B0604020202020204" pitchFamily="34" charset="0"/>
              <a:buChar char="•"/>
              <a:defRPr lang="en-US" sz="1050" kern="1200" dirty="0">
                <a:solidFill>
                  <a:schemeClr val="tx1"/>
                </a:solidFill>
                <a:latin typeface="+mn-lt"/>
                <a:ea typeface="+mn-ea"/>
                <a:cs typeface="+mn-cs"/>
              </a:defRPr>
            </a:lvl4pPr>
            <a:lvl5pPr marL="898525" indent="-180975" algn="l" defTabSz="914400" rtl="0" eaLnBrk="1" latinLnBrk="0" hangingPunct="1">
              <a:lnSpc>
                <a:spcPct val="130000"/>
              </a:lnSpc>
              <a:spcBef>
                <a:spcPts val="300"/>
              </a:spcBef>
              <a:spcAft>
                <a:spcPts val="300"/>
              </a:spcAft>
              <a:buClr>
                <a:schemeClr val="tx2"/>
              </a:buClr>
              <a:buSzPct val="105000"/>
              <a:buFont typeface="Arial" panose="020B0604020202020204" pitchFamily="34" charset="0"/>
              <a:buChar char="•"/>
              <a:defRPr lang="en-US" sz="105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2">
              <a:buClr>
                <a:schemeClr val="tx1"/>
              </a:buClr>
            </a:pPr>
            <a:r>
              <a:rPr lang="en-US" dirty="0"/>
              <a:t>Anti-bribery and anti-corruption</a:t>
            </a:r>
          </a:p>
          <a:p>
            <a:pPr lvl="2">
              <a:buClr>
                <a:schemeClr val="tx1"/>
              </a:buClr>
            </a:pPr>
            <a:r>
              <a:rPr lang="en-US" dirty="0"/>
              <a:t>Anti-money laundering</a:t>
            </a:r>
          </a:p>
          <a:p>
            <a:pPr lvl="2">
              <a:buClr>
                <a:schemeClr val="tx1"/>
              </a:buClr>
            </a:pPr>
            <a:r>
              <a:rPr lang="en-US" dirty="0"/>
              <a:t>Aviation regulation</a:t>
            </a:r>
          </a:p>
          <a:p>
            <a:pPr lvl="2">
              <a:buClr>
                <a:schemeClr val="tx1"/>
              </a:buClr>
            </a:pPr>
            <a:r>
              <a:rPr lang="en-US" dirty="0"/>
              <a:t>Capital markets regulation</a:t>
            </a:r>
          </a:p>
          <a:p>
            <a:pPr lvl="2">
              <a:buClr>
                <a:schemeClr val="tx1"/>
              </a:buClr>
            </a:pPr>
            <a:r>
              <a:rPr lang="en-US" dirty="0"/>
              <a:t>Commodity derivatives regulation</a:t>
            </a:r>
          </a:p>
          <a:p>
            <a:pPr lvl="2">
              <a:buClr>
                <a:schemeClr val="tx1"/>
              </a:buClr>
            </a:pPr>
            <a:r>
              <a:rPr lang="en-US" dirty="0"/>
              <a:t>Commodity and product regulation</a:t>
            </a:r>
          </a:p>
          <a:p>
            <a:pPr lvl="2">
              <a:buClr>
                <a:schemeClr val="tx1"/>
              </a:buClr>
            </a:pPr>
            <a:r>
              <a:rPr lang="en-US" dirty="0"/>
              <a:t>Competition law</a:t>
            </a:r>
          </a:p>
          <a:p>
            <a:pPr lvl="2">
              <a:buClr>
                <a:schemeClr val="tx1"/>
              </a:buClr>
            </a:pPr>
            <a:r>
              <a:rPr lang="en-US" dirty="0"/>
              <a:t>Corporate governance</a:t>
            </a:r>
          </a:p>
          <a:p>
            <a:pPr lvl="2">
              <a:buClr>
                <a:schemeClr val="tx1"/>
              </a:buClr>
            </a:pPr>
            <a:r>
              <a:rPr lang="en-US" dirty="0"/>
              <a:t>Customs</a:t>
            </a:r>
          </a:p>
          <a:p>
            <a:pPr lvl="2">
              <a:buClr>
                <a:schemeClr val="tx1"/>
              </a:buClr>
            </a:pPr>
            <a:r>
              <a:rPr lang="en-US" dirty="0"/>
              <a:t>Data protection and privacy</a:t>
            </a:r>
          </a:p>
          <a:p>
            <a:pPr lvl="2">
              <a:buClr>
                <a:schemeClr val="tx1"/>
              </a:buClr>
            </a:pPr>
            <a:r>
              <a:rPr lang="en-US" dirty="0"/>
              <a:t>Environment regulation</a:t>
            </a:r>
          </a:p>
          <a:p>
            <a:pPr lvl="2">
              <a:buClr>
                <a:schemeClr val="tx1"/>
              </a:buClr>
            </a:pPr>
            <a:r>
              <a:rPr lang="en-US" dirty="0"/>
              <a:t>Insurance regulation</a:t>
            </a:r>
          </a:p>
          <a:p>
            <a:pPr lvl="2">
              <a:buClr>
                <a:schemeClr val="tx1"/>
              </a:buClr>
            </a:pPr>
            <a:r>
              <a:rPr lang="en-US" dirty="0"/>
              <a:t>Maritime regulation</a:t>
            </a:r>
          </a:p>
          <a:p>
            <a:pPr lvl="2">
              <a:buClr>
                <a:schemeClr val="tx1"/>
              </a:buClr>
            </a:pPr>
            <a:r>
              <a:rPr lang="en-US" dirty="0"/>
              <a:t>Procurement</a:t>
            </a:r>
          </a:p>
          <a:p>
            <a:pPr lvl="2">
              <a:buClr>
                <a:schemeClr val="tx1"/>
              </a:buClr>
            </a:pPr>
            <a:r>
              <a:rPr lang="en-US" dirty="0"/>
              <a:t>Sanctions and export controls</a:t>
            </a:r>
          </a:p>
        </p:txBody>
      </p:sp>
      <p:sp>
        <p:nvSpPr>
          <p:cNvPr id="20" name="Content Placeholder 78">
            <a:extLst>
              <a:ext uri="{FF2B5EF4-FFF2-40B4-BE49-F238E27FC236}">
                <a16:creationId xmlns:a16="http://schemas.microsoft.com/office/drawing/2014/main" id="{EC447A09-E145-F1DE-19CE-0D6E32F9FA96}"/>
              </a:ext>
            </a:extLst>
          </p:cNvPr>
          <p:cNvSpPr txBox="1">
            <a:spLocks/>
          </p:cNvSpPr>
          <p:nvPr userDrawn="1"/>
        </p:nvSpPr>
        <p:spPr>
          <a:xfrm>
            <a:off x="8755064" y="1098547"/>
            <a:ext cx="2946399" cy="365761"/>
          </a:xfrm>
          <a:prstGeom prst="rect">
            <a:avLst/>
          </a:prstGeom>
        </p:spPr>
        <p:txBody>
          <a:bodyPr vert="horz" lIns="0" tIns="45720" rIns="0" bIns="45720" rtlCol="0">
            <a:normAutofit/>
          </a:bodyPr>
          <a:lstStyle>
            <a:lvl1pPr marL="0" indent="0" algn="l" defTabSz="914400" rtl="0" eaLnBrk="1" latinLnBrk="0" hangingPunct="1">
              <a:lnSpc>
                <a:spcPct val="130000"/>
              </a:lnSpc>
              <a:spcBef>
                <a:spcPts val="300"/>
              </a:spcBef>
              <a:spcAft>
                <a:spcPts val="300"/>
              </a:spcAft>
              <a:buFont typeface="Arial" panose="020B0604020202020204" pitchFamily="34" charset="0"/>
              <a:buNone/>
              <a:defRPr sz="1400" kern="1200" cap="all" baseline="0">
                <a:solidFill>
                  <a:schemeClr val="tx2"/>
                </a:solidFill>
                <a:latin typeface="+mj-lt"/>
                <a:ea typeface="+mn-ea"/>
                <a:cs typeface="+mn-cs"/>
              </a:defRPr>
            </a:lvl1pPr>
            <a:lvl2pPr marL="0" indent="0" algn="l" defTabSz="914400" rtl="0" eaLnBrk="1" latinLnBrk="0" hangingPunct="1">
              <a:lnSpc>
                <a:spcPct val="130000"/>
              </a:lnSpc>
              <a:spcBef>
                <a:spcPts val="300"/>
              </a:spcBef>
              <a:spcAft>
                <a:spcPts val="300"/>
              </a:spcAft>
              <a:buFont typeface="Arial" panose="020B0604020202020204" pitchFamily="34" charset="0"/>
              <a:buNone/>
              <a:defRPr sz="1100" kern="1200">
                <a:solidFill>
                  <a:schemeClr val="tx1"/>
                </a:solidFill>
                <a:latin typeface="+mn-lt"/>
                <a:ea typeface="+mn-ea"/>
                <a:cs typeface="+mn-cs"/>
              </a:defRPr>
            </a:lvl2pPr>
            <a:lvl3pPr marL="180975" indent="-180975" algn="l" defTabSz="914400" rtl="0" eaLnBrk="1" latinLnBrk="0" hangingPunct="1">
              <a:lnSpc>
                <a:spcPct val="130000"/>
              </a:lnSpc>
              <a:spcBef>
                <a:spcPts val="300"/>
              </a:spcBef>
              <a:spcAft>
                <a:spcPts val="300"/>
              </a:spcAft>
              <a:buClr>
                <a:schemeClr val="tx2"/>
              </a:buClr>
              <a:buSzPct val="105000"/>
              <a:buFont typeface="Arial" panose="020B0604020202020204" pitchFamily="34" charset="0"/>
              <a:buChar char="•"/>
              <a:defRPr sz="1100" kern="1200">
                <a:solidFill>
                  <a:schemeClr val="tx1"/>
                </a:solidFill>
                <a:latin typeface="+mn-lt"/>
                <a:ea typeface="+mn-ea"/>
                <a:cs typeface="+mn-cs"/>
              </a:defRPr>
            </a:lvl3pPr>
            <a:lvl4pPr marL="539750" indent="-180975" algn="l" defTabSz="914400" rtl="0" eaLnBrk="1" latinLnBrk="0" hangingPunct="1">
              <a:lnSpc>
                <a:spcPct val="130000"/>
              </a:lnSpc>
              <a:spcBef>
                <a:spcPts val="300"/>
              </a:spcBef>
              <a:spcAft>
                <a:spcPts val="300"/>
              </a:spcAft>
              <a:buClr>
                <a:schemeClr val="tx2"/>
              </a:buClr>
              <a:buSzPct val="105000"/>
              <a:buFont typeface="Arial" panose="020B0604020202020204" pitchFamily="34" charset="0"/>
              <a:buChar char="•"/>
              <a:defRPr sz="1050" kern="1200">
                <a:solidFill>
                  <a:schemeClr val="tx1"/>
                </a:solidFill>
                <a:latin typeface="+mn-lt"/>
                <a:ea typeface="+mn-ea"/>
                <a:cs typeface="+mn-cs"/>
              </a:defRPr>
            </a:lvl4pPr>
            <a:lvl5pPr marL="898525" indent="-180975" algn="l" defTabSz="914400" rtl="0" eaLnBrk="1" latinLnBrk="0" hangingPunct="1">
              <a:lnSpc>
                <a:spcPct val="130000"/>
              </a:lnSpc>
              <a:spcBef>
                <a:spcPts val="300"/>
              </a:spcBef>
              <a:spcAft>
                <a:spcPts val="300"/>
              </a:spcAft>
              <a:buClr>
                <a:schemeClr val="tx2"/>
              </a:buClr>
              <a:buSzPct val="105000"/>
              <a:buFont typeface="Arial" panose="020B0604020202020204" pitchFamily="34" charset="0"/>
              <a:buChar char="•"/>
              <a:defRPr sz="105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OUR PRACTICE</a:t>
            </a:r>
            <a:endParaRPr lang="en-GB" dirty="0"/>
          </a:p>
        </p:txBody>
      </p:sp>
      <p:sp>
        <p:nvSpPr>
          <p:cNvPr id="24" name="Text Placeholder 18">
            <a:extLst>
              <a:ext uri="{FF2B5EF4-FFF2-40B4-BE49-F238E27FC236}">
                <a16:creationId xmlns:a16="http://schemas.microsoft.com/office/drawing/2014/main" id="{343D304B-5755-33C8-57B8-EB513241D2B2}"/>
              </a:ext>
            </a:extLst>
          </p:cNvPr>
          <p:cNvSpPr txBox="1">
            <a:spLocks/>
          </p:cNvSpPr>
          <p:nvPr userDrawn="1"/>
        </p:nvSpPr>
        <p:spPr>
          <a:xfrm>
            <a:off x="508000" y="5334846"/>
            <a:ext cx="7127876" cy="681779"/>
          </a:xfrm>
          <a:prstGeom prst="rect">
            <a:avLst/>
          </a:prstGeom>
        </p:spPr>
        <p:txBody>
          <a:bodyPr vert="horz" lIns="0" tIns="45720" rIns="0" bIns="0" rtlCol="0" anchor="b" anchorCtr="0">
            <a:noAutofit/>
          </a:bodyPr>
          <a:lstStyle>
            <a:lvl1pPr marL="108000" indent="-108000" algn="l" defTabSz="914400" rtl="0" eaLnBrk="1" latinLnBrk="0" hangingPunct="1">
              <a:lnSpc>
                <a:spcPct val="110000"/>
              </a:lnSpc>
              <a:spcBef>
                <a:spcPts val="0"/>
              </a:spcBef>
              <a:spcAft>
                <a:spcPts val="0"/>
              </a:spcAft>
              <a:buFont typeface="Arial" panose="020B0604020202020204" pitchFamily="34" charset="0"/>
              <a:buNone/>
              <a:defRPr lang="en-US" sz="2000" kern="1200" dirty="0">
                <a:solidFill>
                  <a:schemeClr val="accent3"/>
                </a:solidFill>
                <a:latin typeface="+mj-lt"/>
                <a:ea typeface="+mn-ea"/>
                <a:cs typeface="+mn-cs"/>
              </a:defRPr>
            </a:lvl1pPr>
            <a:lvl2pPr marL="0" indent="0" algn="l" defTabSz="914400" rtl="0" eaLnBrk="1" latinLnBrk="0" hangingPunct="1">
              <a:lnSpc>
                <a:spcPct val="130000"/>
              </a:lnSpc>
              <a:spcBef>
                <a:spcPts val="300"/>
              </a:spcBef>
              <a:spcAft>
                <a:spcPts val="300"/>
              </a:spcAft>
              <a:buFont typeface="Arial" panose="020B0604020202020204" pitchFamily="34" charset="0"/>
              <a:buNone/>
              <a:defRPr lang="en-US" sz="1400" kern="1200" dirty="0">
                <a:solidFill>
                  <a:schemeClr val="tx2"/>
                </a:solidFill>
                <a:latin typeface="+mj-lt"/>
                <a:ea typeface="+mn-ea"/>
                <a:cs typeface="+mn-cs"/>
              </a:defRPr>
            </a:lvl2pPr>
            <a:lvl3pPr marL="180975" indent="-180975" algn="l" defTabSz="914400" rtl="0" eaLnBrk="1" latinLnBrk="0" hangingPunct="1">
              <a:lnSpc>
                <a:spcPct val="130000"/>
              </a:lnSpc>
              <a:spcBef>
                <a:spcPts val="300"/>
              </a:spcBef>
              <a:spcAft>
                <a:spcPts val="300"/>
              </a:spcAft>
              <a:buClr>
                <a:schemeClr val="tx2"/>
              </a:buClr>
              <a:buSzPct val="105000"/>
              <a:buFont typeface="Arial" panose="020B0604020202020204" pitchFamily="34" charset="0"/>
              <a:buChar char="•"/>
              <a:defRPr sz="1100" kern="1200">
                <a:solidFill>
                  <a:schemeClr val="tx1"/>
                </a:solidFill>
                <a:latin typeface="+mn-lt"/>
                <a:ea typeface="+mn-ea"/>
                <a:cs typeface="+mn-cs"/>
              </a:defRPr>
            </a:lvl3pPr>
            <a:lvl4pPr marL="539750" indent="-180975" algn="l" defTabSz="914400" rtl="0" eaLnBrk="1" latinLnBrk="0" hangingPunct="1">
              <a:lnSpc>
                <a:spcPct val="130000"/>
              </a:lnSpc>
              <a:spcBef>
                <a:spcPts val="300"/>
              </a:spcBef>
              <a:spcAft>
                <a:spcPts val="300"/>
              </a:spcAft>
              <a:buClr>
                <a:schemeClr val="tx2"/>
              </a:buClr>
              <a:buSzPct val="105000"/>
              <a:buFont typeface="Arial" panose="020B0604020202020204" pitchFamily="34" charset="0"/>
              <a:buChar char="•"/>
              <a:defRPr sz="1050" kern="1200">
                <a:solidFill>
                  <a:schemeClr val="tx1"/>
                </a:solidFill>
                <a:latin typeface="+mn-lt"/>
                <a:ea typeface="+mn-ea"/>
                <a:cs typeface="+mn-cs"/>
              </a:defRPr>
            </a:lvl4pPr>
            <a:lvl5pPr marL="898525" indent="-180975" algn="l" defTabSz="914400" rtl="0" eaLnBrk="1" latinLnBrk="0" hangingPunct="1">
              <a:lnSpc>
                <a:spcPct val="130000"/>
              </a:lnSpc>
              <a:spcBef>
                <a:spcPts val="300"/>
              </a:spcBef>
              <a:spcAft>
                <a:spcPts val="300"/>
              </a:spcAft>
              <a:buClr>
                <a:schemeClr val="tx2"/>
              </a:buClr>
              <a:buSzPct val="105000"/>
              <a:buFont typeface="Arial" panose="020B0604020202020204" pitchFamily="34" charset="0"/>
              <a:buChar char="•"/>
              <a:defRPr sz="105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accent2"/>
                </a:solidFill>
              </a:rPr>
              <a:t>“Epitomizes the concept</a:t>
            </a:r>
            <a:br>
              <a:rPr lang="en-GB" dirty="0">
                <a:solidFill>
                  <a:schemeClr val="accent2"/>
                </a:solidFill>
              </a:rPr>
            </a:br>
            <a:r>
              <a:rPr lang="en-GB" dirty="0">
                <a:solidFill>
                  <a:schemeClr val="accent2"/>
                </a:solidFill>
              </a:rPr>
              <a:t>of a trusted adviser.”</a:t>
            </a:r>
          </a:p>
        </p:txBody>
      </p:sp>
      <p:sp>
        <p:nvSpPr>
          <p:cNvPr id="25" name="Text Placeholder 19">
            <a:extLst>
              <a:ext uri="{FF2B5EF4-FFF2-40B4-BE49-F238E27FC236}">
                <a16:creationId xmlns:a16="http://schemas.microsoft.com/office/drawing/2014/main" id="{81B002E7-4B60-BB45-BF28-565D1FE11C77}"/>
              </a:ext>
            </a:extLst>
          </p:cNvPr>
          <p:cNvSpPr txBox="1">
            <a:spLocks/>
          </p:cNvSpPr>
          <p:nvPr userDrawn="1"/>
        </p:nvSpPr>
        <p:spPr>
          <a:xfrm>
            <a:off x="508000" y="6047121"/>
            <a:ext cx="7127876" cy="215444"/>
          </a:xfrm>
          <a:prstGeom prst="rect">
            <a:avLst/>
          </a:prstGeom>
        </p:spPr>
        <p:txBody>
          <a:bodyPr vert="horz" wrap="square" lIns="0" tIns="0" rIns="0" bIns="0" rtlCol="0" anchor="b" anchorCtr="0">
            <a:spAutoFit/>
          </a:bodyPr>
          <a:lstStyle>
            <a:lvl1pPr marL="108000" indent="0" algn="l" defTabSz="914400" rtl="0" eaLnBrk="1" latinLnBrk="0" hangingPunct="1">
              <a:lnSpc>
                <a:spcPct val="100000"/>
              </a:lnSpc>
              <a:spcBef>
                <a:spcPts val="300"/>
              </a:spcBef>
              <a:spcAft>
                <a:spcPts val="300"/>
              </a:spcAft>
              <a:buFont typeface="Arial" panose="020B0604020202020204" pitchFamily="34" charset="0"/>
              <a:buNone/>
              <a:defRPr sz="1400" kern="1200" cap="all" baseline="0">
                <a:solidFill>
                  <a:schemeClr val="tx2"/>
                </a:solidFill>
                <a:latin typeface="+mj-lt"/>
                <a:ea typeface="+mn-ea"/>
                <a:cs typeface="+mn-cs"/>
              </a:defRPr>
            </a:lvl1pPr>
            <a:lvl2pPr marL="108000" indent="0" algn="l" defTabSz="914400" rtl="0" eaLnBrk="1" latinLnBrk="0" hangingPunct="1">
              <a:lnSpc>
                <a:spcPct val="100000"/>
              </a:lnSpc>
              <a:spcBef>
                <a:spcPts val="300"/>
              </a:spcBef>
              <a:spcAft>
                <a:spcPts val="300"/>
              </a:spcAft>
              <a:buFont typeface="Arial" panose="020B0604020202020204" pitchFamily="34" charset="0"/>
              <a:buNone/>
              <a:defRPr sz="1400" kern="1200" cap="all" baseline="0">
                <a:solidFill>
                  <a:schemeClr val="tx2"/>
                </a:solidFill>
                <a:latin typeface="+mj-lt"/>
                <a:ea typeface="+mn-ea"/>
                <a:cs typeface="+mn-cs"/>
              </a:defRPr>
            </a:lvl2pPr>
            <a:lvl3pPr marL="108000" indent="-180975" algn="l" defTabSz="914400" rtl="0" eaLnBrk="1" latinLnBrk="0" hangingPunct="1">
              <a:lnSpc>
                <a:spcPct val="100000"/>
              </a:lnSpc>
              <a:spcBef>
                <a:spcPts val="300"/>
              </a:spcBef>
              <a:spcAft>
                <a:spcPts val="300"/>
              </a:spcAft>
              <a:buClr>
                <a:schemeClr val="tx2"/>
              </a:buClr>
              <a:buSzPct val="105000"/>
              <a:buFont typeface="Arial" panose="020B0604020202020204" pitchFamily="34" charset="0"/>
              <a:buChar char="•"/>
              <a:defRPr sz="1400" kern="1200" cap="all" baseline="0">
                <a:solidFill>
                  <a:schemeClr val="tx2"/>
                </a:solidFill>
                <a:latin typeface="+mj-lt"/>
                <a:ea typeface="+mn-ea"/>
                <a:cs typeface="+mn-cs"/>
              </a:defRPr>
            </a:lvl3pPr>
            <a:lvl4pPr marL="108000" indent="-180975" algn="l" defTabSz="914400" rtl="0" eaLnBrk="1" latinLnBrk="0" hangingPunct="1">
              <a:lnSpc>
                <a:spcPct val="100000"/>
              </a:lnSpc>
              <a:spcBef>
                <a:spcPts val="300"/>
              </a:spcBef>
              <a:spcAft>
                <a:spcPts val="300"/>
              </a:spcAft>
              <a:buClr>
                <a:schemeClr val="tx2"/>
              </a:buClr>
              <a:buSzPct val="105000"/>
              <a:buFont typeface="Arial" panose="020B0604020202020204" pitchFamily="34" charset="0"/>
              <a:buChar char="•"/>
              <a:defRPr sz="1400" kern="1200" cap="all" baseline="0">
                <a:solidFill>
                  <a:schemeClr val="tx2"/>
                </a:solidFill>
                <a:latin typeface="+mj-lt"/>
                <a:ea typeface="+mn-ea"/>
                <a:cs typeface="+mn-cs"/>
              </a:defRPr>
            </a:lvl4pPr>
            <a:lvl5pPr marL="108000" indent="-180975" algn="l" defTabSz="914400" rtl="0" eaLnBrk="1" latinLnBrk="0" hangingPunct="1">
              <a:lnSpc>
                <a:spcPct val="100000"/>
              </a:lnSpc>
              <a:spcBef>
                <a:spcPts val="300"/>
              </a:spcBef>
              <a:spcAft>
                <a:spcPts val="300"/>
              </a:spcAft>
              <a:buClr>
                <a:schemeClr val="tx2"/>
              </a:buClr>
              <a:buSzPct val="105000"/>
              <a:buFont typeface="Arial" panose="020B0604020202020204" pitchFamily="34" charset="0"/>
              <a:buChar char="•"/>
              <a:defRPr sz="1400" kern="1200" cap="all" baseline="0">
                <a:solidFill>
                  <a:schemeClr val="tx2"/>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CORPORATE CLIENT TESTIMONIAL – THE LEGAL 500</a:t>
            </a:r>
            <a:endParaRPr lang="en-GB" dirty="0"/>
          </a:p>
        </p:txBody>
      </p:sp>
      <p:sp>
        <p:nvSpPr>
          <p:cNvPr id="2" name="TextBox 1">
            <a:extLst>
              <a:ext uri="{FF2B5EF4-FFF2-40B4-BE49-F238E27FC236}">
                <a16:creationId xmlns:a16="http://schemas.microsoft.com/office/drawing/2014/main" id="{472A89BE-9DC9-B082-6926-086F257AAD32}"/>
              </a:ext>
            </a:extLst>
          </p:cNvPr>
          <p:cNvSpPr txBox="1"/>
          <p:nvPr userDrawn="1"/>
        </p:nvSpPr>
        <p:spPr>
          <a:xfrm>
            <a:off x="4233546" y="2195825"/>
            <a:ext cx="3403599" cy="4022429"/>
          </a:xfrm>
          <a:prstGeom prst="rect">
            <a:avLst/>
          </a:prstGeom>
        </p:spPr>
        <p:txBody>
          <a:bodyPr vert="horz" lIns="0" tIns="45720" rIns="0" bIns="45720" rtlCol="0">
            <a:normAutofit/>
          </a:bodyPr>
          <a:lstStyle>
            <a:lvl1pPr indent="0" defTabSz="914400">
              <a:lnSpc>
                <a:spcPct val="130000"/>
              </a:lnSpc>
              <a:spcBef>
                <a:spcPts val="300"/>
              </a:spcBef>
              <a:spcAft>
                <a:spcPts val="300"/>
              </a:spcAft>
              <a:buFont typeface="Arial" panose="020B0604020202020204" pitchFamily="34" charset="0"/>
              <a:buNone/>
              <a:defRPr sz="1400">
                <a:solidFill>
                  <a:schemeClr val="tx2"/>
                </a:solidFill>
                <a:latin typeface="+mj-lt"/>
              </a:defRPr>
            </a:lvl1pPr>
            <a:lvl2pPr marL="0" lvl="1" indent="0" defTabSz="914400">
              <a:lnSpc>
                <a:spcPct val="130000"/>
              </a:lnSpc>
              <a:spcBef>
                <a:spcPts val="300"/>
              </a:spcBef>
              <a:spcAft>
                <a:spcPts val="300"/>
              </a:spcAft>
              <a:buFont typeface="Arial" panose="020B0604020202020204" pitchFamily="34" charset="0"/>
              <a:buNone/>
              <a:defRPr sz="1100"/>
            </a:lvl2pPr>
            <a:lvl3pPr marL="180975" indent="-180975" defTabSz="914400">
              <a:lnSpc>
                <a:spcPct val="130000"/>
              </a:lnSpc>
              <a:spcBef>
                <a:spcPts val="300"/>
              </a:spcBef>
              <a:spcAft>
                <a:spcPts val="300"/>
              </a:spcAft>
              <a:buClr>
                <a:schemeClr val="tx2"/>
              </a:buClr>
              <a:buSzPct val="105000"/>
              <a:buFont typeface="Arial" panose="020B0604020202020204" pitchFamily="34" charset="0"/>
              <a:buChar char="•"/>
              <a:defRPr sz="1100"/>
            </a:lvl3pPr>
            <a:lvl4pPr marL="539750" indent="-180975" defTabSz="914400">
              <a:lnSpc>
                <a:spcPct val="130000"/>
              </a:lnSpc>
              <a:spcBef>
                <a:spcPts val="300"/>
              </a:spcBef>
              <a:spcAft>
                <a:spcPts val="300"/>
              </a:spcAft>
              <a:buClr>
                <a:schemeClr val="tx2"/>
              </a:buClr>
              <a:buSzPct val="105000"/>
              <a:buFont typeface="Arial" panose="020B0604020202020204" pitchFamily="34" charset="0"/>
              <a:buChar char="•"/>
              <a:defRPr sz="1050"/>
            </a:lvl4pPr>
            <a:lvl5pPr marL="898525" indent="-180975" defTabSz="914400">
              <a:lnSpc>
                <a:spcPct val="130000"/>
              </a:lnSpc>
              <a:spcBef>
                <a:spcPts val="300"/>
              </a:spcBef>
              <a:spcAft>
                <a:spcPts val="300"/>
              </a:spcAft>
              <a:buClr>
                <a:schemeClr val="tx2"/>
              </a:buClr>
              <a:buSzPct val="105000"/>
              <a:buFont typeface="Arial" panose="020B0604020202020204" pitchFamily="34" charset="0"/>
              <a:buChar char="•"/>
              <a:defRPr sz="105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1"/>
            <a:endParaRPr lang="en-US" dirty="0"/>
          </a:p>
          <a:p>
            <a:pPr lvl="1"/>
            <a:endParaRPr lang="en-US" dirty="0"/>
          </a:p>
          <a:p>
            <a:pPr lvl="1"/>
            <a:r>
              <a:rPr lang="en-US" dirty="0"/>
              <a:t>We have excellent contacts within the key authorities and regulators, and understand the pressures our clients face in dealing with regulatory issues and their need for prompt, decisive and commercially focused advice.</a:t>
            </a:r>
            <a:endParaRPr lang="en-GB" dirty="0"/>
          </a:p>
        </p:txBody>
      </p:sp>
    </p:spTree>
    <p:extLst>
      <p:ext uri="{BB962C8B-B14F-4D97-AF65-F5344CB8AC3E}">
        <p14:creationId xmlns:p14="http://schemas.microsoft.com/office/powerpoint/2010/main" val="4066880489"/>
      </p:ext>
    </p:extLst>
  </p:cSld>
  <p:clrMapOvr>
    <a:masterClrMapping/>
  </p:clrMapOvr>
  <p:transition spd="med">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Locations Office 1">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261A4C7-E98D-3660-5C37-C13B3A230A80}"/>
              </a:ext>
            </a:extLst>
          </p:cNvPr>
          <p:cNvSpPr/>
          <p:nvPr userDrawn="1"/>
        </p:nvSpPr>
        <p:spPr>
          <a:xfrm>
            <a:off x="8126413" y="0"/>
            <a:ext cx="4065587"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Slide Number Placeholder 5"/>
          <p:cNvSpPr>
            <a:spLocks noGrp="1"/>
          </p:cNvSpPr>
          <p:nvPr userDrawn="1">
            <p:ph type="sldNum" sz="quarter" idx="12"/>
          </p:nvPr>
        </p:nvSpPr>
        <p:spPr/>
        <p:txBody>
          <a:bodyPr/>
          <a:lstStyle>
            <a:lvl1pPr>
              <a:defRPr>
                <a:solidFill>
                  <a:schemeClr val="tx1"/>
                </a:solidFill>
              </a:defRPr>
            </a:lvl1pPr>
          </a:lstStyle>
          <a:p>
            <a:fld id="{8CFE0557-AA98-4E6C-B0C3-581794696B68}" type="slidenum">
              <a:rPr lang="en-GB" smtClean="0"/>
              <a:pPr/>
              <a:t>‹#›</a:t>
            </a:fld>
            <a:endParaRPr lang="en-GB" dirty="0"/>
          </a:p>
        </p:txBody>
      </p:sp>
      <p:sp>
        <p:nvSpPr>
          <p:cNvPr id="7" name="Picture Placeholder 10">
            <a:extLst>
              <a:ext uri="{FF2B5EF4-FFF2-40B4-BE49-F238E27FC236}">
                <a16:creationId xmlns:a16="http://schemas.microsoft.com/office/drawing/2014/main" id="{1CA5F42F-AC29-F4B3-E667-86842A258FF7}"/>
              </a:ext>
            </a:extLst>
          </p:cNvPr>
          <p:cNvSpPr>
            <a:spLocks noGrp="1"/>
          </p:cNvSpPr>
          <p:nvPr>
            <p:ph type="pic" sz="quarter" idx="13" hasCustomPrompt="1"/>
          </p:nvPr>
        </p:nvSpPr>
        <p:spPr>
          <a:xfrm>
            <a:off x="1588" y="0"/>
            <a:ext cx="8124825" cy="6858000"/>
          </a:xfrm>
          <a:solidFill>
            <a:schemeClr val="tx1"/>
          </a:solidFill>
        </p:spPr>
        <p:txBody>
          <a:bodyPr vert="horz" lIns="0" tIns="45720" rIns="0" bIns="45720" rtlCol="0" anchor="ctr">
            <a:normAutofit/>
          </a:bodyPr>
          <a:lstStyle>
            <a:lvl1pPr algn="ctr">
              <a:defRPr lang="en-GB" sz="2800" b="0" dirty="0">
                <a:solidFill>
                  <a:schemeClr val="bg1"/>
                </a:solidFill>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US" dirty="0"/>
              <a:t>ADD RELATED </a:t>
            </a:r>
            <a:br>
              <a:rPr lang="en-US" dirty="0"/>
            </a:br>
            <a:r>
              <a:rPr lang="en-US" dirty="0"/>
              <a:t>IMAGE </a:t>
            </a:r>
            <a:br>
              <a:rPr lang="en-US" dirty="0"/>
            </a:br>
            <a:r>
              <a:rPr lang="en-US" dirty="0"/>
              <a:t>FROM HFW </a:t>
            </a:r>
            <a:br>
              <a:rPr lang="en-US" dirty="0"/>
            </a:br>
            <a:r>
              <a:rPr lang="en-US" dirty="0"/>
              <a:t>IMAGE LIBRARY</a:t>
            </a:r>
          </a:p>
        </p:txBody>
      </p:sp>
      <p:sp>
        <p:nvSpPr>
          <p:cNvPr id="10" name="Title 9">
            <a:extLst>
              <a:ext uri="{FF2B5EF4-FFF2-40B4-BE49-F238E27FC236}">
                <a16:creationId xmlns:a16="http://schemas.microsoft.com/office/drawing/2014/main" id="{5975EB63-D3CB-A327-18D7-98A05AB4A901}"/>
              </a:ext>
            </a:extLst>
          </p:cNvPr>
          <p:cNvSpPr>
            <a:spLocks noGrp="1"/>
          </p:cNvSpPr>
          <p:nvPr>
            <p:ph type="title" hasCustomPrompt="1"/>
          </p:nvPr>
        </p:nvSpPr>
        <p:spPr>
          <a:xfrm>
            <a:off x="8737600" y="454013"/>
            <a:ext cx="2944813" cy="554847"/>
          </a:xfrm>
        </p:spPr>
        <p:txBody>
          <a:bodyPr/>
          <a:lstStyle>
            <a:lvl1pPr>
              <a:defRPr/>
            </a:lvl1pPr>
          </a:lstStyle>
          <a:p>
            <a:r>
              <a:rPr lang="en-US" dirty="0"/>
              <a:t>OUR OFFICE</a:t>
            </a:r>
            <a:endParaRPr lang="en-GB" dirty="0"/>
          </a:p>
        </p:txBody>
      </p:sp>
      <p:sp>
        <p:nvSpPr>
          <p:cNvPr id="2" name="Text Placeholder 16">
            <a:extLst>
              <a:ext uri="{FF2B5EF4-FFF2-40B4-BE49-F238E27FC236}">
                <a16:creationId xmlns:a16="http://schemas.microsoft.com/office/drawing/2014/main" id="{267E9625-56D3-3AAE-AD0E-21B2BBC82CB1}"/>
              </a:ext>
            </a:extLst>
          </p:cNvPr>
          <p:cNvSpPr>
            <a:spLocks noGrp="1"/>
          </p:cNvSpPr>
          <p:nvPr>
            <p:ph type="body" sz="quarter" idx="23" hasCustomPrompt="1"/>
          </p:nvPr>
        </p:nvSpPr>
        <p:spPr>
          <a:xfrm>
            <a:off x="8739981" y="1226030"/>
            <a:ext cx="2815432" cy="541810"/>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0"/>
              </a:spcBef>
              <a:spcAft>
                <a:spcPts val="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1"/>
            <a:r>
              <a:rPr lang="en-US" dirty="0"/>
              <a:t>Address line </a:t>
            </a:r>
          </a:p>
        </p:txBody>
      </p:sp>
      <p:sp>
        <p:nvSpPr>
          <p:cNvPr id="4" name="Text Placeholder 16">
            <a:extLst>
              <a:ext uri="{FF2B5EF4-FFF2-40B4-BE49-F238E27FC236}">
                <a16:creationId xmlns:a16="http://schemas.microsoft.com/office/drawing/2014/main" id="{590198E8-BEAD-EF6C-BF6D-74FC1DA287CF}"/>
              </a:ext>
            </a:extLst>
          </p:cNvPr>
          <p:cNvSpPr>
            <a:spLocks noGrp="1"/>
          </p:cNvSpPr>
          <p:nvPr>
            <p:ph type="body" sz="quarter" idx="24" hasCustomPrompt="1"/>
          </p:nvPr>
        </p:nvSpPr>
        <p:spPr>
          <a:xfrm>
            <a:off x="8739981" y="1008860"/>
            <a:ext cx="2815432" cy="169277"/>
          </a:xfrm>
        </p:spPr>
        <p:txBody>
          <a:bodyPr tIns="0" bIns="0">
            <a:noAutofit/>
          </a:bodyPr>
          <a:lstStyle>
            <a:lvl1pPr algn="l">
              <a:lnSpc>
                <a:spcPct val="100000"/>
              </a:lnSpc>
              <a:spcBef>
                <a:spcPts val="0"/>
              </a:spcBef>
              <a:spcAft>
                <a:spcPts val="0"/>
              </a:spcAft>
              <a:defRPr sz="1100" cap="all" baseline="0">
                <a:solidFill>
                  <a:schemeClr val="tx2"/>
                </a:solidFill>
                <a:latin typeface="+mj-lt"/>
              </a:defRPr>
            </a:lvl1pPr>
            <a:lvl2pPr algn="l">
              <a:lnSpc>
                <a:spcPct val="100000"/>
              </a:lnSpc>
              <a:spcBef>
                <a:spcPts val="200"/>
              </a:spcBef>
              <a:spcAft>
                <a:spcPts val="200"/>
              </a:spcAft>
              <a:defRPr sz="1100">
                <a:solidFill>
                  <a:schemeClr val="tx1"/>
                </a:solidFill>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0"/>
            <a:r>
              <a:rPr lang="en-US" dirty="0"/>
              <a:t>Office name</a:t>
            </a:r>
          </a:p>
        </p:txBody>
      </p:sp>
      <p:sp>
        <p:nvSpPr>
          <p:cNvPr id="5" name="Text Placeholder 16">
            <a:extLst>
              <a:ext uri="{FF2B5EF4-FFF2-40B4-BE49-F238E27FC236}">
                <a16:creationId xmlns:a16="http://schemas.microsoft.com/office/drawing/2014/main" id="{25352EE2-38EF-F54E-0889-9C8B7E6FCE6A}"/>
              </a:ext>
            </a:extLst>
          </p:cNvPr>
          <p:cNvSpPr>
            <a:spLocks noGrp="1"/>
          </p:cNvSpPr>
          <p:nvPr>
            <p:ph type="body" sz="quarter" idx="27" hasCustomPrompt="1"/>
          </p:nvPr>
        </p:nvSpPr>
        <p:spPr>
          <a:xfrm>
            <a:off x="8915664" y="1794629"/>
            <a:ext cx="263974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12" name="TextBox 11">
            <a:extLst>
              <a:ext uri="{FF2B5EF4-FFF2-40B4-BE49-F238E27FC236}">
                <a16:creationId xmlns:a16="http://schemas.microsoft.com/office/drawing/2014/main" id="{6EA77D4F-73ED-32F0-12DF-15DA94615C28}"/>
              </a:ext>
            </a:extLst>
          </p:cNvPr>
          <p:cNvSpPr txBox="1"/>
          <p:nvPr userDrawn="1"/>
        </p:nvSpPr>
        <p:spPr>
          <a:xfrm flipH="1">
            <a:off x="8741500" y="1794629"/>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9" name="TextBox 4">
            <a:extLst>
              <a:ext uri="{FF2B5EF4-FFF2-40B4-BE49-F238E27FC236}">
                <a16:creationId xmlns:a16="http://schemas.microsoft.com/office/drawing/2014/main" id="{F83510EE-658F-A7C4-4812-24CDBA6217D5}"/>
              </a:ext>
            </a:extLst>
          </p:cNvPr>
          <p:cNvSpPr txBox="1"/>
          <p:nvPr userDrawn="1"/>
        </p:nvSpPr>
        <p:spPr>
          <a:xfrm>
            <a:off x="12346713" y="109538"/>
            <a:ext cx="2253207" cy="316496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INSERTING IMAGES:</a:t>
            </a:r>
          </a:p>
          <a:p>
            <a:pPr marL="179388" indent="-179388">
              <a:spcBef>
                <a:spcPts val="200"/>
              </a:spcBef>
              <a:spcAft>
                <a:spcPts val="200"/>
              </a:spcAft>
              <a:buFont typeface="+mj-lt"/>
              <a:buAutoNum type="arabicPeriod"/>
            </a:pPr>
            <a:r>
              <a:rPr lang="en-US" sz="900" dirty="0">
                <a:solidFill>
                  <a:schemeClr val="tx1"/>
                </a:solidFill>
                <a:latin typeface="+mn-lt"/>
              </a:rPr>
              <a:t>Simply click the image placeholder and select your image.</a:t>
            </a:r>
          </a:p>
          <a:p>
            <a:pPr marL="179388" indent="-179388">
              <a:spcBef>
                <a:spcPts val="200"/>
              </a:spcBef>
              <a:spcAft>
                <a:spcPts val="200"/>
              </a:spcAft>
              <a:buFont typeface="+mj-lt"/>
              <a:buAutoNum type="arabicPeriod"/>
            </a:pPr>
            <a:r>
              <a:rPr lang="en-US" sz="900" dirty="0">
                <a:solidFill>
                  <a:schemeClr val="tx1"/>
                </a:solidFill>
                <a:latin typeface="+mn-lt"/>
              </a:rPr>
              <a:t>Once your image is inserted into the shape it may be distorted. (Stretched or Squashed)</a:t>
            </a:r>
          </a:p>
          <a:p>
            <a:pPr marL="179388" indent="-179388">
              <a:spcBef>
                <a:spcPts val="200"/>
              </a:spcBef>
              <a:spcAft>
                <a:spcPts val="200"/>
              </a:spcAft>
              <a:buFont typeface="+mj-lt"/>
              <a:buAutoNum type="arabicPeriod"/>
            </a:pPr>
            <a:endParaRPr lang="en-US" sz="900" dirty="0">
              <a:solidFill>
                <a:schemeClr val="tx1"/>
              </a:solidFill>
              <a:latin typeface="+mn-lt"/>
            </a:endParaRPr>
          </a:p>
          <a:p>
            <a:pPr>
              <a:spcBef>
                <a:spcPts val="200"/>
              </a:spcBef>
              <a:spcAft>
                <a:spcPts val="200"/>
              </a:spcAft>
            </a:pPr>
            <a:r>
              <a:rPr lang="en-US" sz="900" b="1" dirty="0">
                <a:solidFill>
                  <a:schemeClr val="tx1"/>
                </a:solidFill>
                <a:latin typeface="+mn-lt"/>
              </a:rPr>
              <a:t>To fix this:</a:t>
            </a:r>
          </a:p>
          <a:p>
            <a:pPr marL="179388" indent="-179388">
              <a:spcBef>
                <a:spcPts val="200"/>
              </a:spcBef>
              <a:spcAft>
                <a:spcPts val="200"/>
              </a:spcAft>
              <a:buFont typeface="+mj-lt"/>
              <a:buAutoNum type="arabicPeriod"/>
            </a:pPr>
            <a:r>
              <a:rPr lang="en-US" sz="900" dirty="0">
                <a:solidFill>
                  <a:schemeClr val="tx1"/>
                </a:solidFill>
                <a:latin typeface="+mn-lt"/>
              </a:rPr>
              <a:t>Click on the image and from the top menu under </a:t>
            </a:r>
            <a:r>
              <a:rPr lang="en-US" sz="900" b="1" dirty="0">
                <a:solidFill>
                  <a:schemeClr val="tx1"/>
                </a:solidFill>
                <a:latin typeface="+mn-lt"/>
              </a:rPr>
              <a:t>PICTURE FORMAT </a:t>
            </a:r>
            <a:r>
              <a:rPr lang="en-US" sz="900" dirty="0">
                <a:solidFill>
                  <a:schemeClr val="tx1"/>
                </a:solidFill>
                <a:latin typeface="+mn-lt"/>
              </a:rPr>
              <a:t>select the </a:t>
            </a:r>
            <a:r>
              <a:rPr lang="en-US" sz="900" b="1" dirty="0">
                <a:solidFill>
                  <a:schemeClr val="tx1"/>
                </a:solidFill>
                <a:latin typeface="+mn-lt"/>
              </a:rPr>
              <a:t>CROP</a:t>
            </a:r>
            <a:r>
              <a:rPr lang="en-US" sz="900" dirty="0">
                <a:solidFill>
                  <a:schemeClr val="tx1"/>
                </a:solidFill>
                <a:latin typeface="+mn-lt"/>
              </a:rPr>
              <a:t> on the right and from the drop down menu select </a:t>
            </a:r>
            <a:r>
              <a:rPr lang="en-US" sz="900" b="1" kern="1200" dirty="0">
                <a:solidFill>
                  <a:schemeClr val="tx1"/>
                </a:solidFill>
                <a:latin typeface="+mn-lt"/>
                <a:ea typeface="+mn-ea"/>
                <a:cs typeface="+mn-cs"/>
              </a:rPr>
              <a:t>FILL</a:t>
            </a:r>
          </a:p>
          <a:p>
            <a:pPr marL="179388" indent="-179388">
              <a:spcBef>
                <a:spcPts val="200"/>
              </a:spcBef>
              <a:spcAft>
                <a:spcPts val="200"/>
              </a:spcAft>
              <a:buFont typeface="+mj-lt"/>
              <a:buAutoNum type="arabicPeriod"/>
            </a:pPr>
            <a:r>
              <a:rPr lang="en-US" sz="900" b="0" kern="1200" dirty="0">
                <a:solidFill>
                  <a:schemeClr val="tx1"/>
                </a:solidFill>
                <a:latin typeface="+mn-lt"/>
                <a:ea typeface="+mn-ea"/>
                <a:cs typeface="+mn-cs"/>
              </a:rPr>
              <a:t>From here you can move the image within the shape for best visual appearance</a:t>
            </a:r>
          </a:p>
          <a:p>
            <a:pPr marL="179388" indent="-179388">
              <a:spcBef>
                <a:spcPts val="200"/>
              </a:spcBef>
              <a:spcAft>
                <a:spcPts val="200"/>
              </a:spcAft>
              <a:buFont typeface="+mj-lt"/>
              <a:buAutoNum type="arabicPeriod"/>
            </a:pPr>
            <a:endParaRPr lang="en-US" sz="900" b="0" kern="1200" dirty="0">
              <a:solidFill>
                <a:schemeClr val="tx1"/>
              </a:solidFill>
              <a:latin typeface="+mn-lt"/>
              <a:ea typeface="+mn-ea"/>
              <a:cs typeface="+mn-cs"/>
            </a:endParaRPr>
          </a:p>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SAMPLE CONTACT LAYOUT</a:t>
            </a:r>
          </a:p>
        </p:txBody>
      </p:sp>
      <p:grpSp>
        <p:nvGrpSpPr>
          <p:cNvPr id="29" name="Group 28">
            <a:extLst>
              <a:ext uri="{FF2B5EF4-FFF2-40B4-BE49-F238E27FC236}">
                <a16:creationId xmlns:a16="http://schemas.microsoft.com/office/drawing/2014/main" id="{21A6FF88-090C-AFFE-292E-F39F0F9A0078}"/>
              </a:ext>
            </a:extLst>
          </p:cNvPr>
          <p:cNvGrpSpPr/>
          <p:nvPr userDrawn="1"/>
        </p:nvGrpSpPr>
        <p:grpSpPr>
          <a:xfrm>
            <a:off x="12437199" y="3429000"/>
            <a:ext cx="2813913" cy="1004063"/>
            <a:chOff x="12437199" y="3429000"/>
            <a:chExt cx="2813913" cy="1004063"/>
          </a:xfrm>
        </p:grpSpPr>
        <p:sp>
          <p:nvSpPr>
            <p:cNvPr id="13" name="TextBox 12">
              <a:extLst>
                <a:ext uri="{FF2B5EF4-FFF2-40B4-BE49-F238E27FC236}">
                  <a16:creationId xmlns:a16="http://schemas.microsoft.com/office/drawing/2014/main" id="{48FB0709-B718-3A80-97D8-422645B0CCA2}"/>
                </a:ext>
              </a:extLst>
            </p:cNvPr>
            <p:cNvSpPr txBox="1"/>
            <p:nvPr userDrawn="1"/>
          </p:nvSpPr>
          <p:spPr>
            <a:xfrm flipH="1">
              <a:off x="12611362" y="4263786"/>
              <a:ext cx="2639750"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15" name="TextBox 14">
              <a:extLst>
                <a:ext uri="{FF2B5EF4-FFF2-40B4-BE49-F238E27FC236}">
                  <a16:creationId xmlns:a16="http://schemas.microsoft.com/office/drawing/2014/main" id="{4D380931-73E2-6454-C11A-2F12A14CCC34}"/>
                </a:ext>
              </a:extLst>
            </p:cNvPr>
            <p:cNvSpPr txBox="1"/>
            <p:nvPr userDrawn="1"/>
          </p:nvSpPr>
          <p:spPr>
            <a:xfrm flipH="1">
              <a:off x="12437200" y="4263786"/>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18" name="TextBox 17">
              <a:extLst>
                <a:ext uri="{FF2B5EF4-FFF2-40B4-BE49-F238E27FC236}">
                  <a16:creationId xmlns:a16="http://schemas.microsoft.com/office/drawing/2014/main" id="{1DBE8451-63E4-AA52-8B79-6F150A2C147C}"/>
                </a:ext>
              </a:extLst>
            </p:cNvPr>
            <p:cNvSpPr txBox="1"/>
            <p:nvPr userDrawn="1"/>
          </p:nvSpPr>
          <p:spPr>
            <a:xfrm flipH="1">
              <a:off x="12437199" y="3429000"/>
              <a:ext cx="1968833"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solidFill>
                    <a:schemeClr val="tx2"/>
                  </a:solidFill>
                  <a:latin typeface="+mj-lt"/>
                </a:rPr>
                <a:t>OFFICE NAME</a:t>
              </a:r>
            </a:p>
          </p:txBody>
        </p:sp>
        <p:sp>
          <p:nvSpPr>
            <p:cNvPr id="19" name="TextBox 18">
              <a:extLst>
                <a:ext uri="{FF2B5EF4-FFF2-40B4-BE49-F238E27FC236}">
                  <a16:creationId xmlns:a16="http://schemas.microsoft.com/office/drawing/2014/main" id="{5A707C24-802F-9FA6-81F3-9FC6B929DB38}"/>
                </a:ext>
              </a:extLst>
            </p:cNvPr>
            <p:cNvSpPr txBox="1"/>
            <p:nvPr userDrawn="1"/>
          </p:nvSpPr>
          <p:spPr>
            <a:xfrm flipH="1">
              <a:off x="12437199" y="3644298"/>
              <a:ext cx="1968833"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0" lvl="0" indent="0" algn="l" defTabSz="914400" rtl="0" eaLnBrk="1" latinLnBrk="0" hangingPunct="1">
                <a:lnSpc>
                  <a:spcPct val="100000"/>
                </a:lnSpc>
                <a:spcBef>
                  <a:spcPts val="100"/>
                </a:spcBef>
                <a:spcAft>
                  <a:spcPts val="0"/>
                </a:spcAft>
                <a:buFont typeface="Arial" panose="020B0604020202020204" pitchFamily="34" charset="0"/>
                <a:buNone/>
              </a:pPr>
              <a:r>
                <a:rPr lang="en-US" dirty="0"/>
                <a:t>Address line 1</a:t>
              </a:r>
            </a:p>
            <a:p>
              <a:pPr marL="0" marR="0" lvl="0" indent="0" algn="l" defTabSz="914400" rtl="0" eaLnBrk="1" fontAlgn="auto" latinLnBrk="0" hangingPunct="1">
                <a:lnSpc>
                  <a:spcPct val="100000"/>
                </a:lnSpc>
                <a:spcBef>
                  <a:spcPts val="100"/>
                </a:spcBef>
                <a:spcAft>
                  <a:spcPts val="0"/>
                </a:spcAft>
                <a:buClrTx/>
                <a:buSzTx/>
                <a:buFont typeface="Arial" panose="020B0604020202020204" pitchFamily="34" charset="0"/>
                <a:buNone/>
                <a:tabLst/>
                <a:defRPr/>
              </a:pPr>
              <a:r>
                <a:rPr lang="en-US" dirty="0"/>
                <a:t>Address line 2</a:t>
              </a:r>
            </a:p>
            <a:p>
              <a:pPr marL="0" marR="0" lvl="0" indent="0" algn="l" defTabSz="914400" rtl="0" eaLnBrk="1" fontAlgn="auto" latinLnBrk="0" hangingPunct="1">
                <a:lnSpc>
                  <a:spcPct val="100000"/>
                </a:lnSpc>
                <a:spcBef>
                  <a:spcPts val="100"/>
                </a:spcBef>
                <a:spcAft>
                  <a:spcPts val="0"/>
                </a:spcAft>
                <a:buClrTx/>
                <a:buSzTx/>
                <a:buFont typeface="Arial" panose="020B0604020202020204" pitchFamily="34" charset="0"/>
                <a:buNone/>
                <a:tabLst/>
                <a:defRPr/>
              </a:pPr>
              <a:r>
                <a:rPr lang="en-US" dirty="0"/>
                <a:t>Address line 3</a:t>
              </a:r>
            </a:p>
            <a:p>
              <a:pPr marL="0" lvl="0" indent="0" algn="l" defTabSz="914400" rtl="0" eaLnBrk="1" latinLnBrk="0" hangingPunct="1">
                <a:lnSpc>
                  <a:spcPct val="100000"/>
                </a:lnSpc>
                <a:spcBef>
                  <a:spcPts val="200"/>
                </a:spcBef>
                <a:spcAft>
                  <a:spcPts val="200"/>
                </a:spcAft>
                <a:buFont typeface="Arial" panose="020B0604020202020204" pitchFamily="34" charset="0"/>
                <a:buNone/>
              </a:pPr>
              <a:endParaRPr lang="en-US" dirty="0"/>
            </a:p>
          </p:txBody>
        </p:sp>
      </p:grpSp>
    </p:spTree>
    <p:extLst>
      <p:ext uri="{BB962C8B-B14F-4D97-AF65-F5344CB8AC3E}">
        <p14:creationId xmlns:p14="http://schemas.microsoft.com/office/powerpoint/2010/main" val="405972112"/>
      </p:ext>
    </p:extLst>
  </p:cSld>
  <p:clrMapOvr>
    <a:masterClrMapping/>
  </p:clrMapOvr>
  <p:transition spd="med">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Locations Office 2">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261A4C7-E98D-3660-5C37-C13B3A230A80}"/>
              </a:ext>
            </a:extLst>
          </p:cNvPr>
          <p:cNvSpPr/>
          <p:nvPr userDrawn="1"/>
        </p:nvSpPr>
        <p:spPr>
          <a:xfrm>
            <a:off x="8126413" y="0"/>
            <a:ext cx="4065587"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Slide Number Placeholder 5"/>
          <p:cNvSpPr>
            <a:spLocks noGrp="1"/>
          </p:cNvSpPr>
          <p:nvPr userDrawn="1">
            <p:ph type="sldNum" sz="quarter" idx="12"/>
          </p:nvPr>
        </p:nvSpPr>
        <p:spPr/>
        <p:txBody>
          <a:bodyPr/>
          <a:lstStyle>
            <a:lvl1pPr>
              <a:defRPr>
                <a:solidFill>
                  <a:schemeClr val="tx1"/>
                </a:solidFill>
              </a:defRPr>
            </a:lvl1pPr>
          </a:lstStyle>
          <a:p>
            <a:fld id="{8CFE0557-AA98-4E6C-B0C3-581794696B68}" type="slidenum">
              <a:rPr lang="en-GB" smtClean="0"/>
              <a:pPr/>
              <a:t>‹#›</a:t>
            </a:fld>
            <a:endParaRPr lang="en-GB" dirty="0"/>
          </a:p>
        </p:txBody>
      </p:sp>
      <p:sp>
        <p:nvSpPr>
          <p:cNvPr id="7" name="Picture Placeholder 10">
            <a:extLst>
              <a:ext uri="{FF2B5EF4-FFF2-40B4-BE49-F238E27FC236}">
                <a16:creationId xmlns:a16="http://schemas.microsoft.com/office/drawing/2014/main" id="{1CA5F42F-AC29-F4B3-E667-86842A258FF7}"/>
              </a:ext>
            </a:extLst>
          </p:cNvPr>
          <p:cNvSpPr>
            <a:spLocks noGrp="1"/>
          </p:cNvSpPr>
          <p:nvPr>
            <p:ph type="pic" sz="quarter" idx="13" hasCustomPrompt="1"/>
          </p:nvPr>
        </p:nvSpPr>
        <p:spPr>
          <a:xfrm>
            <a:off x="1588" y="0"/>
            <a:ext cx="8124825" cy="3429000"/>
          </a:xfrm>
          <a:solidFill>
            <a:schemeClr val="tx1"/>
          </a:solidFill>
        </p:spPr>
        <p:txBody>
          <a:bodyPr vert="horz" lIns="0" tIns="45720" rIns="0" bIns="45720" rtlCol="0" anchor="ctr">
            <a:normAutofit/>
          </a:bodyPr>
          <a:lstStyle>
            <a:lvl1pPr algn="ctr">
              <a:lnSpc>
                <a:spcPct val="100000"/>
              </a:lnSpc>
              <a:spcBef>
                <a:spcPts val="200"/>
              </a:spcBef>
              <a:spcAft>
                <a:spcPts val="200"/>
              </a:spcAft>
              <a:defRPr lang="en-GB" sz="2800" b="0" dirty="0">
                <a:solidFill>
                  <a:schemeClr val="bg1"/>
                </a:solidFill>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US" dirty="0"/>
              <a:t>ADD RELATED IMAGE </a:t>
            </a:r>
            <a:br>
              <a:rPr lang="en-US" dirty="0"/>
            </a:br>
            <a:r>
              <a:rPr lang="en-US" dirty="0"/>
              <a:t>FROM HFW </a:t>
            </a:r>
            <a:br>
              <a:rPr lang="en-US" dirty="0"/>
            </a:br>
            <a:r>
              <a:rPr lang="en-US" dirty="0"/>
              <a:t>IMAGE LIBRARY</a:t>
            </a:r>
          </a:p>
        </p:txBody>
      </p:sp>
      <p:sp>
        <p:nvSpPr>
          <p:cNvPr id="2" name="Picture Placeholder 10">
            <a:extLst>
              <a:ext uri="{FF2B5EF4-FFF2-40B4-BE49-F238E27FC236}">
                <a16:creationId xmlns:a16="http://schemas.microsoft.com/office/drawing/2014/main" id="{745A71BB-8DDA-5D04-068C-8F4A0028A571}"/>
              </a:ext>
            </a:extLst>
          </p:cNvPr>
          <p:cNvSpPr>
            <a:spLocks noGrp="1"/>
          </p:cNvSpPr>
          <p:nvPr>
            <p:ph type="pic" sz="quarter" idx="24" hasCustomPrompt="1"/>
          </p:nvPr>
        </p:nvSpPr>
        <p:spPr>
          <a:xfrm>
            <a:off x="1588" y="3428999"/>
            <a:ext cx="8124825" cy="3429001"/>
          </a:xfrm>
          <a:solidFill>
            <a:schemeClr val="tx1">
              <a:lumMod val="60000"/>
              <a:lumOff val="40000"/>
            </a:schemeClr>
          </a:solidFill>
        </p:spPr>
        <p:txBody>
          <a:bodyPr vert="horz" lIns="0" tIns="45720" rIns="0" bIns="45720" rtlCol="0" anchor="ctr">
            <a:normAutofit/>
          </a:bodyPr>
          <a:lstStyle>
            <a:lvl1pPr algn="ctr">
              <a:lnSpc>
                <a:spcPct val="100000"/>
              </a:lnSpc>
              <a:spcBef>
                <a:spcPts val="200"/>
              </a:spcBef>
              <a:spcAft>
                <a:spcPts val="200"/>
              </a:spcAft>
              <a:defRPr lang="en-GB" sz="2800" b="0" dirty="0">
                <a:solidFill>
                  <a:schemeClr val="bg1"/>
                </a:solidFill>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US" dirty="0"/>
              <a:t>ADD RELATED IMAGE </a:t>
            </a:r>
            <a:br>
              <a:rPr lang="en-US" dirty="0"/>
            </a:br>
            <a:r>
              <a:rPr lang="en-US" dirty="0"/>
              <a:t>FROM HFW </a:t>
            </a:r>
            <a:br>
              <a:rPr lang="en-US" dirty="0"/>
            </a:br>
            <a:r>
              <a:rPr lang="en-US" dirty="0"/>
              <a:t>IMAGE LIBRARY</a:t>
            </a:r>
          </a:p>
        </p:txBody>
      </p:sp>
      <p:sp>
        <p:nvSpPr>
          <p:cNvPr id="4" name="Text Placeholder 16">
            <a:extLst>
              <a:ext uri="{FF2B5EF4-FFF2-40B4-BE49-F238E27FC236}">
                <a16:creationId xmlns:a16="http://schemas.microsoft.com/office/drawing/2014/main" id="{079D7830-23C1-A4AF-A7DB-7495D0CA16A1}"/>
              </a:ext>
            </a:extLst>
          </p:cNvPr>
          <p:cNvSpPr>
            <a:spLocks noGrp="1"/>
          </p:cNvSpPr>
          <p:nvPr>
            <p:ph type="body" sz="quarter" idx="23" hasCustomPrompt="1"/>
          </p:nvPr>
        </p:nvSpPr>
        <p:spPr>
          <a:xfrm>
            <a:off x="8739981" y="1226030"/>
            <a:ext cx="2815432" cy="541810"/>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0"/>
              </a:spcBef>
              <a:spcAft>
                <a:spcPts val="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1"/>
            <a:r>
              <a:rPr lang="en-US" dirty="0"/>
              <a:t>Address line </a:t>
            </a:r>
          </a:p>
        </p:txBody>
      </p:sp>
      <p:sp>
        <p:nvSpPr>
          <p:cNvPr id="5" name="Text Placeholder 16">
            <a:extLst>
              <a:ext uri="{FF2B5EF4-FFF2-40B4-BE49-F238E27FC236}">
                <a16:creationId xmlns:a16="http://schemas.microsoft.com/office/drawing/2014/main" id="{8BD79C84-070F-2F11-ECBB-06B0B70912DD}"/>
              </a:ext>
            </a:extLst>
          </p:cNvPr>
          <p:cNvSpPr>
            <a:spLocks noGrp="1"/>
          </p:cNvSpPr>
          <p:nvPr>
            <p:ph type="body" sz="quarter" idx="27" hasCustomPrompt="1"/>
          </p:nvPr>
        </p:nvSpPr>
        <p:spPr>
          <a:xfrm>
            <a:off x="8739981" y="1008860"/>
            <a:ext cx="2815432" cy="169277"/>
          </a:xfrm>
        </p:spPr>
        <p:txBody>
          <a:bodyPr tIns="0" bIns="0">
            <a:noAutofit/>
          </a:bodyPr>
          <a:lstStyle>
            <a:lvl1pPr algn="l">
              <a:lnSpc>
                <a:spcPct val="100000"/>
              </a:lnSpc>
              <a:spcBef>
                <a:spcPts val="0"/>
              </a:spcBef>
              <a:spcAft>
                <a:spcPts val="0"/>
              </a:spcAft>
              <a:defRPr sz="1100" cap="all" baseline="0">
                <a:solidFill>
                  <a:schemeClr val="tx2"/>
                </a:solidFill>
                <a:latin typeface="+mj-lt"/>
              </a:defRPr>
            </a:lvl1pPr>
            <a:lvl2pPr algn="l">
              <a:lnSpc>
                <a:spcPct val="100000"/>
              </a:lnSpc>
              <a:spcBef>
                <a:spcPts val="200"/>
              </a:spcBef>
              <a:spcAft>
                <a:spcPts val="200"/>
              </a:spcAft>
              <a:defRPr sz="1100">
                <a:solidFill>
                  <a:schemeClr val="tx1"/>
                </a:solidFill>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0"/>
            <a:r>
              <a:rPr lang="en-US" dirty="0"/>
              <a:t>Office name</a:t>
            </a:r>
          </a:p>
        </p:txBody>
      </p:sp>
      <p:sp>
        <p:nvSpPr>
          <p:cNvPr id="11" name="Text Placeholder 16">
            <a:extLst>
              <a:ext uri="{FF2B5EF4-FFF2-40B4-BE49-F238E27FC236}">
                <a16:creationId xmlns:a16="http://schemas.microsoft.com/office/drawing/2014/main" id="{3F5BF370-84B4-B9EB-1938-A52EB7C07973}"/>
              </a:ext>
            </a:extLst>
          </p:cNvPr>
          <p:cNvSpPr>
            <a:spLocks noGrp="1"/>
          </p:cNvSpPr>
          <p:nvPr>
            <p:ph type="body" sz="quarter" idx="28" hasCustomPrompt="1"/>
          </p:nvPr>
        </p:nvSpPr>
        <p:spPr>
          <a:xfrm>
            <a:off x="8915664" y="1794629"/>
            <a:ext cx="263974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12" name="TextBox 11">
            <a:extLst>
              <a:ext uri="{FF2B5EF4-FFF2-40B4-BE49-F238E27FC236}">
                <a16:creationId xmlns:a16="http://schemas.microsoft.com/office/drawing/2014/main" id="{5D85D8C2-6A5A-A005-C696-E10135A0A267}"/>
              </a:ext>
            </a:extLst>
          </p:cNvPr>
          <p:cNvSpPr txBox="1"/>
          <p:nvPr userDrawn="1"/>
        </p:nvSpPr>
        <p:spPr>
          <a:xfrm flipH="1">
            <a:off x="8741500" y="1794629"/>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13" name="Text Placeholder 16">
            <a:extLst>
              <a:ext uri="{FF2B5EF4-FFF2-40B4-BE49-F238E27FC236}">
                <a16:creationId xmlns:a16="http://schemas.microsoft.com/office/drawing/2014/main" id="{855544DD-C3F8-77BE-D5B8-F5E96C05B82E}"/>
              </a:ext>
            </a:extLst>
          </p:cNvPr>
          <p:cNvSpPr>
            <a:spLocks noGrp="1"/>
          </p:cNvSpPr>
          <p:nvPr>
            <p:ph type="body" sz="quarter" idx="29" hasCustomPrompt="1"/>
          </p:nvPr>
        </p:nvSpPr>
        <p:spPr>
          <a:xfrm>
            <a:off x="8739981" y="2521430"/>
            <a:ext cx="2815432" cy="541810"/>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0"/>
              </a:spcBef>
              <a:spcAft>
                <a:spcPts val="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1"/>
            <a:r>
              <a:rPr lang="en-US" dirty="0"/>
              <a:t>Address line </a:t>
            </a:r>
          </a:p>
        </p:txBody>
      </p:sp>
      <p:sp>
        <p:nvSpPr>
          <p:cNvPr id="14" name="Text Placeholder 16">
            <a:extLst>
              <a:ext uri="{FF2B5EF4-FFF2-40B4-BE49-F238E27FC236}">
                <a16:creationId xmlns:a16="http://schemas.microsoft.com/office/drawing/2014/main" id="{ABBB6A81-7CBB-05F2-8F47-BD94389F9EDC}"/>
              </a:ext>
            </a:extLst>
          </p:cNvPr>
          <p:cNvSpPr>
            <a:spLocks noGrp="1"/>
          </p:cNvSpPr>
          <p:nvPr>
            <p:ph type="body" sz="quarter" idx="30" hasCustomPrompt="1"/>
          </p:nvPr>
        </p:nvSpPr>
        <p:spPr>
          <a:xfrm>
            <a:off x="8739981" y="2304260"/>
            <a:ext cx="2815432" cy="169277"/>
          </a:xfrm>
        </p:spPr>
        <p:txBody>
          <a:bodyPr tIns="0" bIns="0">
            <a:noAutofit/>
          </a:bodyPr>
          <a:lstStyle>
            <a:lvl1pPr algn="l">
              <a:lnSpc>
                <a:spcPct val="100000"/>
              </a:lnSpc>
              <a:spcBef>
                <a:spcPts val="0"/>
              </a:spcBef>
              <a:spcAft>
                <a:spcPts val="0"/>
              </a:spcAft>
              <a:defRPr sz="1100" cap="all" baseline="0">
                <a:solidFill>
                  <a:schemeClr val="tx2"/>
                </a:solidFill>
                <a:latin typeface="+mj-lt"/>
              </a:defRPr>
            </a:lvl1pPr>
            <a:lvl2pPr algn="l">
              <a:lnSpc>
                <a:spcPct val="100000"/>
              </a:lnSpc>
              <a:spcBef>
                <a:spcPts val="200"/>
              </a:spcBef>
              <a:spcAft>
                <a:spcPts val="200"/>
              </a:spcAft>
              <a:defRPr sz="1100">
                <a:solidFill>
                  <a:schemeClr val="tx1"/>
                </a:solidFill>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0"/>
            <a:r>
              <a:rPr lang="en-US" dirty="0"/>
              <a:t>Office name</a:t>
            </a:r>
          </a:p>
        </p:txBody>
      </p:sp>
      <p:sp>
        <p:nvSpPr>
          <p:cNvPr id="15" name="Text Placeholder 16">
            <a:extLst>
              <a:ext uri="{FF2B5EF4-FFF2-40B4-BE49-F238E27FC236}">
                <a16:creationId xmlns:a16="http://schemas.microsoft.com/office/drawing/2014/main" id="{AFD62E82-2699-6590-9B33-F1C43010CEF7}"/>
              </a:ext>
            </a:extLst>
          </p:cNvPr>
          <p:cNvSpPr>
            <a:spLocks noGrp="1"/>
          </p:cNvSpPr>
          <p:nvPr>
            <p:ph type="body" sz="quarter" idx="31" hasCustomPrompt="1"/>
          </p:nvPr>
        </p:nvSpPr>
        <p:spPr>
          <a:xfrm>
            <a:off x="8915664" y="3090029"/>
            <a:ext cx="263974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16" name="TextBox 15">
            <a:extLst>
              <a:ext uri="{FF2B5EF4-FFF2-40B4-BE49-F238E27FC236}">
                <a16:creationId xmlns:a16="http://schemas.microsoft.com/office/drawing/2014/main" id="{7E6216B4-ED2B-FACE-4366-C180A8CC9309}"/>
              </a:ext>
            </a:extLst>
          </p:cNvPr>
          <p:cNvSpPr txBox="1"/>
          <p:nvPr userDrawn="1"/>
        </p:nvSpPr>
        <p:spPr>
          <a:xfrm flipH="1">
            <a:off x="8741500" y="3090029"/>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25" name="Title 9">
            <a:extLst>
              <a:ext uri="{FF2B5EF4-FFF2-40B4-BE49-F238E27FC236}">
                <a16:creationId xmlns:a16="http://schemas.microsoft.com/office/drawing/2014/main" id="{B71C867F-0F7D-7F45-4BEB-35F155A6F463}"/>
              </a:ext>
            </a:extLst>
          </p:cNvPr>
          <p:cNvSpPr>
            <a:spLocks noGrp="1"/>
          </p:cNvSpPr>
          <p:nvPr>
            <p:ph type="title" hasCustomPrompt="1"/>
          </p:nvPr>
        </p:nvSpPr>
        <p:spPr>
          <a:xfrm>
            <a:off x="8737600" y="454013"/>
            <a:ext cx="2944813" cy="554847"/>
          </a:xfrm>
        </p:spPr>
        <p:txBody>
          <a:bodyPr/>
          <a:lstStyle>
            <a:lvl1pPr>
              <a:defRPr/>
            </a:lvl1pPr>
          </a:lstStyle>
          <a:p>
            <a:r>
              <a:rPr lang="en-US" dirty="0"/>
              <a:t>OUR OFFICE</a:t>
            </a:r>
            <a:endParaRPr lang="en-GB" dirty="0"/>
          </a:p>
        </p:txBody>
      </p:sp>
      <p:sp>
        <p:nvSpPr>
          <p:cNvPr id="9" name="TextBox 4">
            <a:extLst>
              <a:ext uri="{FF2B5EF4-FFF2-40B4-BE49-F238E27FC236}">
                <a16:creationId xmlns:a16="http://schemas.microsoft.com/office/drawing/2014/main" id="{A645C0E8-89D2-C603-DCEA-750D530C813B}"/>
              </a:ext>
            </a:extLst>
          </p:cNvPr>
          <p:cNvSpPr txBox="1"/>
          <p:nvPr userDrawn="1"/>
        </p:nvSpPr>
        <p:spPr>
          <a:xfrm>
            <a:off x="12346713" y="109538"/>
            <a:ext cx="2253207" cy="316496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INSERTING IMAGES:</a:t>
            </a:r>
          </a:p>
          <a:p>
            <a:pPr marL="179388" indent="-179388">
              <a:spcBef>
                <a:spcPts val="200"/>
              </a:spcBef>
              <a:spcAft>
                <a:spcPts val="200"/>
              </a:spcAft>
              <a:buFont typeface="+mj-lt"/>
              <a:buAutoNum type="arabicPeriod"/>
            </a:pPr>
            <a:r>
              <a:rPr lang="en-US" sz="900" dirty="0">
                <a:solidFill>
                  <a:schemeClr val="tx1"/>
                </a:solidFill>
                <a:latin typeface="+mn-lt"/>
              </a:rPr>
              <a:t>Simply click the image placeholder and select your image.</a:t>
            </a:r>
          </a:p>
          <a:p>
            <a:pPr marL="179388" indent="-179388">
              <a:spcBef>
                <a:spcPts val="200"/>
              </a:spcBef>
              <a:spcAft>
                <a:spcPts val="200"/>
              </a:spcAft>
              <a:buFont typeface="+mj-lt"/>
              <a:buAutoNum type="arabicPeriod"/>
            </a:pPr>
            <a:r>
              <a:rPr lang="en-US" sz="900" dirty="0">
                <a:solidFill>
                  <a:schemeClr val="tx1"/>
                </a:solidFill>
                <a:latin typeface="+mn-lt"/>
              </a:rPr>
              <a:t>Once your image is inserted into the shape it may be distorted. (Stretched or Squashed)</a:t>
            </a:r>
          </a:p>
          <a:p>
            <a:pPr marL="179388" indent="-179388">
              <a:spcBef>
                <a:spcPts val="200"/>
              </a:spcBef>
              <a:spcAft>
                <a:spcPts val="200"/>
              </a:spcAft>
              <a:buFont typeface="+mj-lt"/>
              <a:buAutoNum type="arabicPeriod"/>
            </a:pPr>
            <a:endParaRPr lang="en-US" sz="900" dirty="0">
              <a:solidFill>
                <a:schemeClr val="tx1"/>
              </a:solidFill>
              <a:latin typeface="+mn-lt"/>
            </a:endParaRPr>
          </a:p>
          <a:p>
            <a:pPr>
              <a:spcBef>
                <a:spcPts val="200"/>
              </a:spcBef>
              <a:spcAft>
                <a:spcPts val="200"/>
              </a:spcAft>
            </a:pPr>
            <a:r>
              <a:rPr lang="en-US" sz="900" b="1" dirty="0">
                <a:solidFill>
                  <a:schemeClr val="tx1"/>
                </a:solidFill>
                <a:latin typeface="+mn-lt"/>
              </a:rPr>
              <a:t>To fix this:</a:t>
            </a:r>
          </a:p>
          <a:p>
            <a:pPr marL="179388" indent="-179388">
              <a:spcBef>
                <a:spcPts val="200"/>
              </a:spcBef>
              <a:spcAft>
                <a:spcPts val="200"/>
              </a:spcAft>
              <a:buFont typeface="+mj-lt"/>
              <a:buAutoNum type="arabicPeriod"/>
            </a:pPr>
            <a:r>
              <a:rPr lang="en-US" sz="900" dirty="0">
                <a:solidFill>
                  <a:schemeClr val="tx1"/>
                </a:solidFill>
                <a:latin typeface="+mn-lt"/>
              </a:rPr>
              <a:t>Click on the image and from the top menu under </a:t>
            </a:r>
            <a:r>
              <a:rPr lang="en-US" sz="900" b="1" dirty="0">
                <a:solidFill>
                  <a:schemeClr val="tx1"/>
                </a:solidFill>
                <a:latin typeface="+mn-lt"/>
              </a:rPr>
              <a:t>PICTURE FORMAT </a:t>
            </a:r>
            <a:r>
              <a:rPr lang="en-US" sz="900" dirty="0">
                <a:solidFill>
                  <a:schemeClr val="tx1"/>
                </a:solidFill>
                <a:latin typeface="+mn-lt"/>
              </a:rPr>
              <a:t>select the </a:t>
            </a:r>
            <a:r>
              <a:rPr lang="en-US" sz="900" b="1" dirty="0">
                <a:solidFill>
                  <a:schemeClr val="tx1"/>
                </a:solidFill>
                <a:latin typeface="+mn-lt"/>
              </a:rPr>
              <a:t>CROP</a:t>
            </a:r>
            <a:r>
              <a:rPr lang="en-US" sz="900" dirty="0">
                <a:solidFill>
                  <a:schemeClr val="tx1"/>
                </a:solidFill>
                <a:latin typeface="+mn-lt"/>
              </a:rPr>
              <a:t> on the right and from the drop down menu select </a:t>
            </a:r>
            <a:r>
              <a:rPr lang="en-US" sz="900" b="1" kern="1200" dirty="0">
                <a:solidFill>
                  <a:schemeClr val="tx1"/>
                </a:solidFill>
                <a:latin typeface="+mn-lt"/>
                <a:ea typeface="+mn-ea"/>
                <a:cs typeface="+mn-cs"/>
              </a:rPr>
              <a:t>FILL</a:t>
            </a:r>
          </a:p>
          <a:p>
            <a:pPr marL="179388" indent="-179388">
              <a:spcBef>
                <a:spcPts val="200"/>
              </a:spcBef>
              <a:spcAft>
                <a:spcPts val="200"/>
              </a:spcAft>
              <a:buFont typeface="+mj-lt"/>
              <a:buAutoNum type="arabicPeriod"/>
            </a:pPr>
            <a:r>
              <a:rPr lang="en-US" sz="900" b="0" kern="1200" dirty="0">
                <a:solidFill>
                  <a:schemeClr val="tx1"/>
                </a:solidFill>
                <a:latin typeface="+mn-lt"/>
                <a:ea typeface="+mn-ea"/>
                <a:cs typeface="+mn-cs"/>
              </a:rPr>
              <a:t>From here you can move the image within the shape for best visual appearance</a:t>
            </a:r>
          </a:p>
          <a:p>
            <a:pPr marL="179388" indent="-179388">
              <a:spcBef>
                <a:spcPts val="200"/>
              </a:spcBef>
              <a:spcAft>
                <a:spcPts val="200"/>
              </a:spcAft>
              <a:buFont typeface="+mj-lt"/>
              <a:buAutoNum type="arabicPeriod"/>
            </a:pPr>
            <a:endParaRPr lang="en-US" sz="900" b="0" kern="1200" dirty="0">
              <a:solidFill>
                <a:schemeClr val="tx1"/>
              </a:solidFill>
              <a:latin typeface="+mn-lt"/>
              <a:ea typeface="+mn-ea"/>
              <a:cs typeface="+mn-cs"/>
            </a:endParaRPr>
          </a:p>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SAMPLE CONTACT LAYOUT</a:t>
            </a:r>
          </a:p>
        </p:txBody>
      </p:sp>
      <p:grpSp>
        <p:nvGrpSpPr>
          <p:cNvPr id="10" name="Group 9">
            <a:extLst>
              <a:ext uri="{FF2B5EF4-FFF2-40B4-BE49-F238E27FC236}">
                <a16:creationId xmlns:a16="http://schemas.microsoft.com/office/drawing/2014/main" id="{D60078EE-21D8-E5E1-365A-18454BC71BD5}"/>
              </a:ext>
            </a:extLst>
          </p:cNvPr>
          <p:cNvGrpSpPr/>
          <p:nvPr userDrawn="1"/>
        </p:nvGrpSpPr>
        <p:grpSpPr>
          <a:xfrm>
            <a:off x="12437199" y="3429000"/>
            <a:ext cx="2813913" cy="1004063"/>
            <a:chOff x="12437199" y="3429000"/>
            <a:chExt cx="2813913" cy="1004063"/>
          </a:xfrm>
        </p:grpSpPr>
        <p:sp>
          <p:nvSpPr>
            <p:cNvPr id="17" name="TextBox 16">
              <a:extLst>
                <a:ext uri="{FF2B5EF4-FFF2-40B4-BE49-F238E27FC236}">
                  <a16:creationId xmlns:a16="http://schemas.microsoft.com/office/drawing/2014/main" id="{3D8FBEC0-AFFA-A058-AFCA-9A155865AE26}"/>
                </a:ext>
              </a:extLst>
            </p:cNvPr>
            <p:cNvSpPr txBox="1"/>
            <p:nvPr userDrawn="1"/>
          </p:nvSpPr>
          <p:spPr>
            <a:xfrm flipH="1">
              <a:off x="12611362" y="4263786"/>
              <a:ext cx="2639750"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18" name="TextBox 17">
              <a:extLst>
                <a:ext uri="{FF2B5EF4-FFF2-40B4-BE49-F238E27FC236}">
                  <a16:creationId xmlns:a16="http://schemas.microsoft.com/office/drawing/2014/main" id="{5D98AE99-BCF1-5BFD-E4F6-A4D578C18D30}"/>
                </a:ext>
              </a:extLst>
            </p:cNvPr>
            <p:cNvSpPr txBox="1"/>
            <p:nvPr userDrawn="1"/>
          </p:nvSpPr>
          <p:spPr>
            <a:xfrm flipH="1">
              <a:off x="12437200" y="4263786"/>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19" name="TextBox 18">
              <a:extLst>
                <a:ext uri="{FF2B5EF4-FFF2-40B4-BE49-F238E27FC236}">
                  <a16:creationId xmlns:a16="http://schemas.microsoft.com/office/drawing/2014/main" id="{1D3C770D-0EA1-C4F8-51CA-56F23E94B661}"/>
                </a:ext>
              </a:extLst>
            </p:cNvPr>
            <p:cNvSpPr txBox="1"/>
            <p:nvPr userDrawn="1"/>
          </p:nvSpPr>
          <p:spPr>
            <a:xfrm flipH="1">
              <a:off x="12437199" y="3429000"/>
              <a:ext cx="1968833"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solidFill>
                    <a:schemeClr val="tx2"/>
                  </a:solidFill>
                  <a:latin typeface="+mj-lt"/>
                </a:rPr>
                <a:t>OFFICE NAME</a:t>
              </a:r>
            </a:p>
          </p:txBody>
        </p:sp>
        <p:sp>
          <p:nvSpPr>
            <p:cNvPr id="20" name="TextBox 19">
              <a:extLst>
                <a:ext uri="{FF2B5EF4-FFF2-40B4-BE49-F238E27FC236}">
                  <a16:creationId xmlns:a16="http://schemas.microsoft.com/office/drawing/2014/main" id="{A692D24E-0453-F841-AE64-F4A23FF32DB3}"/>
                </a:ext>
              </a:extLst>
            </p:cNvPr>
            <p:cNvSpPr txBox="1"/>
            <p:nvPr userDrawn="1"/>
          </p:nvSpPr>
          <p:spPr>
            <a:xfrm flipH="1">
              <a:off x="12437199" y="3644298"/>
              <a:ext cx="1968833"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0" lvl="0" indent="0" algn="l" defTabSz="914400" rtl="0" eaLnBrk="1" latinLnBrk="0" hangingPunct="1">
                <a:lnSpc>
                  <a:spcPct val="100000"/>
                </a:lnSpc>
                <a:spcBef>
                  <a:spcPts val="100"/>
                </a:spcBef>
                <a:spcAft>
                  <a:spcPts val="0"/>
                </a:spcAft>
                <a:buFont typeface="Arial" panose="020B0604020202020204" pitchFamily="34" charset="0"/>
                <a:buNone/>
              </a:pPr>
              <a:r>
                <a:rPr lang="en-US" dirty="0"/>
                <a:t>Address line 1</a:t>
              </a:r>
            </a:p>
            <a:p>
              <a:pPr marL="0" marR="0" lvl="0" indent="0" algn="l" defTabSz="914400" rtl="0" eaLnBrk="1" fontAlgn="auto" latinLnBrk="0" hangingPunct="1">
                <a:lnSpc>
                  <a:spcPct val="100000"/>
                </a:lnSpc>
                <a:spcBef>
                  <a:spcPts val="100"/>
                </a:spcBef>
                <a:spcAft>
                  <a:spcPts val="0"/>
                </a:spcAft>
                <a:buClrTx/>
                <a:buSzTx/>
                <a:buFont typeface="Arial" panose="020B0604020202020204" pitchFamily="34" charset="0"/>
                <a:buNone/>
                <a:tabLst/>
                <a:defRPr/>
              </a:pPr>
              <a:r>
                <a:rPr lang="en-US" dirty="0"/>
                <a:t>Address line 2</a:t>
              </a:r>
            </a:p>
            <a:p>
              <a:pPr marL="0" marR="0" lvl="0" indent="0" algn="l" defTabSz="914400" rtl="0" eaLnBrk="1" fontAlgn="auto" latinLnBrk="0" hangingPunct="1">
                <a:lnSpc>
                  <a:spcPct val="100000"/>
                </a:lnSpc>
                <a:spcBef>
                  <a:spcPts val="100"/>
                </a:spcBef>
                <a:spcAft>
                  <a:spcPts val="0"/>
                </a:spcAft>
                <a:buClrTx/>
                <a:buSzTx/>
                <a:buFont typeface="Arial" panose="020B0604020202020204" pitchFamily="34" charset="0"/>
                <a:buNone/>
                <a:tabLst/>
                <a:defRPr/>
              </a:pPr>
              <a:r>
                <a:rPr lang="en-US" dirty="0"/>
                <a:t>Address line 3</a:t>
              </a:r>
            </a:p>
            <a:p>
              <a:pPr marL="0" lvl="0" indent="0" algn="l" defTabSz="914400" rtl="0" eaLnBrk="1" latinLnBrk="0" hangingPunct="1">
                <a:lnSpc>
                  <a:spcPct val="100000"/>
                </a:lnSpc>
                <a:spcBef>
                  <a:spcPts val="200"/>
                </a:spcBef>
                <a:spcAft>
                  <a:spcPts val="200"/>
                </a:spcAft>
                <a:buFont typeface="Arial" panose="020B0604020202020204" pitchFamily="34" charset="0"/>
                <a:buNone/>
              </a:pPr>
              <a:endParaRPr lang="en-US" dirty="0"/>
            </a:p>
          </p:txBody>
        </p:sp>
      </p:grpSp>
    </p:spTree>
    <p:extLst>
      <p:ext uri="{BB962C8B-B14F-4D97-AF65-F5344CB8AC3E}">
        <p14:creationId xmlns:p14="http://schemas.microsoft.com/office/powerpoint/2010/main" val="3426617592"/>
      </p:ext>
    </p:extLst>
  </p:cSld>
  <p:clrMapOvr>
    <a:masterClrMapping/>
  </p:clrMapOvr>
  <p:transition spd="med">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Locations Office 3">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261A4C7-E98D-3660-5C37-C13B3A230A80}"/>
              </a:ext>
            </a:extLst>
          </p:cNvPr>
          <p:cNvSpPr/>
          <p:nvPr userDrawn="1"/>
        </p:nvSpPr>
        <p:spPr>
          <a:xfrm>
            <a:off x="8126413" y="0"/>
            <a:ext cx="4065587"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Slide Number Placeholder 5"/>
          <p:cNvSpPr>
            <a:spLocks noGrp="1"/>
          </p:cNvSpPr>
          <p:nvPr userDrawn="1">
            <p:ph type="sldNum" sz="quarter" idx="12"/>
          </p:nvPr>
        </p:nvSpPr>
        <p:spPr/>
        <p:txBody>
          <a:bodyPr/>
          <a:lstStyle>
            <a:lvl1pPr>
              <a:defRPr>
                <a:solidFill>
                  <a:schemeClr val="tx1"/>
                </a:solidFill>
              </a:defRPr>
            </a:lvl1pPr>
          </a:lstStyle>
          <a:p>
            <a:fld id="{8CFE0557-AA98-4E6C-B0C3-581794696B68}" type="slidenum">
              <a:rPr lang="en-GB" smtClean="0"/>
              <a:pPr/>
              <a:t>‹#›</a:t>
            </a:fld>
            <a:endParaRPr lang="en-GB" dirty="0"/>
          </a:p>
        </p:txBody>
      </p:sp>
      <p:sp>
        <p:nvSpPr>
          <p:cNvPr id="7" name="Picture Placeholder 10">
            <a:extLst>
              <a:ext uri="{FF2B5EF4-FFF2-40B4-BE49-F238E27FC236}">
                <a16:creationId xmlns:a16="http://schemas.microsoft.com/office/drawing/2014/main" id="{1CA5F42F-AC29-F4B3-E667-86842A258FF7}"/>
              </a:ext>
            </a:extLst>
          </p:cNvPr>
          <p:cNvSpPr>
            <a:spLocks noGrp="1"/>
          </p:cNvSpPr>
          <p:nvPr>
            <p:ph type="pic" sz="quarter" idx="13" hasCustomPrompt="1"/>
          </p:nvPr>
        </p:nvSpPr>
        <p:spPr>
          <a:xfrm>
            <a:off x="4067175" y="0"/>
            <a:ext cx="4059238" cy="3429000"/>
          </a:xfrm>
          <a:solidFill>
            <a:schemeClr val="tx1"/>
          </a:solidFill>
        </p:spPr>
        <p:txBody>
          <a:bodyPr vert="horz" lIns="0" tIns="45720" rIns="0" bIns="45720" rtlCol="0" anchor="ctr">
            <a:noAutofit/>
          </a:bodyPr>
          <a:lstStyle>
            <a:lvl1pPr algn="ctr">
              <a:defRPr lang="en-GB" sz="2400" b="0" dirty="0">
                <a:solidFill>
                  <a:schemeClr val="bg1"/>
                </a:solidFill>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US" dirty="0"/>
              <a:t>ADD RELATED IMAGE </a:t>
            </a:r>
            <a:br>
              <a:rPr lang="en-US" dirty="0"/>
            </a:br>
            <a:r>
              <a:rPr lang="en-US" dirty="0"/>
              <a:t>FROM HFW </a:t>
            </a:r>
            <a:br>
              <a:rPr lang="en-US" dirty="0"/>
            </a:br>
            <a:r>
              <a:rPr lang="en-US" dirty="0"/>
              <a:t>IMAGE LIBRARY</a:t>
            </a:r>
          </a:p>
        </p:txBody>
      </p:sp>
      <p:sp>
        <p:nvSpPr>
          <p:cNvPr id="2" name="Picture Placeholder 10">
            <a:extLst>
              <a:ext uri="{FF2B5EF4-FFF2-40B4-BE49-F238E27FC236}">
                <a16:creationId xmlns:a16="http://schemas.microsoft.com/office/drawing/2014/main" id="{745A71BB-8DDA-5D04-068C-8F4A0028A571}"/>
              </a:ext>
            </a:extLst>
          </p:cNvPr>
          <p:cNvSpPr>
            <a:spLocks noGrp="1"/>
          </p:cNvSpPr>
          <p:nvPr>
            <p:ph type="pic" sz="quarter" idx="24" hasCustomPrompt="1"/>
          </p:nvPr>
        </p:nvSpPr>
        <p:spPr>
          <a:xfrm>
            <a:off x="4067175" y="3428999"/>
            <a:ext cx="4059238" cy="3429001"/>
          </a:xfrm>
          <a:solidFill>
            <a:schemeClr val="tx1">
              <a:lumMod val="60000"/>
              <a:lumOff val="40000"/>
            </a:schemeClr>
          </a:solidFill>
        </p:spPr>
        <p:txBody>
          <a:bodyPr vert="horz" lIns="0" tIns="45720" rIns="0" bIns="45720" rtlCol="0" anchor="ctr">
            <a:noAutofit/>
          </a:bodyPr>
          <a:lstStyle>
            <a:lvl1pPr algn="ctr">
              <a:defRPr lang="en-GB" sz="2400" b="0" dirty="0">
                <a:solidFill>
                  <a:schemeClr val="bg1"/>
                </a:solidFill>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US" dirty="0"/>
              <a:t>ADD RELATED IMAGE </a:t>
            </a:r>
            <a:br>
              <a:rPr lang="en-US" dirty="0"/>
            </a:br>
            <a:r>
              <a:rPr lang="en-US" dirty="0"/>
              <a:t>FROM HFW </a:t>
            </a:r>
            <a:br>
              <a:rPr lang="en-US" dirty="0"/>
            </a:br>
            <a:r>
              <a:rPr lang="en-US" dirty="0"/>
              <a:t>IMAGE LIBRARY</a:t>
            </a:r>
          </a:p>
        </p:txBody>
      </p:sp>
      <p:sp>
        <p:nvSpPr>
          <p:cNvPr id="4" name="Picture Placeholder 10">
            <a:extLst>
              <a:ext uri="{FF2B5EF4-FFF2-40B4-BE49-F238E27FC236}">
                <a16:creationId xmlns:a16="http://schemas.microsoft.com/office/drawing/2014/main" id="{4B40F453-113F-A369-B2A9-CF31552B3472}"/>
              </a:ext>
            </a:extLst>
          </p:cNvPr>
          <p:cNvSpPr>
            <a:spLocks noGrp="1"/>
          </p:cNvSpPr>
          <p:nvPr>
            <p:ph type="pic" sz="quarter" idx="25" hasCustomPrompt="1"/>
          </p:nvPr>
        </p:nvSpPr>
        <p:spPr>
          <a:xfrm>
            <a:off x="-1" y="0"/>
            <a:ext cx="4067175" cy="6858000"/>
          </a:xfrm>
          <a:solidFill>
            <a:schemeClr val="tx1">
              <a:lumMod val="40000"/>
              <a:lumOff val="60000"/>
            </a:schemeClr>
          </a:solidFill>
        </p:spPr>
        <p:txBody>
          <a:bodyPr vert="horz" lIns="0" tIns="45720" rIns="0" bIns="45720" rtlCol="0" anchor="ctr">
            <a:normAutofit/>
          </a:bodyPr>
          <a:lstStyle>
            <a:lvl1pPr algn="ctr">
              <a:defRPr lang="en-GB" sz="2400" b="0" dirty="0">
                <a:solidFill>
                  <a:schemeClr val="bg1"/>
                </a:solidFill>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US" dirty="0"/>
              <a:t>ADD RELATED IMAGE </a:t>
            </a:r>
            <a:br>
              <a:rPr lang="en-US" dirty="0"/>
            </a:br>
            <a:r>
              <a:rPr lang="en-US" dirty="0"/>
              <a:t>FROM HFW </a:t>
            </a:r>
            <a:br>
              <a:rPr lang="en-US" dirty="0"/>
            </a:br>
            <a:r>
              <a:rPr lang="en-US" dirty="0"/>
              <a:t>IMAGE LIBRARY</a:t>
            </a:r>
          </a:p>
        </p:txBody>
      </p:sp>
      <p:sp>
        <p:nvSpPr>
          <p:cNvPr id="5" name="Text Placeholder 16">
            <a:extLst>
              <a:ext uri="{FF2B5EF4-FFF2-40B4-BE49-F238E27FC236}">
                <a16:creationId xmlns:a16="http://schemas.microsoft.com/office/drawing/2014/main" id="{ECB39105-BEF5-E632-0F1A-1F484BF6D606}"/>
              </a:ext>
            </a:extLst>
          </p:cNvPr>
          <p:cNvSpPr>
            <a:spLocks noGrp="1"/>
          </p:cNvSpPr>
          <p:nvPr>
            <p:ph type="body" sz="quarter" idx="23" hasCustomPrompt="1"/>
          </p:nvPr>
        </p:nvSpPr>
        <p:spPr>
          <a:xfrm>
            <a:off x="8739981" y="1226030"/>
            <a:ext cx="2815432" cy="541810"/>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0"/>
              </a:spcBef>
              <a:spcAft>
                <a:spcPts val="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1"/>
            <a:r>
              <a:rPr lang="en-US" dirty="0"/>
              <a:t>Address line </a:t>
            </a:r>
          </a:p>
        </p:txBody>
      </p:sp>
      <p:sp>
        <p:nvSpPr>
          <p:cNvPr id="11" name="Text Placeholder 16">
            <a:extLst>
              <a:ext uri="{FF2B5EF4-FFF2-40B4-BE49-F238E27FC236}">
                <a16:creationId xmlns:a16="http://schemas.microsoft.com/office/drawing/2014/main" id="{A037E17A-08FB-8398-57AD-8BB64610295A}"/>
              </a:ext>
            </a:extLst>
          </p:cNvPr>
          <p:cNvSpPr>
            <a:spLocks noGrp="1"/>
          </p:cNvSpPr>
          <p:nvPr>
            <p:ph type="body" sz="quarter" idx="27" hasCustomPrompt="1"/>
          </p:nvPr>
        </p:nvSpPr>
        <p:spPr>
          <a:xfrm>
            <a:off x="8739981" y="1008860"/>
            <a:ext cx="2815432" cy="169277"/>
          </a:xfrm>
        </p:spPr>
        <p:txBody>
          <a:bodyPr tIns="0" bIns="0">
            <a:noAutofit/>
          </a:bodyPr>
          <a:lstStyle>
            <a:lvl1pPr algn="l">
              <a:lnSpc>
                <a:spcPct val="100000"/>
              </a:lnSpc>
              <a:spcBef>
                <a:spcPts val="0"/>
              </a:spcBef>
              <a:spcAft>
                <a:spcPts val="0"/>
              </a:spcAft>
              <a:defRPr sz="1100" cap="all" baseline="0">
                <a:solidFill>
                  <a:schemeClr val="tx2"/>
                </a:solidFill>
                <a:latin typeface="+mj-lt"/>
              </a:defRPr>
            </a:lvl1pPr>
            <a:lvl2pPr algn="l">
              <a:lnSpc>
                <a:spcPct val="100000"/>
              </a:lnSpc>
              <a:spcBef>
                <a:spcPts val="200"/>
              </a:spcBef>
              <a:spcAft>
                <a:spcPts val="200"/>
              </a:spcAft>
              <a:defRPr sz="1100">
                <a:solidFill>
                  <a:schemeClr val="tx1"/>
                </a:solidFill>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0"/>
            <a:r>
              <a:rPr lang="en-US" dirty="0"/>
              <a:t>Office name</a:t>
            </a:r>
          </a:p>
        </p:txBody>
      </p:sp>
      <p:sp>
        <p:nvSpPr>
          <p:cNvPr id="12" name="Text Placeholder 16">
            <a:extLst>
              <a:ext uri="{FF2B5EF4-FFF2-40B4-BE49-F238E27FC236}">
                <a16:creationId xmlns:a16="http://schemas.microsoft.com/office/drawing/2014/main" id="{AC2DE5A5-428D-15AD-80D8-7B6EE90D0CD6}"/>
              </a:ext>
            </a:extLst>
          </p:cNvPr>
          <p:cNvSpPr>
            <a:spLocks noGrp="1"/>
          </p:cNvSpPr>
          <p:nvPr>
            <p:ph type="body" sz="quarter" idx="28" hasCustomPrompt="1"/>
          </p:nvPr>
        </p:nvSpPr>
        <p:spPr>
          <a:xfrm>
            <a:off x="8915664" y="1794629"/>
            <a:ext cx="263974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13" name="TextBox 12">
            <a:extLst>
              <a:ext uri="{FF2B5EF4-FFF2-40B4-BE49-F238E27FC236}">
                <a16:creationId xmlns:a16="http://schemas.microsoft.com/office/drawing/2014/main" id="{C8CD217E-07F9-C642-8473-DE6EF1E9E68E}"/>
              </a:ext>
            </a:extLst>
          </p:cNvPr>
          <p:cNvSpPr txBox="1"/>
          <p:nvPr userDrawn="1"/>
        </p:nvSpPr>
        <p:spPr>
          <a:xfrm flipH="1">
            <a:off x="8741500" y="1794629"/>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14" name="Text Placeholder 16">
            <a:extLst>
              <a:ext uri="{FF2B5EF4-FFF2-40B4-BE49-F238E27FC236}">
                <a16:creationId xmlns:a16="http://schemas.microsoft.com/office/drawing/2014/main" id="{8722F599-9B61-0FA8-507A-511A725A1C1C}"/>
              </a:ext>
            </a:extLst>
          </p:cNvPr>
          <p:cNvSpPr>
            <a:spLocks noGrp="1"/>
          </p:cNvSpPr>
          <p:nvPr>
            <p:ph type="body" sz="quarter" idx="29" hasCustomPrompt="1"/>
          </p:nvPr>
        </p:nvSpPr>
        <p:spPr>
          <a:xfrm>
            <a:off x="8739981" y="2521430"/>
            <a:ext cx="2815432" cy="541810"/>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0"/>
              </a:spcBef>
              <a:spcAft>
                <a:spcPts val="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1"/>
            <a:r>
              <a:rPr lang="en-US" dirty="0"/>
              <a:t>Address line </a:t>
            </a:r>
          </a:p>
        </p:txBody>
      </p:sp>
      <p:sp>
        <p:nvSpPr>
          <p:cNvPr id="15" name="Text Placeholder 16">
            <a:extLst>
              <a:ext uri="{FF2B5EF4-FFF2-40B4-BE49-F238E27FC236}">
                <a16:creationId xmlns:a16="http://schemas.microsoft.com/office/drawing/2014/main" id="{507087EC-583B-D2C6-3878-D8D610823C74}"/>
              </a:ext>
            </a:extLst>
          </p:cNvPr>
          <p:cNvSpPr>
            <a:spLocks noGrp="1"/>
          </p:cNvSpPr>
          <p:nvPr>
            <p:ph type="body" sz="quarter" idx="30" hasCustomPrompt="1"/>
          </p:nvPr>
        </p:nvSpPr>
        <p:spPr>
          <a:xfrm>
            <a:off x="8739981" y="2304260"/>
            <a:ext cx="2815432" cy="169277"/>
          </a:xfrm>
        </p:spPr>
        <p:txBody>
          <a:bodyPr tIns="0" bIns="0">
            <a:noAutofit/>
          </a:bodyPr>
          <a:lstStyle>
            <a:lvl1pPr algn="l">
              <a:lnSpc>
                <a:spcPct val="100000"/>
              </a:lnSpc>
              <a:spcBef>
                <a:spcPts val="0"/>
              </a:spcBef>
              <a:spcAft>
                <a:spcPts val="0"/>
              </a:spcAft>
              <a:defRPr sz="1100" cap="all" baseline="0">
                <a:solidFill>
                  <a:schemeClr val="tx2"/>
                </a:solidFill>
                <a:latin typeface="+mj-lt"/>
              </a:defRPr>
            </a:lvl1pPr>
            <a:lvl2pPr algn="l">
              <a:lnSpc>
                <a:spcPct val="100000"/>
              </a:lnSpc>
              <a:spcBef>
                <a:spcPts val="200"/>
              </a:spcBef>
              <a:spcAft>
                <a:spcPts val="200"/>
              </a:spcAft>
              <a:defRPr sz="1100">
                <a:solidFill>
                  <a:schemeClr val="tx1"/>
                </a:solidFill>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0"/>
            <a:r>
              <a:rPr lang="en-US" dirty="0"/>
              <a:t>Office name</a:t>
            </a:r>
          </a:p>
        </p:txBody>
      </p:sp>
      <p:sp>
        <p:nvSpPr>
          <p:cNvPr id="16" name="Text Placeholder 16">
            <a:extLst>
              <a:ext uri="{FF2B5EF4-FFF2-40B4-BE49-F238E27FC236}">
                <a16:creationId xmlns:a16="http://schemas.microsoft.com/office/drawing/2014/main" id="{DA0416A2-103A-0FA7-A733-AA6E2253D48D}"/>
              </a:ext>
            </a:extLst>
          </p:cNvPr>
          <p:cNvSpPr>
            <a:spLocks noGrp="1"/>
          </p:cNvSpPr>
          <p:nvPr>
            <p:ph type="body" sz="quarter" idx="31" hasCustomPrompt="1"/>
          </p:nvPr>
        </p:nvSpPr>
        <p:spPr>
          <a:xfrm>
            <a:off x="8915664" y="3090029"/>
            <a:ext cx="263974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17" name="TextBox 16">
            <a:extLst>
              <a:ext uri="{FF2B5EF4-FFF2-40B4-BE49-F238E27FC236}">
                <a16:creationId xmlns:a16="http://schemas.microsoft.com/office/drawing/2014/main" id="{83F9FCA5-3766-CD88-56C3-6C5CAC4699C9}"/>
              </a:ext>
            </a:extLst>
          </p:cNvPr>
          <p:cNvSpPr txBox="1"/>
          <p:nvPr userDrawn="1"/>
        </p:nvSpPr>
        <p:spPr>
          <a:xfrm flipH="1">
            <a:off x="8741500" y="3090029"/>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18" name="Text Placeholder 16">
            <a:extLst>
              <a:ext uri="{FF2B5EF4-FFF2-40B4-BE49-F238E27FC236}">
                <a16:creationId xmlns:a16="http://schemas.microsoft.com/office/drawing/2014/main" id="{4AC46F10-94DA-28FD-B28B-0729C59D9A55}"/>
              </a:ext>
            </a:extLst>
          </p:cNvPr>
          <p:cNvSpPr>
            <a:spLocks noGrp="1"/>
          </p:cNvSpPr>
          <p:nvPr>
            <p:ph type="body" sz="quarter" idx="32" hasCustomPrompt="1"/>
          </p:nvPr>
        </p:nvSpPr>
        <p:spPr>
          <a:xfrm>
            <a:off x="8739981" y="3815865"/>
            <a:ext cx="2815432" cy="541810"/>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0"/>
              </a:spcBef>
              <a:spcAft>
                <a:spcPts val="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1"/>
            <a:r>
              <a:rPr lang="en-US" dirty="0"/>
              <a:t>Address line </a:t>
            </a:r>
          </a:p>
        </p:txBody>
      </p:sp>
      <p:sp>
        <p:nvSpPr>
          <p:cNvPr id="19" name="Text Placeholder 16">
            <a:extLst>
              <a:ext uri="{FF2B5EF4-FFF2-40B4-BE49-F238E27FC236}">
                <a16:creationId xmlns:a16="http://schemas.microsoft.com/office/drawing/2014/main" id="{2FC57C67-08B1-6E30-4315-851F4B1F0B1A}"/>
              </a:ext>
            </a:extLst>
          </p:cNvPr>
          <p:cNvSpPr>
            <a:spLocks noGrp="1"/>
          </p:cNvSpPr>
          <p:nvPr>
            <p:ph type="body" sz="quarter" idx="33" hasCustomPrompt="1"/>
          </p:nvPr>
        </p:nvSpPr>
        <p:spPr>
          <a:xfrm>
            <a:off x="8739981" y="3598695"/>
            <a:ext cx="2815432" cy="169277"/>
          </a:xfrm>
        </p:spPr>
        <p:txBody>
          <a:bodyPr tIns="0" bIns="0">
            <a:noAutofit/>
          </a:bodyPr>
          <a:lstStyle>
            <a:lvl1pPr algn="l">
              <a:lnSpc>
                <a:spcPct val="100000"/>
              </a:lnSpc>
              <a:spcBef>
                <a:spcPts val="0"/>
              </a:spcBef>
              <a:spcAft>
                <a:spcPts val="0"/>
              </a:spcAft>
              <a:defRPr sz="1100" cap="all" baseline="0">
                <a:solidFill>
                  <a:schemeClr val="tx2"/>
                </a:solidFill>
                <a:latin typeface="+mj-lt"/>
              </a:defRPr>
            </a:lvl1pPr>
            <a:lvl2pPr algn="l">
              <a:lnSpc>
                <a:spcPct val="100000"/>
              </a:lnSpc>
              <a:spcBef>
                <a:spcPts val="200"/>
              </a:spcBef>
              <a:spcAft>
                <a:spcPts val="200"/>
              </a:spcAft>
              <a:defRPr sz="1100">
                <a:solidFill>
                  <a:schemeClr val="tx1"/>
                </a:solidFill>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0"/>
            <a:r>
              <a:rPr lang="en-US" dirty="0"/>
              <a:t>Office name</a:t>
            </a:r>
          </a:p>
        </p:txBody>
      </p:sp>
      <p:sp>
        <p:nvSpPr>
          <p:cNvPr id="20" name="Text Placeholder 16">
            <a:extLst>
              <a:ext uri="{FF2B5EF4-FFF2-40B4-BE49-F238E27FC236}">
                <a16:creationId xmlns:a16="http://schemas.microsoft.com/office/drawing/2014/main" id="{5DD57762-72DC-56BF-B4CD-E8817FAECCCF}"/>
              </a:ext>
            </a:extLst>
          </p:cNvPr>
          <p:cNvSpPr>
            <a:spLocks noGrp="1"/>
          </p:cNvSpPr>
          <p:nvPr>
            <p:ph type="body" sz="quarter" idx="34" hasCustomPrompt="1"/>
          </p:nvPr>
        </p:nvSpPr>
        <p:spPr>
          <a:xfrm>
            <a:off x="8915664" y="4384464"/>
            <a:ext cx="263974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21" name="TextBox 20">
            <a:extLst>
              <a:ext uri="{FF2B5EF4-FFF2-40B4-BE49-F238E27FC236}">
                <a16:creationId xmlns:a16="http://schemas.microsoft.com/office/drawing/2014/main" id="{8685041E-B1C7-FEB2-FBF6-1C659F0ED3E3}"/>
              </a:ext>
            </a:extLst>
          </p:cNvPr>
          <p:cNvSpPr txBox="1"/>
          <p:nvPr userDrawn="1"/>
        </p:nvSpPr>
        <p:spPr>
          <a:xfrm flipH="1">
            <a:off x="8741500" y="4384464"/>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26" name="Title 9">
            <a:extLst>
              <a:ext uri="{FF2B5EF4-FFF2-40B4-BE49-F238E27FC236}">
                <a16:creationId xmlns:a16="http://schemas.microsoft.com/office/drawing/2014/main" id="{EED17E0A-FD86-599F-99B5-1F1681B8E4F2}"/>
              </a:ext>
            </a:extLst>
          </p:cNvPr>
          <p:cNvSpPr>
            <a:spLocks noGrp="1"/>
          </p:cNvSpPr>
          <p:nvPr>
            <p:ph type="title" hasCustomPrompt="1"/>
          </p:nvPr>
        </p:nvSpPr>
        <p:spPr>
          <a:xfrm>
            <a:off x="8737600" y="454013"/>
            <a:ext cx="2944813" cy="554847"/>
          </a:xfrm>
        </p:spPr>
        <p:txBody>
          <a:bodyPr/>
          <a:lstStyle>
            <a:lvl1pPr>
              <a:defRPr/>
            </a:lvl1pPr>
          </a:lstStyle>
          <a:p>
            <a:r>
              <a:rPr lang="en-US" dirty="0"/>
              <a:t>OUR OFFICE</a:t>
            </a:r>
            <a:endParaRPr lang="en-GB" dirty="0"/>
          </a:p>
        </p:txBody>
      </p:sp>
      <p:sp>
        <p:nvSpPr>
          <p:cNvPr id="9" name="TextBox 4">
            <a:extLst>
              <a:ext uri="{FF2B5EF4-FFF2-40B4-BE49-F238E27FC236}">
                <a16:creationId xmlns:a16="http://schemas.microsoft.com/office/drawing/2014/main" id="{224B3D1C-01C4-2282-F60A-23AAF1395CF8}"/>
              </a:ext>
            </a:extLst>
          </p:cNvPr>
          <p:cNvSpPr txBox="1"/>
          <p:nvPr userDrawn="1"/>
        </p:nvSpPr>
        <p:spPr>
          <a:xfrm>
            <a:off x="12346713" y="109538"/>
            <a:ext cx="2253207" cy="316496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INSERTING IMAGES:</a:t>
            </a:r>
          </a:p>
          <a:p>
            <a:pPr marL="179388" indent="-179388">
              <a:spcBef>
                <a:spcPts val="200"/>
              </a:spcBef>
              <a:spcAft>
                <a:spcPts val="200"/>
              </a:spcAft>
              <a:buFont typeface="+mj-lt"/>
              <a:buAutoNum type="arabicPeriod"/>
            </a:pPr>
            <a:r>
              <a:rPr lang="en-US" sz="900" dirty="0">
                <a:solidFill>
                  <a:schemeClr val="tx1"/>
                </a:solidFill>
                <a:latin typeface="+mn-lt"/>
              </a:rPr>
              <a:t>Simply click the image placeholder and select your image.</a:t>
            </a:r>
          </a:p>
          <a:p>
            <a:pPr marL="179388" indent="-179388">
              <a:spcBef>
                <a:spcPts val="200"/>
              </a:spcBef>
              <a:spcAft>
                <a:spcPts val="200"/>
              </a:spcAft>
              <a:buFont typeface="+mj-lt"/>
              <a:buAutoNum type="arabicPeriod"/>
            </a:pPr>
            <a:r>
              <a:rPr lang="en-US" sz="900" dirty="0">
                <a:solidFill>
                  <a:schemeClr val="tx1"/>
                </a:solidFill>
                <a:latin typeface="+mn-lt"/>
              </a:rPr>
              <a:t>Once your image is inserted into the shape it may be distorted. (Stretched or Squashed)</a:t>
            </a:r>
          </a:p>
          <a:p>
            <a:pPr marL="179388" indent="-179388">
              <a:spcBef>
                <a:spcPts val="200"/>
              </a:spcBef>
              <a:spcAft>
                <a:spcPts val="200"/>
              </a:spcAft>
              <a:buFont typeface="+mj-lt"/>
              <a:buAutoNum type="arabicPeriod"/>
            </a:pPr>
            <a:endParaRPr lang="en-US" sz="900" dirty="0">
              <a:solidFill>
                <a:schemeClr val="tx1"/>
              </a:solidFill>
              <a:latin typeface="+mn-lt"/>
            </a:endParaRPr>
          </a:p>
          <a:p>
            <a:pPr>
              <a:spcBef>
                <a:spcPts val="200"/>
              </a:spcBef>
              <a:spcAft>
                <a:spcPts val="200"/>
              </a:spcAft>
            </a:pPr>
            <a:r>
              <a:rPr lang="en-US" sz="900" b="1" dirty="0">
                <a:solidFill>
                  <a:schemeClr val="tx1"/>
                </a:solidFill>
                <a:latin typeface="+mn-lt"/>
              </a:rPr>
              <a:t>To fix this:</a:t>
            </a:r>
          </a:p>
          <a:p>
            <a:pPr marL="179388" indent="-179388">
              <a:spcBef>
                <a:spcPts val="200"/>
              </a:spcBef>
              <a:spcAft>
                <a:spcPts val="200"/>
              </a:spcAft>
              <a:buFont typeface="+mj-lt"/>
              <a:buAutoNum type="arabicPeriod"/>
            </a:pPr>
            <a:r>
              <a:rPr lang="en-US" sz="900" dirty="0">
                <a:solidFill>
                  <a:schemeClr val="tx1"/>
                </a:solidFill>
                <a:latin typeface="+mn-lt"/>
              </a:rPr>
              <a:t>Click on the image and from the top menu under </a:t>
            </a:r>
            <a:r>
              <a:rPr lang="en-US" sz="900" b="1" dirty="0">
                <a:solidFill>
                  <a:schemeClr val="tx1"/>
                </a:solidFill>
                <a:latin typeface="+mn-lt"/>
              </a:rPr>
              <a:t>PICTURE FORMAT </a:t>
            </a:r>
            <a:r>
              <a:rPr lang="en-US" sz="900" dirty="0">
                <a:solidFill>
                  <a:schemeClr val="tx1"/>
                </a:solidFill>
                <a:latin typeface="+mn-lt"/>
              </a:rPr>
              <a:t>select the </a:t>
            </a:r>
            <a:r>
              <a:rPr lang="en-US" sz="900" b="1" dirty="0">
                <a:solidFill>
                  <a:schemeClr val="tx1"/>
                </a:solidFill>
                <a:latin typeface="+mn-lt"/>
              </a:rPr>
              <a:t>CROP</a:t>
            </a:r>
            <a:r>
              <a:rPr lang="en-US" sz="900" dirty="0">
                <a:solidFill>
                  <a:schemeClr val="tx1"/>
                </a:solidFill>
                <a:latin typeface="+mn-lt"/>
              </a:rPr>
              <a:t> on the right and from the drop down menu select </a:t>
            </a:r>
            <a:r>
              <a:rPr lang="en-US" sz="900" b="1" kern="1200" dirty="0">
                <a:solidFill>
                  <a:schemeClr val="tx1"/>
                </a:solidFill>
                <a:latin typeface="+mn-lt"/>
                <a:ea typeface="+mn-ea"/>
                <a:cs typeface="+mn-cs"/>
              </a:rPr>
              <a:t>FILL</a:t>
            </a:r>
          </a:p>
          <a:p>
            <a:pPr marL="179388" indent="-179388">
              <a:spcBef>
                <a:spcPts val="200"/>
              </a:spcBef>
              <a:spcAft>
                <a:spcPts val="200"/>
              </a:spcAft>
              <a:buFont typeface="+mj-lt"/>
              <a:buAutoNum type="arabicPeriod"/>
            </a:pPr>
            <a:r>
              <a:rPr lang="en-US" sz="900" b="0" kern="1200" dirty="0">
                <a:solidFill>
                  <a:schemeClr val="tx1"/>
                </a:solidFill>
                <a:latin typeface="+mn-lt"/>
                <a:ea typeface="+mn-ea"/>
                <a:cs typeface="+mn-cs"/>
              </a:rPr>
              <a:t>From here you can move the image within the shape for best visual appearance</a:t>
            </a:r>
          </a:p>
          <a:p>
            <a:pPr marL="179388" indent="-179388">
              <a:spcBef>
                <a:spcPts val="200"/>
              </a:spcBef>
              <a:spcAft>
                <a:spcPts val="200"/>
              </a:spcAft>
              <a:buFont typeface="+mj-lt"/>
              <a:buAutoNum type="arabicPeriod"/>
            </a:pPr>
            <a:endParaRPr lang="en-US" sz="900" b="0" kern="1200" dirty="0">
              <a:solidFill>
                <a:schemeClr val="tx1"/>
              </a:solidFill>
              <a:latin typeface="+mn-lt"/>
              <a:ea typeface="+mn-ea"/>
              <a:cs typeface="+mn-cs"/>
            </a:endParaRPr>
          </a:p>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SAMPLE CONTACT LAYOUT</a:t>
            </a:r>
          </a:p>
        </p:txBody>
      </p:sp>
      <p:grpSp>
        <p:nvGrpSpPr>
          <p:cNvPr id="10" name="Group 9">
            <a:extLst>
              <a:ext uri="{FF2B5EF4-FFF2-40B4-BE49-F238E27FC236}">
                <a16:creationId xmlns:a16="http://schemas.microsoft.com/office/drawing/2014/main" id="{9F4D6574-58E4-3025-6854-528FE64F287D}"/>
              </a:ext>
            </a:extLst>
          </p:cNvPr>
          <p:cNvGrpSpPr/>
          <p:nvPr userDrawn="1"/>
        </p:nvGrpSpPr>
        <p:grpSpPr>
          <a:xfrm>
            <a:off x="12437199" y="3429000"/>
            <a:ext cx="2813913" cy="1004063"/>
            <a:chOff x="12437199" y="3429000"/>
            <a:chExt cx="2813913" cy="1004063"/>
          </a:xfrm>
        </p:grpSpPr>
        <p:sp>
          <p:nvSpPr>
            <p:cNvPr id="22" name="TextBox 21">
              <a:extLst>
                <a:ext uri="{FF2B5EF4-FFF2-40B4-BE49-F238E27FC236}">
                  <a16:creationId xmlns:a16="http://schemas.microsoft.com/office/drawing/2014/main" id="{7F97BE4E-7FC8-B046-681E-12421C235CD2}"/>
                </a:ext>
              </a:extLst>
            </p:cNvPr>
            <p:cNvSpPr txBox="1"/>
            <p:nvPr userDrawn="1"/>
          </p:nvSpPr>
          <p:spPr>
            <a:xfrm flipH="1">
              <a:off x="12611362" y="4263786"/>
              <a:ext cx="2639750"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23" name="TextBox 22">
              <a:extLst>
                <a:ext uri="{FF2B5EF4-FFF2-40B4-BE49-F238E27FC236}">
                  <a16:creationId xmlns:a16="http://schemas.microsoft.com/office/drawing/2014/main" id="{0C4B2757-602B-970E-9D40-F4FED74D5395}"/>
                </a:ext>
              </a:extLst>
            </p:cNvPr>
            <p:cNvSpPr txBox="1"/>
            <p:nvPr userDrawn="1"/>
          </p:nvSpPr>
          <p:spPr>
            <a:xfrm flipH="1">
              <a:off x="12437200" y="4263786"/>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24" name="TextBox 23">
              <a:extLst>
                <a:ext uri="{FF2B5EF4-FFF2-40B4-BE49-F238E27FC236}">
                  <a16:creationId xmlns:a16="http://schemas.microsoft.com/office/drawing/2014/main" id="{055A85F1-A6CD-8DFD-2C36-54A6564F888E}"/>
                </a:ext>
              </a:extLst>
            </p:cNvPr>
            <p:cNvSpPr txBox="1"/>
            <p:nvPr userDrawn="1"/>
          </p:nvSpPr>
          <p:spPr>
            <a:xfrm flipH="1">
              <a:off x="12437199" y="3429000"/>
              <a:ext cx="1968833"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solidFill>
                    <a:schemeClr val="tx2"/>
                  </a:solidFill>
                  <a:latin typeface="+mj-lt"/>
                </a:rPr>
                <a:t>OFFICE NAME</a:t>
              </a:r>
            </a:p>
          </p:txBody>
        </p:sp>
        <p:sp>
          <p:nvSpPr>
            <p:cNvPr id="25" name="TextBox 24">
              <a:extLst>
                <a:ext uri="{FF2B5EF4-FFF2-40B4-BE49-F238E27FC236}">
                  <a16:creationId xmlns:a16="http://schemas.microsoft.com/office/drawing/2014/main" id="{4338016C-E0CF-FDA9-BF7F-4372CF4D5515}"/>
                </a:ext>
              </a:extLst>
            </p:cNvPr>
            <p:cNvSpPr txBox="1"/>
            <p:nvPr userDrawn="1"/>
          </p:nvSpPr>
          <p:spPr>
            <a:xfrm flipH="1">
              <a:off x="12437199" y="3644298"/>
              <a:ext cx="1968833"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0" lvl="0" indent="0" algn="l" defTabSz="914400" rtl="0" eaLnBrk="1" latinLnBrk="0" hangingPunct="1">
                <a:lnSpc>
                  <a:spcPct val="100000"/>
                </a:lnSpc>
                <a:spcBef>
                  <a:spcPts val="100"/>
                </a:spcBef>
                <a:spcAft>
                  <a:spcPts val="0"/>
                </a:spcAft>
                <a:buFont typeface="Arial" panose="020B0604020202020204" pitchFamily="34" charset="0"/>
                <a:buNone/>
              </a:pPr>
              <a:r>
                <a:rPr lang="en-US" dirty="0"/>
                <a:t>Address line 1</a:t>
              </a:r>
            </a:p>
            <a:p>
              <a:pPr marL="0" marR="0" lvl="0" indent="0" algn="l" defTabSz="914400" rtl="0" eaLnBrk="1" fontAlgn="auto" latinLnBrk="0" hangingPunct="1">
                <a:lnSpc>
                  <a:spcPct val="100000"/>
                </a:lnSpc>
                <a:spcBef>
                  <a:spcPts val="100"/>
                </a:spcBef>
                <a:spcAft>
                  <a:spcPts val="0"/>
                </a:spcAft>
                <a:buClrTx/>
                <a:buSzTx/>
                <a:buFont typeface="Arial" panose="020B0604020202020204" pitchFamily="34" charset="0"/>
                <a:buNone/>
                <a:tabLst/>
                <a:defRPr/>
              </a:pPr>
              <a:r>
                <a:rPr lang="en-US" dirty="0"/>
                <a:t>Address line 2</a:t>
              </a:r>
            </a:p>
            <a:p>
              <a:pPr marL="0" marR="0" lvl="0" indent="0" algn="l" defTabSz="914400" rtl="0" eaLnBrk="1" fontAlgn="auto" latinLnBrk="0" hangingPunct="1">
                <a:lnSpc>
                  <a:spcPct val="100000"/>
                </a:lnSpc>
                <a:spcBef>
                  <a:spcPts val="100"/>
                </a:spcBef>
                <a:spcAft>
                  <a:spcPts val="0"/>
                </a:spcAft>
                <a:buClrTx/>
                <a:buSzTx/>
                <a:buFont typeface="Arial" panose="020B0604020202020204" pitchFamily="34" charset="0"/>
                <a:buNone/>
                <a:tabLst/>
                <a:defRPr/>
              </a:pPr>
              <a:r>
                <a:rPr lang="en-US" dirty="0"/>
                <a:t>Address line 3</a:t>
              </a:r>
            </a:p>
            <a:p>
              <a:pPr marL="0" lvl="0" indent="0" algn="l" defTabSz="914400" rtl="0" eaLnBrk="1" latinLnBrk="0" hangingPunct="1">
                <a:lnSpc>
                  <a:spcPct val="100000"/>
                </a:lnSpc>
                <a:spcBef>
                  <a:spcPts val="200"/>
                </a:spcBef>
                <a:spcAft>
                  <a:spcPts val="200"/>
                </a:spcAft>
                <a:buFont typeface="Arial" panose="020B0604020202020204" pitchFamily="34" charset="0"/>
                <a:buNone/>
              </a:pPr>
              <a:endParaRPr lang="en-US" dirty="0"/>
            </a:p>
          </p:txBody>
        </p:sp>
      </p:grpSp>
    </p:spTree>
    <p:extLst>
      <p:ext uri="{BB962C8B-B14F-4D97-AF65-F5344CB8AC3E}">
        <p14:creationId xmlns:p14="http://schemas.microsoft.com/office/powerpoint/2010/main" val="1538705884"/>
      </p:ext>
    </p:extLst>
  </p:cSld>
  <p:clrMapOvr>
    <a:masterClrMapping/>
  </p:clrMapOvr>
  <p:transition spd="med">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with Icons - AEROSPAC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708FD88D-9C74-4D94-62A5-47E768F9DCD7}"/>
              </a:ext>
            </a:extLst>
          </p:cNvPr>
          <p:cNvSpPr/>
          <p:nvPr userDrawn="1"/>
        </p:nvSpPr>
        <p:spPr>
          <a:xfrm>
            <a:off x="0" y="0"/>
            <a:ext cx="406717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Text Placeholder 12">
            <a:extLst>
              <a:ext uri="{FF2B5EF4-FFF2-40B4-BE49-F238E27FC236}">
                <a16:creationId xmlns:a16="http://schemas.microsoft.com/office/drawing/2014/main" id="{BBA3AA40-3440-5851-3972-390D3DEB2219}"/>
              </a:ext>
            </a:extLst>
          </p:cNvPr>
          <p:cNvSpPr>
            <a:spLocks noGrp="1"/>
          </p:cNvSpPr>
          <p:nvPr>
            <p:ph type="body" sz="quarter" idx="14" hasCustomPrompt="1"/>
          </p:nvPr>
        </p:nvSpPr>
        <p:spPr>
          <a:xfrm>
            <a:off x="508939" y="5989638"/>
            <a:ext cx="3387140" cy="230187"/>
          </a:xfrm>
        </p:spPr>
        <p:txBody>
          <a:bodyPr tIns="0" bIns="0">
            <a:noAutofit/>
          </a:bodyPr>
          <a:lstStyle>
            <a:lvl1pPr>
              <a:defRPr sz="1400" cap="all" baseline="0">
                <a:solidFill>
                  <a:schemeClr val="accent2"/>
                </a:solidFill>
                <a:latin typeface="+mj-lt"/>
              </a:defRPr>
            </a:lvl1pPr>
            <a:lvl2pPr>
              <a:defRPr>
                <a:solidFill>
                  <a:schemeClr val="bg1"/>
                </a:solidFill>
                <a:latin typeface="+mn-lt"/>
              </a:defRPr>
            </a:lvl2pPr>
            <a:lvl3pPr>
              <a:defRPr>
                <a:solidFill>
                  <a:schemeClr val="bg1"/>
                </a:solidFill>
                <a:latin typeface="+mn-lt"/>
              </a:defRPr>
            </a:lvl3pPr>
            <a:lvl4pPr>
              <a:defRPr>
                <a:solidFill>
                  <a:schemeClr val="bg1"/>
                </a:solidFill>
                <a:latin typeface="+mn-lt"/>
              </a:defRPr>
            </a:lvl4pPr>
            <a:lvl5pPr>
              <a:defRPr>
                <a:solidFill>
                  <a:schemeClr val="bg1"/>
                </a:solidFill>
                <a:latin typeface="+mn-lt"/>
              </a:defRPr>
            </a:lvl5pPr>
          </a:lstStyle>
          <a:p>
            <a:pPr lvl="0"/>
            <a:r>
              <a:rPr lang="en-US" dirty="0"/>
              <a:t>DAY MONTH YEAR</a:t>
            </a:r>
            <a:endParaRPr lang="en-GB" dirty="0"/>
          </a:p>
        </p:txBody>
      </p:sp>
      <p:sp>
        <p:nvSpPr>
          <p:cNvPr id="4" name="TextBox 4">
            <a:extLst>
              <a:ext uri="{FF2B5EF4-FFF2-40B4-BE49-F238E27FC236}">
                <a16:creationId xmlns:a16="http://schemas.microsoft.com/office/drawing/2014/main" id="{265B2CA7-EDCD-E4A1-AC81-AB1BF0FA5D17}"/>
              </a:ext>
            </a:extLst>
          </p:cNvPr>
          <p:cNvSpPr txBox="1"/>
          <p:nvPr userDrawn="1"/>
        </p:nvSpPr>
        <p:spPr>
          <a:xfrm>
            <a:off x="12346713" y="109538"/>
            <a:ext cx="1934437" cy="31700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INSERTING IMAGES:</a:t>
            </a:r>
          </a:p>
          <a:p>
            <a:pPr marL="179388" indent="-179388">
              <a:spcBef>
                <a:spcPts val="200"/>
              </a:spcBef>
              <a:spcAft>
                <a:spcPts val="200"/>
              </a:spcAft>
              <a:buFont typeface="+mj-lt"/>
              <a:buAutoNum type="arabicPeriod"/>
            </a:pPr>
            <a:r>
              <a:rPr lang="en-US" sz="900" dirty="0">
                <a:solidFill>
                  <a:schemeClr val="tx1"/>
                </a:solidFill>
                <a:latin typeface="+mn-lt"/>
              </a:rPr>
              <a:t>Simply click the image placeholder and select your image.</a:t>
            </a:r>
          </a:p>
          <a:p>
            <a:pPr marL="179388" indent="-179388">
              <a:spcBef>
                <a:spcPts val="200"/>
              </a:spcBef>
              <a:spcAft>
                <a:spcPts val="200"/>
              </a:spcAft>
              <a:buFont typeface="+mj-lt"/>
              <a:buAutoNum type="arabicPeriod"/>
            </a:pPr>
            <a:r>
              <a:rPr lang="en-US" sz="900" dirty="0">
                <a:solidFill>
                  <a:schemeClr val="tx1"/>
                </a:solidFill>
                <a:latin typeface="+mn-lt"/>
              </a:rPr>
              <a:t>Once your image is inserted into the shape it may be distorted. (Stretched or Squashed)</a:t>
            </a:r>
          </a:p>
          <a:p>
            <a:pPr marL="179388" indent="-179388">
              <a:spcBef>
                <a:spcPts val="200"/>
              </a:spcBef>
              <a:spcAft>
                <a:spcPts val="200"/>
              </a:spcAft>
              <a:buFont typeface="+mj-lt"/>
              <a:buAutoNum type="arabicPeriod"/>
            </a:pPr>
            <a:endParaRPr lang="en-US" sz="900" dirty="0">
              <a:solidFill>
                <a:schemeClr val="tx1"/>
              </a:solidFill>
              <a:latin typeface="+mn-lt"/>
            </a:endParaRPr>
          </a:p>
          <a:p>
            <a:pPr>
              <a:spcBef>
                <a:spcPts val="200"/>
              </a:spcBef>
              <a:spcAft>
                <a:spcPts val="200"/>
              </a:spcAft>
            </a:pPr>
            <a:r>
              <a:rPr lang="en-US" sz="900" b="1" dirty="0">
                <a:solidFill>
                  <a:schemeClr val="tx1"/>
                </a:solidFill>
                <a:latin typeface="+mn-lt"/>
              </a:rPr>
              <a:t>To fix this:</a:t>
            </a:r>
          </a:p>
          <a:p>
            <a:pPr marL="179388" indent="-179388">
              <a:spcBef>
                <a:spcPts val="200"/>
              </a:spcBef>
              <a:spcAft>
                <a:spcPts val="200"/>
              </a:spcAft>
              <a:buFont typeface="+mj-lt"/>
              <a:buAutoNum type="arabicPeriod"/>
            </a:pPr>
            <a:r>
              <a:rPr lang="en-US" sz="900" dirty="0">
                <a:solidFill>
                  <a:schemeClr val="tx1"/>
                </a:solidFill>
                <a:latin typeface="+mn-lt"/>
              </a:rPr>
              <a:t>Click on the image and from the top menu under </a:t>
            </a:r>
            <a:r>
              <a:rPr lang="en-US" sz="900" b="1" dirty="0">
                <a:solidFill>
                  <a:schemeClr val="tx1"/>
                </a:solidFill>
                <a:latin typeface="+mn-lt"/>
              </a:rPr>
              <a:t>PICTURE FORMAT </a:t>
            </a:r>
            <a:r>
              <a:rPr lang="en-US" sz="900" dirty="0">
                <a:solidFill>
                  <a:schemeClr val="tx1"/>
                </a:solidFill>
                <a:latin typeface="+mn-lt"/>
              </a:rPr>
              <a:t>select the </a:t>
            </a:r>
            <a:r>
              <a:rPr lang="en-US" sz="900" b="1" dirty="0">
                <a:solidFill>
                  <a:schemeClr val="tx1"/>
                </a:solidFill>
                <a:latin typeface="+mn-lt"/>
              </a:rPr>
              <a:t>CROP</a:t>
            </a:r>
            <a:r>
              <a:rPr lang="en-US" sz="900" dirty="0">
                <a:solidFill>
                  <a:schemeClr val="tx1"/>
                </a:solidFill>
                <a:latin typeface="+mn-lt"/>
              </a:rPr>
              <a:t> on the right and from the drop down menu select </a:t>
            </a:r>
            <a:r>
              <a:rPr lang="en-US" sz="900" b="1" kern="1200" dirty="0">
                <a:solidFill>
                  <a:schemeClr val="tx1"/>
                </a:solidFill>
                <a:latin typeface="+mn-lt"/>
                <a:ea typeface="+mn-ea"/>
                <a:cs typeface="+mn-cs"/>
              </a:rPr>
              <a:t>FILL</a:t>
            </a:r>
          </a:p>
          <a:p>
            <a:pPr marL="179388" indent="-179388">
              <a:spcBef>
                <a:spcPts val="200"/>
              </a:spcBef>
              <a:spcAft>
                <a:spcPts val="200"/>
              </a:spcAft>
              <a:buFont typeface="+mj-lt"/>
              <a:buAutoNum type="arabicPeriod"/>
            </a:pPr>
            <a:r>
              <a:rPr lang="en-US" sz="900" b="0" kern="1200" dirty="0">
                <a:solidFill>
                  <a:schemeClr val="tx1"/>
                </a:solidFill>
                <a:latin typeface="+mn-lt"/>
                <a:ea typeface="+mn-ea"/>
                <a:cs typeface="+mn-cs"/>
              </a:rPr>
              <a:t>From here you can move the image within the shape for best visual appearance</a:t>
            </a:r>
          </a:p>
        </p:txBody>
      </p:sp>
      <p:sp>
        <p:nvSpPr>
          <p:cNvPr id="10" name="Title 1">
            <a:extLst>
              <a:ext uri="{FF2B5EF4-FFF2-40B4-BE49-F238E27FC236}">
                <a16:creationId xmlns:a16="http://schemas.microsoft.com/office/drawing/2014/main" id="{1D9960C9-AE88-FF64-7340-9EC8DF655E87}"/>
              </a:ext>
            </a:extLst>
          </p:cNvPr>
          <p:cNvSpPr>
            <a:spLocks noGrp="1"/>
          </p:cNvSpPr>
          <p:nvPr>
            <p:ph type="ctrTitle" hasCustomPrompt="1"/>
          </p:nvPr>
        </p:nvSpPr>
        <p:spPr>
          <a:xfrm>
            <a:off x="508939" y="2430692"/>
            <a:ext cx="2792526" cy="2387600"/>
          </a:xfrm>
        </p:spPr>
        <p:txBody>
          <a:bodyPr vert="horz" lIns="0" tIns="0" rIns="0" bIns="0" rtlCol="0" anchor="t" anchorCtr="0">
            <a:noAutofit/>
          </a:bodyPr>
          <a:lstStyle>
            <a:lvl1pPr>
              <a:lnSpc>
                <a:spcPct val="100000"/>
              </a:lnSpc>
              <a:defRPr lang="en-US" sz="3300" dirty="0">
                <a:solidFill>
                  <a:schemeClr val="bg1"/>
                </a:solidFill>
              </a:defRPr>
            </a:lvl1pPr>
          </a:lstStyle>
          <a:p>
            <a:pPr lvl="0"/>
            <a:r>
              <a:rPr lang="en-US" dirty="0"/>
              <a:t>PROPOSAL TO [CLIENT] FOR LEGAL SERVICES</a:t>
            </a:r>
          </a:p>
        </p:txBody>
      </p:sp>
      <p:sp>
        <p:nvSpPr>
          <p:cNvPr id="22" name="Picture Placeholder 21">
            <a:extLst>
              <a:ext uri="{FF2B5EF4-FFF2-40B4-BE49-F238E27FC236}">
                <a16:creationId xmlns:a16="http://schemas.microsoft.com/office/drawing/2014/main" id="{E2D6AA0B-E954-81EE-4506-BB840307E038}"/>
              </a:ext>
            </a:extLst>
          </p:cNvPr>
          <p:cNvSpPr>
            <a:spLocks noGrp="1"/>
          </p:cNvSpPr>
          <p:nvPr>
            <p:ph type="pic" sz="quarter" idx="13" hasCustomPrompt="1"/>
          </p:nvPr>
        </p:nvSpPr>
        <p:spPr>
          <a:xfrm>
            <a:off x="4067176" y="2"/>
            <a:ext cx="8124824" cy="6857999"/>
          </a:xfrm>
          <a:custGeom>
            <a:avLst/>
            <a:gdLst>
              <a:gd name="connsiteX0" fmla="*/ 3500648 w 8124824"/>
              <a:gd name="connsiteY0" fmla="*/ 1154291 h 6857999"/>
              <a:gd name="connsiteX1" fmla="*/ 3500648 w 8124824"/>
              <a:gd name="connsiteY1" fmla="*/ 1224425 h 6857999"/>
              <a:gd name="connsiteX2" fmla="*/ 3519525 w 8124824"/>
              <a:gd name="connsiteY2" fmla="*/ 1224425 h 6857999"/>
              <a:gd name="connsiteX3" fmla="*/ 3593568 w 8124824"/>
              <a:gd name="connsiteY3" fmla="*/ 1297478 h 6857999"/>
              <a:gd name="connsiteX4" fmla="*/ 3519525 w 8124824"/>
              <a:gd name="connsiteY4" fmla="*/ 1370533 h 6857999"/>
              <a:gd name="connsiteX5" fmla="*/ 3445479 w 8124824"/>
              <a:gd name="connsiteY5" fmla="*/ 1297478 h 6857999"/>
              <a:gd name="connsiteX6" fmla="*/ 3407727 w 8124824"/>
              <a:gd name="connsiteY6" fmla="*/ 1297478 h 6857999"/>
              <a:gd name="connsiteX7" fmla="*/ 3519525 w 8124824"/>
              <a:gd name="connsiteY7" fmla="*/ 1407816 h 6857999"/>
              <a:gd name="connsiteX8" fmla="*/ 3519525 w 8124824"/>
              <a:gd name="connsiteY8" fmla="*/ 1407868 h 6857999"/>
              <a:gd name="connsiteX9" fmla="*/ 3631321 w 8124824"/>
              <a:gd name="connsiteY9" fmla="*/ 1297531 h 6857999"/>
              <a:gd name="connsiteX10" fmla="*/ 3538401 w 8124824"/>
              <a:gd name="connsiteY10" fmla="*/ 1188759 h 6857999"/>
              <a:gd name="connsiteX11" fmla="*/ 3538401 w 8124824"/>
              <a:gd name="connsiteY11" fmla="*/ 1154291 h 6857999"/>
              <a:gd name="connsiteX12" fmla="*/ 1478446 w 8124824"/>
              <a:gd name="connsiteY12" fmla="*/ 1075762 h 6857999"/>
              <a:gd name="connsiteX13" fmla="*/ 1478082 w 8124824"/>
              <a:gd name="connsiteY13" fmla="*/ 1077901 h 6857999"/>
              <a:gd name="connsiteX14" fmla="*/ 1478446 w 8124824"/>
              <a:gd name="connsiteY14" fmla="*/ 1077744 h 6857999"/>
              <a:gd name="connsiteX15" fmla="*/ 1453626 w 8124824"/>
              <a:gd name="connsiteY15" fmla="*/ 1233603 h 6857999"/>
              <a:gd name="connsiteX16" fmla="*/ 1422913 w 8124824"/>
              <a:gd name="connsiteY16" fmla="*/ 1285277 h 6857999"/>
              <a:gd name="connsiteX17" fmla="*/ 1418064 w 8124824"/>
              <a:gd name="connsiteY17" fmla="*/ 1287988 h 6857999"/>
              <a:gd name="connsiteX18" fmla="*/ 1407791 w 8124824"/>
              <a:gd name="connsiteY18" fmla="*/ 1114244 h 6857999"/>
              <a:gd name="connsiteX19" fmla="*/ 1407895 w 8124824"/>
              <a:gd name="connsiteY19" fmla="*/ 1114192 h 6857999"/>
              <a:gd name="connsiteX20" fmla="*/ 1407791 w 8124824"/>
              <a:gd name="connsiteY20" fmla="*/ 1112315 h 6857999"/>
              <a:gd name="connsiteX21" fmla="*/ 1407844 w 8124824"/>
              <a:gd name="connsiteY21" fmla="*/ 1112262 h 6857999"/>
              <a:gd name="connsiteX22" fmla="*/ 1478446 w 8124824"/>
              <a:gd name="connsiteY22" fmla="*/ 1075762 h 6857999"/>
              <a:gd name="connsiteX23" fmla="*/ 6746854 w 8124824"/>
              <a:gd name="connsiteY23" fmla="*/ 1051836 h 6857999"/>
              <a:gd name="connsiteX24" fmla="*/ 6477373 w 8124824"/>
              <a:gd name="connsiteY24" fmla="*/ 1080255 h 6857999"/>
              <a:gd name="connsiteX25" fmla="*/ 6472315 w 8124824"/>
              <a:gd name="connsiteY25" fmla="*/ 1080777 h 6857999"/>
              <a:gd name="connsiteX26" fmla="*/ 6466996 w 8124824"/>
              <a:gd name="connsiteY26" fmla="*/ 1091309 h 6857999"/>
              <a:gd name="connsiteX27" fmla="*/ 6567060 w 8124824"/>
              <a:gd name="connsiteY27" fmla="*/ 1296184 h 6857999"/>
              <a:gd name="connsiteX28" fmla="*/ 6932017 w 8124824"/>
              <a:gd name="connsiteY28" fmla="*/ 1296184 h 6857999"/>
              <a:gd name="connsiteX29" fmla="*/ 7031978 w 8124824"/>
              <a:gd name="connsiteY29" fmla="*/ 1091309 h 6857999"/>
              <a:gd name="connsiteX30" fmla="*/ 7026607 w 8124824"/>
              <a:gd name="connsiteY30" fmla="*/ 1080777 h 6857999"/>
              <a:gd name="connsiteX31" fmla="*/ 7024261 w 8124824"/>
              <a:gd name="connsiteY31" fmla="*/ 1080568 h 6857999"/>
              <a:gd name="connsiteX32" fmla="*/ 6748053 w 8124824"/>
              <a:gd name="connsiteY32" fmla="*/ 1051992 h 6857999"/>
              <a:gd name="connsiteX33" fmla="*/ 5673793 w 8124824"/>
              <a:gd name="connsiteY33" fmla="*/ 1044602 h 6857999"/>
              <a:gd name="connsiteX34" fmla="*/ 5640838 w 8124824"/>
              <a:gd name="connsiteY34" fmla="*/ 1059984 h 6857999"/>
              <a:gd name="connsiteX35" fmla="*/ 5633017 w 8124824"/>
              <a:gd name="connsiteY35" fmla="*/ 1073698 h 6857999"/>
              <a:gd name="connsiteX36" fmla="*/ 5630670 w 8124824"/>
              <a:gd name="connsiteY36" fmla="*/ 1087412 h 6857999"/>
              <a:gd name="connsiteX37" fmla="*/ 5630670 w 8124824"/>
              <a:gd name="connsiteY37" fmla="*/ 1087620 h 6857999"/>
              <a:gd name="connsiteX38" fmla="*/ 5647043 w 8124824"/>
              <a:gd name="connsiteY38" fmla="*/ 1121410 h 6857999"/>
              <a:gd name="connsiteX39" fmla="*/ 5653040 w 8124824"/>
              <a:gd name="connsiteY39" fmla="*/ 1126154 h 6857999"/>
              <a:gd name="connsiteX40" fmla="*/ 5646626 w 8124824"/>
              <a:gd name="connsiteY40" fmla="*/ 1181323 h 6857999"/>
              <a:gd name="connsiteX41" fmla="*/ 5700804 w 8124824"/>
              <a:gd name="connsiteY41" fmla="*/ 1181323 h 6857999"/>
              <a:gd name="connsiteX42" fmla="*/ 5694286 w 8124824"/>
              <a:gd name="connsiteY42" fmla="*/ 1126154 h 6857999"/>
              <a:gd name="connsiteX43" fmla="*/ 5700386 w 8124824"/>
              <a:gd name="connsiteY43" fmla="*/ 1121410 h 6857999"/>
              <a:gd name="connsiteX44" fmla="*/ 5716760 w 8124824"/>
              <a:gd name="connsiteY44" fmla="*/ 1087620 h 6857999"/>
              <a:gd name="connsiteX45" fmla="*/ 5716760 w 8124824"/>
              <a:gd name="connsiteY45" fmla="*/ 1087412 h 6857999"/>
              <a:gd name="connsiteX46" fmla="*/ 5716864 w 8124824"/>
              <a:gd name="connsiteY46" fmla="*/ 1087412 h 6857999"/>
              <a:gd name="connsiteX47" fmla="*/ 5714518 w 8124824"/>
              <a:gd name="connsiteY47" fmla="*/ 1073698 h 6857999"/>
              <a:gd name="connsiteX48" fmla="*/ 5706695 w 8124824"/>
              <a:gd name="connsiteY48" fmla="*/ 1059984 h 6857999"/>
              <a:gd name="connsiteX49" fmla="*/ 5673793 w 8124824"/>
              <a:gd name="connsiteY49" fmla="*/ 1044602 h 6857999"/>
              <a:gd name="connsiteX50" fmla="*/ 2527407 w 8124824"/>
              <a:gd name="connsiteY50" fmla="*/ 1036166 h 6857999"/>
              <a:gd name="connsiteX51" fmla="*/ 2463323 w 8124824"/>
              <a:gd name="connsiteY51" fmla="*/ 1229673 h 6857999"/>
              <a:gd name="connsiteX52" fmla="*/ 2684621 w 8124824"/>
              <a:gd name="connsiteY52" fmla="*/ 1229673 h 6857999"/>
              <a:gd name="connsiteX53" fmla="*/ 2684621 w 8124824"/>
              <a:gd name="connsiteY53" fmla="*/ 1036166 h 6857999"/>
              <a:gd name="connsiteX54" fmla="*/ 2718046 w 8124824"/>
              <a:gd name="connsiteY54" fmla="*/ 1036114 h 6857999"/>
              <a:gd name="connsiteX55" fmla="*/ 2718046 w 8124824"/>
              <a:gd name="connsiteY55" fmla="*/ 1229620 h 6857999"/>
              <a:gd name="connsiteX56" fmla="*/ 2782130 w 8124824"/>
              <a:gd name="connsiteY56" fmla="*/ 1229620 h 6857999"/>
              <a:gd name="connsiteX57" fmla="*/ 2359190 w 8124824"/>
              <a:gd name="connsiteY57" fmla="*/ 1034967 h 6857999"/>
              <a:gd name="connsiteX58" fmla="*/ 2359190 w 8124824"/>
              <a:gd name="connsiteY58" fmla="*/ 1228368 h 6857999"/>
              <a:gd name="connsiteX59" fmla="*/ 2423275 w 8124824"/>
              <a:gd name="connsiteY59" fmla="*/ 1228368 h 6857999"/>
              <a:gd name="connsiteX60" fmla="*/ 2168552 w 8124824"/>
              <a:gd name="connsiteY60" fmla="*/ 1034967 h 6857999"/>
              <a:gd name="connsiteX61" fmla="*/ 2104466 w 8124824"/>
              <a:gd name="connsiteY61" fmla="*/ 1228368 h 6857999"/>
              <a:gd name="connsiteX62" fmla="*/ 2325766 w 8124824"/>
              <a:gd name="connsiteY62" fmla="*/ 1228368 h 6857999"/>
              <a:gd name="connsiteX63" fmla="*/ 2325766 w 8124824"/>
              <a:gd name="connsiteY63" fmla="*/ 1034967 h 6857999"/>
              <a:gd name="connsiteX64" fmla="*/ 5673793 w 8124824"/>
              <a:gd name="connsiteY64" fmla="*/ 1017173 h 6857999"/>
              <a:gd name="connsiteX65" fmla="*/ 5738607 w 8124824"/>
              <a:gd name="connsiteY65" fmla="*/ 1059984 h 6857999"/>
              <a:gd name="connsiteX66" fmla="*/ 5742936 w 8124824"/>
              <a:gd name="connsiteY66" fmla="*/ 1073698 h 6857999"/>
              <a:gd name="connsiteX67" fmla="*/ 5744291 w 8124824"/>
              <a:gd name="connsiteY67" fmla="*/ 1087412 h 6857999"/>
              <a:gd name="connsiteX68" fmla="*/ 5744291 w 8124824"/>
              <a:gd name="connsiteY68" fmla="*/ 1087620 h 6857999"/>
              <a:gd name="connsiteX69" fmla="*/ 5723382 w 8124824"/>
              <a:gd name="connsiteY69" fmla="*/ 1137678 h 6857999"/>
              <a:gd name="connsiteX70" fmla="*/ 5731726 w 8124824"/>
              <a:gd name="connsiteY70" fmla="*/ 1208803 h 6857999"/>
              <a:gd name="connsiteX71" fmla="*/ 5615860 w 8124824"/>
              <a:gd name="connsiteY71" fmla="*/ 1208803 h 6857999"/>
              <a:gd name="connsiteX72" fmla="*/ 5624152 w 8124824"/>
              <a:gd name="connsiteY72" fmla="*/ 1137678 h 6857999"/>
              <a:gd name="connsiteX73" fmla="*/ 5603242 w 8124824"/>
              <a:gd name="connsiteY73" fmla="*/ 1087620 h 6857999"/>
              <a:gd name="connsiteX74" fmla="*/ 5603242 w 8124824"/>
              <a:gd name="connsiteY74" fmla="*/ 1087412 h 6857999"/>
              <a:gd name="connsiteX75" fmla="*/ 5604650 w 8124824"/>
              <a:gd name="connsiteY75" fmla="*/ 1073698 h 6857999"/>
              <a:gd name="connsiteX76" fmla="*/ 5608979 w 8124824"/>
              <a:gd name="connsiteY76" fmla="*/ 1059984 h 6857999"/>
              <a:gd name="connsiteX77" fmla="*/ 5673793 w 8124824"/>
              <a:gd name="connsiteY77" fmla="*/ 1017173 h 6857999"/>
              <a:gd name="connsiteX78" fmla="*/ 6762601 w 8124824"/>
              <a:gd name="connsiteY78" fmla="*/ 1000370 h 6857999"/>
              <a:gd name="connsiteX79" fmla="*/ 6762601 w 8124824"/>
              <a:gd name="connsiteY79" fmla="*/ 1024356 h 6857999"/>
              <a:gd name="connsiteX80" fmla="*/ 6766511 w 8124824"/>
              <a:gd name="connsiteY80" fmla="*/ 1024774 h 6857999"/>
              <a:gd name="connsiteX81" fmla="*/ 6862874 w 8124824"/>
              <a:gd name="connsiteY81" fmla="*/ 1034784 h 6857999"/>
              <a:gd name="connsiteX82" fmla="*/ 6862874 w 8124824"/>
              <a:gd name="connsiteY82" fmla="*/ 1000370 h 6857999"/>
              <a:gd name="connsiteX83" fmla="*/ 6891866 w 8124824"/>
              <a:gd name="connsiteY83" fmla="*/ 1000317 h 6857999"/>
              <a:gd name="connsiteX84" fmla="*/ 6891866 w 8124824"/>
              <a:gd name="connsiteY84" fmla="*/ 1037704 h 6857999"/>
              <a:gd name="connsiteX85" fmla="*/ 6895048 w 8124824"/>
              <a:gd name="connsiteY85" fmla="*/ 1038069 h 6857999"/>
              <a:gd name="connsiteX86" fmla="*/ 6995321 w 8124824"/>
              <a:gd name="connsiteY86" fmla="*/ 1048447 h 6857999"/>
              <a:gd name="connsiteX87" fmla="*/ 6995321 w 8124824"/>
              <a:gd name="connsiteY87" fmla="*/ 1000317 h 6857999"/>
              <a:gd name="connsiteX88" fmla="*/ 6634170 w 8124824"/>
              <a:gd name="connsiteY88" fmla="*/ 1000317 h 6857999"/>
              <a:gd name="connsiteX89" fmla="*/ 6634170 w 8124824"/>
              <a:gd name="connsiteY89" fmla="*/ 1034524 h 6857999"/>
              <a:gd name="connsiteX90" fmla="*/ 6638811 w 8124824"/>
              <a:gd name="connsiteY90" fmla="*/ 1034106 h 6857999"/>
              <a:gd name="connsiteX91" fmla="*/ 6733662 w 8124824"/>
              <a:gd name="connsiteY91" fmla="*/ 1024096 h 6857999"/>
              <a:gd name="connsiteX92" fmla="*/ 6733662 w 8124824"/>
              <a:gd name="connsiteY92" fmla="*/ 1000317 h 6857999"/>
              <a:gd name="connsiteX93" fmla="*/ 6634222 w 8124824"/>
              <a:gd name="connsiteY93" fmla="*/ 1000317 h 6857999"/>
              <a:gd name="connsiteX94" fmla="*/ 6506418 w 8124824"/>
              <a:gd name="connsiteY94" fmla="*/ 1000317 h 6857999"/>
              <a:gd name="connsiteX95" fmla="*/ 6506418 w 8124824"/>
              <a:gd name="connsiteY95" fmla="*/ 1048029 h 6857999"/>
              <a:gd name="connsiteX96" fmla="*/ 6605127 w 8124824"/>
              <a:gd name="connsiteY96" fmla="*/ 1037653 h 6857999"/>
              <a:gd name="connsiteX97" fmla="*/ 6605127 w 8124824"/>
              <a:gd name="connsiteY97" fmla="*/ 1000317 h 6857999"/>
              <a:gd name="connsiteX98" fmla="*/ 4629579 w 8124824"/>
              <a:gd name="connsiteY98" fmla="*/ 974096 h 6857999"/>
              <a:gd name="connsiteX99" fmla="*/ 4519033 w 8124824"/>
              <a:gd name="connsiteY99" fmla="*/ 1398184 h 6857999"/>
              <a:gd name="connsiteX100" fmla="*/ 4802384 w 8124824"/>
              <a:gd name="connsiteY100" fmla="*/ 1019096 h 6857999"/>
              <a:gd name="connsiteX101" fmla="*/ 4629631 w 8124824"/>
              <a:gd name="connsiteY101" fmla="*/ 974096 h 6857999"/>
              <a:gd name="connsiteX102" fmla="*/ 5476897 w 8124824"/>
              <a:gd name="connsiteY102" fmla="*/ 961170 h 6857999"/>
              <a:gd name="connsiteX103" fmla="*/ 5476897 w 8124824"/>
              <a:gd name="connsiteY103" fmla="*/ 1285663 h 6857999"/>
              <a:gd name="connsiteX104" fmla="*/ 5870742 w 8124824"/>
              <a:gd name="connsiteY104" fmla="*/ 1285663 h 6857999"/>
              <a:gd name="connsiteX105" fmla="*/ 5870742 w 8124824"/>
              <a:gd name="connsiteY105" fmla="*/ 961170 h 6857999"/>
              <a:gd name="connsiteX106" fmla="*/ 3519732 w 8124824"/>
              <a:gd name="connsiteY106" fmla="*/ 923709 h 6857999"/>
              <a:gd name="connsiteX107" fmla="*/ 3459611 w 8124824"/>
              <a:gd name="connsiteY107" fmla="*/ 983831 h 6857999"/>
              <a:gd name="connsiteX108" fmla="*/ 3519732 w 8124824"/>
              <a:gd name="connsiteY108" fmla="*/ 1043901 h 6857999"/>
              <a:gd name="connsiteX109" fmla="*/ 3579804 w 8124824"/>
              <a:gd name="connsiteY109" fmla="*/ 983831 h 6857999"/>
              <a:gd name="connsiteX110" fmla="*/ 3519732 w 8124824"/>
              <a:gd name="connsiteY110" fmla="*/ 923709 h 6857999"/>
              <a:gd name="connsiteX111" fmla="*/ 6891866 w 8124824"/>
              <a:gd name="connsiteY111" fmla="*/ 916365 h 6857999"/>
              <a:gd name="connsiteX112" fmla="*/ 6891866 w 8124824"/>
              <a:gd name="connsiteY112" fmla="*/ 971325 h 6857999"/>
              <a:gd name="connsiteX113" fmla="*/ 6995321 w 8124824"/>
              <a:gd name="connsiteY113" fmla="*/ 971325 h 6857999"/>
              <a:gd name="connsiteX114" fmla="*/ 6995321 w 8124824"/>
              <a:gd name="connsiteY114" fmla="*/ 916365 h 6857999"/>
              <a:gd name="connsiteX115" fmla="*/ 6762601 w 8124824"/>
              <a:gd name="connsiteY115" fmla="*/ 916365 h 6857999"/>
              <a:gd name="connsiteX116" fmla="*/ 6762601 w 8124824"/>
              <a:gd name="connsiteY116" fmla="*/ 971325 h 6857999"/>
              <a:gd name="connsiteX117" fmla="*/ 6862874 w 8124824"/>
              <a:gd name="connsiteY117" fmla="*/ 971325 h 6857999"/>
              <a:gd name="connsiteX118" fmla="*/ 6862874 w 8124824"/>
              <a:gd name="connsiteY118" fmla="*/ 916365 h 6857999"/>
              <a:gd name="connsiteX119" fmla="*/ 6634170 w 8124824"/>
              <a:gd name="connsiteY119" fmla="*/ 916365 h 6857999"/>
              <a:gd name="connsiteX120" fmla="*/ 6634170 w 8124824"/>
              <a:gd name="connsiteY120" fmla="*/ 971325 h 6857999"/>
              <a:gd name="connsiteX121" fmla="*/ 6733609 w 8124824"/>
              <a:gd name="connsiteY121" fmla="*/ 971325 h 6857999"/>
              <a:gd name="connsiteX122" fmla="*/ 6733609 w 8124824"/>
              <a:gd name="connsiteY122" fmla="*/ 916365 h 6857999"/>
              <a:gd name="connsiteX123" fmla="*/ 6506469 w 8124824"/>
              <a:gd name="connsiteY123" fmla="*/ 916365 h 6857999"/>
              <a:gd name="connsiteX124" fmla="*/ 6506469 w 8124824"/>
              <a:gd name="connsiteY124" fmla="*/ 971325 h 6857999"/>
              <a:gd name="connsiteX125" fmla="*/ 6605178 w 8124824"/>
              <a:gd name="connsiteY125" fmla="*/ 971325 h 6857999"/>
              <a:gd name="connsiteX126" fmla="*/ 6605178 w 8124824"/>
              <a:gd name="connsiteY126" fmla="*/ 916365 h 6857999"/>
              <a:gd name="connsiteX127" fmla="*/ 3519732 w 8124824"/>
              <a:gd name="connsiteY127" fmla="*/ 886166 h 6857999"/>
              <a:gd name="connsiteX128" fmla="*/ 3617398 w 8124824"/>
              <a:gd name="connsiteY128" fmla="*/ 983780 h 6857999"/>
              <a:gd name="connsiteX129" fmla="*/ 3519732 w 8124824"/>
              <a:gd name="connsiteY129" fmla="*/ 1081446 h 6857999"/>
              <a:gd name="connsiteX130" fmla="*/ 3422066 w 8124824"/>
              <a:gd name="connsiteY130" fmla="*/ 983780 h 6857999"/>
              <a:gd name="connsiteX131" fmla="*/ 3519732 w 8124824"/>
              <a:gd name="connsiteY131" fmla="*/ 886166 h 6857999"/>
              <a:gd name="connsiteX132" fmla="*/ 3324452 w 8124824"/>
              <a:gd name="connsiteY132" fmla="*/ 854671 h 6857999"/>
              <a:gd name="connsiteX133" fmla="*/ 3382905 w 8124824"/>
              <a:gd name="connsiteY133" fmla="*/ 1116643 h 6857999"/>
              <a:gd name="connsiteX134" fmla="*/ 3656090 w 8124824"/>
              <a:gd name="connsiteY134" fmla="*/ 1116643 h 6857999"/>
              <a:gd name="connsiteX135" fmla="*/ 3714595 w 8124824"/>
              <a:gd name="connsiteY135" fmla="*/ 854671 h 6857999"/>
              <a:gd name="connsiteX136" fmla="*/ 3324505 w 8124824"/>
              <a:gd name="connsiteY136" fmla="*/ 854671 h 6857999"/>
              <a:gd name="connsiteX137" fmla="*/ 1115504 w 8124824"/>
              <a:gd name="connsiteY137" fmla="*/ 852331 h 6857999"/>
              <a:gd name="connsiteX138" fmla="*/ 1149001 w 8124824"/>
              <a:gd name="connsiteY138" fmla="*/ 858373 h 6857999"/>
              <a:gd name="connsiteX139" fmla="*/ 1395381 w 8124824"/>
              <a:gd name="connsiteY139" fmla="*/ 933773 h 6857999"/>
              <a:gd name="connsiteX140" fmla="*/ 1293387 w 8124824"/>
              <a:gd name="connsiteY140" fmla="*/ 987952 h 6857999"/>
              <a:gd name="connsiteX141" fmla="*/ 1293387 w 8124824"/>
              <a:gd name="connsiteY141" fmla="*/ 988003 h 6857999"/>
              <a:gd name="connsiteX142" fmla="*/ 1085019 w 8124824"/>
              <a:gd name="connsiteY142" fmla="*/ 866351 h 6857999"/>
              <a:gd name="connsiteX143" fmla="*/ 1089400 w 8124824"/>
              <a:gd name="connsiteY143" fmla="*/ 862441 h 6857999"/>
              <a:gd name="connsiteX144" fmla="*/ 1115504 w 8124824"/>
              <a:gd name="connsiteY144" fmla="*/ 852331 h 6857999"/>
              <a:gd name="connsiteX145" fmla="*/ 1644920 w 8124824"/>
              <a:gd name="connsiteY145" fmla="*/ 849378 h 6857999"/>
              <a:gd name="connsiteX146" fmla="*/ 1662672 w 8124824"/>
              <a:gd name="connsiteY146" fmla="*/ 851451 h 6857999"/>
              <a:gd name="connsiteX147" fmla="*/ 1689943 w 8124824"/>
              <a:gd name="connsiteY147" fmla="*/ 874486 h 6857999"/>
              <a:gd name="connsiteX148" fmla="*/ 1669920 w 8124824"/>
              <a:gd name="connsiteY148" fmla="*/ 937267 h 6857999"/>
              <a:gd name="connsiteX149" fmla="*/ 1211104 w 8124824"/>
              <a:gd name="connsiteY149" fmla="*/ 1174367 h 6857999"/>
              <a:gd name="connsiteX150" fmla="*/ 1172725 w 8124824"/>
              <a:gd name="connsiteY150" fmla="*/ 1173533 h 6857999"/>
              <a:gd name="connsiteX151" fmla="*/ 1024115 w 8124824"/>
              <a:gd name="connsiteY151" fmla="*/ 1072842 h 6857999"/>
              <a:gd name="connsiteX152" fmla="*/ 1048571 w 8124824"/>
              <a:gd name="connsiteY152" fmla="*/ 1060171 h 6857999"/>
              <a:gd name="connsiteX153" fmla="*/ 1148479 w 8124824"/>
              <a:gd name="connsiteY153" fmla="*/ 1089841 h 6857999"/>
              <a:gd name="connsiteX154" fmla="*/ 1174759 w 8124824"/>
              <a:gd name="connsiteY154" fmla="*/ 1088225 h 6857999"/>
              <a:gd name="connsiteX155" fmla="*/ 1627109 w 8124824"/>
              <a:gd name="connsiteY155" fmla="*/ 854462 h 6857999"/>
              <a:gd name="connsiteX156" fmla="*/ 1644920 w 8124824"/>
              <a:gd name="connsiteY156" fmla="*/ 849378 h 6857999"/>
              <a:gd name="connsiteX157" fmla="*/ 2536950 w 8124824"/>
              <a:gd name="connsiteY157" fmla="*/ 805950 h 6857999"/>
              <a:gd name="connsiteX158" fmla="*/ 2536950 w 8124824"/>
              <a:gd name="connsiteY158" fmla="*/ 999352 h 6857999"/>
              <a:gd name="connsiteX159" fmla="*/ 2601034 w 8124824"/>
              <a:gd name="connsiteY159" fmla="*/ 999352 h 6857999"/>
              <a:gd name="connsiteX160" fmla="*/ 2346258 w 8124824"/>
              <a:gd name="connsiteY160" fmla="*/ 805950 h 6857999"/>
              <a:gd name="connsiteX161" fmla="*/ 2332388 w 8124824"/>
              <a:gd name="connsiteY161" fmla="*/ 847718 h 6857999"/>
              <a:gd name="connsiteX162" fmla="*/ 2325819 w 8124824"/>
              <a:gd name="connsiteY162" fmla="*/ 867688 h 6857999"/>
              <a:gd name="connsiteX163" fmla="*/ 2282225 w 8124824"/>
              <a:gd name="connsiteY163" fmla="*/ 999352 h 6857999"/>
              <a:gd name="connsiteX164" fmla="*/ 2503524 w 8124824"/>
              <a:gd name="connsiteY164" fmla="*/ 999352 h 6857999"/>
              <a:gd name="connsiteX165" fmla="*/ 2503524 w 8124824"/>
              <a:gd name="connsiteY165" fmla="*/ 805950 h 6857999"/>
              <a:gd name="connsiteX166" fmla="*/ 2503473 w 8124824"/>
              <a:gd name="connsiteY166" fmla="*/ 805950 h 6857999"/>
              <a:gd name="connsiteX167" fmla="*/ 6612948 w 8124824"/>
              <a:gd name="connsiteY167" fmla="*/ 788508 h 6857999"/>
              <a:gd name="connsiteX168" fmla="*/ 6612948 w 8124824"/>
              <a:gd name="connsiteY168" fmla="*/ 831997 h 6857999"/>
              <a:gd name="connsiteX169" fmla="*/ 6670932 w 8124824"/>
              <a:gd name="connsiteY169" fmla="*/ 831997 h 6857999"/>
              <a:gd name="connsiteX170" fmla="*/ 6670932 w 8124824"/>
              <a:gd name="connsiteY170" fmla="*/ 887373 h 6857999"/>
              <a:gd name="connsiteX171" fmla="*/ 6830388 w 8124824"/>
              <a:gd name="connsiteY171" fmla="*/ 887373 h 6857999"/>
              <a:gd name="connsiteX172" fmla="*/ 6830388 w 8124824"/>
              <a:gd name="connsiteY172" fmla="*/ 831997 h 6857999"/>
              <a:gd name="connsiteX173" fmla="*/ 6888374 w 8124824"/>
              <a:gd name="connsiteY173" fmla="*/ 831997 h 6857999"/>
              <a:gd name="connsiteX174" fmla="*/ 6888374 w 8124824"/>
              <a:gd name="connsiteY174" fmla="*/ 788508 h 6857999"/>
              <a:gd name="connsiteX175" fmla="*/ 5673793 w 8124824"/>
              <a:gd name="connsiteY175" fmla="*/ 779448 h 6857999"/>
              <a:gd name="connsiteX176" fmla="*/ 5519812 w 8124824"/>
              <a:gd name="connsiteY176" fmla="*/ 933482 h 6857999"/>
              <a:gd name="connsiteX177" fmla="*/ 5519812 w 8124824"/>
              <a:gd name="connsiteY177" fmla="*/ 933742 h 6857999"/>
              <a:gd name="connsiteX178" fmla="*/ 5547239 w 8124824"/>
              <a:gd name="connsiteY178" fmla="*/ 933742 h 6857999"/>
              <a:gd name="connsiteX179" fmla="*/ 5547239 w 8124824"/>
              <a:gd name="connsiteY179" fmla="*/ 933482 h 6857999"/>
              <a:gd name="connsiteX180" fmla="*/ 5673793 w 8124824"/>
              <a:gd name="connsiteY180" fmla="*/ 806876 h 6857999"/>
              <a:gd name="connsiteX181" fmla="*/ 5800398 w 8124824"/>
              <a:gd name="connsiteY181" fmla="*/ 933482 h 6857999"/>
              <a:gd name="connsiteX182" fmla="*/ 5800398 w 8124824"/>
              <a:gd name="connsiteY182" fmla="*/ 933742 h 6857999"/>
              <a:gd name="connsiteX183" fmla="*/ 5827827 w 8124824"/>
              <a:gd name="connsiteY183" fmla="*/ 933742 h 6857999"/>
              <a:gd name="connsiteX184" fmla="*/ 5827827 w 8124824"/>
              <a:gd name="connsiteY184" fmla="*/ 933482 h 6857999"/>
              <a:gd name="connsiteX185" fmla="*/ 5673793 w 8124824"/>
              <a:gd name="connsiteY185" fmla="*/ 779448 h 6857999"/>
              <a:gd name="connsiteX186" fmla="*/ 3593568 w 8124824"/>
              <a:gd name="connsiteY186" fmla="*/ 701471 h 6857999"/>
              <a:gd name="connsiteX187" fmla="*/ 3593568 w 8124824"/>
              <a:gd name="connsiteY187" fmla="*/ 817336 h 6857999"/>
              <a:gd name="connsiteX188" fmla="*/ 3631321 w 8124824"/>
              <a:gd name="connsiteY188" fmla="*/ 817336 h 6857999"/>
              <a:gd name="connsiteX189" fmla="*/ 3631321 w 8124824"/>
              <a:gd name="connsiteY189" fmla="*/ 701471 h 6857999"/>
              <a:gd name="connsiteX190" fmla="*/ 3407727 w 8124824"/>
              <a:gd name="connsiteY190" fmla="*/ 701471 h 6857999"/>
              <a:gd name="connsiteX191" fmla="*/ 3407727 w 8124824"/>
              <a:gd name="connsiteY191" fmla="*/ 817336 h 6857999"/>
              <a:gd name="connsiteX192" fmla="*/ 3445532 w 8124824"/>
              <a:gd name="connsiteY192" fmla="*/ 817336 h 6857999"/>
              <a:gd name="connsiteX193" fmla="*/ 3445532 w 8124824"/>
              <a:gd name="connsiteY193" fmla="*/ 701471 h 6857999"/>
              <a:gd name="connsiteX194" fmla="*/ 4658414 w 8124824"/>
              <a:gd name="connsiteY194" fmla="*/ 701330 h 6857999"/>
              <a:gd name="connsiteX195" fmla="*/ 4389090 w 8124824"/>
              <a:gd name="connsiteY195" fmla="*/ 1061593 h 6857999"/>
              <a:gd name="connsiteX196" fmla="*/ 4553344 w 8124824"/>
              <a:gd name="connsiteY196" fmla="*/ 1104351 h 6857999"/>
              <a:gd name="connsiteX197" fmla="*/ 4658414 w 8124824"/>
              <a:gd name="connsiteY197" fmla="*/ 701383 h 6857999"/>
              <a:gd name="connsiteX198" fmla="*/ 1362845 w 8124824"/>
              <a:gd name="connsiteY198" fmla="*/ 591084 h 6857999"/>
              <a:gd name="connsiteX199" fmla="*/ 909086 w 8124824"/>
              <a:gd name="connsiteY199" fmla="*/ 1044842 h 6857999"/>
              <a:gd name="connsiteX200" fmla="*/ 1362845 w 8124824"/>
              <a:gd name="connsiteY200" fmla="*/ 1498600 h 6857999"/>
              <a:gd name="connsiteX201" fmla="*/ 1816602 w 8124824"/>
              <a:gd name="connsiteY201" fmla="*/ 1044842 h 6857999"/>
              <a:gd name="connsiteX202" fmla="*/ 1362845 w 8124824"/>
              <a:gd name="connsiteY202" fmla="*/ 591084 h 6857999"/>
              <a:gd name="connsiteX203" fmla="*/ 0 w 8124824"/>
              <a:gd name="connsiteY203" fmla="*/ 0 h 6857999"/>
              <a:gd name="connsiteX204" fmla="*/ 8124824 w 8124824"/>
              <a:gd name="connsiteY204" fmla="*/ 0 h 6857999"/>
              <a:gd name="connsiteX205" fmla="*/ 8124824 w 8124824"/>
              <a:gd name="connsiteY205" fmla="*/ 6857999 h 6857999"/>
              <a:gd name="connsiteX206" fmla="*/ 0 w 8124824"/>
              <a:gd name="connsiteY206"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Lst>
            <a:rect l="l" t="t" r="r" b="b"/>
            <a:pathLst>
              <a:path w="8124824" h="6857999">
                <a:moveTo>
                  <a:pt x="3500648" y="1154291"/>
                </a:moveTo>
                <a:lnTo>
                  <a:pt x="3500648" y="1224425"/>
                </a:lnTo>
                <a:lnTo>
                  <a:pt x="3519525" y="1224425"/>
                </a:lnTo>
                <a:cubicBezTo>
                  <a:pt x="3560353" y="1224425"/>
                  <a:pt x="3593568" y="1257224"/>
                  <a:pt x="3593568" y="1297478"/>
                </a:cubicBezTo>
                <a:cubicBezTo>
                  <a:pt x="3593568" y="1337734"/>
                  <a:pt x="3560353" y="1370533"/>
                  <a:pt x="3519525" y="1370533"/>
                </a:cubicBezTo>
                <a:cubicBezTo>
                  <a:pt x="3478694" y="1370533"/>
                  <a:pt x="3445479" y="1337734"/>
                  <a:pt x="3445479" y="1297478"/>
                </a:cubicBezTo>
                <a:lnTo>
                  <a:pt x="3407727" y="1297478"/>
                </a:lnTo>
                <a:cubicBezTo>
                  <a:pt x="3407727" y="1358331"/>
                  <a:pt x="3457890" y="1407816"/>
                  <a:pt x="3519525" y="1407816"/>
                </a:cubicBezTo>
                <a:lnTo>
                  <a:pt x="3519525" y="1407868"/>
                </a:lnTo>
                <a:cubicBezTo>
                  <a:pt x="3581159" y="1407868"/>
                  <a:pt x="3631321" y="1358331"/>
                  <a:pt x="3631321" y="1297531"/>
                </a:cubicBezTo>
                <a:cubicBezTo>
                  <a:pt x="3631321" y="1243040"/>
                  <a:pt x="3591066" y="1197623"/>
                  <a:pt x="3538401" y="1188759"/>
                </a:cubicBezTo>
                <a:lnTo>
                  <a:pt x="3538401" y="1154291"/>
                </a:lnTo>
                <a:close/>
                <a:moveTo>
                  <a:pt x="1478446" y="1075762"/>
                </a:moveTo>
                <a:cubicBezTo>
                  <a:pt x="1478342" y="1076492"/>
                  <a:pt x="1478239" y="1077223"/>
                  <a:pt x="1478082" y="1077901"/>
                </a:cubicBezTo>
                <a:cubicBezTo>
                  <a:pt x="1478186" y="1077901"/>
                  <a:pt x="1478342" y="1077744"/>
                  <a:pt x="1478446" y="1077744"/>
                </a:cubicBezTo>
                <a:cubicBezTo>
                  <a:pt x="1469478" y="1128689"/>
                  <a:pt x="1461083" y="1177547"/>
                  <a:pt x="1453626" y="1233603"/>
                </a:cubicBezTo>
                <a:cubicBezTo>
                  <a:pt x="1449819" y="1261604"/>
                  <a:pt x="1441528" y="1275630"/>
                  <a:pt x="1422913" y="1285277"/>
                </a:cubicBezTo>
                <a:cubicBezTo>
                  <a:pt x="1421193" y="1286164"/>
                  <a:pt x="1419628" y="1287049"/>
                  <a:pt x="1418064" y="1287988"/>
                </a:cubicBezTo>
                <a:cubicBezTo>
                  <a:pt x="1416030" y="1252322"/>
                  <a:pt x="1409303" y="1138699"/>
                  <a:pt x="1407791" y="1114244"/>
                </a:cubicBezTo>
                <a:cubicBezTo>
                  <a:pt x="1407791" y="1114192"/>
                  <a:pt x="1407895" y="1114192"/>
                  <a:pt x="1407895" y="1114192"/>
                </a:cubicBezTo>
                <a:cubicBezTo>
                  <a:pt x="1407895" y="1113670"/>
                  <a:pt x="1407791" y="1112732"/>
                  <a:pt x="1407791" y="1112315"/>
                </a:cubicBezTo>
                <a:lnTo>
                  <a:pt x="1407844" y="1112262"/>
                </a:lnTo>
                <a:cubicBezTo>
                  <a:pt x="1416761" y="1107623"/>
                  <a:pt x="1463795" y="1083323"/>
                  <a:pt x="1478446" y="1075762"/>
                </a:cubicBezTo>
                <a:close/>
                <a:moveTo>
                  <a:pt x="6746854" y="1051836"/>
                </a:moveTo>
                <a:lnTo>
                  <a:pt x="6477373" y="1080255"/>
                </a:lnTo>
                <a:lnTo>
                  <a:pt x="6472315" y="1080777"/>
                </a:lnTo>
                <a:cubicBezTo>
                  <a:pt x="6467205" y="1081402"/>
                  <a:pt x="6464494" y="1086981"/>
                  <a:pt x="6466996" y="1091309"/>
                </a:cubicBezTo>
                <a:lnTo>
                  <a:pt x="6567060" y="1296184"/>
                </a:lnTo>
                <a:lnTo>
                  <a:pt x="6932017" y="1296184"/>
                </a:lnTo>
                <a:lnTo>
                  <a:pt x="7031978" y="1091309"/>
                </a:lnTo>
                <a:cubicBezTo>
                  <a:pt x="7034533" y="1086929"/>
                  <a:pt x="7031665" y="1081349"/>
                  <a:pt x="7026607" y="1080777"/>
                </a:cubicBezTo>
                <a:lnTo>
                  <a:pt x="7024261" y="1080568"/>
                </a:lnTo>
                <a:lnTo>
                  <a:pt x="6748053" y="1051992"/>
                </a:lnTo>
                <a:close/>
                <a:moveTo>
                  <a:pt x="5673793" y="1044602"/>
                </a:moveTo>
                <a:cubicBezTo>
                  <a:pt x="5660548" y="1044602"/>
                  <a:pt x="5648764" y="1050598"/>
                  <a:pt x="5640838" y="1059984"/>
                </a:cubicBezTo>
                <a:cubicBezTo>
                  <a:pt x="5637396" y="1064051"/>
                  <a:pt x="5634738" y="1068639"/>
                  <a:pt x="5633017" y="1073698"/>
                </a:cubicBezTo>
                <a:cubicBezTo>
                  <a:pt x="5631453" y="1078026"/>
                  <a:pt x="5630670" y="1082614"/>
                  <a:pt x="5630670" y="1087412"/>
                </a:cubicBezTo>
                <a:lnTo>
                  <a:pt x="5630670" y="1087620"/>
                </a:lnTo>
                <a:cubicBezTo>
                  <a:pt x="5630670" y="1100916"/>
                  <a:pt x="5636615" y="1113171"/>
                  <a:pt x="5647043" y="1121410"/>
                </a:cubicBezTo>
                <a:lnTo>
                  <a:pt x="5653040" y="1126154"/>
                </a:lnTo>
                <a:lnTo>
                  <a:pt x="5646626" y="1181323"/>
                </a:lnTo>
                <a:lnTo>
                  <a:pt x="5700804" y="1181323"/>
                </a:lnTo>
                <a:lnTo>
                  <a:pt x="5694286" y="1126154"/>
                </a:lnTo>
                <a:lnTo>
                  <a:pt x="5700386" y="1121410"/>
                </a:lnTo>
                <a:cubicBezTo>
                  <a:pt x="5710764" y="1113171"/>
                  <a:pt x="5716760" y="1100916"/>
                  <a:pt x="5716760" y="1087620"/>
                </a:cubicBezTo>
                <a:lnTo>
                  <a:pt x="5716760" y="1087412"/>
                </a:lnTo>
                <a:lnTo>
                  <a:pt x="5716864" y="1087412"/>
                </a:lnTo>
                <a:cubicBezTo>
                  <a:pt x="5716864" y="1082614"/>
                  <a:pt x="5716030" y="1078026"/>
                  <a:pt x="5714518" y="1073698"/>
                </a:cubicBezTo>
                <a:cubicBezTo>
                  <a:pt x="5712797" y="1068639"/>
                  <a:pt x="5710137" y="1064051"/>
                  <a:pt x="5706695" y="1059984"/>
                </a:cubicBezTo>
                <a:cubicBezTo>
                  <a:pt x="5698822" y="1050598"/>
                  <a:pt x="5687038" y="1044602"/>
                  <a:pt x="5673793" y="1044602"/>
                </a:cubicBezTo>
                <a:close/>
                <a:moveTo>
                  <a:pt x="2527407" y="1036166"/>
                </a:moveTo>
                <a:lnTo>
                  <a:pt x="2463323" y="1229673"/>
                </a:lnTo>
                <a:lnTo>
                  <a:pt x="2684621" y="1229673"/>
                </a:lnTo>
                <a:lnTo>
                  <a:pt x="2684621" y="1036166"/>
                </a:lnTo>
                <a:close/>
                <a:moveTo>
                  <a:pt x="2718046" y="1036114"/>
                </a:moveTo>
                <a:lnTo>
                  <a:pt x="2718046" y="1229620"/>
                </a:lnTo>
                <a:lnTo>
                  <a:pt x="2782130" y="1229620"/>
                </a:lnTo>
                <a:close/>
                <a:moveTo>
                  <a:pt x="2359190" y="1034967"/>
                </a:moveTo>
                <a:lnTo>
                  <a:pt x="2359190" y="1228368"/>
                </a:lnTo>
                <a:lnTo>
                  <a:pt x="2423275" y="1228368"/>
                </a:lnTo>
                <a:close/>
                <a:moveTo>
                  <a:pt x="2168552" y="1034967"/>
                </a:moveTo>
                <a:lnTo>
                  <a:pt x="2104466" y="1228368"/>
                </a:lnTo>
                <a:lnTo>
                  <a:pt x="2325766" y="1228368"/>
                </a:lnTo>
                <a:lnTo>
                  <a:pt x="2325766" y="1034967"/>
                </a:lnTo>
                <a:close/>
                <a:moveTo>
                  <a:pt x="5673793" y="1017173"/>
                </a:moveTo>
                <a:cubicBezTo>
                  <a:pt x="5702889" y="1017173"/>
                  <a:pt x="5727866" y="1034799"/>
                  <a:pt x="5738607" y="1059984"/>
                </a:cubicBezTo>
                <a:cubicBezTo>
                  <a:pt x="5740537" y="1064312"/>
                  <a:pt x="5741998" y="1069004"/>
                  <a:pt x="5742936" y="1073698"/>
                </a:cubicBezTo>
                <a:cubicBezTo>
                  <a:pt x="5743822" y="1078130"/>
                  <a:pt x="5744291" y="1082771"/>
                  <a:pt x="5744291" y="1087412"/>
                </a:cubicBezTo>
                <a:lnTo>
                  <a:pt x="5744291" y="1087620"/>
                </a:lnTo>
                <a:cubicBezTo>
                  <a:pt x="5744291" y="1106705"/>
                  <a:pt x="5736730" y="1124486"/>
                  <a:pt x="5723382" y="1137678"/>
                </a:cubicBezTo>
                <a:lnTo>
                  <a:pt x="5731726" y="1208803"/>
                </a:lnTo>
                <a:lnTo>
                  <a:pt x="5615860" y="1208803"/>
                </a:lnTo>
                <a:lnTo>
                  <a:pt x="5624152" y="1137678"/>
                </a:lnTo>
                <a:cubicBezTo>
                  <a:pt x="5610803" y="1124486"/>
                  <a:pt x="5603242" y="1106653"/>
                  <a:pt x="5603242" y="1087620"/>
                </a:cubicBezTo>
                <a:lnTo>
                  <a:pt x="5603242" y="1087412"/>
                </a:lnTo>
                <a:cubicBezTo>
                  <a:pt x="5603242" y="1082771"/>
                  <a:pt x="5603764" y="1078130"/>
                  <a:pt x="5604650" y="1073698"/>
                </a:cubicBezTo>
                <a:cubicBezTo>
                  <a:pt x="5605641" y="1069004"/>
                  <a:pt x="5607049" y="1064312"/>
                  <a:pt x="5608979" y="1059984"/>
                </a:cubicBezTo>
                <a:cubicBezTo>
                  <a:pt x="5619772" y="1034799"/>
                  <a:pt x="5644696" y="1017173"/>
                  <a:pt x="5673793" y="1017173"/>
                </a:cubicBezTo>
                <a:close/>
                <a:moveTo>
                  <a:pt x="6762601" y="1000370"/>
                </a:moveTo>
                <a:lnTo>
                  <a:pt x="6762601" y="1024356"/>
                </a:lnTo>
                <a:lnTo>
                  <a:pt x="6766511" y="1024774"/>
                </a:lnTo>
                <a:lnTo>
                  <a:pt x="6862874" y="1034784"/>
                </a:lnTo>
                <a:lnTo>
                  <a:pt x="6862874" y="1000370"/>
                </a:lnTo>
                <a:close/>
                <a:moveTo>
                  <a:pt x="6891866" y="1000317"/>
                </a:moveTo>
                <a:lnTo>
                  <a:pt x="6891866" y="1037704"/>
                </a:lnTo>
                <a:lnTo>
                  <a:pt x="6895048" y="1038069"/>
                </a:lnTo>
                <a:lnTo>
                  <a:pt x="6995321" y="1048447"/>
                </a:lnTo>
                <a:lnTo>
                  <a:pt x="6995321" y="1000317"/>
                </a:lnTo>
                <a:close/>
                <a:moveTo>
                  <a:pt x="6634170" y="1000317"/>
                </a:moveTo>
                <a:lnTo>
                  <a:pt x="6634170" y="1034524"/>
                </a:lnTo>
                <a:lnTo>
                  <a:pt x="6638811" y="1034106"/>
                </a:lnTo>
                <a:lnTo>
                  <a:pt x="6733662" y="1024096"/>
                </a:lnTo>
                <a:lnTo>
                  <a:pt x="6733662" y="1000317"/>
                </a:lnTo>
                <a:lnTo>
                  <a:pt x="6634222" y="1000317"/>
                </a:lnTo>
                <a:close/>
                <a:moveTo>
                  <a:pt x="6506418" y="1000317"/>
                </a:moveTo>
                <a:lnTo>
                  <a:pt x="6506418" y="1048029"/>
                </a:lnTo>
                <a:lnTo>
                  <a:pt x="6605127" y="1037653"/>
                </a:lnTo>
                <a:lnTo>
                  <a:pt x="6605127" y="1000317"/>
                </a:lnTo>
                <a:close/>
                <a:moveTo>
                  <a:pt x="4629579" y="974096"/>
                </a:moveTo>
                <a:lnTo>
                  <a:pt x="4519033" y="1398184"/>
                </a:lnTo>
                <a:lnTo>
                  <a:pt x="4802384" y="1019096"/>
                </a:lnTo>
                <a:lnTo>
                  <a:pt x="4629631" y="974096"/>
                </a:lnTo>
                <a:close/>
                <a:moveTo>
                  <a:pt x="5476897" y="961170"/>
                </a:moveTo>
                <a:lnTo>
                  <a:pt x="5476897" y="1285663"/>
                </a:lnTo>
                <a:lnTo>
                  <a:pt x="5870742" y="1285663"/>
                </a:lnTo>
                <a:lnTo>
                  <a:pt x="5870742" y="961170"/>
                </a:lnTo>
                <a:close/>
                <a:moveTo>
                  <a:pt x="3519732" y="923709"/>
                </a:moveTo>
                <a:cubicBezTo>
                  <a:pt x="3486517" y="923709"/>
                  <a:pt x="3459611" y="950667"/>
                  <a:pt x="3459611" y="983831"/>
                </a:cubicBezTo>
                <a:cubicBezTo>
                  <a:pt x="3459611" y="1016995"/>
                  <a:pt x="3486569" y="1043901"/>
                  <a:pt x="3519732" y="1043901"/>
                </a:cubicBezTo>
                <a:cubicBezTo>
                  <a:pt x="3552896" y="1043901"/>
                  <a:pt x="3579804" y="1016995"/>
                  <a:pt x="3579804" y="983831"/>
                </a:cubicBezTo>
                <a:cubicBezTo>
                  <a:pt x="3579804" y="950616"/>
                  <a:pt x="3552949" y="923709"/>
                  <a:pt x="3519732" y="923709"/>
                </a:cubicBezTo>
                <a:close/>
                <a:moveTo>
                  <a:pt x="6891866" y="916365"/>
                </a:moveTo>
                <a:lnTo>
                  <a:pt x="6891866" y="971325"/>
                </a:lnTo>
                <a:lnTo>
                  <a:pt x="6995321" y="971325"/>
                </a:lnTo>
                <a:lnTo>
                  <a:pt x="6995321" y="916365"/>
                </a:lnTo>
                <a:close/>
                <a:moveTo>
                  <a:pt x="6762601" y="916365"/>
                </a:moveTo>
                <a:lnTo>
                  <a:pt x="6762601" y="971325"/>
                </a:lnTo>
                <a:lnTo>
                  <a:pt x="6862874" y="971325"/>
                </a:lnTo>
                <a:lnTo>
                  <a:pt x="6862874" y="916365"/>
                </a:lnTo>
                <a:close/>
                <a:moveTo>
                  <a:pt x="6634170" y="916365"/>
                </a:moveTo>
                <a:lnTo>
                  <a:pt x="6634170" y="971325"/>
                </a:lnTo>
                <a:lnTo>
                  <a:pt x="6733609" y="971325"/>
                </a:lnTo>
                <a:lnTo>
                  <a:pt x="6733609" y="916365"/>
                </a:lnTo>
                <a:close/>
                <a:moveTo>
                  <a:pt x="6506469" y="916365"/>
                </a:moveTo>
                <a:lnTo>
                  <a:pt x="6506469" y="971325"/>
                </a:lnTo>
                <a:lnTo>
                  <a:pt x="6605178" y="971325"/>
                </a:lnTo>
                <a:lnTo>
                  <a:pt x="6605178" y="916365"/>
                </a:lnTo>
                <a:close/>
                <a:moveTo>
                  <a:pt x="3519732" y="886166"/>
                </a:moveTo>
                <a:cubicBezTo>
                  <a:pt x="3573702" y="886166"/>
                  <a:pt x="3617398" y="929863"/>
                  <a:pt x="3617398" y="983780"/>
                </a:cubicBezTo>
                <a:cubicBezTo>
                  <a:pt x="3617398" y="1037697"/>
                  <a:pt x="3573702" y="1081446"/>
                  <a:pt x="3519732" y="1081446"/>
                </a:cubicBezTo>
                <a:cubicBezTo>
                  <a:pt x="3465764" y="1081446"/>
                  <a:pt x="3422066" y="1037749"/>
                  <a:pt x="3422066" y="983780"/>
                </a:cubicBezTo>
                <a:cubicBezTo>
                  <a:pt x="3422066" y="929811"/>
                  <a:pt x="3465764" y="886166"/>
                  <a:pt x="3519732" y="886166"/>
                </a:cubicBezTo>
                <a:close/>
                <a:moveTo>
                  <a:pt x="3324452" y="854671"/>
                </a:moveTo>
                <a:lnTo>
                  <a:pt x="3382905" y="1116643"/>
                </a:lnTo>
                <a:lnTo>
                  <a:pt x="3656090" y="1116643"/>
                </a:lnTo>
                <a:lnTo>
                  <a:pt x="3714595" y="854671"/>
                </a:lnTo>
                <a:lnTo>
                  <a:pt x="3324505" y="854671"/>
                </a:lnTo>
                <a:close/>
                <a:moveTo>
                  <a:pt x="1115504" y="852331"/>
                </a:moveTo>
                <a:cubicBezTo>
                  <a:pt x="1124948" y="851765"/>
                  <a:pt x="1135626" y="853890"/>
                  <a:pt x="1149001" y="858373"/>
                </a:cubicBezTo>
                <a:cubicBezTo>
                  <a:pt x="1171787" y="865986"/>
                  <a:pt x="1374627" y="927568"/>
                  <a:pt x="1395381" y="933773"/>
                </a:cubicBezTo>
                <a:lnTo>
                  <a:pt x="1293387" y="987952"/>
                </a:lnTo>
                <a:lnTo>
                  <a:pt x="1293387" y="988003"/>
                </a:lnTo>
                <a:cubicBezTo>
                  <a:pt x="1255218" y="966519"/>
                  <a:pt x="1085019" y="866351"/>
                  <a:pt x="1085019" y="866351"/>
                </a:cubicBezTo>
                <a:cubicBezTo>
                  <a:pt x="1086636" y="864683"/>
                  <a:pt x="1087939" y="863484"/>
                  <a:pt x="1089400" y="862441"/>
                </a:cubicBezTo>
                <a:cubicBezTo>
                  <a:pt x="1097847" y="856158"/>
                  <a:pt x="1106060" y="852899"/>
                  <a:pt x="1115504" y="852331"/>
                </a:cubicBezTo>
                <a:close/>
                <a:moveTo>
                  <a:pt x="1644920" y="849378"/>
                </a:moveTo>
                <a:cubicBezTo>
                  <a:pt x="1650959" y="848912"/>
                  <a:pt x="1656988" y="849639"/>
                  <a:pt x="1662672" y="851451"/>
                </a:cubicBezTo>
                <a:cubicBezTo>
                  <a:pt x="1674039" y="855075"/>
                  <a:pt x="1684025" y="863041"/>
                  <a:pt x="1689943" y="874486"/>
                </a:cubicBezTo>
                <a:cubicBezTo>
                  <a:pt x="1701728" y="897324"/>
                  <a:pt x="1692759" y="925534"/>
                  <a:pt x="1669920" y="937267"/>
                </a:cubicBezTo>
                <a:cubicBezTo>
                  <a:pt x="1652661" y="946131"/>
                  <a:pt x="1242389" y="1158305"/>
                  <a:pt x="1211104" y="1174367"/>
                </a:cubicBezTo>
                <a:cubicBezTo>
                  <a:pt x="1195304" y="1182449"/>
                  <a:pt x="1185189" y="1181979"/>
                  <a:pt x="1172725" y="1173533"/>
                </a:cubicBezTo>
                <a:cubicBezTo>
                  <a:pt x="1130332" y="1144748"/>
                  <a:pt x="1024115" y="1072842"/>
                  <a:pt x="1024115" y="1072842"/>
                </a:cubicBezTo>
                <a:cubicBezTo>
                  <a:pt x="1032510" y="1068462"/>
                  <a:pt x="1039653" y="1064812"/>
                  <a:pt x="1048571" y="1060171"/>
                </a:cubicBezTo>
                <a:cubicBezTo>
                  <a:pt x="1048571" y="1060171"/>
                  <a:pt x="1132158" y="1084991"/>
                  <a:pt x="1148479" y="1089841"/>
                </a:cubicBezTo>
                <a:cubicBezTo>
                  <a:pt x="1151868" y="1090780"/>
                  <a:pt x="1163914" y="1093804"/>
                  <a:pt x="1174759" y="1088225"/>
                </a:cubicBezTo>
                <a:cubicBezTo>
                  <a:pt x="1210426" y="1069818"/>
                  <a:pt x="1626119" y="854984"/>
                  <a:pt x="1627109" y="854462"/>
                </a:cubicBezTo>
                <a:cubicBezTo>
                  <a:pt x="1632833" y="851503"/>
                  <a:pt x="1638881" y="849844"/>
                  <a:pt x="1644920" y="849378"/>
                </a:cubicBezTo>
                <a:close/>
                <a:moveTo>
                  <a:pt x="2536950" y="805950"/>
                </a:moveTo>
                <a:lnTo>
                  <a:pt x="2536950" y="999352"/>
                </a:lnTo>
                <a:lnTo>
                  <a:pt x="2601034" y="999352"/>
                </a:lnTo>
                <a:close/>
                <a:moveTo>
                  <a:pt x="2346258" y="805950"/>
                </a:moveTo>
                <a:lnTo>
                  <a:pt x="2332388" y="847718"/>
                </a:lnTo>
                <a:lnTo>
                  <a:pt x="2325819" y="867688"/>
                </a:lnTo>
                <a:lnTo>
                  <a:pt x="2282225" y="999352"/>
                </a:lnTo>
                <a:lnTo>
                  <a:pt x="2503524" y="999352"/>
                </a:lnTo>
                <a:lnTo>
                  <a:pt x="2503524" y="805950"/>
                </a:lnTo>
                <a:lnTo>
                  <a:pt x="2503473" y="805950"/>
                </a:lnTo>
                <a:close/>
                <a:moveTo>
                  <a:pt x="6612948" y="788508"/>
                </a:moveTo>
                <a:lnTo>
                  <a:pt x="6612948" y="831997"/>
                </a:lnTo>
                <a:lnTo>
                  <a:pt x="6670932" y="831997"/>
                </a:lnTo>
                <a:lnTo>
                  <a:pt x="6670932" y="887373"/>
                </a:lnTo>
                <a:lnTo>
                  <a:pt x="6830388" y="887373"/>
                </a:lnTo>
                <a:lnTo>
                  <a:pt x="6830388" y="831997"/>
                </a:lnTo>
                <a:lnTo>
                  <a:pt x="6888374" y="831997"/>
                </a:lnTo>
                <a:lnTo>
                  <a:pt x="6888374" y="788508"/>
                </a:lnTo>
                <a:close/>
                <a:moveTo>
                  <a:pt x="5673793" y="779448"/>
                </a:moveTo>
                <a:cubicBezTo>
                  <a:pt x="5588902" y="779448"/>
                  <a:pt x="5519812" y="848591"/>
                  <a:pt x="5519812" y="933482"/>
                </a:cubicBezTo>
                <a:lnTo>
                  <a:pt x="5519812" y="933742"/>
                </a:lnTo>
                <a:lnTo>
                  <a:pt x="5547239" y="933742"/>
                </a:lnTo>
                <a:lnTo>
                  <a:pt x="5547239" y="933482"/>
                </a:lnTo>
                <a:cubicBezTo>
                  <a:pt x="5547239" y="863660"/>
                  <a:pt x="5603972" y="806876"/>
                  <a:pt x="5673793" y="806876"/>
                </a:cubicBezTo>
                <a:cubicBezTo>
                  <a:pt x="5743613" y="806876"/>
                  <a:pt x="5800398" y="863660"/>
                  <a:pt x="5800398" y="933482"/>
                </a:cubicBezTo>
                <a:lnTo>
                  <a:pt x="5800398" y="933742"/>
                </a:lnTo>
                <a:lnTo>
                  <a:pt x="5827827" y="933742"/>
                </a:lnTo>
                <a:lnTo>
                  <a:pt x="5827827" y="933482"/>
                </a:lnTo>
                <a:cubicBezTo>
                  <a:pt x="5827827" y="848591"/>
                  <a:pt x="5758683" y="779448"/>
                  <a:pt x="5673793" y="779448"/>
                </a:cubicBezTo>
                <a:close/>
                <a:moveTo>
                  <a:pt x="3593568" y="701471"/>
                </a:moveTo>
                <a:lnTo>
                  <a:pt x="3593568" y="817336"/>
                </a:lnTo>
                <a:cubicBezTo>
                  <a:pt x="3593568" y="817336"/>
                  <a:pt x="3631321" y="817336"/>
                  <a:pt x="3631321" y="817336"/>
                </a:cubicBezTo>
                <a:lnTo>
                  <a:pt x="3631321" y="701471"/>
                </a:lnTo>
                <a:close/>
                <a:moveTo>
                  <a:pt x="3407727" y="701471"/>
                </a:moveTo>
                <a:lnTo>
                  <a:pt x="3407727" y="817336"/>
                </a:lnTo>
                <a:lnTo>
                  <a:pt x="3445532" y="817336"/>
                </a:lnTo>
                <a:lnTo>
                  <a:pt x="3445532" y="701471"/>
                </a:lnTo>
                <a:close/>
                <a:moveTo>
                  <a:pt x="4658414" y="701330"/>
                </a:moveTo>
                <a:lnTo>
                  <a:pt x="4389090" y="1061593"/>
                </a:lnTo>
                <a:lnTo>
                  <a:pt x="4553344" y="1104351"/>
                </a:lnTo>
                <a:lnTo>
                  <a:pt x="4658414" y="701383"/>
                </a:lnTo>
                <a:close/>
                <a:moveTo>
                  <a:pt x="1362845" y="591084"/>
                </a:moveTo>
                <a:cubicBezTo>
                  <a:pt x="1112240" y="591084"/>
                  <a:pt x="909086" y="794237"/>
                  <a:pt x="909086" y="1044842"/>
                </a:cubicBezTo>
                <a:cubicBezTo>
                  <a:pt x="909086" y="1295446"/>
                  <a:pt x="1112240" y="1498600"/>
                  <a:pt x="1362845" y="1498600"/>
                </a:cubicBezTo>
                <a:cubicBezTo>
                  <a:pt x="1613450" y="1498600"/>
                  <a:pt x="1816602" y="1295446"/>
                  <a:pt x="1816602" y="1044842"/>
                </a:cubicBezTo>
                <a:cubicBezTo>
                  <a:pt x="1816602" y="794237"/>
                  <a:pt x="1613450" y="591084"/>
                  <a:pt x="1362845" y="591084"/>
                </a:cubicBezTo>
                <a:close/>
                <a:moveTo>
                  <a:pt x="0" y="0"/>
                </a:moveTo>
                <a:lnTo>
                  <a:pt x="8124824" y="0"/>
                </a:lnTo>
                <a:lnTo>
                  <a:pt x="8124824" y="6857999"/>
                </a:lnTo>
                <a:lnTo>
                  <a:pt x="0" y="6857999"/>
                </a:lnTo>
                <a:close/>
              </a:path>
            </a:pathLst>
          </a:custGeom>
          <a:solidFill>
            <a:schemeClr val="tx1"/>
          </a:solidFill>
        </p:spPr>
        <p:txBody>
          <a:bodyPr vert="horz" wrap="square" lIns="0" tIns="45720" rIns="0" bIns="45720" rtlCol="0" anchor="ctr">
            <a:noAutofit/>
          </a:bodyPr>
          <a:lstStyle>
            <a:lvl1pPr algn="ctr">
              <a:defRPr lang="en-GB" sz="2800" b="0" dirty="0">
                <a:solidFill>
                  <a:schemeClr val="bg1"/>
                </a:solidFill>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US" dirty="0"/>
              <a:t>ADD RELATED IMAGE </a:t>
            </a:r>
            <a:br>
              <a:rPr lang="en-US" dirty="0"/>
            </a:br>
            <a:r>
              <a:rPr lang="en-US" dirty="0"/>
              <a:t>FROM HFW IMAGE LIBRARY</a:t>
            </a:r>
            <a:endParaRPr lang="en-GB" dirty="0"/>
          </a:p>
        </p:txBody>
      </p:sp>
      <p:sp>
        <p:nvSpPr>
          <p:cNvPr id="2" name="Graphic 13">
            <a:extLst>
              <a:ext uri="{FF2B5EF4-FFF2-40B4-BE49-F238E27FC236}">
                <a16:creationId xmlns:a16="http://schemas.microsoft.com/office/drawing/2014/main" id="{91BDD3F1-6357-7F11-A054-047B4FA8DE83}"/>
              </a:ext>
            </a:extLst>
          </p:cNvPr>
          <p:cNvSpPr>
            <a:spLocks noGrp="1" noRot="1" noMove="1" noResize="1" noEditPoints="1" noAdjustHandles="1" noChangeArrowheads="1" noChangeShapeType="1"/>
          </p:cNvSpPr>
          <p:nvPr userDrawn="1"/>
        </p:nvSpPr>
        <p:spPr>
          <a:xfrm>
            <a:off x="585463" y="588011"/>
            <a:ext cx="1522695" cy="922576"/>
          </a:xfrm>
          <a:custGeom>
            <a:avLst/>
            <a:gdLst>
              <a:gd name="connsiteX0" fmla="*/ 618149 w 1522695"/>
              <a:gd name="connsiteY0" fmla="*/ 39943 h 922576"/>
              <a:gd name="connsiteX1" fmla="*/ 421345 w 1522695"/>
              <a:gd name="connsiteY1" fmla="*/ 876531 h 922576"/>
              <a:gd name="connsiteX2" fmla="*/ 388753 w 1522695"/>
              <a:gd name="connsiteY2" fmla="*/ 915365 h 922576"/>
              <a:gd name="connsiteX3" fmla="*/ 349364 w 1522695"/>
              <a:gd name="connsiteY3" fmla="*/ 922577 h 922576"/>
              <a:gd name="connsiteX4" fmla="*/ 328006 w 1522695"/>
              <a:gd name="connsiteY4" fmla="*/ 897196 h 922576"/>
              <a:gd name="connsiteX5" fmla="*/ 431608 w 1522695"/>
              <a:gd name="connsiteY5" fmla="*/ 465033 h 922576"/>
              <a:gd name="connsiteX6" fmla="*/ 224958 w 1522695"/>
              <a:gd name="connsiteY6" fmla="*/ 504838 h 922576"/>
              <a:gd name="connsiteX7" fmla="*/ 185292 w 1522695"/>
              <a:gd name="connsiteY7" fmla="*/ 702473 h 922576"/>
              <a:gd name="connsiteX8" fmla="*/ 159634 w 1522695"/>
              <a:gd name="connsiteY8" fmla="*/ 738117 h 922576"/>
              <a:gd name="connsiteX9" fmla="*/ 102771 w 1522695"/>
              <a:gd name="connsiteY9" fmla="*/ 719671 h 922576"/>
              <a:gd name="connsiteX10" fmla="*/ 150203 w 1522695"/>
              <a:gd name="connsiteY10" fmla="*/ 519816 h 922576"/>
              <a:gd name="connsiteX11" fmla="*/ 62411 w 1522695"/>
              <a:gd name="connsiteY11" fmla="*/ 533547 h 922576"/>
              <a:gd name="connsiteX12" fmla="*/ 0 w 1522695"/>
              <a:gd name="connsiteY12" fmla="*/ 507750 h 922576"/>
              <a:gd name="connsiteX13" fmla="*/ 163795 w 1522695"/>
              <a:gd name="connsiteY13" fmla="*/ 465588 h 922576"/>
              <a:gd name="connsiteX14" fmla="*/ 234805 w 1522695"/>
              <a:gd name="connsiteY14" fmla="*/ 162547 h 922576"/>
              <a:gd name="connsiteX15" fmla="*/ 258244 w 1522695"/>
              <a:gd name="connsiteY15" fmla="*/ 135502 h 922576"/>
              <a:gd name="connsiteX16" fmla="*/ 300961 w 1522695"/>
              <a:gd name="connsiteY16" fmla="*/ 126625 h 922576"/>
              <a:gd name="connsiteX17" fmla="*/ 316772 w 1522695"/>
              <a:gd name="connsiteY17" fmla="*/ 149232 h 922576"/>
              <a:gd name="connsiteX18" fmla="*/ 239104 w 1522695"/>
              <a:gd name="connsiteY18" fmla="*/ 449084 h 922576"/>
              <a:gd name="connsiteX19" fmla="*/ 447697 w 1522695"/>
              <a:gd name="connsiteY19" fmla="*/ 404564 h 922576"/>
              <a:gd name="connsiteX20" fmla="*/ 542839 w 1522695"/>
              <a:gd name="connsiteY20" fmla="*/ 34950 h 922576"/>
              <a:gd name="connsiteX21" fmla="*/ 557402 w 1522695"/>
              <a:gd name="connsiteY21" fmla="*/ 6935 h 922576"/>
              <a:gd name="connsiteX22" fmla="*/ 592907 w 1522695"/>
              <a:gd name="connsiteY22" fmla="*/ 0 h 922576"/>
              <a:gd name="connsiteX23" fmla="*/ 620506 w 1522695"/>
              <a:gd name="connsiteY23" fmla="*/ 25381 h 922576"/>
              <a:gd name="connsiteX24" fmla="*/ 618426 w 1522695"/>
              <a:gd name="connsiteY24" fmla="*/ 40359 h 922576"/>
              <a:gd name="connsiteX25" fmla="*/ 845048 w 1522695"/>
              <a:gd name="connsiteY25" fmla="*/ 445755 h 922576"/>
              <a:gd name="connsiteX26" fmla="*/ 684582 w 1522695"/>
              <a:gd name="connsiteY26" fmla="*/ 476544 h 922576"/>
              <a:gd name="connsiteX27" fmla="*/ 729241 w 1522695"/>
              <a:gd name="connsiteY27" fmla="*/ 311918 h 922576"/>
              <a:gd name="connsiteX28" fmla="*/ 1087204 w 1522695"/>
              <a:gd name="connsiteY28" fmla="*/ 231060 h 922576"/>
              <a:gd name="connsiteX29" fmla="*/ 1110643 w 1522695"/>
              <a:gd name="connsiteY29" fmla="*/ 218994 h 922576"/>
              <a:gd name="connsiteX30" fmla="*/ 1053363 w 1522695"/>
              <a:gd name="connsiteY30" fmla="*/ 185708 h 922576"/>
              <a:gd name="connsiteX31" fmla="*/ 1029785 w 1522695"/>
              <a:gd name="connsiteY31" fmla="*/ 187927 h 922576"/>
              <a:gd name="connsiteX32" fmla="*/ 636872 w 1522695"/>
              <a:gd name="connsiteY32" fmla="*/ 267536 h 922576"/>
              <a:gd name="connsiteX33" fmla="*/ 610798 w 1522695"/>
              <a:gd name="connsiteY33" fmla="*/ 284595 h 922576"/>
              <a:gd name="connsiteX34" fmla="*/ 652683 w 1522695"/>
              <a:gd name="connsiteY34" fmla="*/ 321210 h 922576"/>
              <a:gd name="connsiteX35" fmla="*/ 524948 w 1522695"/>
              <a:gd name="connsiteY35" fmla="*/ 802192 h 922576"/>
              <a:gd name="connsiteX36" fmla="*/ 537569 w 1522695"/>
              <a:gd name="connsiteY36" fmla="*/ 815646 h 922576"/>
              <a:gd name="connsiteX37" fmla="*/ 595542 w 1522695"/>
              <a:gd name="connsiteY37" fmla="*/ 802886 h 922576"/>
              <a:gd name="connsiteX38" fmla="*/ 616762 w 1522695"/>
              <a:gd name="connsiteY38" fmla="*/ 763914 h 922576"/>
              <a:gd name="connsiteX39" fmla="*/ 669603 w 1522695"/>
              <a:gd name="connsiteY39" fmla="*/ 537430 h 922576"/>
              <a:gd name="connsiteX40" fmla="*/ 808988 w 1522695"/>
              <a:gd name="connsiteY40" fmla="*/ 509276 h 922576"/>
              <a:gd name="connsiteX41" fmla="*/ 859611 w 1522695"/>
              <a:gd name="connsiteY41" fmla="*/ 477238 h 922576"/>
              <a:gd name="connsiteX42" fmla="*/ 872232 w 1522695"/>
              <a:gd name="connsiteY42" fmla="*/ 451996 h 922576"/>
              <a:gd name="connsiteX43" fmla="*/ 845187 w 1522695"/>
              <a:gd name="connsiteY43" fmla="*/ 445755 h 922576"/>
              <a:gd name="connsiteX44" fmla="*/ 1479701 w 1522695"/>
              <a:gd name="connsiteY44" fmla="*/ 159218 h 922576"/>
              <a:gd name="connsiteX45" fmla="*/ 1409801 w 1522695"/>
              <a:gd name="connsiteY45" fmla="*/ 217052 h 922576"/>
              <a:gd name="connsiteX46" fmla="*/ 1212442 w 1522695"/>
              <a:gd name="connsiteY46" fmla="*/ 666691 h 922576"/>
              <a:gd name="connsiteX47" fmla="*/ 1231721 w 1522695"/>
              <a:gd name="connsiteY47" fmla="*/ 323845 h 922576"/>
              <a:gd name="connsiteX48" fmla="*/ 1206895 w 1522695"/>
              <a:gd name="connsiteY48" fmla="*/ 300683 h 922576"/>
              <a:gd name="connsiteX49" fmla="*/ 1151002 w 1522695"/>
              <a:gd name="connsiteY49" fmla="*/ 324677 h 922576"/>
              <a:gd name="connsiteX50" fmla="*/ 1137549 w 1522695"/>
              <a:gd name="connsiteY50" fmla="*/ 353525 h 922576"/>
              <a:gd name="connsiteX51" fmla="*/ 980689 w 1522695"/>
              <a:gd name="connsiteY51" fmla="*/ 605528 h 922576"/>
              <a:gd name="connsiteX52" fmla="*/ 1041574 w 1522695"/>
              <a:gd name="connsiteY52" fmla="*/ 331196 h 922576"/>
              <a:gd name="connsiteX53" fmla="*/ 1029369 w 1522695"/>
              <a:gd name="connsiteY53" fmla="*/ 319962 h 922576"/>
              <a:gd name="connsiteX54" fmla="*/ 988871 w 1522695"/>
              <a:gd name="connsiteY54" fmla="*/ 327728 h 922576"/>
              <a:gd name="connsiteX55" fmla="*/ 954892 w 1522695"/>
              <a:gd name="connsiteY55" fmla="*/ 369752 h 922576"/>
              <a:gd name="connsiteX56" fmla="*/ 880553 w 1522695"/>
              <a:gd name="connsiteY56" fmla="*/ 711766 h 922576"/>
              <a:gd name="connsiteX57" fmla="*/ 902328 w 1522695"/>
              <a:gd name="connsiteY57" fmla="*/ 741862 h 922576"/>
              <a:gd name="connsiteX58" fmla="*/ 960024 w 1522695"/>
              <a:gd name="connsiteY58" fmla="*/ 718423 h 922576"/>
              <a:gd name="connsiteX59" fmla="*/ 1144483 w 1522695"/>
              <a:gd name="connsiteY59" fmla="*/ 419542 h 922576"/>
              <a:gd name="connsiteX60" fmla="*/ 1128950 w 1522695"/>
              <a:gd name="connsiteY60" fmla="*/ 709546 h 922576"/>
              <a:gd name="connsiteX61" fmla="*/ 1162375 w 1522695"/>
              <a:gd name="connsiteY61" fmla="*/ 786798 h 922576"/>
              <a:gd name="connsiteX62" fmla="*/ 1235049 w 1522695"/>
              <a:gd name="connsiteY62" fmla="*/ 740891 h 922576"/>
              <a:gd name="connsiteX63" fmla="*/ 1512016 w 1522695"/>
              <a:gd name="connsiteY63" fmla="*/ 203322 h 922576"/>
              <a:gd name="connsiteX64" fmla="*/ 1522696 w 1522695"/>
              <a:gd name="connsiteY64" fmla="*/ 183766 h 922576"/>
              <a:gd name="connsiteX65" fmla="*/ 1479840 w 1522695"/>
              <a:gd name="connsiteY65" fmla="*/ 159357 h 922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522695" h="922576">
                <a:moveTo>
                  <a:pt x="618149" y="39943"/>
                </a:moveTo>
                <a:cubicBezTo>
                  <a:pt x="568774" y="240214"/>
                  <a:pt x="450887" y="614404"/>
                  <a:pt x="421345" y="876531"/>
                </a:cubicBezTo>
                <a:cubicBezTo>
                  <a:pt x="418849" y="898167"/>
                  <a:pt x="420374" y="906627"/>
                  <a:pt x="388753" y="915365"/>
                </a:cubicBezTo>
                <a:cubicBezTo>
                  <a:pt x="373497" y="919526"/>
                  <a:pt x="359350" y="922577"/>
                  <a:pt x="349364" y="922577"/>
                </a:cubicBezTo>
                <a:cubicBezTo>
                  <a:pt x="333831" y="922577"/>
                  <a:pt x="328006" y="913978"/>
                  <a:pt x="328006" y="897196"/>
                </a:cubicBezTo>
                <a:cubicBezTo>
                  <a:pt x="328006" y="851567"/>
                  <a:pt x="390972" y="623280"/>
                  <a:pt x="431608" y="465033"/>
                </a:cubicBezTo>
                <a:cubicBezTo>
                  <a:pt x="377380" y="475296"/>
                  <a:pt x="300961" y="489998"/>
                  <a:pt x="224958" y="504838"/>
                </a:cubicBezTo>
                <a:cubicBezTo>
                  <a:pt x="206512" y="579870"/>
                  <a:pt x="193336" y="642697"/>
                  <a:pt x="185292" y="702473"/>
                </a:cubicBezTo>
                <a:cubicBezTo>
                  <a:pt x="183350" y="716897"/>
                  <a:pt x="185292" y="730489"/>
                  <a:pt x="159634" y="738117"/>
                </a:cubicBezTo>
                <a:cubicBezTo>
                  <a:pt x="116362" y="751015"/>
                  <a:pt x="100968" y="743803"/>
                  <a:pt x="102771" y="719671"/>
                </a:cubicBezTo>
                <a:cubicBezTo>
                  <a:pt x="105683" y="679589"/>
                  <a:pt x="118443" y="648661"/>
                  <a:pt x="150203" y="519816"/>
                </a:cubicBezTo>
                <a:cubicBezTo>
                  <a:pt x="110676" y="527722"/>
                  <a:pt x="79748" y="533547"/>
                  <a:pt x="62411" y="533547"/>
                </a:cubicBezTo>
                <a:cubicBezTo>
                  <a:pt x="38972" y="533547"/>
                  <a:pt x="0" y="517459"/>
                  <a:pt x="0" y="507750"/>
                </a:cubicBezTo>
                <a:cubicBezTo>
                  <a:pt x="0" y="496239"/>
                  <a:pt x="27184" y="496377"/>
                  <a:pt x="163795" y="465588"/>
                </a:cubicBezTo>
                <a:cubicBezTo>
                  <a:pt x="190146" y="360876"/>
                  <a:pt x="227038" y="219133"/>
                  <a:pt x="234805" y="162547"/>
                </a:cubicBezTo>
                <a:cubicBezTo>
                  <a:pt x="236192" y="152145"/>
                  <a:pt x="239798" y="140633"/>
                  <a:pt x="258244" y="135502"/>
                </a:cubicBezTo>
                <a:cubicBezTo>
                  <a:pt x="269339" y="132451"/>
                  <a:pt x="290004" y="126625"/>
                  <a:pt x="300961" y="126625"/>
                </a:cubicBezTo>
                <a:cubicBezTo>
                  <a:pt x="313304" y="126625"/>
                  <a:pt x="316772" y="137721"/>
                  <a:pt x="316772" y="149232"/>
                </a:cubicBezTo>
                <a:cubicBezTo>
                  <a:pt x="316772" y="170036"/>
                  <a:pt x="273916" y="298048"/>
                  <a:pt x="239104" y="449084"/>
                </a:cubicBezTo>
                <a:cubicBezTo>
                  <a:pt x="309837" y="433689"/>
                  <a:pt x="385424" y="417739"/>
                  <a:pt x="447697" y="404564"/>
                </a:cubicBezTo>
                <a:cubicBezTo>
                  <a:pt x="485421" y="261434"/>
                  <a:pt x="522313" y="121910"/>
                  <a:pt x="542839" y="34950"/>
                </a:cubicBezTo>
                <a:cubicBezTo>
                  <a:pt x="547277" y="16227"/>
                  <a:pt x="546445" y="10679"/>
                  <a:pt x="557402" y="6935"/>
                </a:cubicBezTo>
                <a:cubicBezTo>
                  <a:pt x="562533" y="5132"/>
                  <a:pt x="578205" y="0"/>
                  <a:pt x="592907" y="0"/>
                </a:cubicBezTo>
                <a:cubicBezTo>
                  <a:pt x="607608" y="0"/>
                  <a:pt x="620506" y="5548"/>
                  <a:pt x="620506" y="25381"/>
                </a:cubicBezTo>
                <a:cubicBezTo>
                  <a:pt x="620506" y="29680"/>
                  <a:pt x="619813" y="34673"/>
                  <a:pt x="618426" y="40359"/>
                </a:cubicBezTo>
                <a:close/>
                <a:moveTo>
                  <a:pt x="845048" y="445755"/>
                </a:moveTo>
                <a:cubicBezTo>
                  <a:pt x="796922" y="454076"/>
                  <a:pt x="739920" y="465865"/>
                  <a:pt x="684582" y="476544"/>
                </a:cubicBezTo>
                <a:cubicBezTo>
                  <a:pt x="700670" y="412608"/>
                  <a:pt x="716620" y="352970"/>
                  <a:pt x="729241" y="311918"/>
                </a:cubicBezTo>
                <a:cubicBezTo>
                  <a:pt x="838946" y="287092"/>
                  <a:pt x="1056276" y="236053"/>
                  <a:pt x="1087204" y="231060"/>
                </a:cubicBezTo>
                <a:cubicBezTo>
                  <a:pt x="1104679" y="228148"/>
                  <a:pt x="1110643" y="223155"/>
                  <a:pt x="1110643" y="218994"/>
                </a:cubicBezTo>
                <a:cubicBezTo>
                  <a:pt x="1110643" y="211089"/>
                  <a:pt x="1084985" y="185708"/>
                  <a:pt x="1053363" y="185708"/>
                </a:cubicBezTo>
                <a:cubicBezTo>
                  <a:pt x="1046428" y="185708"/>
                  <a:pt x="1038662" y="186402"/>
                  <a:pt x="1029785" y="187927"/>
                </a:cubicBezTo>
                <a:cubicBezTo>
                  <a:pt x="966542" y="199023"/>
                  <a:pt x="709269" y="252974"/>
                  <a:pt x="636872" y="267536"/>
                </a:cubicBezTo>
                <a:cubicBezTo>
                  <a:pt x="618842" y="271142"/>
                  <a:pt x="610798" y="277661"/>
                  <a:pt x="610798" y="284595"/>
                </a:cubicBezTo>
                <a:cubicBezTo>
                  <a:pt x="610798" y="295136"/>
                  <a:pt x="636317" y="316217"/>
                  <a:pt x="652683" y="321210"/>
                </a:cubicBezTo>
                <a:cubicBezTo>
                  <a:pt x="616623" y="461427"/>
                  <a:pt x="524948" y="770571"/>
                  <a:pt x="524948" y="802192"/>
                </a:cubicBezTo>
                <a:cubicBezTo>
                  <a:pt x="524948" y="809959"/>
                  <a:pt x="527583" y="815646"/>
                  <a:pt x="537569" y="815646"/>
                </a:cubicBezTo>
                <a:cubicBezTo>
                  <a:pt x="551299" y="815646"/>
                  <a:pt x="579176" y="809682"/>
                  <a:pt x="595542" y="802886"/>
                </a:cubicBezTo>
                <a:cubicBezTo>
                  <a:pt x="611908" y="795951"/>
                  <a:pt x="611630" y="787907"/>
                  <a:pt x="616762" y="763914"/>
                </a:cubicBezTo>
                <a:cubicBezTo>
                  <a:pt x="627996" y="712043"/>
                  <a:pt x="648106" y="624945"/>
                  <a:pt x="669603" y="537430"/>
                </a:cubicBezTo>
                <a:cubicBezTo>
                  <a:pt x="735620" y="523422"/>
                  <a:pt x="777505" y="516488"/>
                  <a:pt x="808988" y="509276"/>
                </a:cubicBezTo>
                <a:cubicBezTo>
                  <a:pt x="843661" y="501370"/>
                  <a:pt x="850180" y="491107"/>
                  <a:pt x="859611" y="477238"/>
                </a:cubicBezTo>
                <a:cubicBezTo>
                  <a:pt x="865852" y="468223"/>
                  <a:pt x="872232" y="456850"/>
                  <a:pt x="872232" y="451996"/>
                </a:cubicBezTo>
                <a:cubicBezTo>
                  <a:pt x="872232" y="444368"/>
                  <a:pt x="864742" y="442288"/>
                  <a:pt x="845187" y="445755"/>
                </a:cubicBezTo>
                <a:close/>
                <a:moveTo>
                  <a:pt x="1479701" y="159218"/>
                </a:moveTo>
                <a:cubicBezTo>
                  <a:pt x="1459452" y="159218"/>
                  <a:pt x="1437955" y="171978"/>
                  <a:pt x="1409801" y="217052"/>
                </a:cubicBezTo>
                <a:cubicBezTo>
                  <a:pt x="1369857" y="281128"/>
                  <a:pt x="1274854" y="509553"/>
                  <a:pt x="1212442" y="666691"/>
                </a:cubicBezTo>
                <a:cubicBezTo>
                  <a:pt x="1210639" y="502202"/>
                  <a:pt x="1231721" y="360598"/>
                  <a:pt x="1231721" y="323845"/>
                </a:cubicBezTo>
                <a:cubicBezTo>
                  <a:pt x="1231721" y="305399"/>
                  <a:pt x="1220348" y="300683"/>
                  <a:pt x="1206895" y="300683"/>
                </a:cubicBezTo>
                <a:cubicBezTo>
                  <a:pt x="1188310" y="300683"/>
                  <a:pt x="1160988" y="301516"/>
                  <a:pt x="1151002" y="324677"/>
                </a:cubicBezTo>
                <a:cubicBezTo>
                  <a:pt x="1144483" y="339795"/>
                  <a:pt x="1143374" y="343262"/>
                  <a:pt x="1137549" y="353525"/>
                </a:cubicBezTo>
                <a:cubicBezTo>
                  <a:pt x="1125205" y="375577"/>
                  <a:pt x="1053502" y="501786"/>
                  <a:pt x="980689" y="605528"/>
                </a:cubicBezTo>
                <a:cubicBezTo>
                  <a:pt x="1012588" y="432995"/>
                  <a:pt x="1041574" y="349087"/>
                  <a:pt x="1041574" y="331196"/>
                </a:cubicBezTo>
                <a:cubicBezTo>
                  <a:pt x="1041574" y="322874"/>
                  <a:pt x="1036165" y="319962"/>
                  <a:pt x="1029369" y="319962"/>
                </a:cubicBezTo>
                <a:cubicBezTo>
                  <a:pt x="1021325" y="319962"/>
                  <a:pt x="1000799" y="324816"/>
                  <a:pt x="988871" y="327728"/>
                </a:cubicBezTo>
                <a:cubicBezTo>
                  <a:pt x="974864" y="331196"/>
                  <a:pt x="963768" y="335772"/>
                  <a:pt x="954892" y="369752"/>
                </a:cubicBezTo>
                <a:cubicBezTo>
                  <a:pt x="925905" y="479734"/>
                  <a:pt x="880553" y="665720"/>
                  <a:pt x="880553" y="711766"/>
                </a:cubicBezTo>
                <a:cubicBezTo>
                  <a:pt x="880553" y="731876"/>
                  <a:pt x="884575" y="741862"/>
                  <a:pt x="902328" y="741862"/>
                </a:cubicBezTo>
                <a:cubicBezTo>
                  <a:pt x="921051" y="741862"/>
                  <a:pt x="947541" y="736591"/>
                  <a:pt x="960024" y="718423"/>
                </a:cubicBezTo>
                <a:cubicBezTo>
                  <a:pt x="1022851" y="626609"/>
                  <a:pt x="1086372" y="516349"/>
                  <a:pt x="1144483" y="419542"/>
                </a:cubicBezTo>
                <a:cubicBezTo>
                  <a:pt x="1135191" y="510801"/>
                  <a:pt x="1128950" y="628967"/>
                  <a:pt x="1128950" y="709546"/>
                </a:cubicBezTo>
                <a:cubicBezTo>
                  <a:pt x="1128950" y="765023"/>
                  <a:pt x="1130614" y="786798"/>
                  <a:pt x="1162375" y="786798"/>
                </a:cubicBezTo>
                <a:cubicBezTo>
                  <a:pt x="1191223" y="786798"/>
                  <a:pt x="1217019" y="781666"/>
                  <a:pt x="1235049" y="740891"/>
                </a:cubicBezTo>
                <a:cubicBezTo>
                  <a:pt x="1297599" y="599148"/>
                  <a:pt x="1429911" y="303735"/>
                  <a:pt x="1512016" y="203322"/>
                </a:cubicBezTo>
                <a:cubicBezTo>
                  <a:pt x="1517425" y="196803"/>
                  <a:pt x="1522696" y="191256"/>
                  <a:pt x="1522696" y="183766"/>
                </a:cubicBezTo>
                <a:cubicBezTo>
                  <a:pt x="1522696" y="173365"/>
                  <a:pt x="1498563" y="159357"/>
                  <a:pt x="1479840" y="159357"/>
                </a:cubicBezTo>
                <a:close/>
              </a:path>
            </a:pathLst>
          </a:custGeom>
          <a:solidFill>
            <a:schemeClr val="bg1"/>
          </a:solidFill>
          <a:ln w="13855" cap="flat">
            <a:noFill/>
            <a:prstDash val="solid"/>
            <a:miter/>
          </a:ln>
        </p:spPr>
        <p:txBody>
          <a:bodyPr rtlCol="0" anchor="ctr"/>
          <a:lstStyle/>
          <a:p>
            <a:endParaRPr lang="en-GB"/>
          </a:p>
        </p:txBody>
      </p:sp>
    </p:spTree>
    <p:extLst>
      <p:ext uri="{BB962C8B-B14F-4D97-AF65-F5344CB8AC3E}">
        <p14:creationId xmlns:p14="http://schemas.microsoft.com/office/powerpoint/2010/main" val="3495766684"/>
      </p:ext>
    </p:extLst>
  </p:cSld>
  <p:clrMapOvr>
    <a:masterClrMapping/>
  </p:clrMapOvr>
  <p:transition spd="med">
    <p:fade/>
  </p:transition>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Locations Office 4">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261A4C7-E98D-3660-5C37-C13B3A230A80}"/>
              </a:ext>
            </a:extLst>
          </p:cNvPr>
          <p:cNvSpPr/>
          <p:nvPr userDrawn="1"/>
        </p:nvSpPr>
        <p:spPr>
          <a:xfrm>
            <a:off x="8126413" y="0"/>
            <a:ext cx="4065587"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Slide Number Placeholder 5"/>
          <p:cNvSpPr>
            <a:spLocks noGrp="1"/>
          </p:cNvSpPr>
          <p:nvPr userDrawn="1">
            <p:ph type="sldNum" sz="quarter" idx="12"/>
          </p:nvPr>
        </p:nvSpPr>
        <p:spPr/>
        <p:txBody>
          <a:bodyPr/>
          <a:lstStyle>
            <a:lvl1pPr>
              <a:defRPr>
                <a:solidFill>
                  <a:schemeClr val="tx1"/>
                </a:solidFill>
              </a:defRPr>
            </a:lvl1pPr>
          </a:lstStyle>
          <a:p>
            <a:fld id="{8CFE0557-AA98-4E6C-B0C3-581794696B68}" type="slidenum">
              <a:rPr lang="en-GB" smtClean="0"/>
              <a:pPr/>
              <a:t>‹#›</a:t>
            </a:fld>
            <a:endParaRPr lang="en-GB" dirty="0"/>
          </a:p>
        </p:txBody>
      </p:sp>
      <p:sp>
        <p:nvSpPr>
          <p:cNvPr id="7" name="Picture Placeholder 10">
            <a:extLst>
              <a:ext uri="{FF2B5EF4-FFF2-40B4-BE49-F238E27FC236}">
                <a16:creationId xmlns:a16="http://schemas.microsoft.com/office/drawing/2014/main" id="{1CA5F42F-AC29-F4B3-E667-86842A258FF7}"/>
              </a:ext>
            </a:extLst>
          </p:cNvPr>
          <p:cNvSpPr>
            <a:spLocks noGrp="1"/>
          </p:cNvSpPr>
          <p:nvPr>
            <p:ph type="pic" sz="quarter" idx="13" hasCustomPrompt="1"/>
          </p:nvPr>
        </p:nvSpPr>
        <p:spPr>
          <a:xfrm>
            <a:off x="4067175" y="0"/>
            <a:ext cx="4059238" cy="3429000"/>
          </a:xfrm>
          <a:solidFill>
            <a:schemeClr val="tx1">
              <a:lumMod val="60000"/>
              <a:lumOff val="40000"/>
            </a:schemeClr>
          </a:solidFill>
        </p:spPr>
        <p:txBody>
          <a:bodyPr vert="horz" lIns="0" tIns="45720" rIns="0" bIns="45720" rtlCol="0" anchor="ctr">
            <a:noAutofit/>
          </a:bodyPr>
          <a:lstStyle>
            <a:lvl1pPr algn="ctr">
              <a:defRPr lang="en-GB" sz="2400" b="0" dirty="0">
                <a:solidFill>
                  <a:schemeClr val="bg1"/>
                </a:solidFill>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US" dirty="0"/>
              <a:t>ADD RELATED IMAGE </a:t>
            </a:r>
            <a:br>
              <a:rPr lang="en-US" dirty="0"/>
            </a:br>
            <a:r>
              <a:rPr lang="en-US" dirty="0"/>
              <a:t>FROM HFW </a:t>
            </a:r>
            <a:br>
              <a:rPr lang="en-US" dirty="0"/>
            </a:br>
            <a:r>
              <a:rPr lang="en-US" dirty="0"/>
              <a:t>IMAGE LIBRARY</a:t>
            </a:r>
          </a:p>
        </p:txBody>
      </p:sp>
      <p:sp>
        <p:nvSpPr>
          <p:cNvPr id="2" name="Picture Placeholder 10">
            <a:extLst>
              <a:ext uri="{FF2B5EF4-FFF2-40B4-BE49-F238E27FC236}">
                <a16:creationId xmlns:a16="http://schemas.microsoft.com/office/drawing/2014/main" id="{745A71BB-8DDA-5D04-068C-8F4A0028A571}"/>
              </a:ext>
            </a:extLst>
          </p:cNvPr>
          <p:cNvSpPr>
            <a:spLocks noGrp="1"/>
          </p:cNvSpPr>
          <p:nvPr>
            <p:ph type="pic" sz="quarter" idx="24" hasCustomPrompt="1"/>
          </p:nvPr>
        </p:nvSpPr>
        <p:spPr>
          <a:xfrm>
            <a:off x="4067175" y="3428999"/>
            <a:ext cx="4059238" cy="3429001"/>
          </a:xfrm>
          <a:solidFill>
            <a:schemeClr val="tx1"/>
          </a:solidFill>
        </p:spPr>
        <p:txBody>
          <a:bodyPr vert="horz" lIns="0" tIns="45720" rIns="0" bIns="45720" rtlCol="0" anchor="ctr">
            <a:noAutofit/>
          </a:bodyPr>
          <a:lstStyle>
            <a:lvl1pPr algn="ctr">
              <a:defRPr lang="en-GB" sz="2400" b="0" dirty="0">
                <a:solidFill>
                  <a:schemeClr val="bg1"/>
                </a:solidFill>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US" dirty="0"/>
              <a:t>ADD RELATED IMAGE </a:t>
            </a:r>
            <a:br>
              <a:rPr lang="en-US" dirty="0"/>
            </a:br>
            <a:r>
              <a:rPr lang="en-US" dirty="0"/>
              <a:t>FROM HFW </a:t>
            </a:r>
            <a:br>
              <a:rPr lang="en-US" dirty="0"/>
            </a:br>
            <a:r>
              <a:rPr lang="en-US" dirty="0"/>
              <a:t>IMAGE LIBRARY</a:t>
            </a:r>
          </a:p>
        </p:txBody>
      </p:sp>
      <p:sp>
        <p:nvSpPr>
          <p:cNvPr id="4" name="Picture Placeholder 10">
            <a:extLst>
              <a:ext uri="{FF2B5EF4-FFF2-40B4-BE49-F238E27FC236}">
                <a16:creationId xmlns:a16="http://schemas.microsoft.com/office/drawing/2014/main" id="{4B40F453-113F-A369-B2A9-CF31552B3472}"/>
              </a:ext>
            </a:extLst>
          </p:cNvPr>
          <p:cNvSpPr>
            <a:spLocks noGrp="1"/>
          </p:cNvSpPr>
          <p:nvPr>
            <p:ph type="pic" sz="quarter" idx="25" hasCustomPrompt="1"/>
          </p:nvPr>
        </p:nvSpPr>
        <p:spPr>
          <a:xfrm>
            <a:off x="-1" y="3429000"/>
            <a:ext cx="4067175" cy="3429000"/>
          </a:xfrm>
          <a:solidFill>
            <a:schemeClr val="tx1">
              <a:lumMod val="60000"/>
              <a:lumOff val="40000"/>
            </a:schemeClr>
          </a:solidFill>
        </p:spPr>
        <p:txBody>
          <a:bodyPr vert="horz" lIns="0" tIns="45720" rIns="0" bIns="45720" rtlCol="0" anchor="ctr">
            <a:noAutofit/>
          </a:bodyPr>
          <a:lstStyle>
            <a:lvl1pPr algn="ctr">
              <a:defRPr lang="en-GB" sz="2400" b="0" dirty="0">
                <a:solidFill>
                  <a:schemeClr val="bg1"/>
                </a:solidFill>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US" dirty="0"/>
              <a:t>ADD RELATED IMAGE </a:t>
            </a:r>
            <a:br>
              <a:rPr lang="en-US" dirty="0"/>
            </a:br>
            <a:r>
              <a:rPr lang="en-US" dirty="0"/>
              <a:t>FROM HFW </a:t>
            </a:r>
            <a:br>
              <a:rPr lang="en-US" dirty="0"/>
            </a:br>
            <a:r>
              <a:rPr lang="en-US" dirty="0"/>
              <a:t>IMAGE LIBRARY</a:t>
            </a:r>
          </a:p>
        </p:txBody>
      </p:sp>
      <p:sp>
        <p:nvSpPr>
          <p:cNvPr id="5" name="Picture Placeholder 10">
            <a:extLst>
              <a:ext uri="{FF2B5EF4-FFF2-40B4-BE49-F238E27FC236}">
                <a16:creationId xmlns:a16="http://schemas.microsoft.com/office/drawing/2014/main" id="{613BCE8E-6271-839D-B689-871C3BB2B678}"/>
              </a:ext>
            </a:extLst>
          </p:cNvPr>
          <p:cNvSpPr>
            <a:spLocks noGrp="1"/>
          </p:cNvSpPr>
          <p:nvPr>
            <p:ph type="pic" sz="quarter" idx="26" hasCustomPrompt="1"/>
          </p:nvPr>
        </p:nvSpPr>
        <p:spPr>
          <a:xfrm>
            <a:off x="-1" y="0"/>
            <a:ext cx="4067175" cy="3429000"/>
          </a:xfrm>
          <a:solidFill>
            <a:schemeClr val="tx1"/>
          </a:solidFill>
        </p:spPr>
        <p:txBody>
          <a:bodyPr vert="horz" lIns="0" tIns="45720" rIns="0" bIns="45720" rtlCol="0" anchor="ctr">
            <a:noAutofit/>
          </a:bodyPr>
          <a:lstStyle>
            <a:lvl1pPr algn="ctr">
              <a:defRPr lang="en-GB" sz="2400" b="0" dirty="0">
                <a:solidFill>
                  <a:schemeClr val="bg1"/>
                </a:solidFill>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US" dirty="0"/>
              <a:t>ADD RELATED IMAGE </a:t>
            </a:r>
            <a:br>
              <a:rPr lang="en-US" dirty="0"/>
            </a:br>
            <a:r>
              <a:rPr lang="en-US" dirty="0"/>
              <a:t>FROM HFW </a:t>
            </a:r>
            <a:br>
              <a:rPr lang="en-US" dirty="0"/>
            </a:br>
            <a:r>
              <a:rPr lang="en-US" dirty="0"/>
              <a:t>IMAGE LIBRARY</a:t>
            </a:r>
          </a:p>
        </p:txBody>
      </p:sp>
      <p:sp>
        <p:nvSpPr>
          <p:cNvPr id="17" name="Text Placeholder 16">
            <a:extLst>
              <a:ext uri="{FF2B5EF4-FFF2-40B4-BE49-F238E27FC236}">
                <a16:creationId xmlns:a16="http://schemas.microsoft.com/office/drawing/2014/main" id="{474F7138-4444-6685-ECE0-093B24C11818}"/>
              </a:ext>
            </a:extLst>
          </p:cNvPr>
          <p:cNvSpPr>
            <a:spLocks noGrp="1"/>
          </p:cNvSpPr>
          <p:nvPr>
            <p:ph type="body" sz="quarter" idx="23" hasCustomPrompt="1"/>
          </p:nvPr>
        </p:nvSpPr>
        <p:spPr>
          <a:xfrm>
            <a:off x="8739981" y="1226030"/>
            <a:ext cx="2815432" cy="541810"/>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0"/>
              </a:spcBef>
              <a:spcAft>
                <a:spcPts val="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1"/>
            <a:r>
              <a:rPr lang="en-US" dirty="0"/>
              <a:t>Address line </a:t>
            </a:r>
          </a:p>
        </p:txBody>
      </p:sp>
      <p:sp>
        <p:nvSpPr>
          <p:cNvPr id="18" name="Text Placeholder 16">
            <a:extLst>
              <a:ext uri="{FF2B5EF4-FFF2-40B4-BE49-F238E27FC236}">
                <a16:creationId xmlns:a16="http://schemas.microsoft.com/office/drawing/2014/main" id="{83E5B837-DFCE-7DAE-5C8B-A2FB8ED9EA19}"/>
              </a:ext>
            </a:extLst>
          </p:cNvPr>
          <p:cNvSpPr>
            <a:spLocks noGrp="1"/>
          </p:cNvSpPr>
          <p:nvPr>
            <p:ph type="body" sz="quarter" idx="27" hasCustomPrompt="1"/>
          </p:nvPr>
        </p:nvSpPr>
        <p:spPr>
          <a:xfrm>
            <a:off x="8739981" y="1008860"/>
            <a:ext cx="2815432" cy="169277"/>
          </a:xfrm>
        </p:spPr>
        <p:txBody>
          <a:bodyPr tIns="0" bIns="0">
            <a:noAutofit/>
          </a:bodyPr>
          <a:lstStyle>
            <a:lvl1pPr algn="l">
              <a:lnSpc>
                <a:spcPct val="100000"/>
              </a:lnSpc>
              <a:spcBef>
                <a:spcPts val="0"/>
              </a:spcBef>
              <a:spcAft>
                <a:spcPts val="0"/>
              </a:spcAft>
              <a:defRPr sz="1100" cap="all" baseline="0">
                <a:solidFill>
                  <a:schemeClr val="tx2"/>
                </a:solidFill>
                <a:latin typeface="+mj-lt"/>
              </a:defRPr>
            </a:lvl1pPr>
            <a:lvl2pPr algn="l">
              <a:lnSpc>
                <a:spcPct val="100000"/>
              </a:lnSpc>
              <a:spcBef>
                <a:spcPts val="200"/>
              </a:spcBef>
              <a:spcAft>
                <a:spcPts val="200"/>
              </a:spcAft>
              <a:defRPr sz="1100">
                <a:solidFill>
                  <a:schemeClr val="tx1"/>
                </a:solidFill>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0"/>
            <a:r>
              <a:rPr lang="en-US" dirty="0"/>
              <a:t>Office name</a:t>
            </a:r>
          </a:p>
        </p:txBody>
      </p:sp>
      <p:sp>
        <p:nvSpPr>
          <p:cNvPr id="19" name="Text Placeholder 16">
            <a:extLst>
              <a:ext uri="{FF2B5EF4-FFF2-40B4-BE49-F238E27FC236}">
                <a16:creationId xmlns:a16="http://schemas.microsoft.com/office/drawing/2014/main" id="{437B264E-CCAE-48A6-030E-76A1776971B8}"/>
              </a:ext>
            </a:extLst>
          </p:cNvPr>
          <p:cNvSpPr>
            <a:spLocks noGrp="1"/>
          </p:cNvSpPr>
          <p:nvPr>
            <p:ph type="body" sz="quarter" idx="28" hasCustomPrompt="1"/>
          </p:nvPr>
        </p:nvSpPr>
        <p:spPr>
          <a:xfrm>
            <a:off x="8915664" y="1794629"/>
            <a:ext cx="263974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20" name="TextBox 19">
            <a:extLst>
              <a:ext uri="{FF2B5EF4-FFF2-40B4-BE49-F238E27FC236}">
                <a16:creationId xmlns:a16="http://schemas.microsoft.com/office/drawing/2014/main" id="{65D1EB0D-0F17-E0EE-5560-47A60AC776E8}"/>
              </a:ext>
            </a:extLst>
          </p:cNvPr>
          <p:cNvSpPr txBox="1"/>
          <p:nvPr userDrawn="1"/>
        </p:nvSpPr>
        <p:spPr>
          <a:xfrm flipH="1">
            <a:off x="8741500" y="1794629"/>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21" name="Text Placeholder 16">
            <a:extLst>
              <a:ext uri="{FF2B5EF4-FFF2-40B4-BE49-F238E27FC236}">
                <a16:creationId xmlns:a16="http://schemas.microsoft.com/office/drawing/2014/main" id="{2CA02E9D-FF43-8712-3894-A7E61986BBBB}"/>
              </a:ext>
            </a:extLst>
          </p:cNvPr>
          <p:cNvSpPr>
            <a:spLocks noGrp="1"/>
          </p:cNvSpPr>
          <p:nvPr>
            <p:ph type="body" sz="quarter" idx="29" hasCustomPrompt="1"/>
          </p:nvPr>
        </p:nvSpPr>
        <p:spPr>
          <a:xfrm>
            <a:off x="8739981" y="2521430"/>
            <a:ext cx="2815432" cy="541810"/>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0"/>
              </a:spcBef>
              <a:spcAft>
                <a:spcPts val="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1"/>
            <a:r>
              <a:rPr lang="en-US" dirty="0"/>
              <a:t>Address line </a:t>
            </a:r>
          </a:p>
        </p:txBody>
      </p:sp>
      <p:sp>
        <p:nvSpPr>
          <p:cNvPr id="22" name="Text Placeholder 16">
            <a:extLst>
              <a:ext uri="{FF2B5EF4-FFF2-40B4-BE49-F238E27FC236}">
                <a16:creationId xmlns:a16="http://schemas.microsoft.com/office/drawing/2014/main" id="{E43685A8-9EAF-9968-3B8A-B845E5F5D76E}"/>
              </a:ext>
            </a:extLst>
          </p:cNvPr>
          <p:cNvSpPr>
            <a:spLocks noGrp="1"/>
          </p:cNvSpPr>
          <p:nvPr>
            <p:ph type="body" sz="quarter" idx="30" hasCustomPrompt="1"/>
          </p:nvPr>
        </p:nvSpPr>
        <p:spPr>
          <a:xfrm>
            <a:off x="8739981" y="2304260"/>
            <a:ext cx="2815432" cy="169277"/>
          </a:xfrm>
        </p:spPr>
        <p:txBody>
          <a:bodyPr tIns="0" bIns="0">
            <a:noAutofit/>
          </a:bodyPr>
          <a:lstStyle>
            <a:lvl1pPr algn="l">
              <a:lnSpc>
                <a:spcPct val="100000"/>
              </a:lnSpc>
              <a:spcBef>
                <a:spcPts val="0"/>
              </a:spcBef>
              <a:spcAft>
                <a:spcPts val="0"/>
              </a:spcAft>
              <a:defRPr sz="1100" cap="all" baseline="0">
                <a:solidFill>
                  <a:schemeClr val="tx2"/>
                </a:solidFill>
                <a:latin typeface="+mj-lt"/>
              </a:defRPr>
            </a:lvl1pPr>
            <a:lvl2pPr algn="l">
              <a:lnSpc>
                <a:spcPct val="100000"/>
              </a:lnSpc>
              <a:spcBef>
                <a:spcPts val="200"/>
              </a:spcBef>
              <a:spcAft>
                <a:spcPts val="200"/>
              </a:spcAft>
              <a:defRPr sz="1100">
                <a:solidFill>
                  <a:schemeClr val="tx1"/>
                </a:solidFill>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0"/>
            <a:r>
              <a:rPr lang="en-US" dirty="0"/>
              <a:t>Office name</a:t>
            </a:r>
          </a:p>
        </p:txBody>
      </p:sp>
      <p:sp>
        <p:nvSpPr>
          <p:cNvPr id="23" name="Text Placeholder 16">
            <a:extLst>
              <a:ext uri="{FF2B5EF4-FFF2-40B4-BE49-F238E27FC236}">
                <a16:creationId xmlns:a16="http://schemas.microsoft.com/office/drawing/2014/main" id="{8FA11E57-71F0-CCDC-41DA-34E6E5EF9E3E}"/>
              </a:ext>
            </a:extLst>
          </p:cNvPr>
          <p:cNvSpPr>
            <a:spLocks noGrp="1"/>
          </p:cNvSpPr>
          <p:nvPr>
            <p:ph type="body" sz="quarter" idx="31" hasCustomPrompt="1"/>
          </p:nvPr>
        </p:nvSpPr>
        <p:spPr>
          <a:xfrm>
            <a:off x="8915664" y="3090029"/>
            <a:ext cx="263974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24" name="TextBox 23">
            <a:extLst>
              <a:ext uri="{FF2B5EF4-FFF2-40B4-BE49-F238E27FC236}">
                <a16:creationId xmlns:a16="http://schemas.microsoft.com/office/drawing/2014/main" id="{CF38B783-3D12-BF4F-9848-5604ECFFD9E2}"/>
              </a:ext>
            </a:extLst>
          </p:cNvPr>
          <p:cNvSpPr txBox="1"/>
          <p:nvPr userDrawn="1"/>
        </p:nvSpPr>
        <p:spPr>
          <a:xfrm flipH="1">
            <a:off x="8741500" y="3090029"/>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25" name="Text Placeholder 16">
            <a:extLst>
              <a:ext uri="{FF2B5EF4-FFF2-40B4-BE49-F238E27FC236}">
                <a16:creationId xmlns:a16="http://schemas.microsoft.com/office/drawing/2014/main" id="{8BC5DE68-BFA9-5C3F-F298-35411655C85B}"/>
              </a:ext>
            </a:extLst>
          </p:cNvPr>
          <p:cNvSpPr>
            <a:spLocks noGrp="1"/>
          </p:cNvSpPr>
          <p:nvPr>
            <p:ph type="body" sz="quarter" idx="32" hasCustomPrompt="1"/>
          </p:nvPr>
        </p:nvSpPr>
        <p:spPr>
          <a:xfrm>
            <a:off x="8739981" y="3815865"/>
            <a:ext cx="2815432" cy="541810"/>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0"/>
              </a:spcBef>
              <a:spcAft>
                <a:spcPts val="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1"/>
            <a:r>
              <a:rPr lang="en-US" dirty="0"/>
              <a:t>Address line </a:t>
            </a:r>
          </a:p>
        </p:txBody>
      </p:sp>
      <p:sp>
        <p:nvSpPr>
          <p:cNvPr id="26" name="Text Placeholder 16">
            <a:extLst>
              <a:ext uri="{FF2B5EF4-FFF2-40B4-BE49-F238E27FC236}">
                <a16:creationId xmlns:a16="http://schemas.microsoft.com/office/drawing/2014/main" id="{74B36DEF-C299-433E-143F-912BDF6AFA43}"/>
              </a:ext>
            </a:extLst>
          </p:cNvPr>
          <p:cNvSpPr>
            <a:spLocks noGrp="1"/>
          </p:cNvSpPr>
          <p:nvPr>
            <p:ph type="body" sz="quarter" idx="33" hasCustomPrompt="1"/>
          </p:nvPr>
        </p:nvSpPr>
        <p:spPr>
          <a:xfrm>
            <a:off x="8739981" y="3598695"/>
            <a:ext cx="2815432" cy="169277"/>
          </a:xfrm>
        </p:spPr>
        <p:txBody>
          <a:bodyPr tIns="0" bIns="0">
            <a:noAutofit/>
          </a:bodyPr>
          <a:lstStyle>
            <a:lvl1pPr algn="l">
              <a:lnSpc>
                <a:spcPct val="100000"/>
              </a:lnSpc>
              <a:spcBef>
                <a:spcPts val="0"/>
              </a:spcBef>
              <a:spcAft>
                <a:spcPts val="0"/>
              </a:spcAft>
              <a:defRPr sz="1100" cap="all" baseline="0">
                <a:solidFill>
                  <a:schemeClr val="tx2"/>
                </a:solidFill>
                <a:latin typeface="+mj-lt"/>
              </a:defRPr>
            </a:lvl1pPr>
            <a:lvl2pPr algn="l">
              <a:lnSpc>
                <a:spcPct val="100000"/>
              </a:lnSpc>
              <a:spcBef>
                <a:spcPts val="200"/>
              </a:spcBef>
              <a:spcAft>
                <a:spcPts val="200"/>
              </a:spcAft>
              <a:defRPr sz="1100">
                <a:solidFill>
                  <a:schemeClr val="tx1"/>
                </a:solidFill>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0"/>
            <a:r>
              <a:rPr lang="en-US" dirty="0"/>
              <a:t>Office name</a:t>
            </a:r>
          </a:p>
        </p:txBody>
      </p:sp>
      <p:sp>
        <p:nvSpPr>
          <p:cNvPr id="27" name="Text Placeholder 16">
            <a:extLst>
              <a:ext uri="{FF2B5EF4-FFF2-40B4-BE49-F238E27FC236}">
                <a16:creationId xmlns:a16="http://schemas.microsoft.com/office/drawing/2014/main" id="{D03EC76C-92AC-AED5-FA75-2007CCD02E5A}"/>
              </a:ext>
            </a:extLst>
          </p:cNvPr>
          <p:cNvSpPr>
            <a:spLocks noGrp="1"/>
          </p:cNvSpPr>
          <p:nvPr>
            <p:ph type="body" sz="quarter" idx="34" hasCustomPrompt="1"/>
          </p:nvPr>
        </p:nvSpPr>
        <p:spPr>
          <a:xfrm>
            <a:off x="8915664" y="4384464"/>
            <a:ext cx="263974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28" name="TextBox 27">
            <a:extLst>
              <a:ext uri="{FF2B5EF4-FFF2-40B4-BE49-F238E27FC236}">
                <a16:creationId xmlns:a16="http://schemas.microsoft.com/office/drawing/2014/main" id="{C7F82BCC-E216-86C8-6DB6-91FE9C760F83}"/>
              </a:ext>
            </a:extLst>
          </p:cNvPr>
          <p:cNvSpPr txBox="1"/>
          <p:nvPr userDrawn="1"/>
        </p:nvSpPr>
        <p:spPr>
          <a:xfrm flipH="1">
            <a:off x="8741500" y="4384464"/>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29" name="Text Placeholder 16">
            <a:extLst>
              <a:ext uri="{FF2B5EF4-FFF2-40B4-BE49-F238E27FC236}">
                <a16:creationId xmlns:a16="http://schemas.microsoft.com/office/drawing/2014/main" id="{0CDC7A08-5363-1DCD-D4BC-25E13730FCF8}"/>
              </a:ext>
            </a:extLst>
          </p:cNvPr>
          <p:cNvSpPr>
            <a:spLocks noGrp="1"/>
          </p:cNvSpPr>
          <p:nvPr>
            <p:ph type="body" sz="quarter" idx="35" hasCustomPrompt="1"/>
          </p:nvPr>
        </p:nvSpPr>
        <p:spPr>
          <a:xfrm>
            <a:off x="8739981" y="5111265"/>
            <a:ext cx="2815432" cy="541810"/>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0"/>
              </a:spcBef>
              <a:spcAft>
                <a:spcPts val="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1"/>
            <a:r>
              <a:rPr lang="en-US" dirty="0"/>
              <a:t>Address line </a:t>
            </a:r>
          </a:p>
        </p:txBody>
      </p:sp>
      <p:sp>
        <p:nvSpPr>
          <p:cNvPr id="30" name="Text Placeholder 16">
            <a:extLst>
              <a:ext uri="{FF2B5EF4-FFF2-40B4-BE49-F238E27FC236}">
                <a16:creationId xmlns:a16="http://schemas.microsoft.com/office/drawing/2014/main" id="{CCC5AB4A-82C1-050D-8C7D-013CC8D9A650}"/>
              </a:ext>
            </a:extLst>
          </p:cNvPr>
          <p:cNvSpPr>
            <a:spLocks noGrp="1"/>
          </p:cNvSpPr>
          <p:nvPr>
            <p:ph type="body" sz="quarter" idx="36" hasCustomPrompt="1"/>
          </p:nvPr>
        </p:nvSpPr>
        <p:spPr>
          <a:xfrm>
            <a:off x="8739981" y="4894095"/>
            <a:ext cx="2815432" cy="169277"/>
          </a:xfrm>
        </p:spPr>
        <p:txBody>
          <a:bodyPr tIns="0" bIns="0">
            <a:noAutofit/>
          </a:bodyPr>
          <a:lstStyle>
            <a:lvl1pPr algn="l">
              <a:lnSpc>
                <a:spcPct val="100000"/>
              </a:lnSpc>
              <a:spcBef>
                <a:spcPts val="0"/>
              </a:spcBef>
              <a:spcAft>
                <a:spcPts val="0"/>
              </a:spcAft>
              <a:defRPr sz="1100" cap="all" baseline="0">
                <a:solidFill>
                  <a:schemeClr val="tx2"/>
                </a:solidFill>
                <a:latin typeface="+mj-lt"/>
              </a:defRPr>
            </a:lvl1pPr>
            <a:lvl2pPr algn="l">
              <a:lnSpc>
                <a:spcPct val="100000"/>
              </a:lnSpc>
              <a:spcBef>
                <a:spcPts val="200"/>
              </a:spcBef>
              <a:spcAft>
                <a:spcPts val="200"/>
              </a:spcAft>
              <a:defRPr sz="1100">
                <a:solidFill>
                  <a:schemeClr val="tx1"/>
                </a:solidFill>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0"/>
            <a:r>
              <a:rPr lang="en-US" dirty="0"/>
              <a:t>Office name</a:t>
            </a:r>
          </a:p>
        </p:txBody>
      </p:sp>
      <p:sp>
        <p:nvSpPr>
          <p:cNvPr id="31" name="Text Placeholder 16">
            <a:extLst>
              <a:ext uri="{FF2B5EF4-FFF2-40B4-BE49-F238E27FC236}">
                <a16:creationId xmlns:a16="http://schemas.microsoft.com/office/drawing/2014/main" id="{2757B6C3-52B8-6EBB-396C-89551F7BCE7A}"/>
              </a:ext>
            </a:extLst>
          </p:cNvPr>
          <p:cNvSpPr>
            <a:spLocks noGrp="1"/>
          </p:cNvSpPr>
          <p:nvPr>
            <p:ph type="body" sz="quarter" idx="37" hasCustomPrompt="1"/>
          </p:nvPr>
        </p:nvSpPr>
        <p:spPr>
          <a:xfrm>
            <a:off x="8915664" y="5679864"/>
            <a:ext cx="263974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32" name="TextBox 31">
            <a:extLst>
              <a:ext uri="{FF2B5EF4-FFF2-40B4-BE49-F238E27FC236}">
                <a16:creationId xmlns:a16="http://schemas.microsoft.com/office/drawing/2014/main" id="{07692A29-B9F6-4AA5-FB8D-ACFB12F69F41}"/>
              </a:ext>
            </a:extLst>
          </p:cNvPr>
          <p:cNvSpPr txBox="1"/>
          <p:nvPr userDrawn="1"/>
        </p:nvSpPr>
        <p:spPr>
          <a:xfrm flipH="1">
            <a:off x="8741500" y="5679864"/>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34" name="Title 9">
            <a:extLst>
              <a:ext uri="{FF2B5EF4-FFF2-40B4-BE49-F238E27FC236}">
                <a16:creationId xmlns:a16="http://schemas.microsoft.com/office/drawing/2014/main" id="{7D5857E9-A6E7-08A6-14F4-7CFB2D33B4ED}"/>
              </a:ext>
            </a:extLst>
          </p:cNvPr>
          <p:cNvSpPr>
            <a:spLocks noGrp="1"/>
          </p:cNvSpPr>
          <p:nvPr>
            <p:ph type="title" hasCustomPrompt="1"/>
          </p:nvPr>
        </p:nvSpPr>
        <p:spPr>
          <a:xfrm>
            <a:off x="8737600" y="454013"/>
            <a:ext cx="2944813" cy="554847"/>
          </a:xfrm>
        </p:spPr>
        <p:txBody>
          <a:bodyPr/>
          <a:lstStyle>
            <a:lvl1pPr>
              <a:defRPr/>
            </a:lvl1pPr>
          </a:lstStyle>
          <a:p>
            <a:r>
              <a:rPr lang="en-US" dirty="0"/>
              <a:t>OUR OFFICE</a:t>
            </a:r>
            <a:endParaRPr lang="en-GB" dirty="0"/>
          </a:p>
        </p:txBody>
      </p:sp>
      <p:sp>
        <p:nvSpPr>
          <p:cNvPr id="9" name="TextBox 4">
            <a:extLst>
              <a:ext uri="{FF2B5EF4-FFF2-40B4-BE49-F238E27FC236}">
                <a16:creationId xmlns:a16="http://schemas.microsoft.com/office/drawing/2014/main" id="{D024D554-B2CA-F407-B2B8-E3A5AEF6E02D}"/>
              </a:ext>
            </a:extLst>
          </p:cNvPr>
          <p:cNvSpPr txBox="1"/>
          <p:nvPr userDrawn="1"/>
        </p:nvSpPr>
        <p:spPr>
          <a:xfrm>
            <a:off x="12346713" y="109538"/>
            <a:ext cx="2253207" cy="316496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INSERTING IMAGES:</a:t>
            </a:r>
          </a:p>
          <a:p>
            <a:pPr marL="179388" indent="-179388">
              <a:spcBef>
                <a:spcPts val="200"/>
              </a:spcBef>
              <a:spcAft>
                <a:spcPts val="200"/>
              </a:spcAft>
              <a:buFont typeface="+mj-lt"/>
              <a:buAutoNum type="arabicPeriod"/>
            </a:pPr>
            <a:r>
              <a:rPr lang="en-US" sz="900" dirty="0">
                <a:solidFill>
                  <a:schemeClr val="tx1"/>
                </a:solidFill>
                <a:latin typeface="+mn-lt"/>
              </a:rPr>
              <a:t>Simply click the image placeholder and select your image.</a:t>
            </a:r>
          </a:p>
          <a:p>
            <a:pPr marL="179388" indent="-179388">
              <a:spcBef>
                <a:spcPts val="200"/>
              </a:spcBef>
              <a:spcAft>
                <a:spcPts val="200"/>
              </a:spcAft>
              <a:buFont typeface="+mj-lt"/>
              <a:buAutoNum type="arabicPeriod"/>
            </a:pPr>
            <a:r>
              <a:rPr lang="en-US" sz="900" dirty="0">
                <a:solidFill>
                  <a:schemeClr val="tx1"/>
                </a:solidFill>
                <a:latin typeface="+mn-lt"/>
              </a:rPr>
              <a:t>Once your image is inserted into the shape it may be distorted. (Stretched or Squashed)</a:t>
            </a:r>
          </a:p>
          <a:p>
            <a:pPr marL="179388" indent="-179388">
              <a:spcBef>
                <a:spcPts val="200"/>
              </a:spcBef>
              <a:spcAft>
                <a:spcPts val="200"/>
              </a:spcAft>
              <a:buFont typeface="+mj-lt"/>
              <a:buAutoNum type="arabicPeriod"/>
            </a:pPr>
            <a:endParaRPr lang="en-US" sz="900" dirty="0">
              <a:solidFill>
                <a:schemeClr val="tx1"/>
              </a:solidFill>
              <a:latin typeface="+mn-lt"/>
            </a:endParaRPr>
          </a:p>
          <a:p>
            <a:pPr>
              <a:spcBef>
                <a:spcPts val="200"/>
              </a:spcBef>
              <a:spcAft>
                <a:spcPts val="200"/>
              </a:spcAft>
            </a:pPr>
            <a:r>
              <a:rPr lang="en-US" sz="900" b="1" dirty="0">
                <a:solidFill>
                  <a:schemeClr val="tx1"/>
                </a:solidFill>
                <a:latin typeface="+mn-lt"/>
              </a:rPr>
              <a:t>To fix this:</a:t>
            </a:r>
          </a:p>
          <a:p>
            <a:pPr marL="179388" indent="-179388">
              <a:spcBef>
                <a:spcPts val="200"/>
              </a:spcBef>
              <a:spcAft>
                <a:spcPts val="200"/>
              </a:spcAft>
              <a:buFont typeface="+mj-lt"/>
              <a:buAutoNum type="arabicPeriod"/>
            </a:pPr>
            <a:r>
              <a:rPr lang="en-US" sz="900" dirty="0">
                <a:solidFill>
                  <a:schemeClr val="tx1"/>
                </a:solidFill>
                <a:latin typeface="+mn-lt"/>
              </a:rPr>
              <a:t>Click on the image and from the top menu under </a:t>
            </a:r>
            <a:r>
              <a:rPr lang="en-US" sz="900" b="1" dirty="0">
                <a:solidFill>
                  <a:schemeClr val="tx1"/>
                </a:solidFill>
                <a:latin typeface="+mn-lt"/>
              </a:rPr>
              <a:t>PICTURE FORMAT </a:t>
            </a:r>
            <a:r>
              <a:rPr lang="en-US" sz="900" dirty="0">
                <a:solidFill>
                  <a:schemeClr val="tx1"/>
                </a:solidFill>
                <a:latin typeface="+mn-lt"/>
              </a:rPr>
              <a:t>select the </a:t>
            </a:r>
            <a:r>
              <a:rPr lang="en-US" sz="900" b="1" dirty="0">
                <a:solidFill>
                  <a:schemeClr val="tx1"/>
                </a:solidFill>
                <a:latin typeface="+mn-lt"/>
              </a:rPr>
              <a:t>CROP</a:t>
            </a:r>
            <a:r>
              <a:rPr lang="en-US" sz="900" dirty="0">
                <a:solidFill>
                  <a:schemeClr val="tx1"/>
                </a:solidFill>
                <a:latin typeface="+mn-lt"/>
              </a:rPr>
              <a:t> on the right and from the drop down menu select </a:t>
            </a:r>
            <a:r>
              <a:rPr lang="en-US" sz="900" b="1" kern="1200" dirty="0">
                <a:solidFill>
                  <a:schemeClr val="tx1"/>
                </a:solidFill>
                <a:latin typeface="+mn-lt"/>
                <a:ea typeface="+mn-ea"/>
                <a:cs typeface="+mn-cs"/>
              </a:rPr>
              <a:t>FILL</a:t>
            </a:r>
          </a:p>
          <a:p>
            <a:pPr marL="179388" indent="-179388">
              <a:spcBef>
                <a:spcPts val="200"/>
              </a:spcBef>
              <a:spcAft>
                <a:spcPts val="200"/>
              </a:spcAft>
              <a:buFont typeface="+mj-lt"/>
              <a:buAutoNum type="arabicPeriod"/>
            </a:pPr>
            <a:r>
              <a:rPr lang="en-US" sz="900" b="0" kern="1200" dirty="0">
                <a:solidFill>
                  <a:schemeClr val="tx1"/>
                </a:solidFill>
                <a:latin typeface="+mn-lt"/>
                <a:ea typeface="+mn-ea"/>
                <a:cs typeface="+mn-cs"/>
              </a:rPr>
              <a:t>From here you can move the image within the shape for best visual appearance</a:t>
            </a:r>
          </a:p>
          <a:p>
            <a:pPr marL="179388" indent="-179388">
              <a:spcBef>
                <a:spcPts val="200"/>
              </a:spcBef>
              <a:spcAft>
                <a:spcPts val="200"/>
              </a:spcAft>
              <a:buFont typeface="+mj-lt"/>
              <a:buAutoNum type="arabicPeriod"/>
            </a:pPr>
            <a:endParaRPr lang="en-US" sz="900" b="0" kern="1200" dirty="0">
              <a:solidFill>
                <a:schemeClr val="tx1"/>
              </a:solidFill>
              <a:latin typeface="+mn-lt"/>
              <a:ea typeface="+mn-ea"/>
              <a:cs typeface="+mn-cs"/>
            </a:endParaRPr>
          </a:p>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SAMPLE CONTACT LAYOUT</a:t>
            </a:r>
          </a:p>
        </p:txBody>
      </p:sp>
      <p:grpSp>
        <p:nvGrpSpPr>
          <p:cNvPr id="10" name="Group 9">
            <a:extLst>
              <a:ext uri="{FF2B5EF4-FFF2-40B4-BE49-F238E27FC236}">
                <a16:creationId xmlns:a16="http://schemas.microsoft.com/office/drawing/2014/main" id="{A2CE0D2C-A2DC-0007-E670-98D20F3D3A5F}"/>
              </a:ext>
            </a:extLst>
          </p:cNvPr>
          <p:cNvGrpSpPr/>
          <p:nvPr userDrawn="1"/>
        </p:nvGrpSpPr>
        <p:grpSpPr>
          <a:xfrm>
            <a:off x="12437199" y="3429000"/>
            <a:ext cx="2813913" cy="1004063"/>
            <a:chOff x="12437199" y="3429000"/>
            <a:chExt cx="2813913" cy="1004063"/>
          </a:xfrm>
        </p:grpSpPr>
        <p:sp>
          <p:nvSpPr>
            <p:cNvPr id="11" name="TextBox 10">
              <a:extLst>
                <a:ext uri="{FF2B5EF4-FFF2-40B4-BE49-F238E27FC236}">
                  <a16:creationId xmlns:a16="http://schemas.microsoft.com/office/drawing/2014/main" id="{3F9D981B-9785-2649-1CB8-123599F81C20}"/>
                </a:ext>
              </a:extLst>
            </p:cNvPr>
            <p:cNvSpPr txBox="1"/>
            <p:nvPr userDrawn="1"/>
          </p:nvSpPr>
          <p:spPr>
            <a:xfrm flipH="1">
              <a:off x="12611362" y="4263786"/>
              <a:ext cx="2639750"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12" name="TextBox 11">
              <a:extLst>
                <a:ext uri="{FF2B5EF4-FFF2-40B4-BE49-F238E27FC236}">
                  <a16:creationId xmlns:a16="http://schemas.microsoft.com/office/drawing/2014/main" id="{FAD8FA33-4EC1-6873-124F-EE3113E05388}"/>
                </a:ext>
              </a:extLst>
            </p:cNvPr>
            <p:cNvSpPr txBox="1"/>
            <p:nvPr userDrawn="1"/>
          </p:nvSpPr>
          <p:spPr>
            <a:xfrm flipH="1">
              <a:off x="12437200" y="4263786"/>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13" name="TextBox 12">
              <a:extLst>
                <a:ext uri="{FF2B5EF4-FFF2-40B4-BE49-F238E27FC236}">
                  <a16:creationId xmlns:a16="http://schemas.microsoft.com/office/drawing/2014/main" id="{F0860923-ADF4-8328-AED2-3F1692B3424B}"/>
                </a:ext>
              </a:extLst>
            </p:cNvPr>
            <p:cNvSpPr txBox="1"/>
            <p:nvPr userDrawn="1"/>
          </p:nvSpPr>
          <p:spPr>
            <a:xfrm flipH="1">
              <a:off x="12437199" y="3429000"/>
              <a:ext cx="1968833"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solidFill>
                    <a:schemeClr val="tx2"/>
                  </a:solidFill>
                  <a:latin typeface="+mj-lt"/>
                </a:rPr>
                <a:t>OFFICE NAME</a:t>
              </a:r>
            </a:p>
          </p:txBody>
        </p:sp>
        <p:sp>
          <p:nvSpPr>
            <p:cNvPr id="14" name="TextBox 13">
              <a:extLst>
                <a:ext uri="{FF2B5EF4-FFF2-40B4-BE49-F238E27FC236}">
                  <a16:creationId xmlns:a16="http://schemas.microsoft.com/office/drawing/2014/main" id="{0B763324-C561-36EF-C753-202E82E023C5}"/>
                </a:ext>
              </a:extLst>
            </p:cNvPr>
            <p:cNvSpPr txBox="1"/>
            <p:nvPr userDrawn="1"/>
          </p:nvSpPr>
          <p:spPr>
            <a:xfrm flipH="1">
              <a:off x="12437199" y="3644298"/>
              <a:ext cx="1968833"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0" lvl="0" indent="0" algn="l" defTabSz="914400" rtl="0" eaLnBrk="1" latinLnBrk="0" hangingPunct="1">
                <a:lnSpc>
                  <a:spcPct val="100000"/>
                </a:lnSpc>
                <a:spcBef>
                  <a:spcPts val="100"/>
                </a:spcBef>
                <a:spcAft>
                  <a:spcPts val="0"/>
                </a:spcAft>
                <a:buFont typeface="Arial" panose="020B0604020202020204" pitchFamily="34" charset="0"/>
                <a:buNone/>
              </a:pPr>
              <a:r>
                <a:rPr lang="en-US" dirty="0"/>
                <a:t>Address line 1</a:t>
              </a:r>
            </a:p>
            <a:p>
              <a:pPr marL="0" marR="0" lvl="0" indent="0" algn="l" defTabSz="914400" rtl="0" eaLnBrk="1" fontAlgn="auto" latinLnBrk="0" hangingPunct="1">
                <a:lnSpc>
                  <a:spcPct val="100000"/>
                </a:lnSpc>
                <a:spcBef>
                  <a:spcPts val="100"/>
                </a:spcBef>
                <a:spcAft>
                  <a:spcPts val="0"/>
                </a:spcAft>
                <a:buClrTx/>
                <a:buSzTx/>
                <a:buFont typeface="Arial" panose="020B0604020202020204" pitchFamily="34" charset="0"/>
                <a:buNone/>
                <a:tabLst/>
                <a:defRPr/>
              </a:pPr>
              <a:r>
                <a:rPr lang="en-US" dirty="0"/>
                <a:t>Address line 2</a:t>
              </a:r>
            </a:p>
            <a:p>
              <a:pPr marL="0" marR="0" lvl="0" indent="0" algn="l" defTabSz="914400" rtl="0" eaLnBrk="1" fontAlgn="auto" latinLnBrk="0" hangingPunct="1">
                <a:lnSpc>
                  <a:spcPct val="100000"/>
                </a:lnSpc>
                <a:spcBef>
                  <a:spcPts val="100"/>
                </a:spcBef>
                <a:spcAft>
                  <a:spcPts val="0"/>
                </a:spcAft>
                <a:buClrTx/>
                <a:buSzTx/>
                <a:buFont typeface="Arial" panose="020B0604020202020204" pitchFamily="34" charset="0"/>
                <a:buNone/>
                <a:tabLst/>
                <a:defRPr/>
              </a:pPr>
              <a:r>
                <a:rPr lang="en-US" dirty="0"/>
                <a:t>Address line 3</a:t>
              </a:r>
            </a:p>
            <a:p>
              <a:pPr marL="0" lvl="0" indent="0" algn="l" defTabSz="914400" rtl="0" eaLnBrk="1" latinLnBrk="0" hangingPunct="1">
                <a:lnSpc>
                  <a:spcPct val="100000"/>
                </a:lnSpc>
                <a:spcBef>
                  <a:spcPts val="200"/>
                </a:spcBef>
                <a:spcAft>
                  <a:spcPts val="200"/>
                </a:spcAft>
                <a:buFont typeface="Arial" panose="020B0604020202020204" pitchFamily="34" charset="0"/>
                <a:buNone/>
              </a:pPr>
              <a:endParaRPr lang="en-US" dirty="0"/>
            </a:p>
          </p:txBody>
        </p:sp>
      </p:grpSp>
    </p:spTree>
    <p:extLst>
      <p:ext uri="{BB962C8B-B14F-4D97-AF65-F5344CB8AC3E}">
        <p14:creationId xmlns:p14="http://schemas.microsoft.com/office/powerpoint/2010/main" val="2499540583"/>
      </p:ext>
    </p:extLst>
  </p:cSld>
  <p:clrMapOvr>
    <a:masterClrMapping/>
  </p:clrMapOvr>
  <p:transition spd="med">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ocations Office 5">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261A4C7-E98D-3660-5C37-C13B3A230A80}"/>
              </a:ext>
            </a:extLst>
          </p:cNvPr>
          <p:cNvSpPr/>
          <p:nvPr userDrawn="1"/>
        </p:nvSpPr>
        <p:spPr>
          <a:xfrm>
            <a:off x="8126413" y="0"/>
            <a:ext cx="4065587"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Slide Number Placeholder 5"/>
          <p:cNvSpPr>
            <a:spLocks noGrp="1"/>
          </p:cNvSpPr>
          <p:nvPr userDrawn="1">
            <p:ph type="sldNum" sz="quarter" idx="12"/>
          </p:nvPr>
        </p:nvSpPr>
        <p:spPr/>
        <p:txBody>
          <a:bodyPr/>
          <a:lstStyle>
            <a:lvl1pPr>
              <a:defRPr>
                <a:solidFill>
                  <a:schemeClr val="tx1"/>
                </a:solidFill>
              </a:defRPr>
            </a:lvl1pPr>
          </a:lstStyle>
          <a:p>
            <a:fld id="{8CFE0557-AA98-4E6C-B0C3-581794696B68}" type="slidenum">
              <a:rPr lang="en-GB" smtClean="0"/>
              <a:pPr/>
              <a:t>‹#›</a:t>
            </a:fld>
            <a:endParaRPr lang="en-GB" dirty="0"/>
          </a:p>
        </p:txBody>
      </p:sp>
      <p:sp>
        <p:nvSpPr>
          <p:cNvPr id="7" name="Picture Placeholder 10">
            <a:extLst>
              <a:ext uri="{FF2B5EF4-FFF2-40B4-BE49-F238E27FC236}">
                <a16:creationId xmlns:a16="http://schemas.microsoft.com/office/drawing/2014/main" id="{1CA5F42F-AC29-F4B3-E667-86842A258FF7}"/>
              </a:ext>
            </a:extLst>
          </p:cNvPr>
          <p:cNvSpPr>
            <a:spLocks noGrp="1"/>
          </p:cNvSpPr>
          <p:nvPr>
            <p:ph type="pic" sz="quarter" idx="13" hasCustomPrompt="1"/>
          </p:nvPr>
        </p:nvSpPr>
        <p:spPr>
          <a:xfrm>
            <a:off x="4067175" y="2277000"/>
            <a:ext cx="4059238" cy="2304000"/>
          </a:xfrm>
          <a:solidFill>
            <a:schemeClr val="tx1">
              <a:lumMod val="40000"/>
              <a:lumOff val="60000"/>
            </a:schemeClr>
          </a:solidFill>
        </p:spPr>
        <p:txBody>
          <a:bodyPr vert="horz" lIns="0" tIns="45720" rIns="0" bIns="45720" rtlCol="0" anchor="ctr">
            <a:noAutofit/>
          </a:bodyPr>
          <a:lstStyle>
            <a:lvl1pPr algn="ctr">
              <a:defRPr lang="en-GB" sz="2400" b="0" dirty="0">
                <a:solidFill>
                  <a:schemeClr val="bg1"/>
                </a:solidFill>
              </a:defRPr>
            </a:lvl1pPr>
          </a:lstStyle>
          <a:p>
            <a:pPr marL="0" marR="0" lvl="0" indent="0" algn="ctr" defTabSz="914400" rtl="0" eaLnBrk="1" fontAlgn="auto" latinLnBrk="0" hangingPunct="1">
              <a:lnSpc>
                <a:spcPct val="130000"/>
              </a:lnSpc>
              <a:spcBef>
                <a:spcPts val="300"/>
              </a:spcBef>
              <a:spcAft>
                <a:spcPts val="300"/>
              </a:spcAft>
              <a:buClrTx/>
              <a:buSzTx/>
              <a:buFont typeface="Arial" panose="020B0604020202020204" pitchFamily="34" charset="0"/>
              <a:buNone/>
              <a:tabLst/>
              <a:defRPr/>
            </a:pPr>
            <a:r>
              <a:rPr lang="en-US" dirty="0"/>
              <a:t>ADD RELATED IMAGE </a:t>
            </a:r>
            <a:br>
              <a:rPr lang="en-US" dirty="0"/>
            </a:br>
            <a:r>
              <a:rPr lang="en-US" dirty="0"/>
              <a:t>FROM HFW </a:t>
            </a:r>
            <a:br>
              <a:rPr lang="en-US" dirty="0"/>
            </a:br>
            <a:r>
              <a:rPr lang="en-US" dirty="0"/>
              <a:t>IMAGE LIBRARY</a:t>
            </a:r>
          </a:p>
        </p:txBody>
      </p:sp>
      <p:sp>
        <p:nvSpPr>
          <p:cNvPr id="2" name="Picture Placeholder 10">
            <a:extLst>
              <a:ext uri="{FF2B5EF4-FFF2-40B4-BE49-F238E27FC236}">
                <a16:creationId xmlns:a16="http://schemas.microsoft.com/office/drawing/2014/main" id="{745A71BB-8DDA-5D04-068C-8F4A0028A571}"/>
              </a:ext>
            </a:extLst>
          </p:cNvPr>
          <p:cNvSpPr>
            <a:spLocks noGrp="1"/>
          </p:cNvSpPr>
          <p:nvPr>
            <p:ph type="pic" sz="quarter" idx="24" hasCustomPrompt="1"/>
          </p:nvPr>
        </p:nvSpPr>
        <p:spPr>
          <a:xfrm>
            <a:off x="4067175" y="4554000"/>
            <a:ext cx="4059238" cy="2304000"/>
          </a:xfrm>
          <a:solidFill>
            <a:schemeClr val="tx1"/>
          </a:solidFill>
        </p:spPr>
        <p:txBody>
          <a:bodyPr vert="horz" lIns="0" tIns="45720" rIns="0" bIns="45720" rtlCol="0" anchor="ctr">
            <a:noAutofit/>
          </a:bodyPr>
          <a:lstStyle>
            <a:lvl1pPr algn="ctr">
              <a:defRPr lang="en-GB" sz="2400" b="0" dirty="0">
                <a:solidFill>
                  <a:schemeClr val="bg1"/>
                </a:solidFill>
              </a:defRPr>
            </a:lvl1pPr>
          </a:lstStyle>
          <a:p>
            <a:pPr marL="0" marR="0" lvl="0" indent="0" algn="ctr" defTabSz="914400" rtl="0" eaLnBrk="1" fontAlgn="auto" latinLnBrk="0" hangingPunct="1">
              <a:lnSpc>
                <a:spcPct val="130000"/>
              </a:lnSpc>
              <a:spcBef>
                <a:spcPts val="300"/>
              </a:spcBef>
              <a:spcAft>
                <a:spcPts val="300"/>
              </a:spcAft>
              <a:buClrTx/>
              <a:buSzTx/>
              <a:buFont typeface="Arial" panose="020B0604020202020204" pitchFamily="34" charset="0"/>
              <a:buNone/>
              <a:tabLst/>
              <a:defRPr/>
            </a:pPr>
            <a:r>
              <a:rPr lang="en-US" dirty="0"/>
              <a:t>ADD RELATED IMAGE </a:t>
            </a:r>
            <a:br>
              <a:rPr lang="en-US" dirty="0"/>
            </a:br>
            <a:r>
              <a:rPr lang="en-US" dirty="0"/>
              <a:t>FROM HFW </a:t>
            </a:r>
            <a:br>
              <a:rPr lang="en-US" dirty="0"/>
            </a:br>
            <a:r>
              <a:rPr lang="en-US" dirty="0"/>
              <a:t>IMAGE LIBRARY</a:t>
            </a:r>
          </a:p>
        </p:txBody>
      </p:sp>
      <p:sp>
        <p:nvSpPr>
          <p:cNvPr id="4" name="Picture Placeholder 10">
            <a:extLst>
              <a:ext uri="{FF2B5EF4-FFF2-40B4-BE49-F238E27FC236}">
                <a16:creationId xmlns:a16="http://schemas.microsoft.com/office/drawing/2014/main" id="{4B40F453-113F-A369-B2A9-CF31552B3472}"/>
              </a:ext>
            </a:extLst>
          </p:cNvPr>
          <p:cNvSpPr>
            <a:spLocks noGrp="1"/>
          </p:cNvSpPr>
          <p:nvPr>
            <p:ph type="pic" sz="quarter" idx="25" hasCustomPrompt="1"/>
          </p:nvPr>
        </p:nvSpPr>
        <p:spPr>
          <a:xfrm>
            <a:off x="-1" y="3429000"/>
            <a:ext cx="4067175" cy="3429000"/>
          </a:xfrm>
          <a:solidFill>
            <a:schemeClr val="tx1">
              <a:lumMod val="60000"/>
              <a:lumOff val="40000"/>
            </a:schemeClr>
          </a:solidFill>
        </p:spPr>
        <p:txBody>
          <a:bodyPr vert="horz" lIns="0" tIns="45720" rIns="0" bIns="45720" rtlCol="0" anchor="ctr">
            <a:noAutofit/>
          </a:bodyPr>
          <a:lstStyle>
            <a:lvl1pPr algn="ctr">
              <a:defRPr lang="en-GB" sz="2400" b="0" dirty="0">
                <a:solidFill>
                  <a:schemeClr val="bg1"/>
                </a:solidFill>
              </a:defRPr>
            </a:lvl1pPr>
          </a:lstStyle>
          <a:p>
            <a:pPr marL="0" marR="0" lvl="0" indent="0" algn="ctr" defTabSz="914400" rtl="0" eaLnBrk="1" fontAlgn="auto" latinLnBrk="0" hangingPunct="1">
              <a:lnSpc>
                <a:spcPct val="130000"/>
              </a:lnSpc>
              <a:spcBef>
                <a:spcPts val="300"/>
              </a:spcBef>
              <a:spcAft>
                <a:spcPts val="300"/>
              </a:spcAft>
              <a:buClrTx/>
              <a:buSzTx/>
              <a:buFont typeface="Arial" panose="020B0604020202020204" pitchFamily="34" charset="0"/>
              <a:buNone/>
              <a:tabLst/>
              <a:defRPr/>
            </a:pPr>
            <a:r>
              <a:rPr lang="en-US" dirty="0"/>
              <a:t>ADD RELATED IMAGE </a:t>
            </a:r>
            <a:br>
              <a:rPr lang="en-US" dirty="0"/>
            </a:br>
            <a:r>
              <a:rPr lang="en-US" dirty="0"/>
              <a:t>FROM HFW </a:t>
            </a:r>
            <a:br>
              <a:rPr lang="en-US" dirty="0"/>
            </a:br>
            <a:r>
              <a:rPr lang="en-US" dirty="0"/>
              <a:t>IMAGE LIBRARY</a:t>
            </a:r>
          </a:p>
        </p:txBody>
      </p:sp>
      <p:sp>
        <p:nvSpPr>
          <p:cNvPr id="5" name="Picture Placeholder 10">
            <a:extLst>
              <a:ext uri="{FF2B5EF4-FFF2-40B4-BE49-F238E27FC236}">
                <a16:creationId xmlns:a16="http://schemas.microsoft.com/office/drawing/2014/main" id="{613BCE8E-6271-839D-B689-871C3BB2B678}"/>
              </a:ext>
            </a:extLst>
          </p:cNvPr>
          <p:cNvSpPr>
            <a:spLocks noGrp="1"/>
          </p:cNvSpPr>
          <p:nvPr>
            <p:ph type="pic" sz="quarter" idx="26" hasCustomPrompt="1"/>
          </p:nvPr>
        </p:nvSpPr>
        <p:spPr>
          <a:xfrm>
            <a:off x="-1" y="0"/>
            <a:ext cx="4067175" cy="3429000"/>
          </a:xfrm>
          <a:solidFill>
            <a:schemeClr val="tx1"/>
          </a:solidFill>
        </p:spPr>
        <p:txBody>
          <a:bodyPr vert="horz" lIns="0" tIns="45720" rIns="0" bIns="45720" rtlCol="0" anchor="ctr">
            <a:normAutofit/>
          </a:bodyPr>
          <a:lstStyle>
            <a:lvl1pPr algn="ctr">
              <a:defRPr lang="en-GB" sz="2400" b="0" dirty="0">
                <a:solidFill>
                  <a:schemeClr val="bg1"/>
                </a:solidFill>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US" dirty="0"/>
              <a:t>ADD RELATED IMAGE </a:t>
            </a:r>
            <a:br>
              <a:rPr lang="en-US" dirty="0"/>
            </a:br>
            <a:r>
              <a:rPr lang="en-US" dirty="0"/>
              <a:t>FROM HFW </a:t>
            </a:r>
            <a:br>
              <a:rPr lang="en-US" dirty="0"/>
            </a:br>
            <a:r>
              <a:rPr lang="en-US" dirty="0"/>
              <a:t>IMAGE LIBRARY</a:t>
            </a:r>
          </a:p>
        </p:txBody>
      </p:sp>
      <p:sp>
        <p:nvSpPr>
          <p:cNvPr id="11" name="Picture Placeholder 10">
            <a:extLst>
              <a:ext uri="{FF2B5EF4-FFF2-40B4-BE49-F238E27FC236}">
                <a16:creationId xmlns:a16="http://schemas.microsoft.com/office/drawing/2014/main" id="{752A83CB-FB67-4297-037B-8E1666F7F2A9}"/>
              </a:ext>
            </a:extLst>
          </p:cNvPr>
          <p:cNvSpPr>
            <a:spLocks noGrp="1"/>
          </p:cNvSpPr>
          <p:nvPr>
            <p:ph type="pic" sz="quarter" idx="27" hasCustomPrompt="1"/>
          </p:nvPr>
        </p:nvSpPr>
        <p:spPr>
          <a:xfrm>
            <a:off x="4067175" y="0"/>
            <a:ext cx="4059238" cy="2304000"/>
          </a:xfrm>
          <a:solidFill>
            <a:schemeClr val="tx1">
              <a:lumMod val="60000"/>
              <a:lumOff val="40000"/>
            </a:schemeClr>
          </a:solidFill>
        </p:spPr>
        <p:txBody>
          <a:bodyPr vert="horz" lIns="0" tIns="45720" rIns="0" bIns="45720" rtlCol="0" anchor="ctr">
            <a:noAutofit/>
          </a:bodyPr>
          <a:lstStyle>
            <a:lvl1pPr algn="ctr">
              <a:defRPr lang="en-GB" sz="2400" b="0" dirty="0">
                <a:solidFill>
                  <a:schemeClr val="bg1"/>
                </a:solidFill>
              </a:defRPr>
            </a:lvl1pPr>
          </a:lstStyle>
          <a:p>
            <a:pPr marL="0" marR="0" lvl="0" indent="0" algn="ctr" defTabSz="914400" rtl="0" eaLnBrk="1" fontAlgn="auto" latinLnBrk="0" hangingPunct="1">
              <a:lnSpc>
                <a:spcPct val="130000"/>
              </a:lnSpc>
              <a:spcBef>
                <a:spcPts val="300"/>
              </a:spcBef>
              <a:spcAft>
                <a:spcPts val="300"/>
              </a:spcAft>
              <a:buClrTx/>
              <a:buSzTx/>
              <a:buFont typeface="Arial" panose="020B0604020202020204" pitchFamily="34" charset="0"/>
              <a:buNone/>
              <a:tabLst/>
              <a:defRPr/>
            </a:pPr>
            <a:r>
              <a:rPr lang="en-US" dirty="0"/>
              <a:t>ADD RELATED IMAGE </a:t>
            </a:r>
            <a:br>
              <a:rPr lang="en-US" dirty="0"/>
            </a:br>
            <a:r>
              <a:rPr lang="en-US" dirty="0"/>
              <a:t>FROM HFW </a:t>
            </a:r>
            <a:br>
              <a:rPr lang="en-US" dirty="0"/>
            </a:br>
            <a:r>
              <a:rPr lang="en-US" dirty="0"/>
              <a:t>IMAGE LIBRARY</a:t>
            </a:r>
          </a:p>
        </p:txBody>
      </p:sp>
      <p:sp>
        <p:nvSpPr>
          <p:cNvPr id="10" name="Text Placeholder 16">
            <a:extLst>
              <a:ext uri="{FF2B5EF4-FFF2-40B4-BE49-F238E27FC236}">
                <a16:creationId xmlns:a16="http://schemas.microsoft.com/office/drawing/2014/main" id="{2478645F-22E2-5523-E6A2-968248A45B78}"/>
              </a:ext>
            </a:extLst>
          </p:cNvPr>
          <p:cNvSpPr>
            <a:spLocks noGrp="1"/>
          </p:cNvSpPr>
          <p:nvPr>
            <p:ph type="body" sz="quarter" idx="23" hasCustomPrompt="1"/>
          </p:nvPr>
        </p:nvSpPr>
        <p:spPr>
          <a:xfrm>
            <a:off x="8739981" y="613544"/>
            <a:ext cx="2815432" cy="541810"/>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0"/>
              </a:spcBef>
              <a:spcAft>
                <a:spcPts val="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1"/>
            <a:r>
              <a:rPr lang="en-US" dirty="0"/>
              <a:t>Address line </a:t>
            </a:r>
          </a:p>
        </p:txBody>
      </p:sp>
      <p:sp>
        <p:nvSpPr>
          <p:cNvPr id="12" name="Text Placeholder 16">
            <a:extLst>
              <a:ext uri="{FF2B5EF4-FFF2-40B4-BE49-F238E27FC236}">
                <a16:creationId xmlns:a16="http://schemas.microsoft.com/office/drawing/2014/main" id="{58B286B3-3B34-C579-B9B8-3D3AD5348C8A}"/>
              </a:ext>
            </a:extLst>
          </p:cNvPr>
          <p:cNvSpPr>
            <a:spLocks noGrp="1"/>
          </p:cNvSpPr>
          <p:nvPr>
            <p:ph type="body" sz="quarter" idx="28" hasCustomPrompt="1"/>
          </p:nvPr>
        </p:nvSpPr>
        <p:spPr>
          <a:xfrm>
            <a:off x="8739981" y="396374"/>
            <a:ext cx="2815432" cy="169277"/>
          </a:xfrm>
        </p:spPr>
        <p:txBody>
          <a:bodyPr tIns="0" bIns="0">
            <a:noAutofit/>
          </a:bodyPr>
          <a:lstStyle>
            <a:lvl1pPr algn="l">
              <a:lnSpc>
                <a:spcPct val="100000"/>
              </a:lnSpc>
              <a:spcBef>
                <a:spcPts val="0"/>
              </a:spcBef>
              <a:spcAft>
                <a:spcPts val="0"/>
              </a:spcAft>
              <a:defRPr sz="1100" cap="all" baseline="0">
                <a:solidFill>
                  <a:schemeClr val="tx2"/>
                </a:solidFill>
                <a:latin typeface="+mj-lt"/>
              </a:defRPr>
            </a:lvl1pPr>
            <a:lvl2pPr algn="l">
              <a:lnSpc>
                <a:spcPct val="100000"/>
              </a:lnSpc>
              <a:spcBef>
                <a:spcPts val="200"/>
              </a:spcBef>
              <a:spcAft>
                <a:spcPts val="200"/>
              </a:spcAft>
              <a:defRPr sz="1100">
                <a:solidFill>
                  <a:schemeClr val="tx1"/>
                </a:solidFill>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0"/>
            <a:r>
              <a:rPr lang="en-US" dirty="0"/>
              <a:t>Office name</a:t>
            </a:r>
          </a:p>
        </p:txBody>
      </p:sp>
      <p:sp>
        <p:nvSpPr>
          <p:cNvPr id="13" name="Text Placeholder 16">
            <a:extLst>
              <a:ext uri="{FF2B5EF4-FFF2-40B4-BE49-F238E27FC236}">
                <a16:creationId xmlns:a16="http://schemas.microsoft.com/office/drawing/2014/main" id="{68527332-D2A8-B7C8-1458-277C009C80F5}"/>
              </a:ext>
            </a:extLst>
          </p:cNvPr>
          <p:cNvSpPr>
            <a:spLocks noGrp="1"/>
          </p:cNvSpPr>
          <p:nvPr>
            <p:ph type="body" sz="quarter" idx="29" hasCustomPrompt="1"/>
          </p:nvPr>
        </p:nvSpPr>
        <p:spPr>
          <a:xfrm>
            <a:off x="8915664" y="1182143"/>
            <a:ext cx="263974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14" name="TextBox 13">
            <a:extLst>
              <a:ext uri="{FF2B5EF4-FFF2-40B4-BE49-F238E27FC236}">
                <a16:creationId xmlns:a16="http://schemas.microsoft.com/office/drawing/2014/main" id="{A147D012-CAEC-6089-D8AD-C8D7C336C1BB}"/>
              </a:ext>
            </a:extLst>
          </p:cNvPr>
          <p:cNvSpPr txBox="1"/>
          <p:nvPr userDrawn="1"/>
        </p:nvSpPr>
        <p:spPr>
          <a:xfrm flipH="1">
            <a:off x="8741500" y="1182143"/>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15" name="Text Placeholder 16">
            <a:extLst>
              <a:ext uri="{FF2B5EF4-FFF2-40B4-BE49-F238E27FC236}">
                <a16:creationId xmlns:a16="http://schemas.microsoft.com/office/drawing/2014/main" id="{324A2ED1-B8E3-0E7B-0F2B-01FF0EBEB6F5}"/>
              </a:ext>
            </a:extLst>
          </p:cNvPr>
          <p:cNvSpPr>
            <a:spLocks noGrp="1"/>
          </p:cNvSpPr>
          <p:nvPr>
            <p:ph type="body" sz="quarter" idx="30" hasCustomPrompt="1"/>
          </p:nvPr>
        </p:nvSpPr>
        <p:spPr>
          <a:xfrm>
            <a:off x="8739981" y="1826394"/>
            <a:ext cx="2815432" cy="541810"/>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0"/>
              </a:spcBef>
              <a:spcAft>
                <a:spcPts val="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1"/>
            <a:r>
              <a:rPr lang="en-US" dirty="0"/>
              <a:t>Address line </a:t>
            </a:r>
          </a:p>
        </p:txBody>
      </p:sp>
      <p:sp>
        <p:nvSpPr>
          <p:cNvPr id="16" name="Text Placeholder 16">
            <a:extLst>
              <a:ext uri="{FF2B5EF4-FFF2-40B4-BE49-F238E27FC236}">
                <a16:creationId xmlns:a16="http://schemas.microsoft.com/office/drawing/2014/main" id="{E8E4D90D-FF46-6C36-7D9D-D397D661BBD8}"/>
              </a:ext>
            </a:extLst>
          </p:cNvPr>
          <p:cNvSpPr>
            <a:spLocks noGrp="1"/>
          </p:cNvSpPr>
          <p:nvPr>
            <p:ph type="body" sz="quarter" idx="31" hasCustomPrompt="1"/>
          </p:nvPr>
        </p:nvSpPr>
        <p:spPr>
          <a:xfrm>
            <a:off x="8739981" y="1609224"/>
            <a:ext cx="2815432" cy="169277"/>
          </a:xfrm>
        </p:spPr>
        <p:txBody>
          <a:bodyPr tIns="0" bIns="0">
            <a:noAutofit/>
          </a:bodyPr>
          <a:lstStyle>
            <a:lvl1pPr algn="l">
              <a:lnSpc>
                <a:spcPct val="100000"/>
              </a:lnSpc>
              <a:spcBef>
                <a:spcPts val="0"/>
              </a:spcBef>
              <a:spcAft>
                <a:spcPts val="0"/>
              </a:spcAft>
              <a:defRPr sz="1100" cap="all" baseline="0">
                <a:solidFill>
                  <a:schemeClr val="tx2"/>
                </a:solidFill>
                <a:latin typeface="+mj-lt"/>
              </a:defRPr>
            </a:lvl1pPr>
            <a:lvl2pPr algn="l">
              <a:lnSpc>
                <a:spcPct val="100000"/>
              </a:lnSpc>
              <a:spcBef>
                <a:spcPts val="200"/>
              </a:spcBef>
              <a:spcAft>
                <a:spcPts val="200"/>
              </a:spcAft>
              <a:defRPr sz="1100">
                <a:solidFill>
                  <a:schemeClr val="tx1"/>
                </a:solidFill>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0"/>
            <a:r>
              <a:rPr lang="en-US" dirty="0"/>
              <a:t>Office name</a:t>
            </a:r>
          </a:p>
        </p:txBody>
      </p:sp>
      <p:sp>
        <p:nvSpPr>
          <p:cNvPr id="17" name="Text Placeholder 16">
            <a:extLst>
              <a:ext uri="{FF2B5EF4-FFF2-40B4-BE49-F238E27FC236}">
                <a16:creationId xmlns:a16="http://schemas.microsoft.com/office/drawing/2014/main" id="{79D26411-7E1A-41BC-3BA5-636A86D38E5C}"/>
              </a:ext>
            </a:extLst>
          </p:cNvPr>
          <p:cNvSpPr>
            <a:spLocks noGrp="1"/>
          </p:cNvSpPr>
          <p:nvPr>
            <p:ph type="body" sz="quarter" idx="32" hasCustomPrompt="1"/>
          </p:nvPr>
        </p:nvSpPr>
        <p:spPr>
          <a:xfrm>
            <a:off x="8915664" y="2394993"/>
            <a:ext cx="263974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18" name="TextBox 17">
            <a:extLst>
              <a:ext uri="{FF2B5EF4-FFF2-40B4-BE49-F238E27FC236}">
                <a16:creationId xmlns:a16="http://schemas.microsoft.com/office/drawing/2014/main" id="{073BDC82-BFBB-3328-BD48-58239BCED452}"/>
              </a:ext>
            </a:extLst>
          </p:cNvPr>
          <p:cNvSpPr txBox="1"/>
          <p:nvPr userDrawn="1"/>
        </p:nvSpPr>
        <p:spPr>
          <a:xfrm flipH="1">
            <a:off x="8741500" y="2394993"/>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19" name="Text Placeholder 16">
            <a:extLst>
              <a:ext uri="{FF2B5EF4-FFF2-40B4-BE49-F238E27FC236}">
                <a16:creationId xmlns:a16="http://schemas.microsoft.com/office/drawing/2014/main" id="{4E4F1CD4-205D-EAFE-2B6F-91F689B7DE89}"/>
              </a:ext>
            </a:extLst>
          </p:cNvPr>
          <p:cNvSpPr>
            <a:spLocks noGrp="1"/>
          </p:cNvSpPr>
          <p:nvPr>
            <p:ph type="body" sz="quarter" idx="33" hasCustomPrompt="1"/>
          </p:nvPr>
        </p:nvSpPr>
        <p:spPr>
          <a:xfrm>
            <a:off x="8739981" y="3038279"/>
            <a:ext cx="2815432" cy="541810"/>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0"/>
              </a:spcBef>
              <a:spcAft>
                <a:spcPts val="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1"/>
            <a:r>
              <a:rPr lang="en-US" dirty="0"/>
              <a:t>Address line </a:t>
            </a:r>
          </a:p>
        </p:txBody>
      </p:sp>
      <p:sp>
        <p:nvSpPr>
          <p:cNvPr id="20" name="Text Placeholder 16">
            <a:extLst>
              <a:ext uri="{FF2B5EF4-FFF2-40B4-BE49-F238E27FC236}">
                <a16:creationId xmlns:a16="http://schemas.microsoft.com/office/drawing/2014/main" id="{DADDA843-7172-B9B0-C236-05EC7FA2FFB7}"/>
              </a:ext>
            </a:extLst>
          </p:cNvPr>
          <p:cNvSpPr>
            <a:spLocks noGrp="1"/>
          </p:cNvSpPr>
          <p:nvPr>
            <p:ph type="body" sz="quarter" idx="34" hasCustomPrompt="1"/>
          </p:nvPr>
        </p:nvSpPr>
        <p:spPr>
          <a:xfrm>
            <a:off x="8739981" y="2821109"/>
            <a:ext cx="2815432" cy="169277"/>
          </a:xfrm>
        </p:spPr>
        <p:txBody>
          <a:bodyPr tIns="0" bIns="0">
            <a:noAutofit/>
          </a:bodyPr>
          <a:lstStyle>
            <a:lvl1pPr algn="l">
              <a:lnSpc>
                <a:spcPct val="100000"/>
              </a:lnSpc>
              <a:spcBef>
                <a:spcPts val="0"/>
              </a:spcBef>
              <a:spcAft>
                <a:spcPts val="0"/>
              </a:spcAft>
              <a:defRPr sz="1100" cap="all" baseline="0">
                <a:solidFill>
                  <a:schemeClr val="tx2"/>
                </a:solidFill>
                <a:latin typeface="+mj-lt"/>
              </a:defRPr>
            </a:lvl1pPr>
            <a:lvl2pPr algn="l">
              <a:lnSpc>
                <a:spcPct val="100000"/>
              </a:lnSpc>
              <a:spcBef>
                <a:spcPts val="200"/>
              </a:spcBef>
              <a:spcAft>
                <a:spcPts val="200"/>
              </a:spcAft>
              <a:defRPr sz="1100">
                <a:solidFill>
                  <a:schemeClr val="tx1"/>
                </a:solidFill>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0"/>
            <a:r>
              <a:rPr lang="en-US" dirty="0"/>
              <a:t>Office name</a:t>
            </a:r>
          </a:p>
        </p:txBody>
      </p:sp>
      <p:sp>
        <p:nvSpPr>
          <p:cNvPr id="21" name="Text Placeholder 16">
            <a:extLst>
              <a:ext uri="{FF2B5EF4-FFF2-40B4-BE49-F238E27FC236}">
                <a16:creationId xmlns:a16="http://schemas.microsoft.com/office/drawing/2014/main" id="{60341B52-E348-5CBC-E2C3-E254F22486B7}"/>
              </a:ext>
            </a:extLst>
          </p:cNvPr>
          <p:cNvSpPr>
            <a:spLocks noGrp="1"/>
          </p:cNvSpPr>
          <p:nvPr>
            <p:ph type="body" sz="quarter" idx="35" hasCustomPrompt="1"/>
          </p:nvPr>
        </p:nvSpPr>
        <p:spPr>
          <a:xfrm>
            <a:off x="8915664" y="3606878"/>
            <a:ext cx="263974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22" name="TextBox 21">
            <a:extLst>
              <a:ext uri="{FF2B5EF4-FFF2-40B4-BE49-F238E27FC236}">
                <a16:creationId xmlns:a16="http://schemas.microsoft.com/office/drawing/2014/main" id="{7BF4E966-7CB9-185D-134B-C246E602EC8B}"/>
              </a:ext>
            </a:extLst>
          </p:cNvPr>
          <p:cNvSpPr txBox="1"/>
          <p:nvPr userDrawn="1"/>
        </p:nvSpPr>
        <p:spPr>
          <a:xfrm flipH="1">
            <a:off x="8741500" y="3606878"/>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23" name="Text Placeholder 16">
            <a:extLst>
              <a:ext uri="{FF2B5EF4-FFF2-40B4-BE49-F238E27FC236}">
                <a16:creationId xmlns:a16="http://schemas.microsoft.com/office/drawing/2014/main" id="{3CA5CA49-3562-FFB4-E8E0-02CDB550A204}"/>
              </a:ext>
            </a:extLst>
          </p:cNvPr>
          <p:cNvSpPr>
            <a:spLocks noGrp="1"/>
          </p:cNvSpPr>
          <p:nvPr>
            <p:ph type="body" sz="quarter" idx="36" hasCustomPrompt="1"/>
          </p:nvPr>
        </p:nvSpPr>
        <p:spPr>
          <a:xfrm>
            <a:off x="8739981" y="4251129"/>
            <a:ext cx="2815432" cy="541810"/>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0"/>
              </a:spcBef>
              <a:spcAft>
                <a:spcPts val="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1"/>
            <a:r>
              <a:rPr lang="en-US" dirty="0"/>
              <a:t>Address line </a:t>
            </a:r>
          </a:p>
        </p:txBody>
      </p:sp>
      <p:sp>
        <p:nvSpPr>
          <p:cNvPr id="24" name="Text Placeholder 16">
            <a:extLst>
              <a:ext uri="{FF2B5EF4-FFF2-40B4-BE49-F238E27FC236}">
                <a16:creationId xmlns:a16="http://schemas.microsoft.com/office/drawing/2014/main" id="{9F415536-C5AA-5DF2-26E5-1B776234E4ED}"/>
              </a:ext>
            </a:extLst>
          </p:cNvPr>
          <p:cNvSpPr>
            <a:spLocks noGrp="1"/>
          </p:cNvSpPr>
          <p:nvPr>
            <p:ph type="body" sz="quarter" idx="37" hasCustomPrompt="1"/>
          </p:nvPr>
        </p:nvSpPr>
        <p:spPr>
          <a:xfrm>
            <a:off x="8739981" y="4033959"/>
            <a:ext cx="2815432" cy="169277"/>
          </a:xfrm>
        </p:spPr>
        <p:txBody>
          <a:bodyPr tIns="0" bIns="0">
            <a:noAutofit/>
          </a:bodyPr>
          <a:lstStyle>
            <a:lvl1pPr algn="l">
              <a:lnSpc>
                <a:spcPct val="100000"/>
              </a:lnSpc>
              <a:spcBef>
                <a:spcPts val="0"/>
              </a:spcBef>
              <a:spcAft>
                <a:spcPts val="0"/>
              </a:spcAft>
              <a:defRPr sz="1100" cap="all" baseline="0">
                <a:solidFill>
                  <a:schemeClr val="tx2"/>
                </a:solidFill>
                <a:latin typeface="+mj-lt"/>
              </a:defRPr>
            </a:lvl1pPr>
            <a:lvl2pPr algn="l">
              <a:lnSpc>
                <a:spcPct val="100000"/>
              </a:lnSpc>
              <a:spcBef>
                <a:spcPts val="200"/>
              </a:spcBef>
              <a:spcAft>
                <a:spcPts val="200"/>
              </a:spcAft>
              <a:defRPr sz="1100">
                <a:solidFill>
                  <a:schemeClr val="tx1"/>
                </a:solidFill>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0"/>
            <a:r>
              <a:rPr lang="en-US" dirty="0"/>
              <a:t>Office name</a:t>
            </a:r>
          </a:p>
        </p:txBody>
      </p:sp>
      <p:sp>
        <p:nvSpPr>
          <p:cNvPr id="25" name="Text Placeholder 16">
            <a:extLst>
              <a:ext uri="{FF2B5EF4-FFF2-40B4-BE49-F238E27FC236}">
                <a16:creationId xmlns:a16="http://schemas.microsoft.com/office/drawing/2014/main" id="{114F78A2-9B95-D108-971A-6863EED49059}"/>
              </a:ext>
            </a:extLst>
          </p:cNvPr>
          <p:cNvSpPr>
            <a:spLocks noGrp="1"/>
          </p:cNvSpPr>
          <p:nvPr>
            <p:ph type="body" sz="quarter" idx="38" hasCustomPrompt="1"/>
          </p:nvPr>
        </p:nvSpPr>
        <p:spPr>
          <a:xfrm>
            <a:off x="8915664" y="4819728"/>
            <a:ext cx="263974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26" name="TextBox 25">
            <a:extLst>
              <a:ext uri="{FF2B5EF4-FFF2-40B4-BE49-F238E27FC236}">
                <a16:creationId xmlns:a16="http://schemas.microsoft.com/office/drawing/2014/main" id="{DC2D0CC1-7BD1-C9D1-AC0F-B670D782EF0B}"/>
              </a:ext>
            </a:extLst>
          </p:cNvPr>
          <p:cNvSpPr txBox="1"/>
          <p:nvPr userDrawn="1"/>
        </p:nvSpPr>
        <p:spPr>
          <a:xfrm flipH="1">
            <a:off x="8741500" y="4819728"/>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28" name="Text Placeholder 16">
            <a:extLst>
              <a:ext uri="{FF2B5EF4-FFF2-40B4-BE49-F238E27FC236}">
                <a16:creationId xmlns:a16="http://schemas.microsoft.com/office/drawing/2014/main" id="{328F2429-F6C3-36FF-A654-06D5F45F017E}"/>
              </a:ext>
            </a:extLst>
          </p:cNvPr>
          <p:cNvSpPr>
            <a:spLocks noGrp="1"/>
          </p:cNvSpPr>
          <p:nvPr>
            <p:ph type="body" sz="quarter" idx="39" hasCustomPrompt="1"/>
          </p:nvPr>
        </p:nvSpPr>
        <p:spPr>
          <a:xfrm>
            <a:off x="8739981" y="5474535"/>
            <a:ext cx="2815432" cy="541810"/>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0"/>
              </a:spcBef>
              <a:spcAft>
                <a:spcPts val="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1"/>
            <a:r>
              <a:rPr lang="en-US" dirty="0"/>
              <a:t>Address line</a:t>
            </a:r>
          </a:p>
        </p:txBody>
      </p:sp>
      <p:sp>
        <p:nvSpPr>
          <p:cNvPr id="29" name="Text Placeholder 16">
            <a:extLst>
              <a:ext uri="{FF2B5EF4-FFF2-40B4-BE49-F238E27FC236}">
                <a16:creationId xmlns:a16="http://schemas.microsoft.com/office/drawing/2014/main" id="{7D3FB776-CB2C-C43B-0134-A91B34DD6957}"/>
              </a:ext>
            </a:extLst>
          </p:cNvPr>
          <p:cNvSpPr>
            <a:spLocks noGrp="1"/>
          </p:cNvSpPr>
          <p:nvPr>
            <p:ph type="body" sz="quarter" idx="40" hasCustomPrompt="1"/>
          </p:nvPr>
        </p:nvSpPr>
        <p:spPr>
          <a:xfrm>
            <a:off x="8739981" y="5257365"/>
            <a:ext cx="2815432" cy="169277"/>
          </a:xfrm>
        </p:spPr>
        <p:txBody>
          <a:bodyPr tIns="0" bIns="0">
            <a:noAutofit/>
          </a:bodyPr>
          <a:lstStyle>
            <a:lvl1pPr algn="l">
              <a:lnSpc>
                <a:spcPct val="100000"/>
              </a:lnSpc>
              <a:spcBef>
                <a:spcPts val="0"/>
              </a:spcBef>
              <a:spcAft>
                <a:spcPts val="0"/>
              </a:spcAft>
              <a:defRPr sz="1100" cap="all" baseline="0">
                <a:solidFill>
                  <a:schemeClr val="tx2"/>
                </a:solidFill>
                <a:latin typeface="+mj-lt"/>
              </a:defRPr>
            </a:lvl1pPr>
            <a:lvl2pPr algn="l">
              <a:lnSpc>
                <a:spcPct val="100000"/>
              </a:lnSpc>
              <a:spcBef>
                <a:spcPts val="200"/>
              </a:spcBef>
              <a:spcAft>
                <a:spcPts val="200"/>
              </a:spcAft>
              <a:defRPr sz="1100">
                <a:solidFill>
                  <a:schemeClr val="tx1"/>
                </a:solidFill>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0"/>
            <a:r>
              <a:rPr lang="en-US" dirty="0"/>
              <a:t>Office name</a:t>
            </a:r>
          </a:p>
        </p:txBody>
      </p:sp>
      <p:sp>
        <p:nvSpPr>
          <p:cNvPr id="30" name="Text Placeholder 16">
            <a:extLst>
              <a:ext uri="{FF2B5EF4-FFF2-40B4-BE49-F238E27FC236}">
                <a16:creationId xmlns:a16="http://schemas.microsoft.com/office/drawing/2014/main" id="{93E02E3E-0180-EEF2-BC53-C6F8EC664363}"/>
              </a:ext>
            </a:extLst>
          </p:cNvPr>
          <p:cNvSpPr>
            <a:spLocks noGrp="1"/>
          </p:cNvSpPr>
          <p:nvPr>
            <p:ph type="body" sz="quarter" idx="41" hasCustomPrompt="1"/>
          </p:nvPr>
        </p:nvSpPr>
        <p:spPr>
          <a:xfrm>
            <a:off x="8915664" y="6043134"/>
            <a:ext cx="263974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31" name="TextBox 30">
            <a:extLst>
              <a:ext uri="{FF2B5EF4-FFF2-40B4-BE49-F238E27FC236}">
                <a16:creationId xmlns:a16="http://schemas.microsoft.com/office/drawing/2014/main" id="{BD32DB83-7401-138A-B8F2-58CED9C43A8F}"/>
              </a:ext>
            </a:extLst>
          </p:cNvPr>
          <p:cNvSpPr txBox="1"/>
          <p:nvPr userDrawn="1"/>
        </p:nvSpPr>
        <p:spPr>
          <a:xfrm flipH="1">
            <a:off x="8741500" y="6043134"/>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9" name="TextBox 4">
            <a:extLst>
              <a:ext uri="{FF2B5EF4-FFF2-40B4-BE49-F238E27FC236}">
                <a16:creationId xmlns:a16="http://schemas.microsoft.com/office/drawing/2014/main" id="{FB38180A-C471-10DC-8890-1F79F2809ED3}"/>
              </a:ext>
            </a:extLst>
          </p:cNvPr>
          <p:cNvSpPr txBox="1"/>
          <p:nvPr userDrawn="1"/>
        </p:nvSpPr>
        <p:spPr>
          <a:xfrm>
            <a:off x="12346713" y="109538"/>
            <a:ext cx="2253207" cy="316496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INSERTING IMAGES:</a:t>
            </a:r>
          </a:p>
          <a:p>
            <a:pPr marL="179388" indent="-179388">
              <a:spcBef>
                <a:spcPts val="200"/>
              </a:spcBef>
              <a:spcAft>
                <a:spcPts val="200"/>
              </a:spcAft>
              <a:buFont typeface="+mj-lt"/>
              <a:buAutoNum type="arabicPeriod"/>
            </a:pPr>
            <a:r>
              <a:rPr lang="en-US" sz="900" dirty="0">
                <a:solidFill>
                  <a:schemeClr val="tx1"/>
                </a:solidFill>
                <a:latin typeface="+mn-lt"/>
              </a:rPr>
              <a:t>Simply click the image placeholder and select your image.</a:t>
            </a:r>
          </a:p>
          <a:p>
            <a:pPr marL="179388" indent="-179388">
              <a:spcBef>
                <a:spcPts val="200"/>
              </a:spcBef>
              <a:spcAft>
                <a:spcPts val="200"/>
              </a:spcAft>
              <a:buFont typeface="+mj-lt"/>
              <a:buAutoNum type="arabicPeriod"/>
            </a:pPr>
            <a:r>
              <a:rPr lang="en-US" sz="900" dirty="0">
                <a:solidFill>
                  <a:schemeClr val="tx1"/>
                </a:solidFill>
                <a:latin typeface="+mn-lt"/>
              </a:rPr>
              <a:t>Once your image is inserted into the shape it may be distorted. (Stretched or Squashed)</a:t>
            </a:r>
          </a:p>
          <a:p>
            <a:pPr marL="179388" indent="-179388">
              <a:spcBef>
                <a:spcPts val="200"/>
              </a:spcBef>
              <a:spcAft>
                <a:spcPts val="200"/>
              </a:spcAft>
              <a:buFont typeface="+mj-lt"/>
              <a:buAutoNum type="arabicPeriod"/>
            </a:pPr>
            <a:endParaRPr lang="en-US" sz="900" dirty="0">
              <a:solidFill>
                <a:schemeClr val="tx1"/>
              </a:solidFill>
              <a:latin typeface="+mn-lt"/>
            </a:endParaRPr>
          </a:p>
          <a:p>
            <a:pPr>
              <a:spcBef>
                <a:spcPts val="200"/>
              </a:spcBef>
              <a:spcAft>
                <a:spcPts val="200"/>
              </a:spcAft>
            </a:pPr>
            <a:r>
              <a:rPr lang="en-US" sz="900" b="1" dirty="0">
                <a:solidFill>
                  <a:schemeClr val="tx1"/>
                </a:solidFill>
                <a:latin typeface="+mn-lt"/>
              </a:rPr>
              <a:t>To fix this:</a:t>
            </a:r>
          </a:p>
          <a:p>
            <a:pPr marL="179388" indent="-179388">
              <a:spcBef>
                <a:spcPts val="200"/>
              </a:spcBef>
              <a:spcAft>
                <a:spcPts val="200"/>
              </a:spcAft>
              <a:buFont typeface="+mj-lt"/>
              <a:buAutoNum type="arabicPeriod"/>
            </a:pPr>
            <a:r>
              <a:rPr lang="en-US" sz="900" dirty="0">
                <a:solidFill>
                  <a:schemeClr val="tx1"/>
                </a:solidFill>
                <a:latin typeface="+mn-lt"/>
              </a:rPr>
              <a:t>Click on the image and from the top menu under </a:t>
            </a:r>
            <a:r>
              <a:rPr lang="en-US" sz="900" b="1" dirty="0">
                <a:solidFill>
                  <a:schemeClr val="tx1"/>
                </a:solidFill>
                <a:latin typeface="+mn-lt"/>
              </a:rPr>
              <a:t>PICTURE FORMAT </a:t>
            </a:r>
            <a:r>
              <a:rPr lang="en-US" sz="900" dirty="0">
                <a:solidFill>
                  <a:schemeClr val="tx1"/>
                </a:solidFill>
                <a:latin typeface="+mn-lt"/>
              </a:rPr>
              <a:t>select the </a:t>
            </a:r>
            <a:r>
              <a:rPr lang="en-US" sz="900" b="1" dirty="0">
                <a:solidFill>
                  <a:schemeClr val="tx1"/>
                </a:solidFill>
                <a:latin typeface="+mn-lt"/>
              </a:rPr>
              <a:t>CROP</a:t>
            </a:r>
            <a:r>
              <a:rPr lang="en-US" sz="900" dirty="0">
                <a:solidFill>
                  <a:schemeClr val="tx1"/>
                </a:solidFill>
                <a:latin typeface="+mn-lt"/>
              </a:rPr>
              <a:t> on the right and from the drop down menu select </a:t>
            </a:r>
            <a:r>
              <a:rPr lang="en-US" sz="900" b="1" kern="1200" dirty="0">
                <a:solidFill>
                  <a:schemeClr val="tx1"/>
                </a:solidFill>
                <a:latin typeface="+mn-lt"/>
                <a:ea typeface="+mn-ea"/>
                <a:cs typeface="+mn-cs"/>
              </a:rPr>
              <a:t>FILL</a:t>
            </a:r>
          </a:p>
          <a:p>
            <a:pPr marL="179388" indent="-179388">
              <a:spcBef>
                <a:spcPts val="200"/>
              </a:spcBef>
              <a:spcAft>
                <a:spcPts val="200"/>
              </a:spcAft>
              <a:buFont typeface="+mj-lt"/>
              <a:buAutoNum type="arabicPeriod"/>
            </a:pPr>
            <a:r>
              <a:rPr lang="en-US" sz="900" b="0" kern="1200" dirty="0">
                <a:solidFill>
                  <a:schemeClr val="tx1"/>
                </a:solidFill>
                <a:latin typeface="+mn-lt"/>
                <a:ea typeface="+mn-ea"/>
                <a:cs typeface="+mn-cs"/>
              </a:rPr>
              <a:t>From here you can move the image within the shape for best visual appearance</a:t>
            </a:r>
          </a:p>
          <a:p>
            <a:pPr marL="179388" indent="-179388">
              <a:spcBef>
                <a:spcPts val="200"/>
              </a:spcBef>
              <a:spcAft>
                <a:spcPts val="200"/>
              </a:spcAft>
              <a:buFont typeface="+mj-lt"/>
              <a:buAutoNum type="arabicPeriod"/>
            </a:pPr>
            <a:endParaRPr lang="en-US" sz="900" b="0" kern="1200" dirty="0">
              <a:solidFill>
                <a:schemeClr val="tx1"/>
              </a:solidFill>
              <a:latin typeface="+mn-lt"/>
              <a:ea typeface="+mn-ea"/>
              <a:cs typeface="+mn-cs"/>
            </a:endParaRPr>
          </a:p>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SAMPLE CONTACT LAYOUT</a:t>
            </a:r>
          </a:p>
        </p:txBody>
      </p:sp>
      <p:grpSp>
        <p:nvGrpSpPr>
          <p:cNvPr id="27" name="Group 26">
            <a:extLst>
              <a:ext uri="{FF2B5EF4-FFF2-40B4-BE49-F238E27FC236}">
                <a16:creationId xmlns:a16="http://schemas.microsoft.com/office/drawing/2014/main" id="{18BA1B1C-5824-FFF1-8289-E7B43FFC828E}"/>
              </a:ext>
            </a:extLst>
          </p:cNvPr>
          <p:cNvGrpSpPr/>
          <p:nvPr userDrawn="1"/>
        </p:nvGrpSpPr>
        <p:grpSpPr>
          <a:xfrm>
            <a:off x="12437199" y="3429000"/>
            <a:ext cx="2813913" cy="1004063"/>
            <a:chOff x="12437199" y="3429000"/>
            <a:chExt cx="2813913" cy="1004063"/>
          </a:xfrm>
        </p:grpSpPr>
        <p:sp>
          <p:nvSpPr>
            <p:cNvPr id="32" name="TextBox 31">
              <a:extLst>
                <a:ext uri="{FF2B5EF4-FFF2-40B4-BE49-F238E27FC236}">
                  <a16:creationId xmlns:a16="http://schemas.microsoft.com/office/drawing/2014/main" id="{21996933-FE92-7F23-2406-8F1989230EED}"/>
                </a:ext>
              </a:extLst>
            </p:cNvPr>
            <p:cNvSpPr txBox="1"/>
            <p:nvPr userDrawn="1"/>
          </p:nvSpPr>
          <p:spPr>
            <a:xfrm flipH="1">
              <a:off x="12611362" y="4263786"/>
              <a:ext cx="2639750"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33" name="TextBox 32">
              <a:extLst>
                <a:ext uri="{FF2B5EF4-FFF2-40B4-BE49-F238E27FC236}">
                  <a16:creationId xmlns:a16="http://schemas.microsoft.com/office/drawing/2014/main" id="{7E5282DF-6A79-7A1C-F334-1E50049FBC3A}"/>
                </a:ext>
              </a:extLst>
            </p:cNvPr>
            <p:cNvSpPr txBox="1"/>
            <p:nvPr userDrawn="1"/>
          </p:nvSpPr>
          <p:spPr>
            <a:xfrm flipH="1">
              <a:off x="12437200" y="4263786"/>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34" name="TextBox 33">
              <a:extLst>
                <a:ext uri="{FF2B5EF4-FFF2-40B4-BE49-F238E27FC236}">
                  <a16:creationId xmlns:a16="http://schemas.microsoft.com/office/drawing/2014/main" id="{66F8B409-23E4-40AB-4BDA-4D9C9B822982}"/>
                </a:ext>
              </a:extLst>
            </p:cNvPr>
            <p:cNvSpPr txBox="1"/>
            <p:nvPr userDrawn="1"/>
          </p:nvSpPr>
          <p:spPr>
            <a:xfrm flipH="1">
              <a:off x="12437199" y="3429000"/>
              <a:ext cx="1968833"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solidFill>
                    <a:schemeClr val="tx2"/>
                  </a:solidFill>
                  <a:latin typeface="+mj-lt"/>
                </a:rPr>
                <a:t>OFFICE NAME</a:t>
              </a:r>
            </a:p>
          </p:txBody>
        </p:sp>
        <p:sp>
          <p:nvSpPr>
            <p:cNvPr id="35" name="TextBox 34">
              <a:extLst>
                <a:ext uri="{FF2B5EF4-FFF2-40B4-BE49-F238E27FC236}">
                  <a16:creationId xmlns:a16="http://schemas.microsoft.com/office/drawing/2014/main" id="{1420FD23-1389-D236-F8E4-0D8AC9A7DD7F}"/>
                </a:ext>
              </a:extLst>
            </p:cNvPr>
            <p:cNvSpPr txBox="1"/>
            <p:nvPr userDrawn="1"/>
          </p:nvSpPr>
          <p:spPr>
            <a:xfrm flipH="1">
              <a:off x="12437199" y="3644298"/>
              <a:ext cx="1968833"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0" lvl="0" indent="0" algn="l" defTabSz="914400" rtl="0" eaLnBrk="1" latinLnBrk="0" hangingPunct="1">
                <a:lnSpc>
                  <a:spcPct val="100000"/>
                </a:lnSpc>
                <a:spcBef>
                  <a:spcPts val="100"/>
                </a:spcBef>
                <a:spcAft>
                  <a:spcPts val="0"/>
                </a:spcAft>
                <a:buFont typeface="Arial" panose="020B0604020202020204" pitchFamily="34" charset="0"/>
                <a:buNone/>
              </a:pPr>
              <a:r>
                <a:rPr lang="en-US" dirty="0"/>
                <a:t>Address line 1</a:t>
              </a:r>
            </a:p>
            <a:p>
              <a:pPr marL="0" marR="0" lvl="0" indent="0" algn="l" defTabSz="914400" rtl="0" eaLnBrk="1" fontAlgn="auto" latinLnBrk="0" hangingPunct="1">
                <a:lnSpc>
                  <a:spcPct val="100000"/>
                </a:lnSpc>
                <a:spcBef>
                  <a:spcPts val="100"/>
                </a:spcBef>
                <a:spcAft>
                  <a:spcPts val="0"/>
                </a:spcAft>
                <a:buClrTx/>
                <a:buSzTx/>
                <a:buFont typeface="Arial" panose="020B0604020202020204" pitchFamily="34" charset="0"/>
                <a:buNone/>
                <a:tabLst/>
                <a:defRPr/>
              </a:pPr>
              <a:r>
                <a:rPr lang="en-US" dirty="0"/>
                <a:t>Address line 2</a:t>
              </a:r>
            </a:p>
            <a:p>
              <a:pPr marL="0" marR="0" lvl="0" indent="0" algn="l" defTabSz="914400" rtl="0" eaLnBrk="1" fontAlgn="auto" latinLnBrk="0" hangingPunct="1">
                <a:lnSpc>
                  <a:spcPct val="100000"/>
                </a:lnSpc>
                <a:spcBef>
                  <a:spcPts val="100"/>
                </a:spcBef>
                <a:spcAft>
                  <a:spcPts val="0"/>
                </a:spcAft>
                <a:buClrTx/>
                <a:buSzTx/>
                <a:buFont typeface="Arial" panose="020B0604020202020204" pitchFamily="34" charset="0"/>
                <a:buNone/>
                <a:tabLst/>
                <a:defRPr/>
              </a:pPr>
              <a:r>
                <a:rPr lang="en-US" dirty="0"/>
                <a:t>Address line 3</a:t>
              </a:r>
            </a:p>
            <a:p>
              <a:pPr marL="0" lvl="0" indent="0" algn="l" defTabSz="914400" rtl="0" eaLnBrk="1" latinLnBrk="0" hangingPunct="1">
                <a:lnSpc>
                  <a:spcPct val="100000"/>
                </a:lnSpc>
                <a:spcBef>
                  <a:spcPts val="200"/>
                </a:spcBef>
                <a:spcAft>
                  <a:spcPts val="200"/>
                </a:spcAft>
                <a:buFont typeface="Arial" panose="020B0604020202020204" pitchFamily="34" charset="0"/>
                <a:buNone/>
              </a:pPr>
              <a:endParaRPr lang="en-US" dirty="0"/>
            </a:p>
          </p:txBody>
        </p:sp>
      </p:grpSp>
    </p:spTree>
    <p:extLst>
      <p:ext uri="{BB962C8B-B14F-4D97-AF65-F5344CB8AC3E}">
        <p14:creationId xmlns:p14="http://schemas.microsoft.com/office/powerpoint/2010/main" val="2221668219"/>
      </p:ext>
    </p:extLst>
  </p:cSld>
  <p:clrMapOvr>
    <a:masterClrMapping/>
  </p:clrMapOvr>
  <p:transition spd="med">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Key Contacts 10">
    <p:bg>
      <p:bgPr>
        <a:solidFill>
          <a:schemeClr val="bg2"/>
        </a:solidFill>
        <a:effectLst/>
      </p:bgPr>
    </p:bg>
    <p:spTree>
      <p:nvGrpSpPr>
        <p:cNvPr id="1" name=""/>
        <p:cNvGrpSpPr/>
        <p:nvPr/>
      </p:nvGrpSpPr>
      <p:grpSpPr>
        <a:xfrm>
          <a:off x="0" y="0"/>
          <a:ext cx="0" cy="0"/>
          <a:chOff x="0" y="0"/>
          <a:chExt cx="0" cy="0"/>
        </a:xfrm>
      </p:grpSpPr>
      <p:sp>
        <p:nvSpPr>
          <p:cNvPr id="9" name="Picture Placeholder 10">
            <a:extLst>
              <a:ext uri="{FF2B5EF4-FFF2-40B4-BE49-F238E27FC236}">
                <a16:creationId xmlns:a16="http://schemas.microsoft.com/office/drawing/2014/main" id="{957F7B8C-8896-F507-1133-31FF9F06D6DB}"/>
              </a:ext>
            </a:extLst>
          </p:cNvPr>
          <p:cNvSpPr>
            <a:spLocks noGrp="1"/>
          </p:cNvSpPr>
          <p:nvPr>
            <p:ph type="pic" sz="quarter" idx="13" hasCustomPrompt="1"/>
          </p:nvPr>
        </p:nvSpPr>
        <p:spPr>
          <a:xfrm>
            <a:off x="8126412" y="0"/>
            <a:ext cx="4065587" cy="6858000"/>
          </a:xfrm>
          <a:solidFill>
            <a:schemeClr val="tx1"/>
          </a:solidFill>
        </p:spPr>
        <p:txBody>
          <a:bodyPr vert="horz" lIns="0" tIns="45720" rIns="0" bIns="45720" rtlCol="0" anchor="ctr">
            <a:normAutofit/>
          </a:bodyPr>
          <a:lstStyle>
            <a:lvl1pPr algn="ctr">
              <a:defRPr lang="en-GB" sz="2800" b="0" dirty="0">
                <a:solidFill>
                  <a:schemeClr val="bg1"/>
                </a:solidFill>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US" dirty="0"/>
              <a:t>ADD RELATED </a:t>
            </a:r>
            <a:br>
              <a:rPr lang="en-US" dirty="0"/>
            </a:br>
            <a:r>
              <a:rPr lang="en-US" dirty="0"/>
              <a:t>IMAGE </a:t>
            </a:r>
            <a:br>
              <a:rPr lang="en-US" dirty="0"/>
            </a:br>
            <a:r>
              <a:rPr lang="en-US" dirty="0"/>
              <a:t>FROM HFW </a:t>
            </a:r>
            <a:br>
              <a:rPr lang="en-US" dirty="0"/>
            </a:br>
            <a:r>
              <a:rPr lang="en-US" dirty="0"/>
              <a:t>IMAGE LIBRARY</a:t>
            </a:r>
          </a:p>
        </p:txBody>
      </p:sp>
      <p:sp>
        <p:nvSpPr>
          <p:cNvPr id="2" name="Title 1"/>
          <p:cNvSpPr>
            <a:spLocks noGrp="1"/>
          </p:cNvSpPr>
          <p:nvPr>
            <p:ph type="title" hasCustomPrompt="1"/>
          </p:nvPr>
        </p:nvSpPr>
        <p:spPr>
          <a:xfrm>
            <a:off x="508000" y="454013"/>
            <a:ext cx="7459663" cy="663587"/>
          </a:xfrm>
        </p:spPr>
        <p:txBody>
          <a:bodyPr/>
          <a:lstStyle/>
          <a:p>
            <a:r>
              <a:rPr lang="en-US" dirty="0"/>
              <a:t>Key </a:t>
            </a:r>
            <a:r>
              <a:rPr lang="en-US" dirty="0" err="1"/>
              <a:t>contactS</a:t>
            </a:r>
            <a:endParaRPr lang="en-US" dirty="0"/>
          </a:p>
        </p:txBody>
      </p:sp>
      <p:sp>
        <p:nvSpPr>
          <p:cNvPr id="5" name="Footer Placeholder 4"/>
          <p:cNvSpPr>
            <a:spLocks noGrp="1"/>
          </p:cNvSpPr>
          <p:nvPr>
            <p:ph type="ftr" sz="quarter" idx="11"/>
          </p:nvPr>
        </p:nvSpPr>
        <p:spPr/>
        <p:txBody>
          <a:bodyPr/>
          <a:lstStyle/>
          <a:p>
            <a:r>
              <a:rPr lang="en-GB"/>
              <a:t>INSERT FOOTER HER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8CFE0557-AA98-4E6C-B0C3-581794696B68}" type="slidenum">
              <a:rPr lang="en-GB" smtClean="0"/>
              <a:pPr/>
              <a:t>‹#›</a:t>
            </a:fld>
            <a:endParaRPr lang="en-GB"/>
          </a:p>
        </p:txBody>
      </p:sp>
      <p:sp>
        <p:nvSpPr>
          <p:cNvPr id="3" name="Picture Placeholder 14">
            <a:extLst>
              <a:ext uri="{FF2B5EF4-FFF2-40B4-BE49-F238E27FC236}">
                <a16:creationId xmlns:a16="http://schemas.microsoft.com/office/drawing/2014/main" id="{02D7B66A-AE40-49CA-7F64-FC0D71E53057}"/>
              </a:ext>
            </a:extLst>
          </p:cNvPr>
          <p:cNvSpPr>
            <a:spLocks noGrp="1"/>
          </p:cNvSpPr>
          <p:nvPr>
            <p:ph type="pic" sz="quarter" idx="35" hasCustomPrompt="1"/>
          </p:nvPr>
        </p:nvSpPr>
        <p:spPr>
          <a:xfrm>
            <a:off x="4235451" y="1298891"/>
            <a:ext cx="876299" cy="876299"/>
          </a:xfrm>
          <a:solidFill>
            <a:schemeClr val="bg1"/>
          </a:solidFill>
        </p:spPr>
        <p:txBody>
          <a:bodyPr anchor="ctr">
            <a:normAutofit/>
          </a:bodyPr>
          <a:lstStyle>
            <a:lvl1pPr algn="ctr">
              <a:defRPr sz="1000">
                <a:latin typeface="+mn-lt"/>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GB" dirty="0"/>
              <a:t>Picture</a:t>
            </a:r>
          </a:p>
        </p:txBody>
      </p:sp>
      <p:sp>
        <p:nvSpPr>
          <p:cNvPr id="7" name="Text Placeholder 16">
            <a:extLst>
              <a:ext uri="{FF2B5EF4-FFF2-40B4-BE49-F238E27FC236}">
                <a16:creationId xmlns:a16="http://schemas.microsoft.com/office/drawing/2014/main" id="{B05E2EAA-2472-4650-7112-6FA68FD693A6}"/>
              </a:ext>
            </a:extLst>
          </p:cNvPr>
          <p:cNvSpPr>
            <a:spLocks noGrp="1"/>
          </p:cNvSpPr>
          <p:nvPr>
            <p:ph type="body" sz="quarter" idx="36" hasCustomPrompt="1"/>
          </p:nvPr>
        </p:nvSpPr>
        <p:spPr>
          <a:xfrm>
            <a:off x="5211365" y="1538859"/>
            <a:ext cx="2543172"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US" dirty="0"/>
              <a:t>Position, Location</a:t>
            </a:r>
          </a:p>
        </p:txBody>
      </p:sp>
      <p:sp>
        <p:nvSpPr>
          <p:cNvPr id="29" name="Text Placeholder 16">
            <a:extLst>
              <a:ext uri="{FF2B5EF4-FFF2-40B4-BE49-F238E27FC236}">
                <a16:creationId xmlns:a16="http://schemas.microsoft.com/office/drawing/2014/main" id="{C6653ABC-31D1-DCD6-65A5-A3F136BB06DC}"/>
              </a:ext>
            </a:extLst>
          </p:cNvPr>
          <p:cNvSpPr>
            <a:spLocks noGrp="1"/>
          </p:cNvSpPr>
          <p:nvPr>
            <p:ph type="body" sz="quarter" idx="37" hasCustomPrompt="1"/>
          </p:nvPr>
        </p:nvSpPr>
        <p:spPr>
          <a:xfrm>
            <a:off x="5211365" y="1321689"/>
            <a:ext cx="2543172" cy="169277"/>
          </a:xfrm>
        </p:spPr>
        <p:txBody>
          <a:bodyPr tIns="0" bIns="0">
            <a:noAutofit/>
          </a:bodyPr>
          <a:lstStyle>
            <a:lvl1pPr algn="l">
              <a:lnSpc>
                <a:spcPct val="100000"/>
              </a:lnSpc>
              <a:spcBef>
                <a:spcPts val="0"/>
              </a:spcBef>
              <a:spcAft>
                <a:spcPts val="0"/>
              </a:spcAft>
              <a:defRPr sz="1100" cap="all" baseline="0">
                <a:solidFill>
                  <a:schemeClr val="tx2"/>
                </a:solidFill>
                <a:latin typeface="+mj-lt"/>
              </a:defRPr>
            </a:lvl1pPr>
            <a:lvl2pPr algn="l">
              <a:lnSpc>
                <a:spcPct val="100000"/>
              </a:lnSpc>
              <a:spcBef>
                <a:spcPts val="200"/>
              </a:spcBef>
              <a:spcAft>
                <a:spcPts val="200"/>
              </a:spcAft>
              <a:defRPr sz="1100">
                <a:solidFill>
                  <a:schemeClr val="tx1"/>
                </a:solidFill>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0"/>
            <a:r>
              <a:rPr lang="en-US" dirty="0"/>
              <a:t>NAME SURNAME</a:t>
            </a:r>
          </a:p>
        </p:txBody>
      </p:sp>
      <p:sp>
        <p:nvSpPr>
          <p:cNvPr id="30" name="Text Placeholder 16">
            <a:extLst>
              <a:ext uri="{FF2B5EF4-FFF2-40B4-BE49-F238E27FC236}">
                <a16:creationId xmlns:a16="http://schemas.microsoft.com/office/drawing/2014/main" id="{77C6DEB4-8649-D2F5-E526-EDC552A195B6}"/>
              </a:ext>
            </a:extLst>
          </p:cNvPr>
          <p:cNvSpPr>
            <a:spLocks noGrp="1"/>
          </p:cNvSpPr>
          <p:nvPr>
            <p:ph type="body" sz="quarter" idx="38" hasCustomPrompt="1"/>
          </p:nvPr>
        </p:nvSpPr>
        <p:spPr>
          <a:xfrm>
            <a:off x="5387048" y="1756091"/>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31" name="Text Placeholder 16">
            <a:extLst>
              <a:ext uri="{FF2B5EF4-FFF2-40B4-BE49-F238E27FC236}">
                <a16:creationId xmlns:a16="http://schemas.microsoft.com/office/drawing/2014/main" id="{A2876901-29AC-22C6-CCCA-41D0E6BC1809}"/>
              </a:ext>
            </a:extLst>
          </p:cNvPr>
          <p:cNvSpPr>
            <a:spLocks noGrp="1"/>
          </p:cNvSpPr>
          <p:nvPr>
            <p:ph type="body" sz="quarter" idx="39" hasCustomPrompt="1"/>
          </p:nvPr>
        </p:nvSpPr>
        <p:spPr>
          <a:xfrm>
            <a:off x="5387048" y="1973323"/>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name.surname@hfw.com</a:t>
            </a:r>
            <a:endParaRPr lang="en-US" dirty="0"/>
          </a:p>
        </p:txBody>
      </p:sp>
      <p:sp>
        <p:nvSpPr>
          <p:cNvPr id="32" name="TextBox 31">
            <a:extLst>
              <a:ext uri="{FF2B5EF4-FFF2-40B4-BE49-F238E27FC236}">
                <a16:creationId xmlns:a16="http://schemas.microsoft.com/office/drawing/2014/main" id="{FF43B9EB-8072-CF9D-C0B6-7AD7D0290FE9}"/>
              </a:ext>
            </a:extLst>
          </p:cNvPr>
          <p:cNvSpPr txBox="1"/>
          <p:nvPr userDrawn="1"/>
        </p:nvSpPr>
        <p:spPr>
          <a:xfrm flipH="1">
            <a:off x="5212884" y="1756091"/>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33" name="TextBox 32">
            <a:extLst>
              <a:ext uri="{FF2B5EF4-FFF2-40B4-BE49-F238E27FC236}">
                <a16:creationId xmlns:a16="http://schemas.microsoft.com/office/drawing/2014/main" id="{1E82F238-4495-C676-1023-14B3E0E174AC}"/>
              </a:ext>
            </a:extLst>
          </p:cNvPr>
          <p:cNvSpPr txBox="1"/>
          <p:nvPr userDrawn="1"/>
        </p:nvSpPr>
        <p:spPr>
          <a:xfrm flipH="1">
            <a:off x="5212884" y="1973323"/>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E</a:t>
            </a:r>
          </a:p>
        </p:txBody>
      </p:sp>
      <p:sp>
        <p:nvSpPr>
          <p:cNvPr id="34" name="Picture Placeholder 14">
            <a:extLst>
              <a:ext uri="{FF2B5EF4-FFF2-40B4-BE49-F238E27FC236}">
                <a16:creationId xmlns:a16="http://schemas.microsoft.com/office/drawing/2014/main" id="{3A9079D6-B2B4-19C1-D651-F4C4E1D7113D}"/>
              </a:ext>
            </a:extLst>
          </p:cNvPr>
          <p:cNvSpPr>
            <a:spLocks noGrp="1"/>
          </p:cNvSpPr>
          <p:nvPr>
            <p:ph type="pic" sz="quarter" idx="40" hasCustomPrompt="1"/>
          </p:nvPr>
        </p:nvSpPr>
        <p:spPr>
          <a:xfrm>
            <a:off x="516891" y="1298891"/>
            <a:ext cx="876299" cy="876299"/>
          </a:xfrm>
          <a:solidFill>
            <a:schemeClr val="bg1"/>
          </a:solidFill>
        </p:spPr>
        <p:txBody>
          <a:bodyPr anchor="ctr">
            <a:normAutofit/>
          </a:bodyPr>
          <a:lstStyle>
            <a:lvl1pPr algn="ctr">
              <a:defRPr sz="1000">
                <a:latin typeface="+mn-lt"/>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GB" dirty="0"/>
              <a:t>Picture</a:t>
            </a:r>
          </a:p>
        </p:txBody>
      </p:sp>
      <p:sp>
        <p:nvSpPr>
          <p:cNvPr id="35" name="Text Placeholder 16">
            <a:extLst>
              <a:ext uri="{FF2B5EF4-FFF2-40B4-BE49-F238E27FC236}">
                <a16:creationId xmlns:a16="http://schemas.microsoft.com/office/drawing/2014/main" id="{E4E063B1-7D98-65D2-504F-1F6D2A81815F}"/>
              </a:ext>
            </a:extLst>
          </p:cNvPr>
          <p:cNvSpPr>
            <a:spLocks noGrp="1"/>
          </p:cNvSpPr>
          <p:nvPr>
            <p:ph type="body" sz="quarter" idx="41" hasCustomPrompt="1"/>
          </p:nvPr>
        </p:nvSpPr>
        <p:spPr>
          <a:xfrm>
            <a:off x="1492805" y="1538859"/>
            <a:ext cx="2543172"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US" dirty="0"/>
              <a:t>Position, Location</a:t>
            </a:r>
          </a:p>
        </p:txBody>
      </p:sp>
      <p:sp>
        <p:nvSpPr>
          <p:cNvPr id="36" name="Text Placeholder 16">
            <a:extLst>
              <a:ext uri="{FF2B5EF4-FFF2-40B4-BE49-F238E27FC236}">
                <a16:creationId xmlns:a16="http://schemas.microsoft.com/office/drawing/2014/main" id="{A039A773-C6DB-3A6C-EC4A-E29A943A8D7B}"/>
              </a:ext>
            </a:extLst>
          </p:cNvPr>
          <p:cNvSpPr>
            <a:spLocks noGrp="1"/>
          </p:cNvSpPr>
          <p:nvPr>
            <p:ph type="body" sz="quarter" idx="42" hasCustomPrompt="1"/>
          </p:nvPr>
        </p:nvSpPr>
        <p:spPr>
          <a:xfrm>
            <a:off x="1492805" y="1321689"/>
            <a:ext cx="2543172" cy="169277"/>
          </a:xfrm>
        </p:spPr>
        <p:txBody>
          <a:bodyPr tIns="0" bIns="0">
            <a:noAutofit/>
          </a:bodyPr>
          <a:lstStyle>
            <a:lvl1pPr algn="l">
              <a:lnSpc>
                <a:spcPct val="100000"/>
              </a:lnSpc>
              <a:spcBef>
                <a:spcPts val="0"/>
              </a:spcBef>
              <a:spcAft>
                <a:spcPts val="0"/>
              </a:spcAft>
              <a:defRPr sz="1100" cap="all" baseline="0">
                <a:solidFill>
                  <a:schemeClr val="tx2"/>
                </a:solidFill>
                <a:latin typeface="+mj-lt"/>
              </a:defRPr>
            </a:lvl1pPr>
            <a:lvl2pPr algn="l">
              <a:lnSpc>
                <a:spcPct val="100000"/>
              </a:lnSpc>
              <a:spcBef>
                <a:spcPts val="200"/>
              </a:spcBef>
              <a:spcAft>
                <a:spcPts val="200"/>
              </a:spcAft>
              <a:defRPr sz="1100">
                <a:solidFill>
                  <a:schemeClr val="tx1"/>
                </a:solidFill>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0"/>
            <a:r>
              <a:rPr lang="en-US" dirty="0"/>
              <a:t>NAME SURNAME</a:t>
            </a:r>
          </a:p>
        </p:txBody>
      </p:sp>
      <p:sp>
        <p:nvSpPr>
          <p:cNvPr id="37" name="Text Placeholder 16">
            <a:extLst>
              <a:ext uri="{FF2B5EF4-FFF2-40B4-BE49-F238E27FC236}">
                <a16:creationId xmlns:a16="http://schemas.microsoft.com/office/drawing/2014/main" id="{751C7180-0DA3-7B03-40C8-2A8D90A42E28}"/>
              </a:ext>
            </a:extLst>
          </p:cNvPr>
          <p:cNvSpPr>
            <a:spLocks noGrp="1"/>
          </p:cNvSpPr>
          <p:nvPr>
            <p:ph type="body" sz="quarter" idx="43" hasCustomPrompt="1"/>
          </p:nvPr>
        </p:nvSpPr>
        <p:spPr>
          <a:xfrm>
            <a:off x="1668488" y="1756091"/>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38" name="Text Placeholder 16">
            <a:extLst>
              <a:ext uri="{FF2B5EF4-FFF2-40B4-BE49-F238E27FC236}">
                <a16:creationId xmlns:a16="http://schemas.microsoft.com/office/drawing/2014/main" id="{C90A2C28-251C-377F-CB64-E237B8362BE5}"/>
              </a:ext>
            </a:extLst>
          </p:cNvPr>
          <p:cNvSpPr>
            <a:spLocks noGrp="1"/>
          </p:cNvSpPr>
          <p:nvPr>
            <p:ph type="body" sz="quarter" idx="44" hasCustomPrompt="1"/>
          </p:nvPr>
        </p:nvSpPr>
        <p:spPr>
          <a:xfrm>
            <a:off x="1668488" y="1973323"/>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name.surname@hfw.com</a:t>
            </a:r>
            <a:endParaRPr lang="en-US" dirty="0"/>
          </a:p>
        </p:txBody>
      </p:sp>
      <p:sp>
        <p:nvSpPr>
          <p:cNvPr id="39" name="TextBox 38">
            <a:extLst>
              <a:ext uri="{FF2B5EF4-FFF2-40B4-BE49-F238E27FC236}">
                <a16:creationId xmlns:a16="http://schemas.microsoft.com/office/drawing/2014/main" id="{CD88C032-8EAF-2B08-F79B-F8345375A305}"/>
              </a:ext>
            </a:extLst>
          </p:cNvPr>
          <p:cNvSpPr txBox="1"/>
          <p:nvPr userDrawn="1"/>
        </p:nvSpPr>
        <p:spPr>
          <a:xfrm flipH="1">
            <a:off x="1494324" y="1756091"/>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40" name="TextBox 39">
            <a:extLst>
              <a:ext uri="{FF2B5EF4-FFF2-40B4-BE49-F238E27FC236}">
                <a16:creationId xmlns:a16="http://schemas.microsoft.com/office/drawing/2014/main" id="{A35926F1-2042-E8E3-9FEA-F667A6E25907}"/>
              </a:ext>
            </a:extLst>
          </p:cNvPr>
          <p:cNvSpPr txBox="1"/>
          <p:nvPr userDrawn="1"/>
        </p:nvSpPr>
        <p:spPr>
          <a:xfrm flipH="1">
            <a:off x="1494324" y="1973323"/>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E</a:t>
            </a:r>
          </a:p>
        </p:txBody>
      </p:sp>
      <p:sp>
        <p:nvSpPr>
          <p:cNvPr id="50" name="Picture Placeholder 14">
            <a:extLst>
              <a:ext uri="{FF2B5EF4-FFF2-40B4-BE49-F238E27FC236}">
                <a16:creationId xmlns:a16="http://schemas.microsoft.com/office/drawing/2014/main" id="{937FF250-ABDC-C04C-B144-30A7ECBB65B3}"/>
              </a:ext>
            </a:extLst>
          </p:cNvPr>
          <p:cNvSpPr>
            <a:spLocks noGrp="1"/>
          </p:cNvSpPr>
          <p:nvPr>
            <p:ph type="pic" sz="quarter" idx="45" hasCustomPrompt="1"/>
          </p:nvPr>
        </p:nvSpPr>
        <p:spPr>
          <a:xfrm>
            <a:off x="4235451" y="2319337"/>
            <a:ext cx="876299" cy="876299"/>
          </a:xfrm>
          <a:solidFill>
            <a:schemeClr val="bg1"/>
          </a:solidFill>
        </p:spPr>
        <p:txBody>
          <a:bodyPr anchor="ctr">
            <a:normAutofit/>
          </a:bodyPr>
          <a:lstStyle>
            <a:lvl1pPr algn="ctr">
              <a:defRPr sz="1000">
                <a:latin typeface="+mn-lt"/>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GB" dirty="0"/>
              <a:t>Picture</a:t>
            </a:r>
          </a:p>
        </p:txBody>
      </p:sp>
      <p:sp>
        <p:nvSpPr>
          <p:cNvPr id="51" name="Text Placeholder 16">
            <a:extLst>
              <a:ext uri="{FF2B5EF4-FFF2-40B4-BE49-F238E27FC236}">
                <a16:creationId xmlns:a16="http://schemas.microsoft.com/office/drawing/2014/main" id="{B12224F1-E76D-4968-C7B8-D148F73F27A3}"/>
              </a:ext>
            </a:extLst>
          </p:cNvPr>
          <p:cNvSpPr>
            <a:spLocks noGrp="1"/>
          </p:cNvSpPr>
          <p:nvPr>
            <p:ph type="body" sz="quarter" idx="46" hasCustomPrompt="1"/>
          </p:nvPr>
        </p:nvSpPr>
        <p:spPr>
          <a:xfrm>
            <a:off x="5211365" y="2559305"/>
            <a:ext cx="2543172"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US" dirty="0"/>
              <a:t>Position, Location</a:t>
            </a:r>
          </a:p>
        </p:txBody>
      </p:sp>
      <p:sp>
        <p:nvSpPr>
          <p:cNvPr id="52" name="Text Placeholder 16">
            <a:extLst>
              <a:ext uri="{FF2B5EF4-FFF2-40B4-BE49-F238E27FC236}">
                <a16:creationId xmlns:a16="http://schemas.microsoft.com/office/drawing/2014/main" id="{5475F4ED-840C-A019-A56F-5AEFD94C8C0D}"/>
              </a:ext>
            </a:extLst>
          </p:cNvPr>
          <p:cNvSpPr>
            <a:spLocks noGrp="1"/>
          </p:cNvSpPr>
          <p:nvPr>
            <p:ph type="body" sz="quarter" idx="47" hasCustomPrompt="1"/>
          </p:nvPr>
        </p:nvSpPr>
        <p:spPr>
          <a:xfrm>
            <a:off x="5211365" y="2342135"/>
            <a:ext cx="2543172" cy="169277"/>
          </a:xfrm>
        </p:spPr>
        <p:txBody>
          <a:bodyPr tIns="0" bIns="0">
            <a:noAutofit/>
          </a:bodyPr>
          <a:lstStyle>
            <a:lvl1pPr algn="l">
              <a:lnSpc>
                <a:spcPct val="100000"/>
              </a:lnSpc>
              <a:spcBef>
                <a:spcPts val="0"/>
              </a:spcBef>
              <a:spcAft>
                <a:spcPts val="0"/>
              </a:spcAft>
              <a:defRPr sz="1100" cap="all" baseline="0">
                <a:solidFill>
                  <a:schemeClr val="tx2"/>
                </a:solidFill>
                <a:latin typeface="+mj-lt"/>
              </a:defRPr>
            </a:lvl1pPr>
            <a:lvl2pPr algn="l">
              <a:lnSpc>
                <a:spcPct val="100000"/>
              </a:lnSpc>
              <a:spcBef>
                <a:spcPts val="200"/>
              </a:spcBef>
              <a:spcAft>
                <a:spcPts val="200"/>
              </a:spcAft>
              <a:defRPr sz="1100">
                <a:solidFill>
                  <a:schemeClr val="tx1"/>
                </a:solidFill>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0"/>
            <a:r>
              <a:rPr lang="en-US" dirty="0"/>
              <a:t>NAME SURNAME</a:t>
            </a:r>
          </a:p>
        </p:txBody>
      </p:sp>
      <p:sp>
        <p:nvSpPr>
          <p:cNvPr id="53" name="Text Placeholder 16">
            <a:extLst>
              <a:ext uri="{FF2B5EF4-FFF2-40B4-BE49-F238E27FC236}">
                <a16:creationId xmlns:a16="http://schemas.microsoft.com/office/drawing/2014/main" id="{97822B6D-6AD5-2BB1-A2A7-4ABC0696D327}"/>
              </a:ext>
            </a:extLst>
          </p:cNvPr>
          <p:cNvSpPr>
            <a:spLocks noGrp="1"/>
          </p:cNvSpPr>
          <p:nvPr>
            <p:ph type="body" sz="quarter" idx="48" hasCustomPrompt="1"/>
          </p:nvPr>
        </p:nvSpPr>
        <p:spPr>
          <a:xfrm>
            <a:off x="5387048" y="2776537"/>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54" name="Text Placeholder 16">
            <a:extLst>
              <a:ext uri="{FF2B5EF4-FFF2-40B4-BE49-F238E27FC236}">
                <a16:creationId xmlns:a16="http://schemas.microsoft.com/office/drawing/2014/main" id="{28A558B1-CA9C-2EB9-A0A6-6E3FA1AFDB18}"/>
              </a:ext>
            </a:extLst>
          </p:cNvPr>
          <p:cNvSpPr>
            <a:spLocks noGrp="1"/>
          </p:cNvSpPr>
          <p:nvPr>
            <p:ph type="body" sz="quarter" idx="49" hasCustomPrompt="1"/>
          </p:nvPr>
        </p:nvSpPr>
        <p:spPr>
          <a:xfrm>
            <a:off x="5387048" y="2993769"/>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name.surname@hfw.com</a:t>
            </a:r>
            <a:endParaRPr lang="en-US" dirty="0"/>
          </a:p>
        </p:txBody>
      </p:sp>
      <p:sp>
        <p:nvSpPr>
          <p:cNvPr id="55" name="TextBox 54">
            <a:extLst>
              <a:ext uri="{FF2B5EF4-FFF2-40B4-BE49-F238E27FC236}">
                <a16:creationId xmlns:a16="http://schemas.microsoft.com/office/drawing/2014/main" id="{AA89D37C-3865-24CC-E3E3-7B87C33F753F}"/>
              </a:ext>
            </a:extLst>
          </p:cNvPr>
          <p:cNvSpPr txBox="1"/>
          <p:nvPr userDrawn="1"/>
        </p:nvSpPr>
        <p:spPr>
          <a:xfrm flipH="1">
            <a:off x="5212884" y="2776537"/>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56" name="TextBox 55">
            <a:extLst>
              <a:ext uri="{FF2B5EF4-FFF2-40B4-BE49-F238E27FC236}">
                <a16:creationId xmlns:a16="http://schemas.microsoft.com/office/drawing/2014/main" id="{A15F0AE5-885E-8759-849B-82CAF7267867}"/>
              </a:ext>
            </a:extLst>
          </p:cNvPr>
          <p:cNvSpPr txBox="1"/>
          <p:nvPr userDrawn="1"/>
        </p:nvSpPr>
        <p:spPr>
          <a:xfrm flipH="1">
            <a:off x="5212884" y="2993769"/>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E</a:t>
            </a:r>
          </a:p>
        </p:txBody>
      </p:sp>
      <p:sp>
        <p:nvSpPr>
          <p:cNvPr id="57" name="Picture Placeholder 14">
            <a:extLst>
              <a:ext uri="{FF2B5EF4-FFF2-40B4-BE49-F238E27FC236}">
                <a16:creationId xmlns:a16="http://schemas.microsoft.com/office/drawing/2014/main" id="{E2779DBF-9BF5-D367-CCF3-D23F3F5071AD}"/>
              </a:ext>
            </a:extLst>
          </p:cNvPr>
          <p:cNvSpPr>
            <a:spLocks noGrp="1"/>
          </p:cNvSpPr>
          <p:nvPr>
            <p:ph type="pic" sz="quarter" idx="50" hasCustomPrompt="1"/>
          </p:nvPr>
        </p:nvSpPr>
        <p:spPr>
          <a:xfrm>
            <a:off x="516891" y="2319337"/>
            <a:ext cx="876299" cy="876299"/>
          </a:xfrm>
          <a:solidFill>
            <a:schemeClr val="bg1"/>
          </a:solidFill>
        </p:spPr>
        <p:txBody>
          <a:bodyPr anchor="ctr">
            <a:normAutofit/>
          </a:bodyPr>
          <a:lstStyle>
            <a:lvl1pPr algn="ctr">
              <a:defRPr sz="1000">
                <a:latin typeface="+mn-lt"/>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GB" dirty="0"/>
              <a:t>Picture</a:t>
            </a:r>
          </a:p>
        </p:txBody>
      </p:sp>
      <p:sp>
        <p:nvSpPr>
          <p:cNvPr id="58" name="Text Placeholder 16">
            <a:extLst>
              <a:ext uri="{FF2B5EF4-FFF2-40B4-BE49-F238E27FC236}">
                <a16:creationId xmlns:a16="http://schemas.microsoft.com/office/drawing/2014/main" id="{E6675F0F-FD39-882F-76E9-99E0A362B496}"/>
              </a:ext>
            </a:extLst>
          </p:cNvPr>
          <p:cNvSpPr>
            <a:spLocks noGrp="1"/>
          </p:cNvSpPr>
          <p:nvPr>
            <p:ph type="body" sz="quarter" idx="51" hasCustomPrompt="1"/>
          </p:nvPr>
        </p:nvSpPr>
        <p:spPr>
          <a:xfrm>
            <a:off x="1492805" y="2559305"/>
            <a:ext cx="2543172"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US" dirty="0"/>
              <a:t>Position, Location</a:t>
            </a:r>
          </a:p>
        </p:txBody>
      </p:sp>
      <p:sp>
        <p:nvSpPr>
          <p:cNvPr id="59" name="Text Placeholder 16">
            <a:extLst>
              <a:ext uri="{FF2B5EF4-FFF2-40B4-BE49-F238E27FC236}">
                <a16:creationId xmlns:a16="http://schemas.microsoft.com/office/drawing/2014/main" id="{43D17FD4-4ABD-B1D3-2B8B-0D17D121A907}"/>
              </a:ext>
            </a:extLst>
          </p:cNvPr>
          <p:cNvSpPr>
            <a:spLocks noGrp="1"/>
          </p:cNvSpPr>
          <p:nvPr>
            <p:ph type="body" sz="quarter" idx="52" hasCustomPrompt="1"/>
          </p:nvPr>
        </p:nvSpPr>
        <p:spPr>
          <a:xfrm>
            <a:off x="1492805" y="2342135"/>
            <a:ext cx="2543172" cy="169277"/>
          </a:xfrm>
        </p:spPr>
        <p:txBody>
          <a:bodyPr tIns="0" bIns="0">
            <a:noAutofit/>
          </a:bodyPr>
          <a:lstStyle>
            <a:lvl1pPr algn="l">
              <a:lnSpc>
                <a:spcPct val="100000"/>
              </a:lnSpc>
              <a:spcBef>
                <a:spcPts val="0"/>
              </a:spcBef>
              <a:spcAft>
                <a:spcPts val="0"/>
              </a:spcAft>
              <a:defRPr sz="1100" cap="all" baseline="0">
                <a:solidFill>
                  <a:schemeClr val="tx2"/>
                </a:solidFill>
                <a:latin typeface="+mj-lt"/>
              </a:defRPr>
            </a:lvl1pPr>
            <a:lvl2pPr algn="l">
              <a:lnSpc>
                <a:spcPct val="100000"/>
              </a:lnSpc>
              <a:spcBef>
                <a:spcPts val="200"/>
              </a:spcBef>
              <a:spcAft>
                <a:spcPts val="200"/>
              </a:spcAft>
              <a:defRPr sz="1100">
                <a:solidFill>
                  <a:schemeClr val="tx1"/>
                </a:solidFill>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0"/>
            <a:r>
              <a:rPr lang="en-US" dirty="0"/>
              <a:t>NAME SURNAME</a:t>
            </a:r>
          </a:p>
        </p:txBody>
      </p:sp>
      <p:sp>
        <p:nvSpPr>
          <p:cNvPr id="60" name="Text Placeholder 16">
            <a:extLst>
              <a:ext uri="{FF2B5EF4-FFF2-40B4-BE49-F238E27FC236}">
                <a16:creationId xmlns:a16="http://schemas.microsoft.com/office/drawing/2014/main" id="{790A0A28-E3E5-FF55-B80E-22798889CCDC}"/>
              </a:ext>
            </a:extLst>
          </p:cNvPr>
          <p:cNvSpPr>
            <a:spLocks noGrp="1"/>
          </p:cNvSpPr>
          <p:nvPr>
            <p:ph type="body" sz="quarter" idx="53" hasCustomPrompt="1"/>
          </p:nvPr>
        </p:nvSpPr>
        <p:spPr>
          <a:xfrm>
            <a:off x="1668488" y="2776537"/>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61" name="Text Placeholder 16">
            <a:extLst>
              <a:ext uri="{FF2B5EF4-FFF2-40B4-BE49-F238E27FC236}">
                <a16:creationId xmlns:a16="http://schemas.microsoft.com/office/drawing/2014/main" id="{3BA82DC3-BAEC-8C1E-1495-A212A38A6304}"/>
              </a:ext>
            </a:extLst>
          </p:cNvPr>
          <p:cNvSpPr>
            <a:spLocks noGrp="1"/>
          </p:cNvSpPr>
          <p:nvPr>
            <p:ph type="body" sz="quarter" idx="54" hasCustomPrompt="1"/>
          </p:nvPr>
        </p:nvSpPr>
        <p:spPr>
          <a:xfrm>
            <a:off x="1668488" y="2993769"/>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name.surname@hfw.com</a:t>
            </a:r>
            <a:endParaRPr lang="en-US" dirty="0"/>
          </a:p>
        </p:txBody>
      </p:sp>
      <p:sp>
        <p:nvSpPr>
          <p:cNvPr id="62" name="TextBox 61">
            <a:extLst>
              <a:ext uri="{FF2B5EF4-FFF2-40B4-BE49-F238E27FC236}">
                <a16:creationId xmlns:a16="http://schemas.microsoft.com/office/drawing/2014/main" id="{3A0610F4-A8A4-AF15-E9C6-9F095DAF8590}"/>
              </a:ext>
            </a:extLst>
          </p:cNvPr>
          <p:cNvSpPr txBox="1"/>
          <p:nvPr userDrawn="1"/>
        </p:nvSpPr>
        <p:spPr>
          <a:xfrm flipH="1">
            <a:off x="1494324" y="2776537"/>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63" name="TextBox 62">
            <a:extLst>
              <a:ext uri="{FF2B5EF4-FFF2-40B4-BE49-F238E27FC236}">
                <a16:creationId xmlns:a16="http://schemas.microsoft.com/office/drawing/2014/main" id="{C5513907-8DC7-CF5A-94B7-C0613F1B8D60}"/>
              </a:ext>
            </a:extLst>
          </p:cNvPr>
          <p:cNvSpPr txBox="1"/>
          <p:nvPr userDrawn="1"/>
        </p:nvSpPr>
        <p:spPr>
          <a:xfrm flipH="1">
            <a:off x="1494324" y="2993769"/>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E</a:t>
            </a:r>
          </a:p>
        </p:txBody>
      </p:sp>
      <p:sp>
        <p:nvSpPr>
          <p:cNvPr id="64" name="Picture Placeholder 14">
            <a:extLst>
              <a:ext uri="{FF2B5EF4-FFF2-40B4-BE49-F238E27FC236}">
                <a16:creationId xmlns:a16="http://schemas.microsoft.com/office/drawing/2014/main" id="{01EB1F97-D543-7ADA-E079-8484D6C02417}"/>
              </a:ext>
            </a:extLst>
          </p:cNvPr>
          <p:cNvSpPr>
            <a:spLocks noGrp="1"/>
          </p:cNvSpPr>
          <p:nvPr>
            <p:ph type="pic" sz="quarter" idx="55" hasCustomPrompt="1"/>
          </p:nvPr>
        </p:nvSpPr>
        <p:spPr>
          <a:xfrm>
            <a:off x="4235451" y="3327399"/>
            <a:ext cx="876299" cy="876299"/>
          </a:xfrm>
          <a:solidFill>
            <a:schemeClr val="bg1"/>
          </a:solidFill>
        </p:spPr>
        <p:txBody>
          <a:bodyPr anchor="ctr">
            <a:normAutofit/>
          </a:bodyPr>
          <a:lstStyle>
            <a:lvl1pPr algn="ctr">
              <a:defRPr sz="1000">
                <a:latin typeface="+mn-lt"/>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GB" dirty="0"/>
              <a:t>Picture</a:t>
            </a:r>
          </a:p>
        </p:txBody>
      </p:sp>
      <p:sp>
        <p:nvSpPr>
          <p:cNvPr id="65" name="Text Placeholder 16">
            <a:extLst>
              <a:ext uri="{FF2B5EF4-FFF2-40B4-BE49-F238E27FC236}">
                <a16:creationId xmlns:a16="http://schemas.microsoft.com/office/drawing/2014/main" id="{9B63BDF2-4CD8-35D5-6A67-4E8433EEA85D}"/>
              </a:ext>
            </a:extLst>
          </p:cNvPr>
          <p:cNvSpPr>
            <a:spLocks noGrp="1"/>
          </p:cNvSpPr>
          <p:nvPr>
            <p:ph type="body" sz="quarter" idx="56" hasCustomPrompt="1"/>
          </p:nvPr>
        </p:nvSpPr>
        <p:spPr>
          <a:xfrm>
            <a:off x="5211365" y="3567367"/>
            <a:ext cx="2543172"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US" dirty="0"/>
              <a:t>Position, Location</a:t>
            </a:r>
          </a:p>
        </p:txBody>
      </p:sp>
      <p:sp>
        <p:nvSpPr>
          <p:cNvPr id="66" name="Text Placeholder 16">
            <a:extLst>
              <a:ext uri="{FF2B5EF4-FFF2-40B4-BE49-F238E27FC236}">
                <a16:creationId xmlns:a16="http://schemas.microsoft.com/office/drawing/2014/main" id="{2275F1B3-52F0-AF67-47BA-91FDB1D15E42}"/>
              </a:ext>
            </a:extLst>
          </p:cNvPr>
          <p:cNvSpPr>
            <a:spLocks noGrp="1"/>
          </p:cNvSpPr>
          <p:nvPr>
            <p:ph type="body" sz="quarter" idx="57" hasCustomPrompt="1"/>
          </p:nvPr>
        </p:nvSpPr>
        <p:spPr>
          <a:xfrm>
            <a:off x="5211365" y="3350197"/>
            <a:ext cx="2543172" cy="169277"/>
          </a:xfrm>
        </p:spPr>
        <p:txBody>
          <a:bodyPr tIns="0" bIns="0">
            <a:noAutofit/>
          </a:bodyPr>
          <a:lstStyle>
            <a:lvl1pPr algn="l">
              <a:lnSpc>
                <a:spcPct val="100000"/>
              </a:lnSpc>
              <a:spcBef>
                <a:spcPts val="0"/>
              </a:spcBef>
              <a:spcAft>
                <a:spcPts val="0"/>
              </a:spcAft>
              <a:defRPr sz="1100" cap="all" baseline="0">
                <a:solidFill>
                  <a:schemeClr val="tx2"/>
                </a:solidFill>
                <a:latin typeface="+mj-lt"/>
              </a:defRPr>
            </a:lvl1pPr>
            <a:lvl2pPr algn="l">
              <a:lnSpc>
                <a:spcPct val="100000"/>
              </a:lnSpc>
              <a:spcBef>
                <a:spcPts val="200"/>
              </a:spcBef>
              <a:spcAft>
                <a:spcPts val="200"/>
              </a:spcAft>
              <a:defRPr sz="1100">
                <a:solidFill>
                  <a:schemeClr val="tx1"/>
                </a:solidFill>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0"/>
            <a:r>
              <a:rPr lang="en-US" dirty="0"/>
              <a:t>NAME SURNAME</a:t>
            </a:r>
          </a:p>
        </p:txBody>
      </p:sp>
      <p:sp>
        <p:nvSpPr>
          <p:cNvPr id="67" name="Text Placeholder 16">
            <a:extLst>
              <a:ext uri="{FF2B5EF4-FFF2-40B4-BE49-F238E27FC236}">
                <a16:creationId xmlns:a16="http://schemas.microsoft.com/office/drawing/2014/main" id="{6D2A183D-8C32-A4C4-6CAA-DA397DB73ABA}"/>
              </a:ext>
            </a:extLst>
          </p:cNvPr>
          <p:cNvSpPr>
            <a:spLocks noGrp="1"/>
          </p:cNvSpPr>
          <p:nvPr>
            <p:ph type="body" sz="quarter" idx="58" hasCustomPrompt="1"/>
          </p:nvPr>
        </p:nvSpPr>
        <p:spPr>
          <a:xfrm>
            <a:off x="5387048" y="3784599"/>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68" name="Text Placeholder 16">
            <a:extLst>
              <a:ext uri="{FF2B5EF4-FFF2-40B4-BE49-F238E27FC236}">
                <a16:creationId xmlns:a16="http://schemas.microsoft.com/office/drawing/2014/main" id="{4629C55A-0B20-B830-500C-6BBE7264684B}"/>
              </a:ext>
            </a:extLst>
          </p:cNvPr>
          <p:cNvSpPr>
            <a:spLocks noGrp="1"/>
          </p:cNvSpPr>
          <p:nvPr>
            <p:ph type="body" sz="quarter" idx="59" hasCustomPrompt="1"/>
          </p:nvPr>
        </p:nvSpPr>
        <p:spPr>
          <a:xfrm>
            <a:off x="5387048" y="4001831"/>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name.surname@hfw.com</a:t>
            </a:r>
            <a:endParaRPr lang="en-US" dirty="0"/>
          </a:p>
        </p:txBody>
      </p:sp>
      <p:sp>
        <p:nvSpPr>
          <p:cNvPr id="69" name="TextBox 68">
            <a:extLst>
              <a:ext uri="{FF2B5EF4-FFF2-40B4-BE49-F238E27FC236}">
                <a16:creationId xmlns:a16="http://schemas.microsoft.com/office/drawing/2014/main" id="{C5B4A0E4-1F39-0B87-39DA-30A61A990830}"/>
              </a:ext>
            </a:extLst>
          </p:cNvPr>
          <p:cNvSpPr txBox="1"/>
          <p:nvPr userDrawn="1"/>
        </p:nvSpPr>
        <p:spPr>
          <a:xfrm flipH="1">
            <a:off x="5212884" y="3784599"/>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70" name="TextBox 69">
            <a:extLst>
              <a:ext uri="{FF2B5EF4-FFF2-40B4-BE49-F238E27FC236}">
                <a16:creationId xmlns:a16="http://schemas.microsoft.com/office/drawing/2014/main" id="{176D58DF-6035-B9BF-A547-E8125F37CF4C}"/>
              </a:ext>
            </a:extLst>
          </p:cNvPr>
          <p:cNvSpPr txBox="1"/>
          <p:nvPr userDrawn="1"/>
        </p:nvSpPr>
        <p:spPr>
          <a:xfrm flipH="1">
            <a:off x="5212884" y="4001831"/>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E</a:t>
            </a:r>
          </a:p>
        </p:txBody>
      </p:sp>
      <p:sp>
        <p:nvSpPr>
          <p:cNvPr id="71" name="Picture Placeholder 14">
            <a:extLst>
              <a:ext uri="{FF2B5EF4-FFF2-40B4-BE49-F238E27FC236}">
                <a16:creationId xmlns:a16="http://schemas.microsoft.com/office/drawing/2014/main" id="{E1116702-5BD0-A3E2-3F8D-1C4F64D8F5A0}"/>
              </a:ext>
            </a:extLst>
          </p:cNvPr>
          <p:cNvSpPr>
            <a:spLocks noGrp="1"/>
          </p:cNvSpPr>
          <p:nvPr>
            <p:ph type="pic" sz="quarter" idx="60" hasCustomPrompt="1"/>
          </p:nvPr>
        </p:nvSpPr>
        <p:spPr>
          <a:xfrm>
            <a:off x="516891" y="3327399"/>
            <a:ext cx="876299" cy="876299"/>
          </a:xfrm>
          <a:solidFill>
            <a:schemeClr val="bg1"/>
          </a:solidFill>
        </p:spPr>
        <p:txBody>
          <a:bodyPr anchor="ctr">
            <a:normAutofit/>
          </a:bodyPr>
          <a:lstStyle>
            <a:lvl1pPr algn="ctr">
              <a:defRPr sz="1000">
                <a:latin typeface="+mn-lt"/>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GB" dirty="0"/>
              <a:t>Picture</a:t>
            </a:r>
          </a:p>
        </p:txBody>
      </p:sp>
      <p:sp>
        <p:nvSpPr>
          <p:cNvPr id="72" name="Text Placeholder 16">
            <a:extLst>
              <a:ext uri="{FF2B5EF4-FFF2-40B4-BE49-F238E27FC236}">
                <a16:creationId xmlns:a16="http://schemas.microsoft.com/office/drawing/2014/main" id="{C0B1D79D-D1B8-625E-91A3-415109E27E47}"/>
              </a:ext>
            </a:extLst>
          </p:cNvPr>
          <p:cNvSpPr>
            <a:spLocks noGrp="1"/>
          </p:cNvSpPr>
          <p:nvPr>
            <p:ph type="body" sz="quarter" idx="61" hasCustomPrompt="1"/>
          </p:nvPr>
        </p:nvSpPr>
        <p:spPr>
          <a:xfrm>
            <a:off x="1492805" y="3567367"/>
            <a:ext cx="2543172"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US" dirty="0"/>
              <a:t>Position, Location</a:t>
            </a:r>
          </a:p>
        </p:txBody>
      </p:sp>
      <p:sp>
        <p:nvSpPr>
          <p:cNvPr id="73" name="Text Placeholder 16">
            <a:extLst>
              <a:ext uri="{FF2B5EF4-FFF2-40B4-BE49-F238E27FC236}">
                <a16:creationId xmlns:a16="http://schemas.microsoft.com/office/drawing/2014/main" id="{27640ED5-71AC-8CD2-F946-0F12FFF15D59}"/>
              </a:ext>
            </a:extLst>
          </p:cNvPr>
          <p:cNvSpPr>
            <a:spLocks noGrp="1"/>
          </p:cNvSpPr>
          <p:nvPr>
            <p:ph type="body" sz="quarter" idx="62" hasCustomPrompt="1"/>
          </p:nvPr>
        </p:nvSpPr>
        <p:spPr>
          <a:xfrm>
            <a:off x="1492805" y="3350197"/>
            <a:ext cx="2543172" cy="169277"/>
          </a:xfrm>
        </p:spPr>
        <p:txBody>
          <a:bodyPr tIns="0" bIns="0">
            <a:noAutofit/>
          </a:bodyPr>
          <a:lstStyle>
            <a:lvl1pPr algn="l">
              <a:lnSpc>
                <a:spcPct val="100000"/>
              </a:lnSpc>
              <a:spcBef>
                <a:spcPts val="0"/>
              </a:spcBef>
              <a:spcAft>
                <a:spcPts val="0"/>
              </a:spcAft>
              <a:defRPr sz="1100" cap="all" baseline="0">
                <a:solidFill>
                  <a:schemeClr val="tx2"/>
                </a:solidFill>
                <a:latin typeface="+mj-lt"/>
              </a:defRPr>
            </a:lvl1pPr>
            <a:lvl2pPr algn="l">
              <a:lnSpc>
                <a:spcPct val="100000"/>
              </a:lnSpc>
              <a:spcBef>
                <a:spcPts val="200"/>
              </a:spcBef>
              <a:spcAft>
                <a:spcPts val="200"/>
              </a:spcAft>
              <a:defRPr sz="1100">
                <a:solidFill>
                  <a:schemeClr val="tx1"/>
                </a:solidFill>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0"/>
            <a:r>
              <a:rPr lang="en-US" dirty="0"/>
              <a:t>NAME SURNAME</a:t>
            </a:r>
          </a:p>
        </p:txBody>
      </p:sp>
      <p:sp>
        <p:nvSpPr>
          <p:cNvPr id="74" name="Text Placeholder 16">
            <a:extLst>
              <a:ext uri="{FF2B5EF4-FFF2-40B4-BE49-F238E27FC236}">
                <a16:creationId xmlns:a16="http://schemas.microsoft.com/office/drawing/2014/main" id="{63E6B106-AA30-075B-E0E9-6958B9E55D60}"/>
              </a:ext>
            </a:extLst>
          </p:cNvPr>
          <p:cNvSpPr>
            <a:spLocks noGrp="1"/>
          </p:cNvSpPr>
          <p:nvPr>
            <p:ph type="body" sz="quarter" idx="63" hasCustomPrompt="1"/>
          </p:nvPr>
        </p:nvSpPr>
        <p:spPr>
          <a:xfrm>
            <a:off x="1668488" y="3784599"/>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75" name="Text Placeholder 16">
            <a:extLst>
              <a:ext uri="{FF2B5EF4-FFF2-40B4-BE49-F238E27FC236}">
                <a16:creationId xmlns:a16="http://schemas.microsoft.com/office/drawing/2014/main" id="{B3A8345A-6A69-0289-361E-83E4671BE8A9}"/>
              </a:ext>
            </a:extLst>
          </p:cNvPr>
          <p:cNvSpPr>
            <a:spLocks noGrp="1"/>
          </p:cNvSpPr>
          <p:nvPr>
            <p:ph type="body" sz="quarter" idx="64" hasCustomPrompt="1"/>
          </p:nvPr>
        </p:nvSpPr>
        <p:spPr>
          <a:xfrm>
            <a:off x="1668488" y="4001831"/>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name.surname@hfw.com</a:t>
            </a:r>
            <a:endParaRPr lang="en-US" dirty="0"/>
          </a:p>
        </p:txBody>
      </p:sp>
      <p:sp>
        <p:nvSpPr>
          <p:cNvPr id="76" name="TextBox 75">
            <a:extLst>
              <a:ext uri="{FF2B5EF4-FFF2-40B4-BE49-F238E27FC236}">
                <a16:creationId xmlns:a16="http://schemas.microsoft.com/office/drawing/2014/main" id="{8F1A9AED-E825-DF72-A57E-FC1BE1BF4829}"/>
              </a:ext>
            </a:extLst>
          </p:cNvPr>
          <p:cNvSpPr txBox="1"/>
          <p:nvPr userDrawn="1"/>
        </p:nvSpPr>
        <p:spPr>
          <a:xfrm flipH="1">
            <a:off x="1494324" y="3784599"/>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77" name="TextBox 76">
            <a:extLst>
              <a:ext uri="{FF2B5EF4-FFF2-40B4-BE49-F238E27FC236}">
                <a16:creationId xmlns:a16="http://schemas.microsoft.com/office/drawing/2014/main" id="{9E8CCCC6-E20C-23EA-CF4D-57CD5AED1D05}"/>
              </a:ext>
            </a:extLst>
          </p:cNvPr>
          <p:cNvSpPr txBox="1"/>
          <p:nvPr userDrawn="1"/>
        </p:nvSpPr>
        <p:spPr>
          <a:xfrm flipH="1">
            <a:off x="1494324" y="4001831"/>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E</a:t>
            </a:r>
          </a:p>
        </p:txBody>
      </p:sp>
      <p:sp>
        <p:nvSpPr>
          <p:cNvPr id="78" name="Picture Placeholder 14">
            <a:extLst>
              <a:ext uri="{FF2B5EF4-FFF2-40B4-BE49-F238E27FC236}">
                <a16:creationId xmlns:a16="http://schemas.microsoft.com/office/drawing/2014/main" id="{4ED377C3-A6EB-22E6-AA8D-36F173247557}"/>
              </a:ext>
            </a:extLst>
          </p:cNvPr>
          <p:cNvSpPr>
            <a:spLocks noGrp="1"/>
          </p:cNvSpPr>
          <p:nvPr>
            <p:ph type="pic" sz="quarter" idx="65" hasCustomPrompt="1"/>
          </p:nvPr>
        </p:nvSpPr>
        <p:spPr>
          <a:xfrm>
            <a:off x="4235451" y="4335461"/>
            <a:ext cx="876299" cy="876299"/>
          </a:xfrm>
          <a:solidFill>
            <a:schemeClr val="bg1"/>
          </a:solidFill>
        </p:spPr>
        <p:txBody>
          <a:bodyPr anchor="ctr">
            <a:normAutofit/>
          </a:bodyPr>
          <a:lstStyle>
            <a:lvl1pPr algn="ctr">
              <a:defRPr sz="1000">
                <a:latin typeface="+mn-lt"/>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GB" dirty="0"/>
              <a:t>Picture</a:t>
            </a:r>
          </a:p>
        </p:txBody>
      </p:sp>
      <p:sp>
        <p:nvSpPr>
          <p:cNvPr id="79" name="Text Placeholder 16">
            <a:extLst>
              <a:ext uri="{FF2B5EF4-FFF2-40B4-BE49-F238E27FC236}">
                <a16:creationId xmlns:a16="http://schemas.microsoft.com/office/drawing/2014/main" id="{36B7E5CB-7CF5-0A15-10E2-9B5648668EBA}"/>
              </a:ext>
            </a:extLst>
          </p:cNvPr>
          <p:cNvSpPr>
            <a:spLocks noGrp="1"/>
          </p:cNvSpPr>
          <p:nvPr>
            <p:ph type="body" sz="quarter" idx="66" hasCustomPrompt="1"/>
          </p:nvPr>
        </p:nvSpPr>
        <p:spPr>
          <a:xfrm>
            <a:off x="5211365" y="4575429"/>
            <a:ext cx="2543172"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US" dirty="0"/>
              <a:t>Position, Location</a:t>
            </a:r>
          </a:p>
        </p:txBody>
      </p:sp>
      <p:sp>
        <p:nvSpPr>
          <p:cNvPr id="80" name="Text Placeholder 16">
            <a:extLst>
              <a:ext uri="{FF2B5EF4-FFF2-40B4-BE49-F238E27FC236}">
                <a16:creationId xmlns:a16="http://schemas.microsoft.com/office/drawing/2014/main" id="{D4F4FDFA-1C77-395E-0CBE-F3538C2F1BC6}"/>
              </a:ext>
            </a:extLst>
          </p:cNvPr>
          <p:cNvSpPr>
            <a:spLocks noGrp="1"/>
          </p:cNvSpPr>
          <p:nvPr>
            <p:ph type="body" sz="quarter" idx="67" hasCustomPrompt="1"/>
          </p:nvPr>
        </p:nvSpPr>
        <p:spPr>
          <a:xfrm>
            <a:off x="5211365" y="4358259"/>
            <a:ext cx="2543172" cy="169277"/>
          </a:xfrm>
        </p:spPr>
        <p:txBody>
          <a:bodyPr tIns="0" bIns="0">
            <a:noAutofit/>
          </a:bodyPr>
          <a:lstStyle>
            <a:lvl1pPr algn="l">
              <a:lnSpc>
                <a:spcPct val="100000"/>
              </a:lnSpc>
              <a:spcBef>
                <a:spcPts val="0"/>
              </a:spcBef>
              <a:spcAft>
                <a:spcPts val="0"/>
              </a:spcAft>
              <a:defRPr sz="1100" cap="all" baseline="0">
                <a:solidFill>
                  <a:schemeClr val="tx2"/>
                </a:solidFill>
                <a:latin typeface="+mj-lt"/>
              </a:defRPr>
            </a:lvl1pPr>
            <a:lvl2pPr algn="l">
              <a:lnSpc>
                <a:spcPct val="100000"/>
              </a:lnSpc>
              <a:spcBef>
                <a:spcPts val="200"/>
              </a:spcBef>
              <a:spcAft>
                <a:spcPts val="200"/>
              </a:spcAft>
              <a:defRPr sz="1100">
                <a:solidFill>
                  <a:schemeClr val="tx1"/>
                </a:solidFill>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0"/>
            <a:r>
              <a:rPr lang="en-US" dirty="0"/>
              <a:t>NAME SURNAME</a:t>
            </a:r>
          </a:p>
        </p:txBody>
      </p:sp>
      <p:sp>
        <p:nvSpPr>
          <p:cNvPr id="81" name="Text Placeholder 16">
            <a:extLst>
              <a:ext uri="{FF2B5EF4-FFF2-40B4-BE49-F238E27FC236}">
                <a16:creationId xmlns:a16="http://schemas.microsoft.com/office/drawing/2014/main" id="{FB3F10DA-D583-7CB9-C24E-6708FE1D5C44}"/>
              </a:ext>
            </a:extLst>
          </p:cNvPr>
          <p:cNvSpPr>
            <a:spLocks noGrp="1"/>
          </p:cNvSpPr>
          <p:nvPr>
            <p:ph type="body" sz="quarter" idx="68" hasCustomPrompt="1"/>
          </p:nvPr>
        </p:nvSpPr>
        <p:spPr>
          <a:xfrm>
            <a:off x="5387048" y="4792661"/>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82" name="Text Placeholder 16">
            <a:extLst>
              <a:ext uri="{FF2B5EF4-FFF2-40B4-BE49-F238E27FC236}">
                <a16:creationId xmlns:a16="http://schemas.microsoft.com/office/drawing/2014/main" id="{6B25EA35-A18E-8CD0-13E0-96FFCB0855AD}"/>
              </a:ext>
            </a:extLst>
          </p:cNvPr>
          <p:cNvSpPr>
            <a:spLocks noGrp="1"/>
          </p:cNvSpPr>
          <p:nvPr>
            <p:ph type="body" sz="quarter" idx="69" hasCustomPrompt="1"/>
          </p:nvPr>
        </p:nvSpPr>
        <p:spPr>
          <a:xfrm>
            <a:off x="5387048" y="5009893"/>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name.surname@hfw.com</a:t>
            </a:r>
            <a:endParaRPr lang="en-US" dirty="0"/>
          </a:p>
        </p:txBody>
      </p:sp>
      <p:sp>
        <p:nvSpPr>
          <p:cNvPr id="83" name="TextBox 82">
            <a:extLst>
              <a:ext uri="{FF2B5EF4-FFF2-40B4-BE49-F238E27FC236}">
                <a16:creationId xmlns:a16="http://schemas.microsoft.com/office/drawing/2014/main" id="{A7941DC0-D5B5-A3C0-855C-43EE16431DD5}"/>
              </a:ext>
            </a:extLst>
          </p:cNvPr>
          <p:cNvSpPr txBox="1"/>
          <p:nvPr userDrawn="1"/>
        </p:nvSpPr>
        <p:spPr>
          <a:xfrm flipH="1">
            <a:off x="5212884" y="4792661"/>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84" name="TextBox 83">
            <a:extLst>
              <a:ext uri="{FF2B5EF4-FFF2-40B4-BE49-F238E27FC236}">
                <a16:creationId xmlns:a16="http://schemas.microsoft.com/office/drawing/2014/main" id="{29D74432-7B1A-6A12-67A8-94415CD7242D}"/>
              </a:ext>
            </a:extLst>
          </p:cNvPr>
          <p:cNvSpPr txBox="1"/>
          <p:nvPr userDrawn="1"/>
        </p:nvSpPr>
        <p:spPr>
          <a:xfrm flipH="1">
            <a:off x="5212884" y="5009893"/>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E</a:t>
            </a:r>
          </a:p>
        </p:txBody>
      </p:sp>
      <p:sp>
        <p:nvSpPr>
          <p:cNvPr id="85" name="Picture Placeholder 14">
            <a:extLst>
              <a:ext uri="{FF2B5EF4-FFF2-40B4-BE49-F238E27FC236}">
                <a16:creationId xmlns:a16="http://schemas.microsoft.com/office/drawing/2014/main" id="{E2371D05-9521-0026-5F90-E6E8549EB329}"/>
              </a:ext>
            </a:extLst>
          </p:cNvPr>
          <p:cNvSpPr>
            <a:spLocks noGrp="1"/>
          </p:cNvSpPr>
          <p:nvPr>
            <p:ph type="pic" sz="quarter" idx="70" hasCustomPrompt="1"/>
          </p:nvPr>
        </p:nvSpPr>
        <p:spPr>
          <a:xfrm>
            <a:off x="516891" y="4335461"/>
            <a:ext cx="876299" cy="876299"/>
          </a:xfrm>
          <a:solidFill>
            <a:schemeClr val="bg1"/>
          </a:solidFill>
        </p:spPr>
        <p:txBody>
          <a:bodyPr anchor="ctr">
            <a:normAutofit/>
          </a:bodyPr>
          <a:lstStyle>
            <a:lvl1pPr algn="ctr">
              <a:defRPr sz="1000">
                <a:latin typeface="+mn-lt"/>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GB" dirty="0"/>
              <a:t>Picture</a:t>
            </a:r>
          </a:p>
        </p:txBody>
      </p:sp>
      <p:sp>
        <p:nvSpPr>
          <p:cNvPr id="86" name="Text Placeholder 16">
            <a:extLst>
              <a:ext uri="{FF2B5EF4-FFF2-40B4-BE49-F238E27FC236}">
                <a16:creationId xmlns:a16="http://schemas.microsoft.com/office/drawing/2014/main" id="{37C99C1E-F24E-8066-6D8C-2024C0DA50FC}"/>
              </a:ext>
            </a:extLst>
          </p:cNvPr>
          <p:cNvSpPr>
            <a:spLocks noGrp="1"/>
          </p:cNvSpPr>
          <p:nvPr>
            <p:ph type="body" sz="quarter" idx="71" hasCustomPrompt="1"/>
          </p:nvPr>
        </p:nvSpPr>
        <p:spPr>
          <a:xfrm>
            <a:off x="1492805" y="4575429"/>
            <a:ext cx="2543172"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US" dirty="0"/>
              <a:t>Position, Location</a:t>
            </a:r>
          </a:p>
        </p:txBody>
      </p:sp>
      <p:sp>
        <p:nvSpPr>
          <p:cNvPr id="87" name="Text Placeholder 16">
            <a:extLst>
              <a:ext uri="{FF2B5EF4-FFF2-40B4-BE49-F238E27FC236}">
                <a16:creationId xmlns:a16="http://schemas.microsoft.com/office/drawing/2014/main" id="{648C6843-3FD4-CF4B-3D92-0540A8516246}"/>
              </a:ext>
            </a:extLst>
          </p:cNvPr>
          <p:cNvSpPr>
            <a:spLocks noGrp="1"/>
          </p:cNvSpPr>
          <p:nvPr>
            <p:ph type="body" sz="quarter" idx="72" hasCustomPrompt="1"/>
          </p:nvPr>
        </p:nvSpPr>
        <p:spPr>
          <a:xfrm>
            <a:off x="1492805" y="4358259"/>
            <a:ext cx="2543172" cy="169277"/>
          </a:xfrm>
        </p:spPr>
        <p:txBody>
          <a:bodyPr tIns="0" bIns="0">
            <a:noAutofit/>
          </a:bodyPr>
          <a:lstStyle>
            <a:lvl1pPr algn="l">
              <a:lnSpc>
                <a:spcPct val="100000"/>
              </a:lnSpc>
              <a:spcBef>
                <a:spcPts val="0"/>
              </a:spcBef>
              <a:spcAft>
                <a:spcPts val="0"/>
              </a:spcAft>
              <a:defRPr sz="1100" cap="all" baseline="0">
                <a:solidFill>
                  <a:schemeClr val="tx2"/>
                </a:solidFill>
                <a:latin typeface="+mj-lt"/>
              </a:defRPr>
            </a:lvl1pPr>
            <a:lvl2pPr algn="l">
              <a:lnSpc>
                <a:spcPct val="100000"/>
              </a:lnSpc>
              <a:spcBef>
                <a:spcPts val="200"/>
              </a:spcBef>
              <a:spcAft>
                <a:spcPts val="200"/>
              </a:spcAft>
              <a:defRPr sz="1100">
                <a:solidFill>
                  <a:schemeClr val="tx1"/>
                </a:solidFill>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0"/>
            <a:r>
              <a:rPr lang="en-US" dirty="0"/>
              <a:t>NAME SURNAME</a:t>
            </a:r>
          </a:p>
        </p:txBody>
      </p:sp>
      <p:sp>
        <p:nvSpPr>
          <p:cNvPr id="88" name="Text Placeholder 16">
            <a:extLst>
              <a:ext uri="{FF2B5EF4-FFF2-40B4-BE49-F238E27FC236}">
                <a16:creationId xmlns:a16="http://schemas.microsoft.com/office/drawing/2014/main" id="{08A2D76D-0614-E80F-3883-6C66FDE33EF3}"/>
              </a:ext>
            </a:extLst>
          </p:cNvPr>
          <p:cNvSpPr>
            <a:spLocks noGrp="1"/>
          </p:cNvSpPr>
          <p:nvPr>
            <p:ph type="body" sz="quarter" idx="73" hasCustomPrompt="1"/>
          </p:nvPr>
        </p:nvSpPr>
        <p:spPr>
          <a:xfrm>
            <a:off x="1668488" y="4792661"/>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89" name="Text Placeholder 16">
            <a:extLst>
              <a:ext uri="{FF2B5EF4-FFF2-40B4-BE49-F238E27FC236}">
                <a16:creationId xmlns:a16="http://schemas.microsoft.com/office/drawing/2014/main" id="{796FD917-4525-9EB2-4226-C6483E978188}"/>
              </a:ext>
            </a:extLst>
          </p:cNvPr>
          <p:cNvSpPr>
            <a:spLocks noGrp="1"/>
          </p:cNvSpPr>
          <p:nvPr>
            <p:ph type="body" sz="quarter" idx="74" hasCustomPrompt="1"/>
          </p:nvPr>
        </p:nvSpPr>
        <p:spPr>
          <a:xfrm>
            <a:off x="1668488" y="5009893"/>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name.surname@hfw.com</a:t>
            </a:r>
            <a:endParaRPr lang="en-US" dirty="0"/>
          </a:p>
        </p:txBody>
      </p:sp>
      <p:sp>
        <p:nvSpPr>
          <p:cNvPr id="90" name="TextBox 89">
            <a:extLst>
              <a:ext uri="{FF2B5EF4-FFF2-40B4-BE49-F238E27FC236}">
                <a16:creationId xmlns:a16="http://schemas.microsoft.com/office/drawing/2014/main" id="{F170950D-BE5E-6482-0E04-8A5950AFE8D9}"/>
              </a:ext>
            </a:extLst>
          </p:cNvPr>
          <p:cNvSpPr txBox="1"/>
          <p:nvPr userDrawn="1"/>
        </p:nvSpPr>
        <p:spPr>
          <a:xfrm flipH="1">
            <a:off x="1494324" y="4792661"/>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91" name="TextBox 90">
            <a:extLst>
              <a:ext uri="{FF2B5EF4-FFF2-40B4-BE49-F238E27FC236}">
                <a16:creationId xmlns:a16="http://schemas.microsoft.com/office/drawing/2014/main" id="{B6C6FFF6-C18D-5AF8-38F0-8BE0F7B575D4}"/>
              </a:ext>
            </a:extLst>
          </p:cNvPr>
          <p:cNvSpPr txBox="1"/>
          <p:nvPr userDrawn="1"/>
        </p:nvSpPr>
        <p:spPr>
          <a:xfrm flipH="1">
            <a:off x="1494324" y="5009893"/>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E</a:t>
            </a:r>
          </a:p>
        </p:txBody>
      </p:sp>
      <p:sp>
        <p:nvSpPr>
          <p:cNvPr id="92" name="Picture Placeholder 14">
            <a:extLst>
              <a:ext uri="{FF2B5EF4-FFF2-40B4-BE49-F238E27FC236}">
                <a16:creationId xmlns:a16="http://schemas.microsoft.com/office/drawing/2014/main" id="{5A706D81-23C7-1845-9E56-DA4E0732466E}"/>
              </a:ext>
            </a:extLst>
          </p:cNvPr>
          <p:cNvSpPr>
            <a:spLocks noGrp="1"/>
          </p:cNvSpPr>
          <p:nvPr>
            <p:ph type="pic" sz="quarter" idx="75" hasCustomPrompt="1"/>
          </p:nvPr>
        </p:nvSpPr>
        <p:spPr>
          <a:xfrm>
            <a:off x="4235451" y="5341171"/>
            <a:ext cx="876299" cy="876299"/>
          </a:xfrm>
          <a:solidFill>
            <a:schemeClr val="bg1"/>
          </a:solidFill>
        </p:spPr>
        <p:txBody>
          <a:bodyPr anchor="ctr">
            <a:normAutofit/>
          </a:bodyPr>
          <a:lstStyle>
            <a:lvl1pPr algn="ctr">
              <a:defRPr sz="1000">
                <a:latin typeface="+mn-lt"/>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GB" dirty="0"/>
              <a:t>Picture</a:t>
            </a:r>
          </a:p>
        </p:txBody>
      </p:sp>
      <p:sp>
        <p:nvSpPr>
          <p:cNvPr id="93" name="Text Placeholder 16">
            <a:extLst>
              <a:ext uri="{FF2B5EF4-FFF2-40B4-BE49-F238E27FC236}">
                <a16:creationId xmlns:a16="http://schemas.microsoft.com/office/drawing/2014/main" id="{CB42EFA4-D4B5-F880-B822-6863879CCBE0}"/>
              </a:ext>
            </a:extLst>
          </p:cNvPr>
          <p:cNvSpPr>
            <a:spLocks noGrp="1"/>
          </p:cNvSpPr>
          <p:nvPr>
            <p:ph type="body" sz="quarter" idx="76" hasCustomPrompt="1"/>
          </p:nvPr>
        </p:nvSpPr>
        <p:spPr>
          <a:xfrm>
            <a:off x="5211365" y="5581139"/>
            <a:ext cx="2543172"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US" dirty="0"/>
              <a:t>Position, Location</a:t>
            </a:r>
          </a:p>
        </p:txBody>
      </p:sp>
      <p:sp>
        <p:nvSpPr>
          <p:cNvPr id="94" name="Text Placeholder 16">
            <a:extLst>
              <a:ext uri="{FF2B5EF4-FFF2-40B4-BE49-F238E27FC236}">
                <a16:creationId xmlns:a16="http://schemas.microsoft.com/office/drawing/2014/main" id="{38184237-12E4-BE72-1239-79BA07848F5D}"/>
              </a:ext>
            </a:extLst>
          </p:cNvPr>
          <p:cNvSpPr>
            <a:spLocks noGrp="1"/>
          </p:cNvSpPr>
          <p:nvPr>
            <p:ph type="body" sz="quarter" idx="77" hasCustomPrompt="1"/>
          </p:nvPr>
        </p:nvSpPr>
        <p:spPr>
          <a:xfrm>
            <a:off x="5211365" y="5363969"/>
            <a:ext cx="2543172" cy="169277"/>
          </a:xfrm>
        </p:spPr>
        <p:txBody>
          <a:bodyPr tIns="0" bIns="0">
            <a:noAutofit/>
          </a:bodyPr>
          <a:lstStyle>
            <a:lvl1pPr algn="l">
              <a:lnSpc>
                <a:spcPct val="100000"/>
              </a:lnSpc>
              <a:spcBef>
                <a:spcPts val="0"/>
              </a:spcBef>
              <a:spcAft>
                <a:spcPts val="0"/>
              </a:spcAft>
              <a:defRPr sz="1100" cap="all" baseline="0">
                <a:solidFill>
                  <a:schemeClr val="tx2"/>
                </a:solidFill>
                <a:latin typeface="+mj-lt"/>
              </a:defRPr>
            </a:lvl1pPr>
            <a:lvl2pPr algn="l">
              <a:lnSpc>
                <a:spcPct val="100000"/>
              </a:lnSpc>
              <a:spcBef>
                <a:spcPts val="200"/>
              </a:spcBef>
              <a:spcAft>
                <a:spcPts val="200"/>
              </a:spcAft>
              <a:defRPr sz="1100">
                <a:solidFill>
                  <a:schemeClr val="tx1"/>
                </a:solidFill>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0"/>
            <a:r>
              <a:rPr lang="en-US" dirty="0"/>
              <a:t>NAME SURNAME</a:t>
            </a:r>
          </a:p>
        </p:txBody>
      </p:sp>
      <p:sp>
        <p:nvSpPr>
          <p:cNvPr id="95" name="Text Placeholder 16">
            <a:extLst>
              <a:ext uri="{FF2B5EF4-FFF2-40B4-BE49-F238E27FC236}">
                <a16:creationId xmlns:a16="http://schemas.microsoft.com/office/drawing/2014/main" id="{8D382521-697C-E3E8-D7DB-E6FCD15631B9}"/>
              </a:ext>
            </a:extLst>
          </p:cNvPr>
          <p:cNvSpPr>
            <a:spLocks noGrp="1"/>
          </p:cNvSpPr>
          <p:nvPr>
            <p:ph type="body" sz="quarter" idx="78" hasCustomPrompt="1"/>
          </p:nvPr>
        </p:nvSpPr>
        <p:spPr>
          <a:xfrm>
            <a:off x="5387048" y="5798371"/>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96" name="Text Placeholder 16">
            <a:extLst>
              <a:ext uri="{FF2B5EF4-FFF2-40B4-BE49-F238E27FC236}">
                <a16:creationId xmlns:a16="http://schemas.microsoft.com/office/drawing/2014/main" id="{186BD757-0C6C-8339-1177-67E5B6D1965F}"/>
              </a:ext>
            </a:extLst>
          </p:cNvPr>
          <p:cNvSpPr>
            <a:spLocks noGrp="1"/>
          </p:cNvSpPr>
          <p:nvPr>
            <p:ph type="body" sz="quarter" idx="79" hasCustomPrompt="1"/>
          </p:nvPr>
        </p:nvSpPr>
        <p:spPr>
          <a:xfrm>
            <a:off x="5387048" y="6015603"/>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name.surname@hfw.com</a:t>
            </a:r>
            <a:endParaRPr lang="en-US" dirty="0"/>
          </a:p>
        </p:txBody>
      </p:sp>
      <p:sp>
        <p:nvSpPr>
          <p:cNvPr id="97" name="TextBox 96">
            <a:extLst>
              <a:ext uri="{FF2B5EF4-FFF2-40B4-BE49-F238E27FC236}">
                <a16:creationId xmlns:a16="http://schemas.microsoft.com/office/drawing/2014/main" id="{CCCD8483-CA79-2996-A13A-6CE91675DB4E}"/>
              </a:ext>
            </a:extLst>
          </p:cNvPr>
          <p:cNvSpPr txBox="1"/>
          <p:nvPr userDrawn="1"/>
        </p:nvSpPr>
        <p:spPr>
          <a:xfrm flipH="1">
            <a:off x="5212884" y="5798371"/>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98" name="TextBox 97">
            <a:extLst>
              <a:ext uri="{FF2B5EF4-FFF2-40B4-BE49-F238E27FC236}">
                <a16:creationId xmlns:a16="http://schemas.microsoft.com/office/drawing/2014/main" id="{F453F1BF-3B52-2669-05C3-DAA6810E5D6A}"/>
              </a:ext>
            </a:extLst>
          </p:cNvPr>
          <p:cNvSpPr txBox="1"/>
          <p:nvPr userDrawn="1"/>
        </p:nvSpPr>
        <p:spPr>
          <a:xfrm flipH="1">
            <a:off x="5212884" y="6015603"/>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E</a:t>
            </a:r>
          </a:p>
        </p:txBody>
      </p:sp>
      <p:sp>
        <p:nvSpPr>
          <p:cNvPr id="99" name="Picture Placeholder 14">
            <a:extLst>
              <a:ext uri="{FF2B5EF4-FFF2-40B4-BE49-F238E27FC236}">
                <a16:creationId xmlns:a16="http://schemas.microsoft.com/office/drawing/2014/main" id="{634ABBB9-2D82-C3DE-FC7C-107FECF19350}"/>
              </a:ext>
            </a:extLst>
          </p:cNvPr>
          <p:cNvSpPr>
            <a:spLocks noGrp="1"/>
          </p:cNvSpPr>
          <p:nvPr>
            <p:ph type="pic" sz="quarter" idx="80" hasCustomPrompt="1"/>
          </p:nvPr>
        </p:nvSpPr>
        <p:spPr>
          <a:xfrm>
            <a:off x="516891" y="5341171"/>
            <a:ext cx="876299" cy="876299"/>
          </a:xfrm>
          <a:solidFill>
            <a:schemeClr val="bg1"/>
          </a:solidFill>
        </p:spPr>
        <p:txBody>
          <a:bodyPr anchor="ctr">
            <a:normAutofit/>
          </a:bodyPr>
          <a:lstStyle>
            <a:lvl1pPr algn="ctr">
              <a:defRPr sz="1000">
                <a:latin typeface="+mn-lt"/>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GB" dirty="0"/>
              <a:t>Picture</a:t>
            </a:r>
          </a:p>
        </p:txBody>
      </p:sp>
      <p:sp>
        <p:nvSpPr>
          <p:cNvPr id="100" name="Text Placeholder 16">
            <a:extLst>
              <a:ext uri="{FF2B5EF4-FFF2-40B4-BE49-F238E27FC236}">
                <a16:creationId xmlns:a16="http://schemas.microsoft.com/office/drawing/2014/main" id="{649F4865-D789-7EB8-B822-D82A0C700233}"/>
              </a:ext>
            </a:extLst>
          </p:cNvPr>
          <p:cNvSpPr>
            <a:spLocks noGrp="1"/>
          </p:cNvSpPr>
          <p:nvPr>
            <p:ph type="body" sz="quarter" idx="81" hasCustomPrompt="1"/>
          </p:nvPr>
        </p:nvSpPr>
        <p:spPr>
          <a:xfrm>
            <a:off x="1492805" y="5581139"/>
            <a:ext cx="2543172"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US" dirty="0"/>
              <a:t>Position, Location</a:t>
            </a:r>
          </a:p>
        </p:txBody>
      </p:sp>
      <p:sp>
        <p:nvSpPr>
          <p:cNvPr id="101" name="Text Placeholder 16">
            <a:extLst>
              <a:ext uri="{FF2B5EF4-FFF2-40B4-BE49-F238E27FC236}">
                <a16:creationId xmlns:a16="http://schemas.microsoft.com/office/drawing/2014/main" id="{D3FEF5DD-FA37-0CD5-A68D-F011FD9E888F}"/>
              </a:ext>
            </a:extLst>
          </p:cNvPr>
          <p:cNvSpPr>
            <a:spLocks noGrp="1"/>
          </p:cNvSpPr>
          <p:nvPr>
            <p:ph type="body" sz="quarter" idx="82" hasCustomPrompt="1"/>
          </p:nvPr>
        </p:nvSpPr>
        <p:spPr>
          <a:xfrm>
            <a:off x="1492805" y="5363969"/>
            <a:ext cx="2543172" cy="169277"/>
          </a:xfrm>
        </p:spPr>
        <p:txBody>
          <a:bodyPr tIns="0" bIns="0">
            <a:noAutofit/>
          </a:bodyPr>
          <a:lstStyle>
            <a:lvl1pPr algn="l">
              <a:lnSpc>
                <a:spcPct val="100000"/>
              </a:lnSpc>
              <a:spcBef>
                <a:spcPts val="0"/>
              </a:spcBef>
              <a:spcAft>
                <a:spcPts val="0"/>
              </a:spcAft>
              <a:defRPr sz="1100" cap="all" baseline="0">
                <a:solidFill>
                  <a:schemeClr val="tx2"/>
                </a:solidFill>
                <a:latin typeface="+mj-lt"/>
              </a:defRPr>
            </a:lvl1pPr>
            <a:lvl2pPr algn="l">
              <a:lnSpc>
                <a:spcPct val="100000"/>
              </a:lnSpc>
              <a:spcBef>
                <a:spcPts val="200"/>
              </a:spcBef>
              <a:spcAft>
                <a:spcPts val="200"/>
              </a:spcAft>
              <a:defRPr sz="1100">
                <a:solidFill>
                  <a:schemeClr val="tx1"/>
                </a:solidFill>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0"/>
            <a:r>
              <a:rPr lang="en-US" dirty="0"/>
              <a:t>NAME SURNAME</a:t>
            </a:r>
          </a:p>
        </p:txBody>
      </p:sp>
      <p:sp>
        <p:nvSpPr>
          <p:cNvPr id="102" name="Text Placeholder 16">
            <a:extLst>
              <a:ext uri="{FF2B5EF4-FFF2-40B4-BE49-F238E27FC236}">
                <a16:creationId xmlns:a16="http://schemas.microsoft.com/office/drawing/2014/main" id="{5C6BAD69-B6E1-F29C-CE1E-6A6C1084A849}"/>
              </a:ext>
            </a:extLst>
          </p:cNvPr>
          <p:cNvSpPr>
            <a:spLocks noGrp="1"/>
          </p:cNvSpPr>
          <p:nvPr>
            <p:ph type="body" sz="quarter" idx="83" hasCustomPrompt="1"/>
          </p:nvPr>
        </p:nvSpPr>
        <p:spPr>
          <a:xfrm>
            <a:off x="1668488" y="5798371"/>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103" name="Text Placeholder 16">
            <a:extLst>
              <a:ext uri="{FF2B5EF4-FFF2-40B4-BE49-F238E27FC236}">
                <a16:creationId xmlns:a16="http://schemas.microsoft.com/office/drawing/2014/main" id="{3D09D9B7-E176-C2D2-A61C-20F7A59D5021}"/>
              </a:ext>
            </a:extLst>
          </p:cNvPr>
          <p:cNvSpPr>
            <a:spLocks noGrp="1"/>
          </p:cNvSpPr>
          <p:nvPr>
            <p:ph type="body" sz="quarter" idx="84" hasCustomPrompt="1"/>
          </p:nvPr>
        </p:nvSpPr>
        <p:spPr>
          <a:xfrm>
            <a:off x="1668488" y="6015603"/>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name.surname@hfw.com</a:t>
            </a:r>
            <a:endParaRPr lang="en-US" dirty="0"/>
          </a:p>
        </p:txBody>
      </p:sp>
      <p:sp>
        <p:nvSpPr>
          <p:cNvPr id="104" name="TextBox 103">
            <a:extLst>
              <a:ext uri="{FF2B5EF4-FFF2-40B4-BE49-F238E27FC236}">
                <a16:creationId xmlns:a16="http://schemas.microsoft.com/office/drawing/2014/main" id="{F7A13089-E945-2F60-DD27-50F3532A8CFF}"/>
              </a:ext>
            </a:extLst>
          </p:cNvPr>
          <p:cNvSpPr txBox="1"/>
          <p:nvPr userDrawn="1"/>
        </p:nvSpPr>
        <p:spPr>
          <a:xfrm flipH="1">
            <a:off x="1494324" y="5798371"/>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105" name="TextBox 104">
            <a:extLst>
              <a:ext uri="{FF2B5EF4-FFF2-40B4-BE49-F238E27FC236}">
                <a16:creationId xmlns:a16="http://schemas.microsoft.com/office/drawing/2014/main" id="{EDCA0103-8227-CDBF-2FF3-CBB0571F5D88}"/>
              </a:ext>
            </a:extLst>
          </p:cNvPr>
          <p:cNvSpPr txBox="1"/>
          <p:nvPr userDrawn="1"/>
        </p:nvSpPr>
        <p:spPr>
          <a:xfrm flipH="1">
            <a:off x="1494324" y="6015603"/>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E</a:t>
            </a:r>
          </a:p>
        </p:txBody>
      </p:sp>
      <p:sp>
        <p:nvSpPr>
          <p:cNvPr id="4" name="TextBox 4">
            <a:extLst>
              <a:ext uri="{FF2B5EF4-FFF2-40B4-BE49-F238E27FC236}">
                <a16:creationId xmlns:a16="http://schemas.microsoft.com/office/drawing/2014/main" id="{EE164C4F-193A-A83A-C144-0E1F781150F1}"/>
              </a:ext>
            </a:extLst>
          </p:cNvPr>
          <p:cNvSpPr txBox="1"/>
          <p:nvPr userDrawn="1"/>
        </p:nvSpPr>
        <p:spPr>
          <a:xfrm>
            <a:off x="12346713" y="109538"/>
            <a:ext cx="2253207" cy="498085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INSERTING IMAGES:</a:t>
            </a:r>
          </a:p>
          <a:p>
            <a:pPr marL="179388" indent="-179388">
              <a:spcBef>
                <a:spcPts val="200"/>
              </a:spcBef>
              <a:spcAft>
                <a:spcPts val="200"/>
              </a:spcAft>
              <a:buFont typeface="+mj-lt"/>
              <a:buAutoNum type="arabicPeriod"/>
            </a:pPr>
            <a:r>
              <a:rPr lang="en-US" sz="900" dirty="0">
                <a:solidFill>
                  <a:schemeClr val="tx1"/>
                </a:solidFill>
                <a:latin typeface="+mn-lt"/>
              </a:rPr>
              <a:t>Simply click the image placeholder and select your image.</a:t>
            </a:r>
          </a:p>
          <a:p>
            <a:pPr marL="179388" indent="-179388">
              <a:spcBef>
                <a:spcPts val="200"/>
              </a:spcBef>
              <a:spcAft>
                <a:spcPts val="200"/>
              </a:spcAft>
              <a:buFont typeface="+mj-lt"/>
              <a:buAutoNum type="arabicPeriod"/>
            </a:pPr>
            <a:r>
              <a:rPr lang="en-US" sz="900" dirty="0">
                <a:solidFill>
                  <a:schemeClr val="tx1"/>
                </a:solidFill>
                <a:latin typeface="+mn-lt"/>
              </a:rPr>
              <a:t>Once your image is inserted into the shape it may be distorted. (Stretched or Squashed)</a:t>
            </a:r>
          </a:p>
          <a:p>
            <a:pPr marL="179388" indent="-179388">
              <a:spcBef>
                <a:spcPts val="200"/>
              </a:spcBef>
              <a:spcAft>
                <a:spcPts val="200"/>
              </a:spcAft>
              <a:buFont typeface="+mj-lt"/>
              <a:buAutoNum type="arabicPeriod"/>
            </a:pPr>
            <a:endParaRPr lang="en-US" sz="900" dirty="0">
              <a:solidFill>
                <a:schemeClr val="tx1"/>
              </a:solidFill>
              <a:latin typeface="+mn-lt"/>
            </a:endParaRPr>
          </a:p>
          <a:p>
            <a:pPr>
              <a:spcBef>
                <a:spcPts val="200"/>
              </a:spcBef>
              <a:spcAft>
                <a:spcPts val="200"/>
              </a:spcAft>
            </a:pPr>
            <a:r>
              <a:rPr lang="en-US" sz="900" b="1" dirty="0">
                <a:solidFill>
                  <a:schemeClr val="tx1"/>
                </a:solidFill>
                <a:latin typeface="+mn-lt"/>
              </a:rPr>
              <a:t>To fix this:</a:t>
            </a:r>
          </a:p>
          <a:p>
            <a:pPr marL="179388" indent="-179388">
              <a:spcBef>
                <a:spcPts val="200"/>
              </a:spcBef>
              <a:spcAft>
                <a:spcPts val="200"/>
              </a:spcAft>
              <a:buFont typeface="+mj-lt"/>
              <a:buAutoNum type="arabicPeriod"/>
            </a:pPr>
            <a:r>
              <a:rPr lang="en-US" sz="900" dirty="0">
                <a:solidFill>
                  <a:schemeClr val="tx1"/>
                </a:solidFill>
                <a:latin typeface="+mn-lt"/>
              </a:rPr>
              <a:t>Click on the image and from the top menu under </a:t>
            </a:r>
            <a:r>
              <a:rPr lang="en-US" sz="900" b="1" dirty="0">
                <a:solidFill>
                  <a:schemeClr val="tx1"/>
                </a:solidFill>
                <a:latin typeface="+mn-lt"/>
              </a:rPr>
              <a:t>PICTURE FORMAT </a:t>
            </a:r>
            <a:r>
              <a:rPr lang="en-US" sz="900" dirty="0">
                <a:solidFill>
                  <a:schemeClr val="tx1"/>
                </a:solidFill>
                <a:latin typeface="+mn-lt"/>
              </a:rPr>
              <a:t>select the </a:t>
            </a:r>
            <a:r>
              <a:rPr lang="en-US" sz="900" b="1" dirty="0">
                <a:solidFill>
                  <a:schemeClr val="tx1"/>
                </a:solidFill>
                <a:latin typeface="+mn-lt"/>
              </a:rPr>
              <a:t>CROP</a:t>
            </a:r>
            <a:r>
              <a:rPr lang="en-US" sz="900" dirty="0">
                <a:solidFill>
                  <a:schemeClr val="tx1"/>
                </a:solidFill>
                <a:latin typeface="+mn-lt"/>
              </a:rPr>
              <a:t> on the right and from the drop down menu select </a:t>
            </a:r>
            <a:r>
              <a:rPr lang="en-US" sz="900" b="1" kern="1200" dirty="0">
                <a:solidFill>
                  <a:schemeClr val="tx1"/>
                </a:solidFill>
                <a:latin typeface="+mn-lt"/>
                <a:ea typeface="+mn-ea"/>
                <a:cs typeface="+mn-cs"/>
              </a:rPr>
              <a:t>FILL</a:t>
            </a:r>
          </a:p>
          <a:p>
            <a:pPr marL="179388" indent="-179388">
              <a:spcBef>
                <a:spcPts val="200"/>
              </a:spcBef>
              <a:spcAft>
                <a:spcPts val="200"/>
              </a:spcAft>
              <a:buFont typeface="+mj-lt"/>
              <a:buAutoNum type="arabicPeriod"/>
            </a:pPr>
            <a:r>
              <a:rPr lang="en-US" sz="900" b="0" kern="1200" dirty="0">
                <a:solidFill>
                  <a:schemeClr val="tx1"/>
                </a:solidFill>
                <a:latin typeface="+mn-lt"/>
                <a:ea typeface="+mn-ea"/>
                <a:cs typeface="+mn-cs"/>
              </a:rPr>
              <a:t>From here you can move the image within the shape for best visual appearance</a:t>
            </a:r>
          </a:p>
          <a:p>
            <a:pPr marL="179388" indent="-179388">
              <a:spcBef>
                <a:spcPts val="200"/>
              </a:spcBef>
              <a:spcAft>
                <a:spcPts val="200"/>
              </a:spcAft>
              <a:buFont typeface="+mj-lt"/>
              <a:buAutoNum type="arabicPeriod"/>
            </a:pPr>
            <a:endParaRPr lang="en-US" sz="900" b="0" i="0" kern="1200" dirty="0">
              <a:solidFill>
                <a:schemeClr val="tx1"/>
              </a:solidFill>
              <a:latin typeface="+mn-lt"/>
              <a:ea typeface="+mn-ea"/>
              <a:cs typeface="+mn-cs"/>
            </a:endParaRPr>
          </a:p>
          <a:p>
            <a:pPr marL="0" marR="0" lvl="0" indent="0" algn="l" defTabSz="914400" rtl="0" eaLnBrk="1" fontAlgn="auto" latinLnBrk="0" hangingPunct="1">
              <a:lnSpc>
                <a:spcPct val="100000"/>
              </a:lnSpc>
              <a:spcBef>
                <a:spcPts val="200"/>
              </a:spcBef>
              <a:spcAft>
                <a:spcPts val="200"/>
              </a:spcAft>
              <a:buClrTx/>
              <a:buSzTx/>
              <a:buFont typeface="+mj-lt"/>
              <a:buNone/>
              <a:tabLst/>
              <a:defRPr/>
            </a:pPr>
            <a:r>
              <a:rPr lang="en-GB" sz="1000" b="1" i="0" dirty="0">
                <a:effectLst/>
                <a:latin typeface="Arial" panose="020B0604020202020204" pitchFamily="34" charset="0"/>
                <a:ea typeface="Calibri" panose="020F0502020204030204" pitchFamily="34" charset="0"/>
              </a:rPr>
              <a:t>When inserting staff photos, </a:t>
            </a:r>
            <a:r>
              <a:rPr lang="en-GB" sz="1000" i="0" dirty="0">
                <a:effectLst/>
                <a:latin typeface="Arial" panose="020B0604020202020204" pitchFamily="34" charset="0"/>
                <a:ea typeface="Calibri" panose="020F0502020204030204" pitchFamily="34" charset="0"/>
              </a:rPr>
              <a:t>please use the same method as suggested above. To ensure you are using staff photos that are optimised for use in this Pitch Template, please insert them from the “Staff Photos 40x40 BW” folder, located in the Staff photos section of the HFW Pitch Template folder.</a:t>
            </a:r>
            <a:endParaRPr lang="en-GB" sz="1000" i="0" dirty="0">
              <a:effectLst/>
              <a:latin typeface="Calibri" panose="020F0502020204030204" pitchFamily="34" charset="0"/>
              <a:ea typeface="Calibri" panose="020F0502020204030204" pitchFamily="34" charset="0"/>
            </a:endParaRPr>
          </a:p>
          <a:p>
            <a:pPr marL="179388" indent="-179388">
              <a:spcBef>
                <a:spcPts val="200"/>
              </a:spcBef>
              <a:spcAft>
                <a:spcPts val="200"/>
              </a:spcAft>
              <a:buFont typeface="+mj-lt"/>
              <a:buAutoNum type="arabicPeriod"/>
            </a:pPr>
            <a:endParaRPr lang="en-US" sz="900" b="0" kern="1200" dirty="0">
              <a:solidFill>
                <a:schemeClr val="tx1"/>
              </a:solidFill>
              <a:latin typeface="+mn-lt"/>
              <a:ea typeface="+mn-ea"/>
              <a:cs typeface="+mn-cs"/>
            </a:endParaRPr>
          </a:p>
          <a:p>
            <a:pPr marL="179388" indent="-179388">
              <a:spcBef>
                <a:spcPts val="200"/>
              </a:spcBef>
              <a:spcAft>
                <a:spcPts val="200"/>
              </a:spcAft>
              <a:buFont typeface="+mj-lt"/>
              <a:buAutoNum type="arabicPeriod"/>
            </a:pPr>
            <a:endParaRPr lang="en-US" sz="900" b="0" kern="1200" dirty="0">
              <a:solidFill>
                <a:schemeClr val="tx1"/>
              </a:solidFill>
              <a:latin typeface="+mn-lt"/>
              <a:ea typeface="+mn-ea"/>
              <a:cs typeface="+mn-cs"/>
            </a:endParaRPr>
          </a:p>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SAMPLE CONTACT LAYOUT</a:t>
            </a:r>
          </a:p>
        </p:txBody>
      </p:sp>
      <p:grpSp>
        <p:nvGrpSpPr>
          <p:cNvPr id="8" name="Group 7">
            <a:extLst>
              <a:ext uri="{FF2B5EF4-FFF2-40B4-BE49-F238E27FC236}">
                <a16:creationId xmlns:a16="http://schemas.microsoft.com/office/drawing/2014/main" id="{242DF000-AB47-4C45-E48B-A51B45A01289}"/>
              </a:ext>
            </a:extLst>
          </p:cNvPr>
          <p:cNvGrpSpPr/>
          <p:nvPr userDrawn="1"/>
        </p:nvGrpSpPr>
        <p:grpSpPr>
          <a:xfrm>
            <a:off x="12437199" y="5138030"/>
            <a:ext cx="2813913" cy="819975"/>
            <a:chOff x="12399099" y="4230487"/>
            <a:chExt cx="2813913" cy="819975"/>
          </a:xfrm>
        </p:grpSpPr>
        <p:sp>
          <p:nvSpPr>
            <p:cNvPr id="10" name="TextBox 9">
              <a:extLst>
                <a:ext uri="{FF2B5EF4-FFF2-40B4-BE49-F238E27FC236}">
                  <a16:creationId xmlns:a16="http://schemas.microsoft.com/office/drawing/2014/main" id="{D4853939-7724-347F-66BC-E409CD2AB73E}"/>
                </a:ext>
              </a:extLst>
            </p:cNvPr>
            <p:cNvSpPr txBox="1"/>
            <p:nvPr userDrawn="1"/>
          </p:nvSpPr>
          <p:spPr>
            <a:xfrm flipH="1">
              <a:off x="12573262" y="4663953"/>
              <a:ext cx="2639750"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grpSp>
          <p:nvGrpSpPr>
            <p:cNvPr id="11" name="Group 10">
              <a:extLst>
                <a:ext uri="{FF2B5EF4-FFF2-40B4-BE49-F238E27FC236}">
                  <a16:creationId xmlns:a16="http://schemas.microsoft.com/office/drawing/2014/main" id="{E3E5C70C-C928-732D-C388-8C0725A2DE9E}"/>
                </a:ext>
              </a:extLst>
            </p:cNvPr>
            <p:cNvGrpSpPr/>
            <p:nvPr userDrawn="1"/>
          </p:nvGrpSpPr>
          <p:grpSpPr>
            <a:xfrm>
              <a:off x="12399099" y="4230487"/>
              <a:ext cx="2326813" cy="819975"/>
              <a:chOff x="12399099" y="4230487"/>
              <a:chExt cx="2326813" cy="819975"/>
            </a:xfrm>
          </p:grpSpPr>
          <p:sp>
            <p:nvSpPr>
              <p:cNvPr id="12" name="TextBox 11">
                <a:extLst>
                  <a:ext uri="{FF2B5EF4-FFF2-40B4-BE49-F238E27FC236}">
                    <a16:creationId xmlns:a16="http://schemas.microsoft.com/office/drawing/2014/main" id="{A5176EB2-6660-6DAD-AFB0-F62DFDDBD568}"/>
                  </a:ext>
                </a:extLst>
              </p:cNvPr>
              <p:cNvSpPr txBox="1"/>
              <p:nvPr userDrawn="1"/>
            </p:nvSpPr>
            <p:spPr>
              <a:xfrm flipH="1">
                <a:off x="12399100" y="4663953"/>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13" name="TextBox 12">
                <a:extLst>
                  <a:ext uri="{FF2B5EF4-FFF2-40B4-BE49-F238E27FC236}">
                    <a16:creationId xmlns:a16="http://schemas.microsoft.com/office/drawing/2014/main" id="{924EB972-BAF0-BC0D-BA28-1C5E99E05801}"/>
                  </a:ext>
                </a:extLst>
              </p:cNvPr>
              <p:cNvSpPr txBox="1"/>
              <p:nvPr userDrawn="1"/>
            </p:nvSpPr>
            <p:spPr>
              <a:xfrm flipH="1">
                <a:off x="12399100" y="4881185"/>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E</a:t>
                </a:r>
              </a:p>
            </p:txBody>
          </p:sp>
          <p:sp>
            <p:nvSpPr>
              <p:cNvPr id="14" name="TextBox 13">
                <a:extLst>
                  <a:ext uri="{FF2B5EF4-FFF2-40B4-BE49-F238E27FC236}">
                    <a16:creationId xmlns:a16="http://schemas.microsoft.com/office/drawing/2014/main" id="{08F02546-3449-DF3E-D82E-595188DB8127}"/>
                  </a:ext>
                </a:extLst>
              </p:cNvPr>
              <p:cNvSpPr txBox="1"/>
              <p:nvPr userDrawn="1"/>
            </p:nvSpPr>
            <p:spPr>
              <a:xfrm flipH="1">
                <a:off x="12573262" y="4881185"/>
                <a:ext cx="2152650"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name.surname@hfw.com</a:t>
                </a:r>
                <a:endParaRPr lang="en-US" dirty="0"/>
              </a:p>
            </p:txBody>
          </p:sp>
          <p:sp>
            <p:nvSpPr>
              <p:cNvPr id="15" name="TextBox 14">
                <a:extLst>
                  <a:ext uri="{FF2B5EF4-FFF2-40B4-BE49-F238E27FC236}">
                    <a16:creationId xmlns:a16="http://schemas.microsoft.com/office/drawing/2014/main" id="{271913B7-3AEA-60A4-5513-7D335F8A09A1}"/>
                  </a:ext>
                </a:extLst>
              </p:cNvPr>
              <p:cNvSpPr txBox="1"/>
              <p:nvPr userDrawn="1"/>
            </p:nvSpPr>
            <p:spPr>
              <a:xfrm flipH="1">
                <a:off x="12399099" y="4230487"/>
                <a:ext cx="1968833"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solidFill>
                      <a:schemeClr val="tx2"/>
                    </a:solidFill>
                    <a:latin typeface="+mj-lt"/>
                  </a:rPr>
                  <a:t>NAME SURNAME</a:t>
                </a:r>
              </a:p>
            </p:txBody>
          </p:sp>
          <p:sp>
            <p:nvSpPr>
              <p:cNvPr id="16" name="TextBox 15">
                <a:extLst>
                  <a:ext uri="{FF2B5EF4-FFF2-40B4-BE49-F238E27FC236}">
                    <a16:creationId xmlns:a16="http://schemas.microsoft.com/office/drawing/2014/main" id="{2D99FCBF-090B-3949-B2B4-9E41EA18487D}"/>
                  </a:ext>
                </a:extLst>
              </p:cNvPr>
              <p:cNvSpPr txBox="1"/>
              <p:nvPr userDrawn="1"/>
            </p:nvSpPr>
            <p:spPr>
              <a:xfrm flipH="1">
                <a:off x="12399099" y="4445785"/>
                <a:ext cx="1968833"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US" dirty="0"/>
                  <a:t>Position, Location</a:t>
                </a:r>
              </a:p>
            </p:txBody>
          </p:sp>
        </p:grpSp>
      </p:grpSp>
    </p:spTree>
    <p:extLst>
      <p:ext uri="{BB962C8B-B14F-4D97-AF65-F5344CB8AC3E}">
        <p14:creationId xmlns:p14="http://schemas.microsoft.com/office/powerpoint/2010/main" val="25832923"/>
      </p:ext>
    </p:extLst>
  </p:cSld>
  <p:clrMapOvr>
    <a:masterClrMapping/>
  </p:clrMapOvr>
  <p:transition spd="med">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Key Contacts 8 &amp; Quote">
    <p:bg>
      <p:bgPr>
        <a:solidFill>
          <a:schemeClr val="bg2"/>
        </a:solidFill>
        <a:effectLst/>
      </p:bgPr>
    </p:bg>
    <p:spTree>
      <p:nvGrpSpPr>
        <p:cNvPr id="1" name=""/>
        <p:cNvGrpSpPr/>
        <p:nvPr/>
      </p:nvGrpSpPr>
      <p:grpSpPr>
        <a:xfrm>
          <a:off x="0" y="0"/>
          <a:ext cx="0" cy="0"/>
          <a:chOff x="0" y="0"/>
          <a:chExt cx="0" cy="0"/>
        </a:xfrm>
      </p:grpSpPr>
      <p:sp>
        <p:nvSpPr>
          <p:cNvPr id="9" name="Picture Placeholder 10">
            <a:extLst>
              <a:ext uri="{FF2B5EF4-FFF2-40B4-BE49-F238E27FC236}">
                <a16:creationId xmlns:a16="http://schemas.microsoft.com/office/drawing/2014/main" id="{957F7B8C-8896-F507-1133-31FF9F06D6DB}"/>
              </a:ext>
            </a:extLst>
          </p:cNvPr>
          <p:cNvSpPr>
            <a:spLocks noGrp="1"/>
          </p:cNvSpPr>
          <p:nvPr>
            <p:ph type="pic" sz="quarter" idx="13" hasCustomPrompt="1"/>
          </p:nvPr>
        </p:nvSpPr>
        <p:spPr>
          <a:xfrm>
            <a:off x="8126412" y="0"/>
            <a:ext cx="4065587" cy="6858000"/>
          </a:xfrm>
          <a:solidFill>
            <a:schemeClr val="tx1"/>
          </a:solidFill>
        </p:spPr>
        <p:txBody>
          <a:bodyPr vert="horz" lIns="0" tIns="45720" rIns="0" bIns="45720" rtlCol="0" anchor="ctr">
            <a:normAutofit/>
          </a:bodyPr>
          <a:lstStyle>
            <a:lvl1pPr algn="ctr">
              <a:defRPr lang="en-GB" sz="2800" b="0" dirty="0">
                <a:solidFill>
                  <a:schemeClr val="bg1"/>
                </a:solidFill>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US" dirty="0"/>
              <a:t>ADD RELATED </a:t>
            </a:r>
            <a:br>
              <a:rPr lang="en-US" dirty="0"/>
            </a:br>
            <a:r>
              <a:rPr lang="en-US" dirty="0"/>
              <a:t>IMAGE </a:t>
            </a:r>
            <a:br>
              <a:rPr lang="en-US" dirty="0"/>
            </a:br>
            <a:r>
              <a:rPr lang="en-US" dirty="0"/>
              <a:t>FROM HFW </a:t>
            </a:r>
            <a:br>
              <a:rPr lang="en-US" dirty="0"/>
            </a:br>
            <a:r>
              <a:rPr lang="en-US" dirty="0"/>
              <a:t>IMAGE LIBRARY</a:t>
            </a:r>
          </a:p>
        </p:txBody>
      </p:sp>
      <p:sp>
        <p:nvSpPr>
          <p:cNvPr id="2" name="Title 1"/>
          <p:cNvSpPr>
            <a:spLocks noGrp="1"/>
          </p:cNvSpPr>
          <p:nvPr>
            <p:ph type="title" hasCustomPrompt="1"/>
          </p:nvPr>
        </p:nvSpPr>
        <p:spPr>
          <a:xfrm>
            <a:off x="508000" y="454013"/>
            <a:ext cx="7459663" cy="663587"/>
          </a:xfrm>
        </p:spPr>
        <p:txBody>
          <a:bodyPr/>
          <a:lstStyle/>
          <a:p>
            <a:r>
              <a:rPr lang="en-US" dirty="0"/>
              <a:t>Key </a:t>
            </a:r>
            <a:r>
              <a:rPr lang="en-US" dirty="0" err="1"/>
              <a:t>contactS</a:t>
            </a:r>
            <a:endParaRPr lang="en-US" dirty="0"/>
          </a:p>
        </p:txBody>
      </p:sp>
      <p:sp>
        <p:nvSpPr>
          <p:cNvPr id="5" name="Footer Placeholder 4"/>
          <p:cNvSpPr>
            <a:spLocks noGrp="1"/>
          </p:cNvSpPr>
          <p:nvPr>
            <p:ph type="ftr" sz="quarter" idx="11"/>
          </p:nvPr>
        </p:nvSpPr>
        <p:spPr/>
        <p:txBody>
          <a:bodyPr/>
          <a:lstStyle/>
          <a:p>
            <a:r>
              <a:rPr lang="en-GB"/>
              <a:t>INSERT FOOTER HER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8CFE0557-AA98-4E6C-B0C3-581794696B68}" type="slidenum">
              <a:rPr lang="en-GB" smtClean="0"/>
              <a:pPr/>
              <a:t>‹#›</a:t>
            </a:fld>
            <a:endParaRPr lang="en-GB"/>
          </a:p>
        </p:txBody>
      </p:sp>
      <p:sp>
        <p:nvSpPr>
          <p:cNvPr id="7" name="Text Placeholder 12">
            <a:extLst>
              <a:ext uri="{FF2B5EF4-FFF2-40B4-BE49-F238E27FC236}">
                <a16:creationId xmlns:a16="http://schemas.microsoft.com/office/drawing/2014/main" id="{9DF0CBE1-BC51-4653-7CF9-EE375FF1E781}"/>
              </a:ext>
            </a:extLst>
          </p:cNvPr>
          <p:cNvSpPr>
            <a:spLocks noGrp="1"/>
          </p:cNvSpPr>
          <p:nvPr>
            <p:ph type="body" sz="quarter" idx="34" hasCustomPrompt="1"/>
          </p:nvPr>
        </p:nvSpPr>
        <p:spPr>
          <a:xfrm>
            <a:off x="508000" y="5334846"/>
            <a:ext cx="7127876" cy="681779"/>
          </a:xfrm>
        </p:spPr>
        <p:txBody>
          <a:bodyPr vert="horz" lIns="0" tIns="45720" rIns="0" bIns="0" rtlCol="0" anchor="b" anchorCtr="0">
            <a:noAutofit/>
          </a:bodyPr>
          <a:lstStyle>
            <a:lvl1pPr marL="108000" indent="-108000">
              <a:lnSpc>
                <a:spcPct val="110000"/>
              </a:lnSpc>
              <a:spcBef>
                <a:spcPts val="0"/>
              </a:spcBef>
              <a:spcAft>
                <a:spcPts val="0"/>
              </a:spcAft>
              <a:defRPr lang="en-US" sz="2000" dirty="0">
                <a:solidFill>
                  <a:schemeClr val="accent2"/>
                </a:solidFill>
              </a:defRPr>
            </a:lvl1pPr>
            <a:lvl2pPr>
              <a:defRPr lang="en-US" sz="1400" dirty="0">
                <a:solidFill>
                  <a:schemeClr val="tx2"/>
                </a:solidFill>
                <a:latin typeface="+mj-lt"/>
              </a:defRPr>
            </a:lvl2pPr>
          </a:lstStyle>
          <a:p>
            <a:pPr marL="108000" lvl="0" indent="-108000">
              <a:lnSpc>
                <a:spcPct val="100000"/>
              </a:lnSpc>
              <a:spcBef>
                <a:spcPts val="200"/>
              </a:spcBef>
              <a:spcAft>
                <a:spcPts val="200"/>
              </a:spcAft>
            </a:pPr>
            <a:r>
              <a:rPr lang="en-US" dirty="0"/>
              <a:t>“Quote goes here.”</a:t>
            </a:r>
          </a:p>
        </p:txBody>
      </p:sp>
      <p:sp>
        <p:nvSpPr>
          <p:cNvPr id="16" name="Text Placeholder 7">
            <a:extLst>
              <a:ext uri="{FF2B5EF4-FFF2-40B4-BE49-F238E27FC236}">
                <a16:creationId xmlns:a16="http://schemas.microsoft.com/office/drawing/2014/main" id="{EADD8149-D1FC-02CF-5D7E-365B3EF2011C}"/>
              </a:ext>
            </a:extLst>
          </p:cNvPr>
          <p:cNvSpPr>
            <a:spLocks noGrp="1"/>
          </p:cNvSpPr>
          <p:nvPr>
            <p:ph type="body" sz="quarter" idx="24" hasCustomPrompt="1"/>
          </p:nvPr>
        </p:nvSpPr>
        <p:spPr>
          <a:xfrm>
            <a:off x="508000" y="6047121"/>
            <a:ext cx="7127876" cy="215444"/>
          </a:xfrm>
        </p:spPr>
        <p:txBody>
          <a:bodyPr wrap="square" tIns="0" bIns="0" anchor="b" anchorCtr="0">
            <a:spAutoFit/>
          </a:bodyPr>
          <a:lstStyle>
            <a:lvl1pPr marL="108000">
              <a:lnSpc>
                <a:spcPct val="100000"/>
              </a:lnSpc>
              <a:defRPr sz="1400" cap="all" baseline="0">
                <a:solidFill>
                  <a:schemeClr val="tx2"/>
                </a:solidFill>
                <a:latin typeface="+mj-lt"/>
              </a:defRPr>
            </a:lvl1pPr>
            <a:lvl2pPr marL="108000">
              <a:lnSpc>
                <a:spcPct val="100000"/>
              </a:lnSpc>
              <a:defRPr sz="1400" cap="all" baseline="0">
                <a:solidFill>
                  <a:schemeClr val="tx2"/>
                </a:solidFill>
                <a:latin typeface="+mj-lt"/>
              </a:defRPr>
            </a:lvl2pPr>
            <a:lvl3pPr marL="108000">
              <a:lnSpc>
                <a:spcPct val="100000"/>
              </a:lnSpc>
              <a:defRPr sz="1400" cap="all" baseline="0">
                <a:solidFill>
                  <a:schemeClr val="tx2"/>
                </a:solidFill>
                <a:latin typeface="+mj-lt"/>
              </a:defRPr>
            </a:lvl3pPr>
            <a:lvl4pPr marL="108000">
              <a:lnSpc>
                <a:spcPct val="100000"/>
              </a:lnSpc>
              <a:defRPr sz="1400" cap="all" baseline="0">
                <a:solidFill>
                  <a:schemeClr val="tx2"/>
                </a:solidFill>
                <a:latin typeface="+mj-lt"/>
              </a:defRPr>
            </a:lvl4pPr>
            <a:lvl5pPr marL="108000">
              <a:lnSpc>
                <a:spcPct val="100000"/>
              </a:lnSpc>
              <a:defRPr sz="1400" cap="all" baseline="0">
                <a:solidFill>
                  <a:schemeClr val="tx2"/>
                </a:solidFill>
                <a:latin typeface="+mj-lt"/>
              </a:defRPr>
            </a:lvl5pPr>
          </a:lstStyle>
          <a:p>
            <a:pPr lvl="0"/>
            <a:r>
              <a:rPr lang="en-US" dirty="0"/>
              <a:t>quote author</a:t>
            </a:r>
            <a:endParaRPr lang="en-GB" dirty="0"/>
          </a:p>
        </p:txBody>
      </p:sp>
      <p:sp>
        <p:nvSpPr>
          <p:cNvPr id="35" name="Picture Placeholder 14">
            <a:extLst>
              <a:ext uri="{FF2B5EF4-FFF2-40B4-BE49-F238E27FC236}">
                <a16:creationId xmlns:a16="http://schemas.microsoft.com/office/drawing/2014/main" id="{45A950D6-8B2E-929D-E4AA-DFFE052EE330}"/>
              </a:ext>
            </a:extLst>
          </p:cNvPr>
          <p:cNvSpPr>
            <a:spLocks noGrp="1"/>
          </p:cNvSpPr>
          <p:nvPr>
            <p:ph type="pic" sz="quarter" idx="35" hasCustomPrompt="1"/>
          </p:nvPr>
        </p:nvSpPr>
        <p:spPr>
          <a:xfrm>
            <a:off x="4235451" y="1298891"/>
            <a:ext cx="876299" cy="876299"/>
          </a:xfrm>
          <a:solidFill>
            <a:schemeClr val="bg1"/>
          </a:solidFill>
        </p:spPr>
        <p:txBody>
          <a:bodyPr anchor="ctr">
            <a:normAutofit/>
          </a:bodyPr>
          <a:lstStyle>
            <a:lvl1pPr algn="ctr">
              <a:defRPr sz="1000">
                <a:latin typeface="+mn-lt"/>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GB" dirty="0"/>
              <a:t>Picture</a:t>
            </a:r>
          </a:p>
        </p:txBody>
      </p:sp>
      <p:sp>
        <p:nvSpPr>
          <p:cNvPr id="36" name="Text Placeholder 16">
            <a:extLst>
              <a:ext uri="{FF2B5EF4-FFF2-40B4-BE49-F238E27FC236}">
                <a16:creationId xmlns:a16="http://schemas.microsoft.com/office/drawing/2014/main" id="{DB4C727A-AC6E-8335-F98B-DD5011F41EA0}"/>
              </a:ext>
            </a:extLst>
          </p:cNvPr>
          <p:cNvSpPr>
            <a:spLocks noGrp="1"/>
          </p:cNvSpPr>
          <p:nvPr>
            <p:ph type="body" sz="quarter" idx="36" hasCustomPrompt="1"/>
          </p:nvPr>
        </p:nvSpPr>
        <p:spPr>
          <a:xfrm>
            <a:off x="5211365" y="1538859"/>
            <a:ext cx="2543172"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US" dirty="0"/>
              <a:t>Position, Location</a:t>
            </a:r>
          </a:p>
        </p:txBody>
      </p:sp>
      <p:sp>
        <p:nvSpPr>
          <p:cNvPr id="37" name="Text Placeholder 16">
            <a:extLst>
              <a:ext uri="{FF2B5EF4-FFF2-40B4-BE49-F238E27FC236}">
                <a16:creationId xmlns:a16="http://schemas.microsoft.com/office/drawing/2014/main" id="{DC153831-3B57-01E8-9C7A-5992AE64232D}"/>
              </a:ext>
            </a:extLst>
          </p:cNvPr>
          <p:cNvSpPr>
            <a:spLocks noGrp="1"/>
          </p:cNvSpPr>
          <p:nvPr>
            <p:ph type="body" sz="quarter" idx="37" hasCustomPrompt="1"/>
          </p:nvPr>
        </p:nvSpPr>
        <p:spPr>
          <a:xfrm>
            <a:off x="5211365" y="1321689"/>
            <a:ext cx="2543172" cy="169277"/>
          </a:xfrm>
        </p:spPr>
        <p:txBody>
          <a:bodyPr tIns="0" bIns="0">
            <a:noAutofit/>
          </a:bodyPr>
          <a:lstStyle>
            <a:lvl1pPr algn="l">
              <a:lnSpc>
                <a:spcPct val="100000"/>
              </a:lnSpc>
              <a:spcBef>
                <a:spcPts val="0"/>
              </a:spcBef>
              <a:spcAft>
                <a:spcPts val="0"/>
              </a:spcAft>
              <a:defRPr sz="1100" cap="all" baseline="0">
                <a:solidFill>
                  <a:schemeClr val="tx2"/>
                </a:solidFill>
                <a:latin typeface="+mj-lt"/>
              </a:defRPr>
            </a:lvl1pPr>
            <a:lvl2pPr algn="l">
              <a:lnSpc>
                <a:spcPct val="100000"/>
              </a:lnSpc>
              <a:spcBef>
                <a:spcPts val="200"/>
              </a:spcBef>
              <a:spcAft>
                <a:spcPts val="200"/>
              </a:spcAft>
              <a:defRPr sz="1100">
                <a:solidFill>
                  <a:schemeClr val="tx1"/>
                </a:solidFill>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0"/>
            <a:r>
              <a:rPr lang="en-US" dirty="0"/>
              <a:t>NAME SURNAME</a:t>
            </a:r>
          </a:p>
        </p:txBody>
      </p:sp>
      <p:sp>
        <p:nvSpPr>
          <p:cNvPr id="38" name="Text Placeholder 16">
            <a:extLst>
              <a:ext uri="{FF2B5EF4-FFF2-40B4-BE49-F238E27FC236}">
                <a16:creationId xmlns:a16="http://schemas.microsoft.com/office/drawing/2014/main" id="{29AAE6CD-FC62-78BD-0A61-ECBC2C794D5E}"/>
              </a:ext>
            </a:extLst>
          </p:cNvPr>
          <p:cNvSpPr>
            <a:spLocks noGrp="1"/>
          </p:cNvSpPr>
          <p:nvPr>
            <p:ph type="body" sz="quarter" idx="38" hasCustomPrompt="1"/>
          </p:nvPr>
        </p:nvSpPr>
        <p:spPr>
          <a:xfrm>
            <a:off x="5387048" y="1756091"/>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39" name="Text Placeholder 16">
            <a:extLst>
              <a:ext uri="{FF2B5EF4-FFF2-40B4-BE49-F238E27FC236}">
                <a16:creationId xmlns:a16="http://schemas.microsoft.com/office/drawing/2014/main" id="{BC35688D-CDD7-7DA6-E7AA-2F6CD7493F22}"/>
              </a:ext>
            </a:extLst>
          </p:cNvPr>
          <p:cNvSpPr>
            <a:spLocks noGrp="1"/>
          </p:cNvSpPr>
          <p:nvPr>
            <p:ph type="body" sz="quarter" idx="39" hasCustomPrompt="1"/>
          </p:nvPr>
        </p:nvSpPr>
        <p:spPr>
          <a:xfrm>
            <a:off x="5387048" y="1973323"/>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name.surname@hfw.com</a:t>
            </a:r>
            <a:endParaRPr lang="en-US" dirty="0"/>
          </a:p>
        </p:txBody>
      </p:sp>
      <p:sp>
        <p:nvSpPr>
          <p:cNvPr id="40" name="TextBox 39">
            <a:extLst>
              <a:ext uri="{FF2B5EF4-FFF2-40B4-BE49-F238E27FC236}">
                <a16:creationId xmlns:a16="http://schemas.microsoft.com/office/drawing/2014/main" id="{D230F808-342D-AC38-F9A3-894F3C04BA8C}"/>
              </a:ext>
            </a:extLst>
          </p:cNvPr>
          <p:cNvSpPr txBox="1"/>
          <p:nvPr userDrawn="1"/>
        </p:nvSpPr>
        <p:spPr>
          <a:xfrm flipH="1">
            <a:off x="5212884" y="1756091"/>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41" name="TextBox 40">
            <a:extLst>
              <a:ext uri="{FF2B5EF4-FFF2-40B4-BE49-F238E27FC236}">
                <a16:creationId xmlns:a16="http://schemas.microsoft.com/office/drawing/2014/main" id="{99A9B875-CE41-6371-C337-302DBFE74A20}"/>
              </a:ext>
            </a:extLst>
          </p:cNvPr>
          <p:cNvSpPr txBox="1"/>
          <p:nvPr userDrawn="1"/>
        </p:nvSpPr>
        <p:spPr>
          <a:xfrm flipH="1">
            <a:off x="5212884" y="1973323"/>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E</a:t>
            </a:r>
          </a:p>
        </p:txBody>
      </p:sp>
      <p:sp>
        <p:nvSpPr>
          <p:cNvPr id="42" name="Picture Placeholder 14">
            <a:extLst>
              <a:ext uri="{FF2B5EF4-FFF2-40B4-BE49-F238E27FC236}">
                <a16:creationId xmlns:a16="http://schemas.microsoft.com/office/drawing/2014/main" id="{E9E349D0-3950-5951-8080-9AC34677432E}"/>
              </a:ext>
            </a:extLst>
          </p:cNvPr>
          <p:cNvSpPr>
            <a:spLocks noGrp="1"/>
          </p:cNvSpPr>
          <p:nvPr>
            <p:ph type="pic" sz="quarter" idx="40" hasCustomPrompt="1"/>
          </p:nvPr>
        </p:nvSpPr>
        <p:spPr>
          <a:xfrm>
            <a:off x="516891" y="1298891"/>
            <a:ext cx="876299" cy="876299"/>
          </a:xfrm>
          <a:solidFill>
            <a:schemeClr val="bg1"/>
          </a:solidFill>
        </p:spPr>
        <p:txBody>
          <a:bodyPr anchor="ctr">
            <a:normAutofit/>
          </a:bodyPr>
          <a:lstStyle>
            <a:lvl1pPr algn="ctr">
              <a:defRPr sz="1000">
                <a:latin typeface="+mn-lt"/>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GB" dirty="0"/>
              <a:t>Picture</a:t>
            </a:r>
          </a:p>
        </p:txBody>
      </p:sp>
      <p:sp>
        <p:nvSpPr>
          <p:cNvPr id="43" name="Text Placeholder 16">
            <a:extLst>
              <a:ext uri="{FF2B5EF4-FFF2-40B4-BE49-F238E27FC236}">
                <a16:creationId xmlns:a16="http://schemas.microsoft.com/office/drawing/2014/main" id="{107F1C7D-201C-FFF0-E256-198255D0AC5B}"/>
              </a:ext>
            </a:extLst>
          </p:cNvPr>
          <p:cNvSpPr>
            <a:spLocks noGrp="1"/>
          </p:cNvSpPr>
          <p:nvPr>
            <p:ph type="body" sz="quarter" idx="41" hasCustomPrompt="1"/>
          </p:nvPr>
        </p:nvSpPr>
        <p:spPr>
          <a:xfrm>
            <a:off x="1492805" y="1538859"/>
            <a:ext cx="2543172"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US" dirty="0"/>
              <a:t>Position, Location</a:t>
            </a:r>
          </a:p>
        </p:txBody>
      </p:sp>
      <p:sp>
        <p:nvSpPr>
          <p:cNvPr id="44" name="Text Placeholder 16">
            <a:extLst>
              <a:ext uri="{FF2B5EF4-FFF2-40B4-BE49-F238E27FC236}">
                <a16:creationId xmlns:a16="http://schemas.microsoft.com/office/drawing/2014/main" id="{9F42F667-9F96-5B82-1CA6-B90B793C169F}"/>
              </a:ext>
            </a:extLst>
          </p:cNvPr>
          <p:cNvSpPr>
            <a:spLocks noGrp="1"/>
          </p:cNvSpPr>
          <p:nvPr>
            <p:ph type="body" sz="quarter" idx="42" hasCustomPrompt="1"/>
          </p:nvPr>
        </p:nvSpPr>
        <p:spPr>
          <a:xfrm>
            <a:off x="1492805" y="1321689"/>
            <a:ext cx="2543172" cy="169277"/>
          </a:xfrm>
        </p:spPr>
        <p:txBody>
          <a:bodyPr tIns="0" bIns="0">
            <a:noAutofit/>
          </a:bodyPr>
          <a:lstStyle>
            <a:lvl1pPr algn="l">
              <a:lnSpc>
                <a:spcPct val="100000"/>
              </a:lnSpc>
              <a:spcBef>
                <a:spcPts val="0"/>
              </a:spcBef>
              <a:spcAft>
                <a:spcPts val="0"/>
              </a:spcAft>
              <a:defRPr sz="1100" cap="all" baseline="0">
                <a:solidFill>
                  <a:schemeClr val="tx2"/>
                </a:solidFill>
                <a:latin typeface="+mj-lt"/>
              </a:defRPr>
            </a:lvl1pPr>
            <a:lvl2pPr algn="l">
              <a:lnSpc>
                <a:spcPct val="100000"/>
              </a:lnSpc>
              <a:spcBef>
                <a:spcPts val="200"/>
              </a:spcBef>
              <a:spcAft>
                <a:spcPts val="200"/>
              </a:spcAft>
              <a:defRPr sz="1100">
                <a:solidFill>
                  <a:schemeClr val="tx1"/>
                </a:solidFill>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0"/>
            <a:r>
              <a:rPr lang="en-US" dirty="0"/>
              <a:t>NAME SURNAME</a:t>
            </a:r>
          </a:p>
        </p:txBody>
      </p:sp>
      <p:sp>
        <p:nvSpPr>
          <p:cNvPr id="45" name="Text Placeholder 16">
            <a:extLst>
              <a:ext uri="{FF2B5EF4-FFF2-40B4-BE49-F238E27FC236}">
                <a16:creationId xmlns:a16="http://schemas.microsoft.com/office/drawing/2014/main" id="{78427E96-2D4D-28DB-3AAB-EA57438B7501}"/>
              </a:ext>
            </a:extLst>
          </p:cNvPr>
          <p:cNvSpPr>
            <a:spLocks noGrp="1"/>
          </p:cNvSpPr>
          <p:nvPr>
            <p:ph type="body" sz="quarter" idx="43" hasCustomPrompt="1"/>
          </p:nvPr>
        </p:nvSpPr>
        <p:spPr>
          <a:xfrm>
            <a:off x="1668488" y="1756091"/>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46" name="Text Placeholder 16">
            <a:extLst>
              <a:ext uri="{FF2B5EF4-FFF2-40B4-BE49-F238E27FC236}">
                <a16:creationId xmlns:a16="http://schemas.microsoft.com/office/drawing/2014/main" id="{026E2CDC-211A-9E73-95AB-A47DEDD4A45D}"/>
              </a:ext>
            </a:extLst>
          </p:cNvPr>
          <p:cNvSpPr>
            <a:spLocks noGrp="1"/>
          </p:cNvSpPr>
          <p:nvPr>
            <p:ph type="body" sz="quarter" idx="44" hasCustomPrompt="1"/>
          </p:nvPr>
        </p:nvSpPr>
        <p:spPr>
          <a:xfrm>
            <a:off x="1668488" y="1973323"/>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name.surname@hfw.com</a:t>
            </a:r>
            <a:endParaRPr lang="en-US" dirty="0"/>
          </a:p>
        </p:txBody>
      </p:sp>
      <p:sp>
        <p:nvSpPr>
          <p:cNvPr id="47" name="TextBox 46">
            <a:extLst>
              <a:ext uri="{FF2B5EF4-FFF2-40B4-BE49-F238E27FC236}">
                <a16:creationId xmlns:a16="http://schemas.microsoft.com/office/drawing/2014/main" id="{98911204-4A6F-5E58-F9D0-2528D4D12F4D}"/>
              </a:ext>
            </a:extLst>
          </p:cNvPr>
          <p:cNvSpPr txBox="1"/>
          <p:nvPr userDrawn="1"/>
        </p:nvSpPr>
        <p:spPr>
          <a:xfrm flipH="1">
            <a:off x="1494324" y="1756091"/>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48" name="TextBox 47">
            <a:extLst>
              <a:ext uri="{FF2B5EF4-FFF2-40B4-BE49-F238E27FC236}">
                <a16:creationId xmlns:a16="http://schemas.microsoft.com/office/drawing/2014/main" id="{0D87C31C-0C20-B232-BBFB-49CB0673F85A}"/>
              </a:ext>
            </a:extLst>
          </p:cNvPr>
          <p:cNvSpPr txBox="1"/>
          <p:nvPr userDrawn="1"/>
        </p:nvSpPr>
        <p:spPr>
          <a:xfrm flipH="1">
            <a:off x="1494324" y="1973323"/>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E</a:t>
            </a:r>
          </a:p>
        </p:txBody>
      </p:sp>
      <p:sp>
        <p:nvSpPr>
          <p:cNvPr id="49" name="Picture Placeholder 14">
            <a:extLst>
              <a:ext uri="{FF2B5EF4-FFF2-40B4-BE49-F238E27FC236}">
                <a16:creationId xmlns:a16="http://schemas.microsoft.com/office/drawing/2014/main" id="{D122CE6A-ADA1-6643-4A39-B2BB83C49924}"/>
              </a:ext>
            </a:extLst>
          </p:cNvPr>
          <p:cNvSpPr>
            <a:spLocks noGrp="1"/>
          </p:cNvSpPr>
          <p:nvPr>
            <p:ph type="pic" sz="quarter" idx="45" hasCustomPrompt="1"/>
          </p:nvPr>
        </p:nvSpPr>
        <p:spPr>
          <a:xfrm>
            <a:off x="4235451" y="2319337"/>
            <a:ext cx="876299" cy="876299"/>
          </a:xfrm>
          <a:solidFill>
            <a:schemeClr val="bg1"/>
          </a:solidFill>
        </p:spPr>
        <p:txBody>
          <a:bodyPr anchor="ctr">
            <a:normAutofit/>
          </a:bodyPr>
          <a:lstStyle>
            <a:lvl1pPr algn="ctr">
              <a:defRPr sz="1000">
                <a:latin typeface="+mn-lt"/>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GB" dirty="0"/>
              <a:t>Picture</a:t>
            </a:r>
          </a:p>
        </p:txBody>
      </p:sp>
      <p:sp>
        <p:nvSpPr>
          <p:cNvPr id="50" name="Text Placeholder 16">
            <a:extLst>
              <a:ext uri="{FF2B5EF4-FFF2-40B4-BE49-F238E27FC236}">
                <a16:creationId xmlns:a16="http://schemas.microsoft.com/office/drawing/2014/main" id="{6699B732-81F3-372C-F3CC-66894C266323}"/>
              </a:ext>
            </a:extLst>
          </p:cNvPr>
          <p:cNvSpPr>
            <a:spLocks noGrp="1"/>
          </p:cNvSpPr>
          <p:nvPr>
            <p:ph type="body" sz="quarter" idx="46" hasCustomPrompt="1"/>
          </p:nvPr>
        </p:nvSpPr>
        <p:spPr>
          <a:xfrm>
            <a:off x="5211365" y="2559305"/>
            <a:ext cx="2543172"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US" dirty="0"/>
              <a:t>Position, Location</a:t>
            </a:r>
          </a:p>
        </p:txBody>
      </p:sp>
      <p:sp>
        <p:nvSpPr>
          <p:cNvPr id="51" name="Text Placeholder 16">
            <a:extLst>
              <a:ext uri="{FF2B5EF4-FFF2-40B4-BE49-F238E27FC236}">
                <a16:creationId xmlns:a16="http://schemas.microsoft.com/office/drawing/2014/main" id="{BEEDE40F-EB38-F0F7-DD14-281A0B3781E3}"/>
              </a:ext>
            </a:extLst>
          </p:cNvPr>
          <p:cNvSpPr>
            <a:spLocks noGrp="1"/>
          </p:cNvSpPr>
          <p:nvPr>
            <p:ph type="body" sz="quarter" idx="47" hasCustomPrompt="1"/>
          </p:nvPr>
        </p:nvSpPr>
        <p:spPr>
          <a:xfrm>
            <a:off x="5211365" y="2342135"/>
            <a:ext cx="2543172" cy="169277"/>
          </a:xfrm>
        </p:spPr>
        <p:txBody>
          <a:bodyPr tIns="0" bIns="0">
            <a:noAutofit/>
          </a:bodyPr>
          <a:lstStyle>
            <a:lvl1pPr algn="l">
              <a:lnSpc>
                <a:spcPct val="100000"/>
              </a:lnSpc>
              <a:spcBef>
                <a:spcPts val="0"/>
              </a:spcBef>
              <a:spcAft>
                <a:spcPts val="0"/>
              </a:spcAft>
              <a:defRPr sz="1100" cap="all" baseline="0">
                <a:solidFill>
                  <a:schemeClr val="tx2"/>
                </a:solidFill>
                <a:latin typeface="+mj-lt"/>
              </a:defRPr>
            </a:lvl1pPr>
            <a:lvl2pPr algn="l">
              <a:lnSpc>
                <a:spcPct val="100000"/>
              </a:lnSpc>
              <a:spcBef>
                <a:spcPts val="200"/>
              </a:spcBef>
              <a:spcAft>
                <a:spcPts val="200"/>
              </a:spcAft>
              <a:defRPr sz="1100">
                <a:solidFill>
                  <a:schemeClr val="tx1"/>
                </a:solidFill>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0"/>
            <a:r>
              <a:rPr lang="en-US" dirty="0"/>
              <a:t>NAME SURNAME</a:t>
            </a:r>
          </a:p>
        </p:txBody>
      </p:sp>
      <p:sp>
        <p:nvSpPr>
          <p:cNvPr id="52" name="Text Placeholder 16">
            <a:extLst>
              <a:ext uri="{FF2B5EF4-FFF2-40B4-BE49-F238E27FC236}">
                <a16:creationId xmlns:a16="http://schemas.microsoft.com/office/drawing/2014/main" id="{274E07FA-5DAB-3123-CE90-8B5CD5BAF4F8}"/>
              </a:ext>
            </a:extLst>
          </p:cNvPr>
          <p:cNvSpPr>
            <a:spLocks noGrp="1"/>
          </p:cNvSpPr>
          <p:nvPr>
            <p:ph type="body" sz="quarter" idx="48" hasCustomPrompt="1"/>
          </p:nvPr>
        </p:nvSpPr>
        <p:spPr>
          <a:xfrm>
            <a:off x="5387048" y="2776537"/>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53" name="Text Placeholder 16">
            <a:extLst>
              <a:ext uri="{FF2B5EF4-FFF2-40B4-BE49-F238E27FC236}">
                <a16:creationId xmlns:a16="http://schemas.microsoft.com/office/drawing/2014/main" id="{04821569-D24A-43A2-DFDD-6C2D55383380}"/>
              </a:ext>
            </a:extLst>
          </p:cNvPr>
          <p:cNvSpPr>
            <a:spLocks noGrp="1"/>
          </p:cNvSpPr>
          <p:nvPr>
            <p:ph type="body" sz="quarter" idx="49" hasCustomPrompt="1"/>
          </p:nvPr>
        </p:nvSpPr>
        <p:spPr>
          <a:xfrm>
            <a:off x="5387048" y="2993769"/>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name.surname@hfw.com</a:t>
            </a:r>
            <a:endParaRPr lang="en-US" dirty="0"/>
          </a:p>
        </p:txBody>
      </p:sp>
      <p:sp>
        <p:nvSpPr>
          <p:cNvPr id="54" name="TextBox 53">
            <a:extLst>
              <a:ext uri="{FF2B5EF4-FFF2-40B4-BE49-F238E27FC236}">
                <a16:creationId xmlns:a16="http://schemas.microsoft.com/office/drawing/2014/main" id="{76B0886F-D7CF-3B90-0DED-8574DB6D4BB5}"/>
              </a:ext>
            </a:extLst>
          </p:cNvPr>
          <p:cNvSpPr txBox="1"/>
          <p:nvPr userDrawn="1"/>
        </p:nvSpPr>
        <p:spPr>
          <a:xfrm flipH="1">
            <a:off x="5212884" y="2776537"/>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55" name="TextBox 54">
            <a:extLst>
              <a:ext uri="{FF2B5EF4-FFF2-40B4-BE49-F238E27FC236}">
                <a16:creationId xmlns:a16="http://schemas.microsoft.com/office/drawing/2014/main" id="{401006BB-BC7E-DB41-C899-247C453E99C4}"/>
              </a:ext>
            </a:extLst>
          </p:cNvPr>
          <p:cNvSpPr txBox="1"/>
          <p:nvPr userDrawn="1"/>
        </p:nvSpPr>
        <p:spPr>
          <a:xfrm flipH="1">
            <a:off x="5212884" y="2993769"/>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E</a:t>
            </a:r>
          </a:p>
        </p:txBody>
      </p:sp>
      <p:sp>
        <p:nvSpPr>
          <p:cNvPr id="56" name="Picture Placeholder 14">
            <a:extLst>
              <a:ext uri="{FF2B5EF4-FFF2-40B4-BE49-F238E27FC236}">
                <a16:creationId xmlns:a16="http://schemas.microsoft.com/office/drawing/2014/main" id="{86EE5881-A10C-9201-FECC-9BED25AF9CA2}"/>
              </a:ext>
            </a:extLst>
          </p:cNvPr>
          <p:cNvSpPr>
            <a:spLocks noGrp="1"/>
          </p:cNvSpPr>
          <p:nvPr>
            <p:ph type="pic" sz="quarter" idx="50" hasCustomPrompt="1"/>
          </p:nvPr>
        </p:nvSpPr>
        <p:spPr>
          <a:xfrm>
            <a:off x="516891" y="2319337"/>
            <a:ext cx="876299" cy="876299"/>
          </a:xfrm>
          <a:solidFill>
            <a:schemeClr val="bg1"/>
          </a:solidFill>
        </p:spPr>
        <p:txBody>
          <a:bodyPr anchor="ctr">
            <a:normAutofit/>
          </a:bodyPr>
          <a:lstStyle>
            <a:lvl1pPr algn="ctr">
              <a:defRPr sz="1000">
                <a:latin typeface="+mn-lt"/>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GB" dirty="0"/>
              <a:t>Picture</a:t>
            </a:r>
          </a:p>
        </p:txBody>
      </p:sp>
      <p:sp>
        <p:nvSpPr>
          <p:cNvPr id="57" name="Text Placeholder 16">
            <a:extLst>
              <a:ext uri="{FF2B5EF4-FFF2-40B4-BE49-F238E27FC236}">
                <a16:creationId xmlns:a16="http://schemas.microsoft.com/office/drawing/2014/main" id="{695F2E13-F450-6E91-AE1E-D4F5C55F4C9C}"/>
              </a:ext>
            </a:extLst>
          </p:cNvPr>
          <p:cNvSpPr>
            <a:spLocks noGrp="1"/>
          </p:cNvSpPr>
          <p:nvPr>
            <p:ph type="body" sz="quarter" idx="51" hasCustomPrompt="1"/>
          </p:nvPr>
        </p:nvSpPr>
        <p:spPr>
          <a:xfrm>
            <a:off x="1492805" y="2559305"/>
            <a:ext cx="2543172"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US" dirty="0"/>
              <a:t>Position, Location</a:t>
            </a:r>
          </a:p>
        </p:txBody>
      </p:sp>
      <p:sp>
        <p:nvSpPr>
          <p:cNvPr id="58" name="Text Placeholder 16">
            <a:extLst>
              <a:ext uri="{FF2B5EF4-FFF2-40B4-BE49-F238E27FC236}">
                <a16:creationId xmlns:a16="http://schemas.microsoft.com/office/drawing/2014/main" id="{BA60F1FD-C751-9716-753C-CBC97A65C7D7}"/>
              </a:ext>
            </a:extLst>
          </p:cNvPr>
          <p:cNvSpPr>
            <a:spLocks noGrp="1"/>
          </p:cNvSpPr>
          <p:nvPr>
            <p:ph type="body" sz="quarter" idx="52" hasCustomPrompt="1"/>
          </p:nvPr>
        </p:nvSpPr>
        <p:spPr>
          <a:xfrm>
            <a:off x="1492805" y="2342135"/>
            <a:ext cx="2543172" cy="169277"/>
          </a:xfrm>
        </p:spPr>
        <p:txBody>
          <a:bodyPr tIns="0" bIns="0">
            <a:noAutofit/>
          </a:bodyPr>
          <a:lstStyle>
            <a:lvl1pPr algn="l">
              <a:lnSpc>
                <a:spcPct val="100000"/>
              </a:lnSpc>
              <a:spcBef>
                <a:spcPts val="0"/>
              </a:spcBef>
              <a:spcAft>
                <a:spcPts val="0"/>
              </a:spcAft>
              <a:defRPr sz="1100" cap="all" baseline="0">
                <a:solidFill>
                  <a:schemeClr val="tx2"/>
                </a:solidFill>
                <a:latin typeface="+mj-lt"/>
              </a:defRPr>
            </a:lvl1pPr>
            <a:lvl2pPr algn="l">
              <a:lnSpc>
                <a:spcPct val="100000"/>
              </a:lnSpc>
              <a:spcBef>
                <a:spcPts val="200"/>
              </a:spcBef>
              <a:spcAft>
                <a:spcPts val="200"/>
              </a:spcAft>
              <a:defRPr sz="1100">
                <a:solidFill>
                  <a:schemeClr val="tx1"/>
                </a:solidFill>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0"/>
            <a:r>
              <a:rPr lang="en-US" dirty="0"/>
              <a:t>NAME SURNAME</a:t>
            </a:r>
          </a:p>
        </p:txBody>
      </p:sp>
      <p:sp>
        <p:nvSpPr>
          <p:cNvPr id="59" name="Text Placeholder 16">
            <a:extLst>
              <a:ext uri="{FF2B5EF4-FFF2-40B4-BE49-F238E27FC236}">
                <a16:creationId xmlns:a16="http://schemas.microsoft.com/office/drawing/2014/main" id="{6A1505B4-5192-5A57-E0E2-DD683D889AB8}"/>
              </a:ext>
            </a:extLst>
          </p:cNvPr>
          <p:cNvSpPr>
            <a:spLocks noGrp="1"/>
          </p:cNvSpPr>
          <p:nvPr>
            <p:ph type="body" sz="quarter" idx="53" hasCustomPrompt="1"/>
          </p:nvPr>
        </p:nvSpPr>
        <p:spPr>
          <a:xfrm>
            <a:off x="1668488" y="2776537"/>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60" name="Text Placeholder 16">
            <a:extLst>
              <a:ext uri="{FF2B5EF4-FFF2-40B4-BE49-F238E27FC236}">
                <a16:creationId xmlns:a16="http://schemas.microsoft.com/office/drawing/2014/main" id="{9470C987-8BEE-B6DB-C8DF-6FE66ADF3950}"/>
              </a:ext>
            </a:extLst>
          </p:cNvPr>
          <p:cNvSpPr>
            <a:spLocks noGrp="1"/>
          </p:cNvSpPr>
          <p:nvPr>
            <p:ph type="body" sz="quarter" idx="54" hasCustomPrompt="1"/>
          </p:nvPr>
        </p:nvSpPr>
        <p:spPr>
          <a:xfrm>
            <a:off x="1668488" y="2993769"/>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name.surname@hfw.com</a:t>
            </a:r>
            <a:endParaRPr lang="en-US" dirty="0"/>
          </a:p>
        </p:txBody>
      </p:sp>
      <p:sp>
        <p:nvSpPr>
          <p:cNvPr id="61" name="TextBox 60">
            <a:extLst>
              <a:ext uri="{FF2B5EF4-FFF2-40B4-BE49-F238E27FC236}">
                <a16:creationId xmlns:a16="http://schemas.microsoft.com/office/drawing/2014/main" id="{2FE1D017-B07C-00B2-5CCA-804F9F530497}"/>
              </a:ext>
            </a:extLst>
          </p:cNvPr>
          <p:cNvSpPr txBox="1"/>
          <p:nvPr userDrawn="1"/>
        </p:nvSpPr>
        <p:spPr>
          <a:xfrm flipH="1">
            <a:off x="1494324" y="2776537"/>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62" name="TextBox 61">
            <a:extLst>
              <a:ext uri="{FF2B5EF4-FFF2-40B4-BE49-F238E27FC236}">
                <a16:creationId xmlns:a16="http://schemas.microsoft.com/office/drawing/2014/main" id="{C5EB9E64-77B3-B4CE-08C7-9944A2DCBF26}"/>
              </a:ext>
            </a:extLst>
          </p:cNvPr>
          <p:cNvSpPr txBox="1"/>
          <p:nvPr userDrawn="1"/>
        </p:nvSpPr>
        <p:spPr>
          <a:xfrm flipH="1">
            <a:off x="1494324" y="2993769"/>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E</a:t>
            </a:r>
          </a:p>
        </p:txBody>
      </p:sp>
      <p:sp>
        <p:nvSpPr>
          <p:cNvPr id="63" name="Picture Placeholder 14">
            <a:extLst>
              <a:ext uri="{FF2B5EF4-FFF2-40B4-BE49-F238E27FC236}">
                <a16:creationId xmlns:a16="http://schemas.microsoft.com/office/drawing/2014/main" id="{46E62F1F-7842-2ED2-18FA-EBE6B72B197C}"/>
              </a:ext>
            </a:extLst>
          </p:cNvPr>
          <p:cNvSpPr>
            <a:spLocks noGrp="1"/>
          </p:cNvSpPr>
          <p:nvPr>
            <p:ph type="pic" sz="quarter" idx="55" hasCustomPrompt="1"/>
          </p:nvPr>
        </p:nvSpPr>
        <p:spPr>
          <a:xfrm>
            <a:off x="4235451" y="3327399"/>
            <a:ext cx="876299" cy="876299"/>
          </a:xfrm>
          <a:solidFill>
            <a:schemeClr val="bg1"/>
          </a:solidFill>
        </p:spPr>
        <p:txBody>
          <a:bodyPr anchor="ctr">
            <a:normAutofit/>
          </a:bodyPr>
          <a:lstStyle>
            <a:lvl1pPr algn="ctr">
              <a:defRPr sz="1000">
                <a:latin typeface="+mn-lt"/>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GB" dirty="0"/>
              <a:t>Picture</a:t>
            </a:r>
          </a:p>
        </p:txBody>
      </p:sp>
      <p:sp>
        <p:nvSpPr>
          <p:cNvPr id="64" name="Text Placeholder 16">
            <a:extLst>
              <a:ext uri="{FF2B5EF4-FFF2-40B4-BE49-F238E27FC236}">
                <a16:creationId xmlns:a16="http://schemas.microsoft.com/office/drawing/2014/main" id="{FF59C9A3-86B1-73EA-65C0-7901A1ECC218}"/>
              </a:ext>
            </a:extLst>
          </p:cNvPr>
          <p:cNvSpPr>
            <a:spLocks noGrp="1"/>
          </p:cNvSpPr>
          <p:nvPr>
            <p:ph type="body" sz="quarter" idx="56" hasCustomPrompt="1"/>
          </p:nvPr>
        </p:nvSpPr>
        <p:spPr>
          <a:xfrm>
            <a:off x="5211365" y="3567367"/>
            <a:ext cx="2543172"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US" dirty="0"/>
              <a:t>Position, Location</a:t>
            </a:r>
          </a:p>
        </p:txBody>
      </p:sp>
      <p:sp>
        <p:nvSpPr>
          <p:cNvPr id="65" name="Text Placeholder 16">
            <a:extLst>
              <a:ext uri="{FF2B5EF4-FFF2-40B4-BE49-F238E27FC236}">
                <a16:creationId xmlns:a16="http://schemas.microsoft.com/office/drawing/2014/main" id="{AA11E300-71C0-9EC2-7B4D-C77F972E7C07}"/>
              </a:ext>
            </a:extLst>
          </p:cNvPr>
          <p:cNvSpPr>
            <a:spLocks noGrp="1"/>
          </p:cNvSpPr>
          <p:nvPr>
            <p:ph type="body" sz="quarter" idx="57" hasCustomPrompt="1"/>
          </p:nvPr>
        </p:nvSpPr>
        <p:spPr>
          <a:xfrm>
            <a:off x="5211365" y="3350197"/>
            <a:ext cx="2543172" cy="169277"/>
          </a:xfrm>
        </p:spPr>
        <p:txBody>
          <a:bodyPr tIns="0" bIns="0">
            <a:noAutofit/>
          </a:bodyPr>
          <a:lstStyle>
            <a:lvl1pPr algn="l">
              <a:lnSpc>
                <a:spcPct val="100000"/>
              </a:lnSpc>
              <a:spcBef>
                <a:spcPts val="0"/>
              </a:spcBef>
              <a:spcAft>
                <a:spcPts val="0"/>
              </a:spcAft>
              <a:defRPr sz="1100" cap="all" baseline="0">
                <a:solidFill>
                  <a:schemeClr val="tx2"/>
                </a:solidFill>
                <a:latin typeface="+mj-lt"/>
              </a:defRPr>
            </a:lvl1pPr>
            <a:lvl2pPr algn="l">
              <a:lnSpc>
                <a:spcPct val="100000"/>
              </a:lnSpc>
              <a:spcBef>
                <a:spcPts val="200"/>
              </a:spcBef>
              <a:spcAft>
                <a:spcPts val="200"/>
              </a:spcAft>
              <a:defRPr sz="1100">
                <a:solidFill>
                  <a:schemeClr val="tx1"/>
                </a:solidFill>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0"/>
            <a:r>
              <a:rPr lang="en-US" dirty="0"/>
              <a:t>NAME SURNAME</a:t>
            </a:r>
          </a:p>
        </p:txBody>
      </p:sp>
      <p:sp>
        <p:nvSpPr>
          <p:cNvPr id="66" name="Text Placeholder 16">
            <a:extLst>
              <a:ext uri="{FF2B5EF4-FFF2-40B4-BE49-F238E27FC236}">
                <a16:creationId xmlns:a16="http://schemas.microsoft.com/office/drawing/2014/main" id="{D9DD8F45-CCAA-8ADF-30C9-4FDA42DD1B41}"/>
              </a:ext>
            </a:extLst>
          </p:cNvPr>
          <p:cNvSpPr>
            <a:spLocks noGrp="1"/>
          </p:cNvSpPr>
          <p:nvPr>
            <p:ph type="body" sz="quarter" idx="58" hasCustomPrompt="1"/>
          </p:nvPr>
        </p:nvSpPr>
        <p:spPr>
          <a:xfrm>
            <a:off x="5387048" y="3784599"/>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67" name="Text Placeholder 16">
            <a:extLst>
              <a:ext uri="{FF2B5EF4-FFF2-40B4-BE49-F238E27FC236}">
                <a16:creationId xmlns:a16="http://schemas.microsoft.com/office/drawing/2014/main" id="{0F131D31-37AD-AF84-1BB9-C3A57CECF456}"/>
              </a:ext>
            </a:extLst>
          </p:cNvPr>
          <p:cNvSpPr>
            <a:spLocks noGrp="1"/>
          </p:cNvSpPr>
          <p:nvPr>
            <p:ph type="body" sz="quarter" idx="59" hasCustomPrompt="1"/>
          </p:nvPr>
        </p:nvSpPr>
        <p:spPr>
          <a:xfrm>
            <a:off x="5387048" y="4001831"/>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name.surname@hfw.com</a:t>
            </a:r>
            <a:endParaRPr lang="en-US" dirty="0"/>
          </a:p>
        </p:txBody>
      </p:sp>
      <p:sp>
        <p:nvSpPr>
          <p:cNvPr id="68" name="TextBox 67">
            <a:extLst>
              <a:ext uri="{FF2B5EF4-FFF2-40B4-BE49-F238E27FC236}">
                <a16:creationId xmlns:a16="http://schemas.microsoft.com/office/drawing/2014/main" id="{E0F7049E-6849-D32F-FE34-01929965BAEB}"/>
              </a:ext>
            </a:extLst>
          </p:cNvPr>
          <p:cNvSpPr txBox="1"/>
          <p:nvPr userDrawn="1"/>
        </p:nvSpPr>
        <p:spPr>
          <a:xfrm flipH="1">
            <a:off x="5212884" y="3784599"/>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69" name="TextBox 68">
            <a:extLst>
              <a:ext uri="{FF2B5EF4-FFF2-40B4-BE49-F238E27FC236}">
                <a16:creationId xmlns:a16="http://schemas.microsoft.com/office/drawing/2014/main" id="{CAC70E89-6B14-DE4D-57F8-8CA475B7DB34}"/>
              </a:ext>
            </a:extLst>
          </p:cNvPr>
          <p:cNvSpPr txBox="1"/>
          <p:nvPr userDrawn="1"/>
        </p:nvSpPr>
        <p:spPr>
          <a:xfrm flipH="1">
            <a:off x="5212884" y="4001831"/>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E</a:t>
            </a:r>
          </a:p>
        </p:txBody>
      </p:sp>
      <p:sp>
        <p:nvSpPr>
          <p:cNvPr id="70" name="Picture Placeholder 14">
            <a:extLst>
              <a:ext uri="{FF2B5EF4-FFF2-40B4-BE49-F238E27FC236}">
                <a16:creationId xmlns:a16="http://schemas.microsoft.com/office/drawing/2014/main" id="{4A846600-BA51-0149-6BD1-2C7C829913DA}"/>
              </a:ext>
            </a:extLst>
          </p:cNvPr>
          <p:cNvSpPr>
            <a:spLocks noGrp="1"/>
          </p:cNvSpPr>
          <p:nvPr>
            <p:ph type="pic" sz="quarter" idx="60" hasCustomPrompt="1"/>
          </p:nvPr>
        </p:nvSpPr>
        <p:spPr>
          <a:xfrm>
            <a:off x="516891" y="3327399"/>
            <a:ext cx="876299" cy="876299"/>
          </a:xfrm>
          <a:solidFill>
            <a:schemeClr val="bg1"/>
          </a:solidFill>
        </p:spPr>
        <p:txBody>
          <a:bodyPr anchor="ctr">
            <a:normAutofit/>
          </a:bodyPr>
          <a:lstStyle>
            <a:lvl1pPr algn="ctr">
              <a:defRPr sz="1000">
                <a:latin typeface="+mn-lt"/>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GB" dirty="0"/>
              <a:t>Picture</a:t>
            </a:r>
          </a:p>
        </p:txBody>
      </p:sp>
      <p:sp>
        <p:nvSpPr>
          <p:cNvPr id="71" name="Text Placeholder 16">
            <a:extLst>
              <a:ext uri="{FF2B5EF4-FFF2-40B4-BE49-F238E27FC236}">
                <a16:creationId xmlns:a16="http://schemas.microsoft.com/office/drawing/2014/main" id="{0547A0F2-0AEF-8586-3A0A-261E0A7FAE43}"/>
              </a:ext>
            </a:extLst>
          </p:cNvPr>
          <p:cNvSpPr>
            <a:spLocks noGrp="1"/>
          </p:cNvSpPr>
          <p:nvPr>
            <p:ph type="body" sz="quarter" idx="61" hasCustomPrompt="1"/>
          </p:nvPr>
        </p:nvSpPr>
        <p:spPr>
          <a:xfrm>
            <a:off x="1492805" y="3567367"/>
            <a:ext cx="2543172"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US" dirty="0"/>
              <a:t>Position, Location</a:t>
            </a:r>
          </a:p>
        </p:txBody>
      </p:sp>
      <p:sp>
        <p:nvSpPr>
          <p:cNvPr id="72" name="Text Placeholder 16">
            <a:extLst>
              <a:ext uri="{FF2B5EF4-FFF2-40B4-BE49-F238E27FC236}">
                <a16:creationId xmlns:a16="http://schemas.microsoft.com/office/drawing/2014/main" id="{3CCD5467-8D86-42E9-7275-0335B46B3DCA}"/>
              </a:ext>
            </a:extLst>
          </p:cNvPr>
          <p:cNvSpPr>
            <a:spLocks noGrp="1"/>
          </p:cNvSpPr>
          <p:nvPr>
            <p:ph type="body" sz="quarter" idx="62" hasCustomPrompt="1"/>
          </p:nvPr>
        </p:nvSpPr>
        <p:spPr>
          <a:xfrm>
            <a:off x="1492805" y="3350197"/>
            <a:ext cx="2543172" cy="169277"/>
          </a:xfrm>
        </p:spPr>
        <p:txBody>
          <a:bodyPr tIns="0" bIns="0">
            <a:noAutofit/>
          </a:bodyPr>
          <a:lstStyle>
            <a:lvl1pPr algn="l">
              <a:lnSpc>
                <a:spcPct val="100000"/>
              </a:lnSpc>
              <a:spcBef>
                <a:spcPts val="0"/>
              </a:spcBef>
              <a:spcAft>
                <a:spcPts val="0"/>
              </a:spcAft>
              <a:defRPr sz="1100" cap="all" baseline="0">
                <a:solidFill>
                  <a:schemeClr val="tx2"/>
                </a:solidFill>
                <a:latin typeface="+mj-lt"/>
              </a:defRPr>
            </a:lvl1pPr>
            <a:lvl2pPr algn="l">
              <a:lnSpc>
                <a:spcPct val="100000"/>
              </a:lnSpc>
              <a:spcBef>
                <a:spcPts val="200"/>
              </a:spcBef>
              <a:spcAft>
                <a:spcPts val="200"/>
              </a:spcAft>
              <a:defRPr sz="1100">
                <a:solidFill>
                  <a:schemeClr val="tx1"/>
                </a:solidFill>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0"/>
            <a:r>
              <a:rPr lang="en-US" dirty="0"/>
              <a:t>NAME SURNAME</a:t>
            </a:r>
          </a:p>
        </p:txBody>
      </p:sp>
      <p:sp>
        <p:nvSpPr>
          <p:cNvPr id="73" name="Text Placeholder 16">
            <a:extLst>
              <a:ext uri="{FF2B5EF4-FFF2-40B4-BE49-F238E27FC236}">
                <a16:creationId xmlns:a16="http://schemas.microsoft.com/office/drawing/2014/main" id="{7FF98669-4ADD-67D1-95DE-82183F7380D0}"/>
              </a:ext>
            </a:extLst>
          </p:cNvPr>
          <p:cNvSpPr>
            <a:spLocks noGrp="1"/>
          </p:cNvSpPr>
          <p:nvPr>
            <p:ph type="body" sz="quarter" idx="63" hasCustomPrompt="1"/>
          </p:nvPr>
        </p:nvSpPr>
        <p:spPr>
          <a:xfrm>
            <a:off x="1668488" y="3784599"/>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74" name="Text Placeholder 16">
            <a:extLst>
              <a:ext uri="{FF2B5EF4-FFF2-40B4-BE49-F238E27FC236}">
                <a16:creationId xmlns:a16="http://schemas.microsoft.com/office/drawing/2014/main" id="{EB0467A4-B7A0-CF90-6227-303D8546427A}"/>
              </a:ext>
            </a:extLst>
          </p:cNvPr>
          <p:cNvSpPr>
            <a:spLocks noGrp="1"/>
          </p:cNvSpPr>
          <p:nvPr>
            <p:ph type="body" sz="quarter" idx="64" hasCustomPrompt="1"/>
          </p:nvPr>
        </p:nvSpPr>
        <p:spPr>
          <a:xfrm>
            <a:off x="1668488" y="4001831"/>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name.surname@hfw.com</a:t>
            </a:r>
            <a:endParaRPr lang="en-US" dirty="0"/>
          </a:p>
        </p:txBody>
      </p:sp>
      <p:sp>
        <p:nvSpPr>
          <p:cNvPr id="75" name="TextBox 74">
            <a:extLst>
              <a:ext uri="{FF2B5EF4-FFF2-40B4-BE49-F238E27FC236}">
                <a16:creationId xmlns:a16="http://schemas.microsoft.com/office/drawing/2014/main" id="{2A229137-B6B3-E776-1B59-81523D99B0F3}"/>
              </a:ext>
            </a:extLst>
          </p:cNvPr>
          <p:cNvSpPr txBox="1"/>
          <p:nvPr userDrawn="1"/>
        </p:nvSpPr>
        <p:spPr>
          <a:xfrm flipH="1">
            <a:off x="1494324" y="3784599"/>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76" name="TextBox 75">
            <a:extLst>
              <a:ext uri="{FF2B5EF4-FFF2-40B4-BE49-F238E27FC236}">
                <a16:creationId xmlns:a16="http://schemas.microsoft.com/office/drawing/2014/main" id="{6BA105D9-8805-4D9A-FBBA-1A8C0EA57AB8}"/>
              </a:ext>
            </a:extLst>
          </p:cNvPr>
          <p:cNvSpPr txBox="1"/>
          <p:nvPr userDrawn="1"/>
        </p:nvSpPr>
        <p:spPr>
          <a:xfrm flipH="1">
            <a:off x="1494324" y="4001831"/>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E</a:t>
            </a:r>
          </a:p>
        </p:txBody>
      </p:sp>
      <p:sp>
        <p:nvSpPr>
          <p:cNvPr id="77" name="Picture Placeholder 14">
            <a:extLst>
              <a:ext uri="{FF2B5EF4-FFF2-40B4-BE49-F238E27FC236}">
                <a16:creationId xmlns:a16="http://schemas.microsoft.com/office/drawing/2014/main" id="{CCDA2602-29E5-DC46-55D0-C80A99675B40}"/>
              </a:ext>
            </a:extLst>
          </p:cNvPr>
          <p:cNvSpPr>
            <a:spLocks noGrp="1"/>
          </p:cNvSpPr>
          <p:nvPr>
            <p:ph type="pic" sz="quarter" idx="65" hasCustomPrompt="1"/>
          </p:nvPr>
        </p:nvSpPr>
        <p:spPr>
          <a:xfrm>
            <a:off x="4235451" y="4335461"/>
            <a:ext cx="876299" cy="876299"/>
          </a:xfrm>
          <a:solidFill>
            <a:schemeClr val="bg1"/>
          </a:solidFill>
        </p:spPr>
        <p:txBody>
          <a:bodyPr anchor="ctr">
            <a:normAutofit/>
          </a:bodyPr>
          <a:lstStyle>
            <a:lvl1pPr algn="ctr">
              <a:defRPr sz="1000">
                <a:latin typeface="+mn-lt"/>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GB" dirty="0"/>
              <a:t>Picture</a:t>
            </a:r>
          </a:p>
        </p:txBody>
      </p:sp>
      <p:sp>
        <p:nvSpPr>
          <p:cNvPr id="78" name="Text Placeholder 16">
            <a:extLst>
              <a:ext uri="{FF2B5EF4-FFF2-40B4-BE49-F238E27FC236}">
                <a16:creationId xmlns:a16="http://schemas.microsoft.com/office/drawing/2014/main" id="{A1B3D1AF-D4E7-C146-0199-36FD90E78C9D}"/>
              </a:ext>
            </a:extLst>
          </p:cNvPr>
          <p:cNvSpPr>
            <a:spLocks noGrp="1"/>
          </p:cNvSpPr>
          <p:nvPr>
            <p:ph type="body" sz="quarter" idx="66" hasCustomPrompt="1"/>
          </p:nvPr>
        </p:nvSpPr>
        <p:spPr>
          <a:xfrm>
            <a:off x="5211365" y="4575429"/>
            <a:ext cx="2543172"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US" dirty="0"/>
              <a:t>Position, Location</a:t>
            </a:r>
          </a:p>
        </p:txBody>
      </p:sp>
      <p:sp>
        <p:nvSpPr>
          <p:cNvPr id="79" name="Text Placeholder 16">
            <a:extLst>
              <a:ext uri="{FF2B5EF4-FFF2-40B4-BE49-F238E27FC236}">
                <a16:creationId xmlns:a16="http://schemas.microsoft.com/office/drawing/2014/main" id="{6BEF8F31-958A-4D44-4DA4-79D49E29FA2E}"/>
              </a:ext>
            </a:extLst>
          </p:cNvPr>
          <p:cNvSpPr>
            <a:spLocks noGrp="1"/>
          </p:cNvSpPr>
          <p:nvPr>
            <p:ph type="body" sz="quarter" idx="67" hasCustomPrompt="1"/>
          </p:nvPr>
        </p:nvSpPr>
        <p:spPr>
          <a:xfrm>
            <a:off x="5211365" y="4358259"/>
            <a:ext cx="2543172" cy="169277"/>
          </a:xfrm>
        </p:spPr>
        <p:txBody>
          <a:bodyPr tIns="0" bIns="0">
            <a:noAutofit/>
          </a:bodyPr>
          <a:lstStyle>
            <a:lvl1pPr algn="l">
              <a:lnSpc>
                <a:spcPct val="100000"/>
              </a:lnSpc>
              <a:spcBef>
                <a:spcPts val="0"/>
              </a:spcBef>
              <a:spcAft>
                <a:spcPts val="0"/>
              </a:spcAft>
              <a:defRPr sz="1100" cap="all" baseline="0">
                <a:solidFill>
                  <a:schemeClr val="tx2"/>
                </a:solidFill>
                <a:latin typeface="+mj-lt"/>
              </a:defRPr>
            </a:lvl1pPr>
            <a:lvl2pPr algn="l">
              <a:lnSpc>
                <a:spcPct val="100000"/>
              </a:lnSpc>
              <a:spcBef>
                <a:spcPts val="200"/>
              </a:spcBef>
              <a:spcAft>
                <a:spcPts val="200"/>
              </a:spcAft>
              <a:defRPr sz="1100">
                <a:solidFill>
                  <a:schemeClr val="tx1"/>
                </a:solidFill>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0"/>
            <a:r>
              <a:rPr lang="en-US" dirty="0"/>
              <a:t>NAME SURNAME</a:t>
            </a:r>
          </a:p>
        </p:txBody>
      </p:sp>
      <p:sp>
        <p:nvSpPr>
          <p:cNvPr id="80" name="Text Placeholder 16">
            <a:extLst>
              <a:ext uri="{FF2B5EF4-FFF2-40B4-BE49-F238E27FC236}">
                <a16:creationId xmlns:a16="http://schemas.microsoft.com/office/drawing/2014/main" id="{54DCF957-0967-0D44-9AE3-D4D4C34257C0}"/>
              </a:ext>
            </a:extLst>
          </p:cNvPr>
          <p:cNvSpPr>
            <a:spLocks noGrp="1"/>
          </p:cNvSpPr>
          <p:nvPr>
            <p:ph type="body" sz="quarter" idx="68" hasCustomPrompt="1"/>
          </p:nvPr>
        </p:nvSpPr>
        <p:spPr>
          <a:xfrm>
            <a:off x="5387048" y="4792661"/>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81" name="Text Placeholder 16">
            <a:extLst>
              <a:ext uri="{FF2B5EF4-FFF2-40B4-BE49-F238E27FC236}">
                <a16:creationId xmlns:a16="http://schemas.microsoft.com/office/drawing/2014/main" id="{3596CB8B-C8D6-4203-1353-62A57B22DFCC}"/>
              </a:ext>
            </a:extLst>
          </p:cNvPr>
          <p:cNvSpPr>
            <a:spLocks noGrp="1"/>
          </p:cNvSpPr>
          <p:nvPr>
            <p:ph type="body" sz="quarter" idx="69" hasCustomPrompt="1"/>
          </p:nvPr>
        </p:nvSpPr>
        <p:spPr>
          <a:xfrm>
            <a:off x="5387048" y="5009893"/>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name.surname@hfw.com</a:t>
            </a:r>
            <a:endParaRPr lang="en-US" dirty="0"/>
          </a:p>
        </p:txBody>
      </p:sp>
      <p:sp>
        <p:nvSpPr>
          <p:cNvPr id="82" name="TextBox 81">
            <a:extLst>
              <a:ext uri="{FF2B5EF4-FFF2-40B4-BE49-F238E27FC236}">
                <a16:creationId xmlns:a16="http://schemas.microsoft.com/office/drawing/2014/main" id="{406C1A0B-18D6-51F2-5216-1DFAFB75AA1E}"/>
              </a:ext>
            </a:extLst>
          </p:cNvPr>
          <p:cNvSpPr txBox="1"/>
          <p:nvPr userDrawn="1"/>
        </p:nvSpPr>
        <p:spPr>
          <a:xfrm flipH="1">
            <a:off x="5212884" y="4792661"/>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83" name="TextBox 82">
            <a:extLst>
              <a:ext uri="{FF2B5EF4-FFF2-40B4-BE49-F238E27FC236}">
                <a16:creationId xmlns:a16="http://schemas.microsoft.com/office/drawing/2014/main" id="{CB391F17-6969-1E2B-4FAF-C83CA4FB23D0}"/>
              </a:ext>
            </a:extLst>
          </p:cNvPr>
          <p:cNvSpPr txBox="1"/>
          <p:nvPr userDrawn="1"/>
        </p:nvSpPr>
        <p:spPr>
          <a:xfrm flipH="1">
            <a:off x="5212884" y="5009893"/>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E</a:t>
            </a:r>
          </a:p>
        </p:txBody>
      </p:sp>
      <p:sp>
        <p:nvSpPr>
          <p:cNvPr id="84" name="Picture Placeholder 14">
            <a:extLst>
              <a:ext uri="{FF2B5EF4-FFF2-40B4-BE49-F238E27FC236}">
                <a16:creationId xmlns:a16="http://schemas.microsoft.com/office/drawing/2014/main" id="{2CE77FEF-9D0A-2E18-6494-480078B5BB50}"/>
              </a:ext>
            </a:extLst>
          </p:cNvPr>
          <p:cNvSpPr>
            <a:spLocks noGrp="1"/>
          </p:cNvSpPr>
          <p:nvPr>
            <p:ph type="pic" sz="quarter" idx="70" hasCustomPrompt="1"/>
          </p:nvPr>
        </p:nvSpPr>
        <p:spPr>
          <a:xfrm>
            <a:off x="516891" y="4335461"/>
            <a:ext cx="876299" cy="876299"/>
          </a:xfrm>
          <a:solidFill>
            <a:schemeClr val="bg1"/>
          </a:solidFill>
        </p:spPr>
        <p:txBody>
          <a:bodyPr anchor="ctr">
            <a:normAutofit/>
          </a:bodyPr>
          <a:lstStyle>
            <a:lvl1pPr algn="ctr">
              <a:defRPr sz="1000">
                <a:latin typeface="+mn-lt"/>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GB" dirty="0"/>
              <a:t>Picture</a:t>
            </a:r>
          </a:p>
        </p:txBody>
      </p:sp>
      <p:sp>
        <p:nvSpPr>
          <p:cNvPr id="85" name="Text Placeholder 16">
            <a:extLst>
              <a:ext uri="{FF2B5EF4-FFF2-40B4-BE49-F238E27FC236}">
                <a16:creationId xmlns:a16="http://schemas.microsoft.com/office/drawing/2014/main" id="{3558A82C-EF43-E3BD-41A8-5625676A615D}"/>
              </a:ext>
            </a:extLst>
          </p:cNvPr>
          <p:cNvSpPr>
            <a:spLocks noGrp="1"/>
          </p:cNvSpPr>
          <p:nvPr>
            <p:ph type="body" sz="quarter" idx="71" hasCustomPrompt="1"/>
          </p:nvPr>
        </p:nvSpPr>
        <p:spPr>
          <a:xfrm>
            <a:off x="1492805" y="4575429"/>
            <a:ext cx="2543172"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US" dirty="0"/>
              <a:t>Position, Location</a:t>
            </a:r>
          </a:p>
        </p:txBody>
      </p:sp>
      <p:sp>
        <p:nvSpPr>
          <p:cNvPr id="86" name="Text Placeholder 16">
            <a:extLst>
              <a:ext uri="{FF2B5EF4-FFF2-40B4-BE49-F238E27FC236}">
                <a16:creationId xmlns:a16="http://schemas.microsoft.com/office/drawing/2014/main" id="{6CCA3952-FD4A-EE3B-6793-82E8EC1F05CC}"/>
              </a:ext>
            </a:extLst>
          </p:cNvPr>
          <p:cNvSpPr>
            <a:spLocks noGrp="1"/>
          </p:cNvSpPr>
          <p:nvPr>
            <p:ph type="body" sz="quarter" idx="72" hasCustomPrompt="1"/>
          </p:nvPr>
        </p:nvSpPr>
        <p:spPr>
          <a:xfrm>
            <a:off x="1492805" y="4358259"/>
            <a:ext cx="2543172" cy="169277"/>
          </a:xfrm>
        </p:spPr>
        <p:txBody>
          <a:bodyPr tIns="0" bIns="0">
            <a:noAutofit/>
          </a:bodyPr>
          <a:lstStyle>
            <a:lvl1pPr algn="l">
              <a:lnSpc>
                <a:spcPct val="100000"/>
              </a:lnSpc>
              <a:spcBef>
                <a:spcPts val="0"/>
              </a:spcBef>
              <a:spcAft>
                <a:spcPts val="0"/>
              </a:spcAft>
              <a:defRPr sz="1100" cap="all" baseline="0">
                <a:solidFill>
                  <a:schemeClr val="tx2"/>
                </a:solidFill>
                <a:latin typeface="+mj-lt"/>
              </a:defRPr>
            </a:lvl1pPr>
            <a:lvl2pPr algn="l">
              <a:lnSpc>
                <a:spcPct val="100000"/>
              </a:lnSpc>
              <a:spcBef>
                <a:spcPts val="200"/>
              </a:spcBef>
              <a:spcAft>
                <a:spcPts val="200"/>
              </a:spcAft>
              <a:defRPr sz="1100">
                <a:solidFill>
                  <a:schemeClr val="tx1"/>
                </a:solidFill>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0"/>
            <a:r>
              <a:rPr lang="en-US" dirty="0"/>
              <a:t>NAME SURNAME</a:t>
            </a:r>
          </a:p>
        </p:txBody>
      </p:sp>
      <p:sp>
        <p:nvSpPr>
          <p:cNvPr id="87" name="Text Placeholder 16">
            <a:extLst>
              <a:ext uri="{FF2B5EF4-FFF2-40B4-BE49-F238E27FC236}">
                <a16:creationId xmlns:a16="http://schemas.microsoft.com/office/drawing/2014/main" id="{8C5AD2B1-35CC-C3A3-2F0A-8437B51E669E}"/>
              </a:ext>
            </a:extLst>
          </p:cNvPr>
          <p:cNvSpPr>
            <a:spLocks noGrp="1"/>
          </p:cNvSpPr>
          <p:nvPr>
            <p:ph type="body" sz="quarter" idx="73" hasCustomPrompt="1"/>
          </p:nvPr>
        </p:nvSpPr>
        <p:spPr>
          <a:xfrm>
            <a:off x="1668488" y="4792661"/>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88" name="Text Placeholder 16">
            <a:extLst>
              <a:ext uri="{FF2B5EF4-FFF2-40B4-BE49-F238E27FC236}">
                <a16:creationId xmlns:a16="http://schemas.microsoft.com/office/drawing/2014/main" id="{C88D07AA-992C-70C2-17B7-46FFEE532F53}"/>
              </a:ext>
            </a:extLst>
          </p:cNvPr>
          <p:cNvSpPr>
            <a:spLocks noGrp="1"/>
          </p:cNvSpPr>
          <p:nvPr>
            <p:ph type="body" sz="quarter" idx="74" hasCustomPrompt="1"/>
          </p:nvPr>
        </p:nvSpPr>
        <p:spPr>
          <a:xfrm>
            <a:off x="1668488" y="5009893"/>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name.surname@hfw.com</a:t>
            </a:r>
            <a:endParaRPr lang="en-US" dirty="0"/>
          </a:p>
        </p:txBody>
      </p:sp>
      <p:sp>
        <p:nvSpPr>
          <p:cNvPr id="89" name="TextBox 88">
            <a:extLst>
              <a:ext uri="{FF2B5EF4-FFF2-40B4-BE49-F238E27FC236}">
                <a16:creationId xmlns:a16="http://schemas.microsoft.com/office/drawing/2014/main" id="{D34D32A2-B328-BA24-E7FC-E14D9825E12C}"/>
              </a:ext>
            </a:extLst>
          </p:cNvPr>
          <p:cNvSpPr txBox="1"/>
          <p:nvPr userDrawn="1"/>
        </p:nvSpPr>
        <p:spPr>
          <a:xfrm flipH="1">
            <a:off x="1494324" y="4792661"/>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90" name="TextBox 89">
            <a:extLst>
              <a:ext uri="{FF2B5EF4-FFF2-40B4-BE49-F238E27FC236}">
                <a16:creationId xmlns:a16="http://schemas.microsoft.com/office/drawing/2014/main" id="{A41A36D5-C146-4075-1E19-88E75D051802}"/>
              </a:ext>
            </a:extLst>
          </p:cNvPr>
          <p:cNvSpPr txBox="1"/>
          <p:nvPr userDrawn="1"/>
        </p:nvSpPr>
        <p:spPr>
          <a:xfrm flipH="1">
            <a:off x="1494324" y="5009893"/>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E</a:t>
            </a:r>
          </a:p>
        </p:txBody>
      </p:sp>
      <p:sp>
        <p:nvSpPr>
          <p:cNvPr id="18" name="TextBox 4">
            <a:extLst>
              <a:ext uri="{FF2B5EF4-FFF2-40B4-BE49-F238E27FC236}">
                <a16:creationId xmlns:a16="http://schemas.microsoft.com/office/drawing/2014/main" id="{64066A92-895C-EC17-A799-CDF86395CE20}"/>
              </a:ext>
            </a:extLst>
          </p:cNvPr>
          <p:cNvSpPr txBox="1"/>
          <p:nvPr userDrawn="1"/>
        </p:nvSpPr>
        <p:spPr>
          <a:xfrm>
            <a:off x="12346713" y="109538"/>
            <a:ext cx="2253207" cy="498085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INSERTING IMAGES:</a:t>
            </a:r>
          </a:p>
          <a:p>
            <a:pPr marL="179388" indent="-179388">
              <a:spcBef>
                <a:spcPts val="200"/>
              </a:spcBef>
              <a:spcAft>
                <a:spcPts val="200"/>
              </a:spcAft>
              <a:buFont typeface="+mj-lt"/>
              <a:buAutoNum type="arabicPeriod"/>
            </a:pPr>
            <a:r>
              <a:rPr lang="en-US" sz="900" dirty="0">
                <a:solidFill>
                  <a:schemeClr val="tx1"/>
                </a:solidFill>
                <a:latin typeface="+mn-lt"/>
              </a:rPr>
              <a:t>Simply click the image placeholder and select your image.</a:t>
            </a:r>
          </a:p>
          <a:p>
            <a:pPr marL="179388" indent="-179388">
              <a:spcBef>
                <a:spcPts val="200"/>
              </a:spcBef>
              <a:spcAft>
                <a:spcPts val="200"/>
              </a:spcAft>
              <a:buFont typeface="+mj-lt"/>
              <a:buAutoNum type="arabicPeriod"/>
            </a:pPr>
            <a:r>
              <a:rPr lang="en-US" sz="900" dirty="0">
                <a:solidFill>
                  <a:schemeClr val="tx1"/>
                </a:solidFill>
                <a:latin typeface="+mn-lt"/>
              </a:rPr>
              <a:t>Once your image is inserted into the shape it may be distorted. (Stretched or Squashed)</a:t>
            </a:r>
          </a:p>
          <a:p>
            <a:pPr marL="179388" indent="-179388">
              <a:spcBef>
                <a:spcPts val="200"/>
              </a:spcBef>
              <a:spcAft>
                <a:spcPts val="200"/>
              </a:spcAft>
              <a:buFont typeface="+mj-lt"/>
              <a:buAutoNum type="arabicPeriod"/>
            </a:pPr>
            <a:endParaRPr lang="en-US" sz="900" dirty="0">
              <a:solidFill>
                <a:schemeClr val="tx1"/>
              </a:solidFill>
              <a:latin typeface="+mn-lt"/>
            </a:endParaRPr>
          </a:p>
          <a:p>
            <a:pPr>
              <a:spcBef>
                <a:spcPts val="200"/>
              </a:spcBef>
              <a:spcAft>
                <a:spcPts val="200"/>
              </a:spcAft>
            </a:pPr>
            <a:r>
              <a:rPr lang="en-US" sz="900" b="1" dirty="0">
                <a:solidFill>
                  <a:schemeClr val="tx1"/>
                </a:solidFill>
                <a:latin typeface="+mn-lt"/>
              </a:rPr>
              <a:t>To fix this:</a:t>
            </a:r>
          </a:p>
          <a:p>
            <a:pPr marL="179388" indent="-179388">
              <a:spcBef>
                <a:spcPts val="200"/>
              </a:spcBef>
              <a:spcAft>
                <a:spcPts val="200"/>
              </a:spcAft>
              <a:buFont typeface="+mj-lt"/>
              <a:buAutoNum type="arabicPeriod"/>
            </a:pPr>
            <a:r>
              <a:rPr lang="en-US" sz="900" dirty="0">
                <a:solidFill>
                  <a:schemeClr val="tx1"/>
                </a:solidFill>
                <a:latin typeface="+mn-lt"/>
              </a:rPr>
              <a:t>Click on the image and from the top menu under </a:t>
            </a:r>
            <a:r>
              <a:rPr lang="en-US" sz="900" b="1" dirty="0">
                <a:solidFill>
                  <a:schemeClr val="tx1"/>
                </a:solidFill>
                <a:latin typeface="+mn-lt"/>
              </a:rPr>
              <a:t>PICTURE FORMAT </a:t>
            </a:r>
            <a:r>
              <a:rPr lang="en-US" sz="900" dirty="0">
                <a:solidFill>
                  <a:schemeClr val="tx1"/>
                </a:solidFill>
                <a:latin typeface="+mn-lt"/>
              </a:rPr>
              <a:t>select the </a:t>
            </a:r>
            <a:r>
              <a:rPr lang="en-US" sz="900" b="1" dirty="0">
                <a:solidFill>
                  <a:schemeClr val="tx1"/>
                </a:solidFill>
                <a:latin typeface="+mn-lt"/>
              </a:rPr>
              <a:t>CROP</a:t>
            </a:r>
            <a:r>
              <a:rPr lang="en-US" sz="900" dirty="0">
                <a:solidFill>
                  <a:schemeClr val="tx1"/>
                </a:solidFill>
                <a:latin typeface="+mn-lt"/>
              </a:rPr>
              <a:t> on the right and from the drop down menu select </a:t>
            </a:r>
            <a:r>
              <a:rPr lang="en-US" sz="900" b="1" kern="1200" dirty="0">
                <a:solidFill>
                  <a:schemeClr val="tx1"/>
                </a:solidFill>
                <a:latin typeface="+mn-lt"/>
                <a:ea typeface="+mn-ea"/>
                <a:cs typeface="+mn-cs"/>
              </a:rPr>
              <a:t>FILL</a:t>
            </a:r>
          </a:p>
          <a:p>
            <a:pPr marL="179388" indent="-179388">
              <a:spcBef>
                <a:spcPts val="200"/>
              </a:spcBef>
              <a:spcAft>
                <a:spcPts val="200"/>
              </a:spcAft>
              <a:buFont typeface="+mj-lt"/>
              <a:buAutoNum type="arabicPeriod"/>
            </a:pPr>
            <a:r>
              <a:rPr lang="en-US" sz="900" b="0" kern="1200" dirty="0">
                <a:solidFill>
                  <a:schemeClr val="tx1"/>
                </a:solidFill>
                <a:latin typeface="+mn-lt"/>
                <a:ea typeface="+mn-ea"/>
                <a:cs typeface="+mn-cs"/>
              </a:rPr>
              <a:t>From here you can move the image within the shape for best visual appearance</a:t>
            </a:r>
          </a:p>
          <a:p>
            <a:pPr marL="179388" indent="-179388">
              <a:spcBef>
                <a:spcPts val="200"/>
              </a:spcBef>
              <a:spcAft>
                <a:spcPts val="200"/>
              </a:spcAft>
              <a:buFont typeface="+mj-lt"/>
              <a:buAutoNum type="arabicPeriod"/>
            </a:pPr>
            <a:endParaRPr lang="en-US" sz="900" b="0" i="0" kern="1200" dirty="0">
              <a:solidFill>
                <a:schemeClr val="tx1"/>
              </a:solidFill>
              <a:latin typeface="+mn-lt"/>
              <a:ea typeface="+mn-ea"/>
              <a:cs typeface="+mn-cs"/>
            </a:endParaRPr>
          </a:p>
          <a:p>
            <a:pPr marL="0" marR="0" lvl="0" indent="0" algn="l" defTabSz="914400" rtl="0" eaLnBrk="1" fontAlgn="auto" latinLnBrk="0" hangingPunct="1">
              <a:lnSpc>
                <a:spcPct val="100000"/>
              </a:lnSpc>
              <a:spcBef>
                <a:spcPts val="200"/>
              </a:spcBef>
              <a:spcAft>
                <a:spcPts val="200"/>
              </a:spcAft>
              <a:buClrTx/>
              <a:buSzTx/>
              <a:buFont typeface="+mj-lt"/>
              <a:buNone/>
              <a:tabLst/>
              <a:defRPr/>
            </a:pPr>
            <a:r>
              <a:rPr lang="en-GB" sz="1000" b="1" i="0" dirty="0">
                <a:effectLst/>
                <a:latin typeface="Arial" panose="020B0604020202020204" pitchFamily="34" charset="0"/>
                <a:ea typeface="Calibri" panose="020F0502020204030204" pitchFamily="34" charset="0"/>
              </a:rPr>
              <a:t>When inserting staff photos, </a:t>
            </a:r>
            <a:r>
              <a:rPr lang="en-GB" sz="1000" i="0" dirty="0">
                <a:effectLst/>
                <a:latin typeface="Arial" panose="020B0604020202020204" pitchFamily="34" charset="0"/>
                <a:ea typeface="Calibri" panose="020F0502020204030204" pitchFamily="34" charset="0"/>
              </a:rPr>
              <a:t>please use the same method as suggested above. To ensure you are using staff photos that are optimised for use in this Pitch Template, please insert them from the “Staff Photos 40x40 BW” folder, located in the Staff photos section of the HFW Pitch Template folder.</a:t>
            </a:r>
            <a:endParaRPr lang="en-GB" sz="1000" i="0" dirty="0">
              <a:effectLst/>
              <a:latin typeface="Calibri" panose="020F0502020204030204" pitchFamily="34" charset="0"/>
              <a:ea typeface="Calibri" panose="020F0502020204030204" pitchFamily="34" charset="0"/>
            </a:endParaRPr>
          </a:p>
          <a:p>
            <a:pPr marL="179388" indent="-179388">
              <a:spcBef>
                <a:spcPts val="200"/>
              </a:spcBef>
              <a:spcAft>
                <a:spcPts val="200"/>
              </a:spcAft>
              <a:buFont typeface="+mj-lt"/>
              <a:buAutoNum type="arabicPeriod"/>
            </a:pPr>
            <a:endParaRPr lang="en-US" sz="900" b="0" kern="1200" dirty="0">
              <a:solidFill>
                <a:schemeClr val="tx1"/>
              </a:solidFill>
              <a:latin typeface="+mn-lt"/>
              <a:ea typeface="+mn-ea"/>
              <a:cs typeface="+mn-cs"/>
            </a:endParaRPr>
          </a:p>
          <a:p>
            <a:pPr marL="179388" indent="-179388">
              <a:spcBef>
                <a:spcPts val="200"/>
              </a:spcBef>
              <a:spcAft>
                <a:spcPts val="200"/>
              </a:spcAft>
              <a:buFont typeface="+mj-lt"/>
              <a:buAutoNum type="arabicPeriod"/>
            </a:pPr>
            <a:endParaRPr lang="en-US" sz="900" b="0" kern="1200" dirty="0">
              <a:solidFill>
                <a:schemeClr val="tx1"/>
              </a:solidFill>
              <a:latin typeface="+mn-lt"/>
              <a:ea typeface="+mn-ea"/>
              <a:cs typeface="+mn-cs"/>
            </a:endParaRPr>
          </a:p>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SAMPLE CONTACT LAYOUT</a:t>
            </a:r>
          </a:p>
        </p:txBody>
      </p:sp>
      <p:grpSp>
        <p:nvGrpSpPr>
          <p:cNvPr id="19" name="Group 18">
            <a:extLst>
              <a:ext uri="{FF2B5EF4-FFF2-40B4-BE49-F238E27FC236}">
                <a16:creationId xmlns:a16="http://schemas.microsoft.com/office/drawing/2014/main" id="{E115C972-2117-01F0-A655-0A656363AEFC}"/>
              </a:ext>
            </a:extLst>
          </p:cNvPr>
          <p:cNvGrpSpPr/>
          <p:nvPr userDrawn="1"/>
        </p:nvGrpSpPr>
        <p:grpSpPr>
          <a:xfrm>
            <a:off x="12437199" y="5138030"/>
            <a:ext cx="2813913" cy="819975"/>
            <a:chOff x="12399099" y="4230487"/>
            <a:chExt cx="2813913" cy="819975"/>
          </a:xfrm>
        </p:grpSpPr>
        <p:sp>
          <p:nvSpPr>
            <p:cNvPr id="20" name="TextBox 19">
              <a:extLst>
                <a:ext uri="{FF2B5EF4-FFF2-40B4-BE49-F238E27FC236}">
                  <a16:creationId xmlns:a16="http://schemas.microsoft.com/office/drawing/2014/main" id="{CDBE061D-3E81-660B-31EB-9E79BE697BC3}"/>
                </a:ext>
              </a:extLst>
            </p:cNvPr>
            <p:cNvSpPr txBox="1"/>
            <p:nvPr userDrawn="1"/>
          </p:nvSpPr>
          <p:spPr>
            <a:xfrm flipH="1">
              <a:off x="12573262" y="4663953"/>
              <a:ext cx="2639750"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grpSp>
          <p:nvGrpSpPr>
            <p:cNvPr id="21" name="Group 20">
              <a:extLst>
                <a:ext uri="{FF2B5EF4-FFF2-40B4-BE49-F238E27FC236}">
                  <a16:creationId xmlns:a16="http://schemas.microsoft.com/office/drawing/2014/main" id="{3332A730-EE29-0D00-8C98-29954FAB21D0}"/>
                </a:ext>
              </a:extLst>
            </p:cNvPr>
            <p:cNvGrpSpPr/>
            <p:nvPr userDrawn="1"/>
          </p:nvGrpSpPr>
          <p:grpSpPr>
            <a:xfrm>
              <a:off x="12399099" y="4230487"/>
              <a:ext cx="2326813" cy="819975"/>
              <a:chOff x="12399099" y="4230487"/>
              <a:chExt cx="2326813" cy="819975"/>
            </a:xfrm>
          </p:grpSpPr>
          <p:sp>
            <p:nvSpPr>
              <p:cNvPr id="22" name="TextBox 21">
                <a:extLst>
                  <a:ext uri="{FF2B5EF4-FFF2-40B4-BE49-F238E27FC236}">
                    <a16:creationId xmlns:a16="http://schemas.microsoft.com/office/drawing/2014/main" id="{9AD9F648-774A-5298-BC61-FB55875AE783}"/>
                  </a:ext>
                </a:extLst>
              </p:cNvPr>
              <p:cNvSpPr txBox="1"/>
              <p:nvPr userDrawn="1"/>
            </p:nvSpPr>
            <p:spPr>
              <a:xfrm flipH="1">
                <a:off x="12399100" y="4663953"/>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23" name="TextBox 22">
                <a:extLst>
                  <a:ext uri="{FF2B5EF4-FFF2-40B4-BE49-F238E27FC236}">
                    <a16:creationId xmlns:a16="http://schemas.microsoft.com/office/drawing/2014/main" id="{79EE13E5-7691-433B-4E33-C63A4EBEE151}"/>
                  </a:ext>
                </a:extLst>
              </p:cNvPr>
              <p:cNvSpPr txBox="1"/>
              <p:nvPr userDrawn="1"/>
            </p:nvSpPr>
            <p:spPr>
              <a:xfrm flipH="1">
                <a:off x="12399100" y="4881185"/>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E</a:t>
                </a:r>
              </a:p>
            </p:txBody>
          </p:sp>
          <p:sp>
            <p:nvSpPr>
              <p:cNvPr id="24" name="TextBox 23">
                <a:extLst>
                  <a:ext uri="{FF2B5EF4-FFF2-40B4-BE49-F238E27FC236}">
                    <a16:creationId xmlns:a16="http://schemas.microsoft.com/office/drawing/2014/main" id="{7ED7C0AF-9A80-420B-FE97-AEC7E880007A}"/>
                  </a:ext>
                </a:extLst>
              </p:cNvPr>
              <p:cNvSpPr txBox="1"/>
              <p:nvPr userDrawn="1"/>
            </p:nvSpPr>
            <p:spPr>
              <a:xfrm flipH="1">
                <a:off x="12573262" y="4881185"/>
                <a:ext cx="2152650"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name.surname@hfw.com</a:t>
                </a:r>
                <a:endParaRPr lang="en-US" dirty="0"/>
              </a:p>
            </p:txBody>
          </p:sp>
          <p:sp>
            <p:nvSpPr>
              <p:cNvPr id="25" name="TextBox 24">
                <a:extLst>
                  <a:ext uri="{FF2B5EF4-FFF2-40B4-BE49-F238E27FC236}">
                    <a16:creationId xmlns:a16="http://schemas.microsoft.com/office/drawing/2014/main" id="{76E96E1F-987B-B912-E292-489555DEF846}"/>
                  </a:ext>
                </a:extLst>
              </p:cNvPr>
              <p:cNvSpPr txBox="1"/>
              <p:nvPr userDrawn="1"/>
            </p:nvSpPr>
            <p:spPr>
              <a:xfrm flipH="1">
                <a:off x="12399099" y="4230487"/>
                <a:ext cx="1968833"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solidFill>
                      <a:schemeClr val="tx2"/>
                    </a:solidFill>
                    <a:latin typeface="+mj-lt"/>
                  </a:rPr>
                  <a:t>NAME SURNAME</a:t>
                </a:r>
              </a:p>
            </p:txBody>
          </p:sp>
          <p:sp>
            <p:nvSpPr>
              <p:cNvPr id="28" name="TextBox 27">
                <a:extLst>
                  <a:ext uri="{FF2B5EF4-FFF2-40B4-BE49-F238E27FC236}">
                    <a16:creationId xmlns:a16="http://schemas.microsoft.com/office/drawing/2014/main" id="{4D5E47CD-8D00-EF08-934F-578C4CFCE1A6}"/>
                  </a:ext>
                </a:extLst>
              </p:cNvPr>
              <p:cNvSpPr txBox="1"/>
              <p:nvPr userDrawn="1"/>
            </p:nvSpPr>
            <p:spPr>
              <a:xfrm flipH="1">
                <a:off x="12399099" y="4445785"/>
                <a:ext cx="1968833"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US" dirty="0"/>
                  <a:t>Position, Location</a:t>
                </a:r>
              </a:p>
            </p:txBody>
          </p:sp>
        </p:grpSp>
      </p:grpSp>
    </p:spTree>
    <p:extLst>
      <p:ext uri="{BB962C8B-B14F-4D97-AF65-F5344CB8AC3E}">
        <p14:creationId xmlns:p14="http://schemas.microsoft.com/office/powerpoint/2010/main" val="2672931073"/>
      </p:ext>
    </p:extLst>
  </p:cSld>
  <p:clrMapOvr>
    <a:masterClrMapping/>
  </p:clrMapOvr>
  <p:transition spd="med">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Key Contacts 6 &amp; Quote">
    <p:bg>
      <p:bgPr>
        <a:solidFill>
          <a:schemeClr val="bg2"/>
        </a:solidFill>
        <a:effectLst/>
      </p:bgPr>
    </p:bg>
    <p:spTree>
      <p:nvGrpSpPr>
        <p:cNvPr id="1" name=""/>
        <p:cNvGrpSpPr/>
        <p:nvPr/>
      </p:nvGrpSpPr>
      <p:grpSpPr>
        <a:xfrm>
          <a:off x="0" y="0"/>
          <a:ext cx="0" cy="0"/>
          <a:chOff x="0" y="0"/>
          <a:chExt cx="0" cy="0"/>
        </a:xfrm>
      </p:grpSpPr>
      <p:sp>
        <p:nvSpPr>
          <p:cNvPr id="9" name="Picture Placeholder 10">
            <a:extLst>
              <a:ext uri="{FF2B5EF4-FFF2-40B4-BE49-F238E27FC236}">
                <a16:creationId xmlns:a16="http://schemas.microsoft.com/office/drawing/2014/main" id="{957F7B8C-8896-F507-1133-31FF9F06D6DB}"/>
              </a:ext>
            </a:extLst>
          </p:cNvPr>
          <p:cNvSpPr>
            <a:spLocks noGrp="1"/>
          </p:cNvSpPr>
          <p:nvPr>
            <p:ph type="pic" sz="quarter" idx="13" hasCustomPrompt="1"/>
          </p:nvPr>
        </p:nvSpPr>
        <p:spPr>
          <a:xfrm>
            <a:off x="8126412" y="0"/>
            <a:ext cx="4065587" cy="6858000"/>
          </a:xfrm>
          <a:solidFill>
            <a:schemeClr val="tx1"/>
          </a:solidFill>
        </p:spPr>
        <p:txBody>
          <a:bodyPr vert="horz" lIns="0" tIns="45720" rIns="0" bIns="45720" rtlCol="0" anchor="ctr">
            <a:normAutofit/>
          </a:bodyPr>
          <a:lstStyle>
            <a:lvl1pPr algn="ctr">
              <a:defRPr lang="en-GB" sz="2800" b="0" dirty="0">
                <a:solidFill>
                  <a:schemeClr val="bg1"/>
                </a:solidFill>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US" dirty="0"/>
              <a:t>ADD RELATED </a:t>
            </a:r>
            <a:br>
              <a:rPr lang="en-US" dirty="0"/>
            </a:br>
            <a:r>
              <a:rPr lang="en-US" dirty="0"/>
              <a:t>IMAGE </a:t>
            </a:r>
            <a:br>
              <a:rPr lang="en-US" dirty="0"/>
            </a:br>
            <a:r>
              <a:rPr lang="en-US" dirty="0"/>
              <a:t>FROM HFW </a:t>
            </a:r>
            <a:br>
              <a:rPr lang="en-US" dirty="0"/>
            </a:br>
            <a:r>
              <a:rPr lang="en-US" dirty="0"/>
              <a:t>IMAGE LIBRARY</a:t>
            </a:r>
          </a:p>
        </p:txBody>
      </p:sp>
      <p:sp>
        <p:nvSpPr>
          <p:cNvPr id="2" name="Title 1"/>
          <p:cNvSpPr>
            <a:spLocks noGrp="1"/>
          </p:cNvSpPr>
          <p:nvPr>
            <p:ph type="title" hasCustomPrompt="1"/>
          </p:nvPr>
        </p:nvSpPr>
        <p:spPr>
          <a:xfrm>
            <a:off x="508000" y="454013"/>
            <a:ext cx="7459663" cy="663587"/>
          </a:xfrm>
        </p:spPr>
        <p:txBody>
          <a:bodyPr/>
          <a:lstStyle/>
          <a:p>
            <a:r>
              <a:rPr lang="en-US" dirty="0"/>
              <a:t>Key </a:t>
            </a:r>
            <a:r>
              <a:rPr lang="en-US" dirty="0" err="1"/>
              <a:t>contactS</a:t>
            </a:r>
            <a:endParaRPr lang="en-US" dirty="0"/>
          </a:p>
        </p:txBody>
      </p:sp>
      <p:sp>
        <p:nvSpPr>
          <p:cNvPr id="5" name="Footer Placeholder 4"/>
          <p:cNvSpPr>
            <a:spLocks noGrp="1"/>
          </p:cNvSpPr>
          <p:nvPr>
            <p:ph type="ftr" sz="quarter" idx="11"/>
          </p:nvPr>
        </p:nvSpPr>
        <p:spPr/>
        <p:txBody>
          <a:bodyPr/>
          <a:lstStyle/>
          <a:p>
            <a:r>
              <a:rPr lang="en-GB"/>
              <a:t>INSERT FOOTER HER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8CFE0557-AA98-4E6C-B0C3-581794696B68}" type="slidenum">
              <a:rPr lang="en-GB" smtClean="0"/>
              <a:pPr/>
              <a:t>‹#›</a:t>
            </a:fld>
            <a:endParaRPr lang="en-GB"/>
          </a:p>
        </p:txBody>
      </p:sp>
      <p:sp>
        <p:nvSpPr>
          <p:cNvPr id="15" name="Text Placeholder 12">
            <a:extLst>
              <a:ext uri="{FF2B5EF4-FFF2-40B4-BE49-F238E27FC236}">
                <a16:creationId xmlns:a16="http://schemas.microsoft.com/office/drawing/2014/main" id="{794C8C8E-E01D-5FFB-68A5-0BDBA94C4ADE}"/>
              </a:ext>
            </a:extLst>
          </p:cNvPr>
          <p:cNvSpPr>
            <a:spLocks noGrp="1"/>
          </p:cNvSpPr>
          <p:nvPr>
            <p:ph type="body" sz="quarter" idx="34" hasCustomPrompt="1"/>
          </p:nvPr>
        </p:nvSpPr>
        <p:spPr>
          <a:xfrm>
            <a:off x="508000" y="5334846"/>
            <a:ext cx="7127876" cy="681779"/>
          </a:xfrm>
        </p:spPr>
        <p:txBody>
          <a:bodyPr vert="horz" lIns="0" tIns="45720" rIns="0" bIns="0" rtlCol="0" anchor="b" anchorCtr="0">
            <a:noAutofit/>
          </a:bodyPr>
          <a:lstStyle>
            <a:lvl1pPr marL="108000" indent="-108000">
              <a:lnSpc>
                <a:spcPct val="110000"/>
              </a:lnSpc>
              <a:spcBef>
                <a:spcPts val="0"/>
              </a:spcBef>
              <a:spcAft>
                <a:spcPts val="0"/>
              </a:spcAft>
              <a:defRPr lang="en-US" sz="2000" dirty="0">
                <a:solidFill>
                  <a:schemeClr val="accent2"/>
                </a:solidFill>
              </a:defRPr>
            </a:lvl1pPr>
            <a:lvl2pPr>
              <a:defRPr lang="en-US" sz="1400" dirty="0">
                <a:solidFill>
                  <a:schemeClr val="tx2"/>
                </a:solidFill>
                <a:latin typeface="+mj-lt"/>
              </a:defRPr>
            </a:lvl2pPr>
          </a:lstStyle>
          <a:p>
            <a:pPr marL="108000" lvl="0" indent="-108000">
              <a:lnSpc>
                <a:spcPct val="100000"/>
              </a:lnSpc>
              <a:spcBef>
                <a:spcPts val="200"/>
              </a:spcBef>
              <a:spcAft>
                <a:spcPts val="200"/>
              </a:spcAft>
            </a:pPr>
            <a:r>
              <a:rPr lang="en-US" dirty="0"/>
              <a:t>“Quote goes here.”</a:t>
            </a:r>
          </a:p>
        </p:txBody>
      </p:sp>
      <p:sp>
        <p:nvSpPr>
          <p:cNvPr id="16" name="Text Placeholder 7">
            <a:extLst>
              <a:ext uri="{FF2B5EF4-FFF2-40B4-BE49-F238E27FC236}">
                <a16:creationId xmlns:a16="http://schemas.microsoft.com/office/drawing/2014/main" id="{EC7C1D2B-C4A3-B326-6312-67307ED0176A}"/>
              </a:ext>
            </a:extLst>
          </p:cNvPr>
          <p:cNvSpPr>
            <a:spLocks noGrp="1"/>
          </p:cNvSpPr>
          <p:nvPr>
            <p:ph type="body" sz="quarter" idx="24" hasCustomPrompt="1"/>
          </p:nvPr>
        </p:nvSpPr>
        <p:spPr>
          <a:xfrm>
            <a:off x="508000" y="6047121"/>
            <a:ext cx="7127876" cy="215444"/>
          </a:xfrm>
        </p:spPr>
        <p:txBody>
          <a:bodyPr wrap="square" tIns="0" bIns="0" anchor="b" anchorCtr="0">
            <a:spAutoFit/>
          </a:bodyPr>
          <a:lstStyle>
            <a:lvl1pPr marL="108000">
              <a:lnSpc>
                <a:spcPct val="100000"/>
              </a:lnSpc>
              <a:defRPr sz="1400" cap="all" baseline="0">
                <a:solidFill>
                  <a:schemeClr val="tx2"/>
                </a:solidFill>
                <a:latin typeface="+mj-lt"/>
              </a:defRPr>
            </a:lvl1pPr>
            <a:lvl2pPr marL="108000">
              <a:lnSpc>
                <a:spcPct val="100000"/>
              </a:lnSpc>
              <a:defRPr sz="1400" cap="all" baseline="0">
                <a:solidFill>
                  <a:schemeClr val="tx2"/>
                </a:solidFill>
                <a:latin typeface="+mj-lt"/>
              </a:defRPr>
            </a:lvl2pPr>
            <a:lvl3pPr marL="108000">
              <a:lnSpc>
                <a:spcPct val="100000"/>
              </a:lnSpc>
              <a:defRPr sz="1400" cap="all" baseline="0">
                <a:solidFill>
                  <a:schemeClr val="tx2"/>
                </a:solidFill>
                <a:latin typeface="+mj-lt"/>
              </a:defRPr>
            </a:lvl3pPr>
            <a:lvl4pPr marL="108000">
              <a:lnSpc>
                <a:spcPct val="100000"/>
              </a:lnSpc>
              <a:defRPr sz="1400" cap="all" baseline="0">
                <a:solidFill>
                  <a:schemeClr val="tx2"/>
                </a:solidFill>
                <a:latin typeface="+mj-lt"/>
              </a:defRPr>
            </a:lvl4pPr>
            <a:lvl5pPr marL="108000">
              <a:lnSpc>
                <a:spcPct val="100000"/>
              </a:lnSpc>
              <a:defRPr sz="1400" cap="all" baseline="0">
                <a:solidFill>
                  <a:schemeClr val="tx2"/>
                </a:solidFill>
                <a:latin typeface="+mj-lt"/>
              </a:defRPr>
            </a:lvl5pPr>
          </a:lstStyle>
          <a:p>
            <a:pPr lvl="0"/>
            <a:r>
              <a:rPr lang="en-US" dirty="0"/>
              <a:t>quote author</a:t>
            </a:r>
            <a:endParaRPr lang="en-GB" dirty="0"/>
          </a:p>
        </p:txBody>
      </p:sp>
      <p:sp>
        <p:nvSpPr>
          <p:cNvPr id="33" name="Picture Placeholder 14">
            <a:extLst>
              <a:ext uri="{FF2B5EF4-FFF2-40B4-BE49-F238E27FC236}">
                <a16:creationId xmlns:a16="http://schemas.microsoft.com/office/drawing/2014/main" id="{B4D0D383-B772-0E16-F7FA-7D06514F020F}"/>
              </a:ext>
            </a:extLst>
          </p:cNvPr>
          <p:cNvSpPr>
            <a:spLocks noGrp="1"/>
          </p:cNvSpPr>
          <p:nvPr>
            <p:ph type="pic" sz="quarter" idx="35" hasCustomPrompt="1"/>
          </p:nvPr>
        </p:nvSpPr>
        <p:spPr>
          <a:xfrm>
            <a:off x="4235451" y="1298891"/>
            <a:ext cx="876299" cy="876299"/>
          </a:xfrm>
          <a:solidFill>
            <a:schemeClr val="bg1"/>
          </a:solidFill>
        </p:spPr>
        <p:txBody>
          <a:bodyPr anchor="ctr">
            <a:normAutofit/>
          </a:bodyPr>
          <a:lstStyle>
            <a:lvl1pPr algn="ctr">
              <a:defRPr sz="1000">
                <a:latin typeface="+mn-lt"/>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GB" dirty="0"/>
              <a:t>Picture</a:t>
            </a:r>
          </a:p>
        </p:txBody>
      </p:sp>
      <p:sp>
        <p:nvSpPr>
          <p:cNvPr id="34" name="Text Placeholder 16">
            <a:extLst>
              <a:ext uri="{FF2B5EF4-FFF2-40B4-BE49-F238E27FC236}">
                <a16:creationId xmlns:a16="http://schemas.microsoft.com/office/drawing/2014/main" id="{9B54ADEF-278F-CC0C-107C-FBCE678EA15A}"/>
              </a:ext>
            </a:extLst>
          </p:cNvPr>
          <p:cNvSpPr>
            <a:spLocks noGrp="1"/>
          </p:cNvSpPr>
          <p:nvPr>
            <p:ph type="body" sz="quarter" idx="36" hasCustomPrompt="1"/>
          </p:nvPr>
        </p:nvSpPr>
        <p:spPr>
          <a:xfrm>
            <a:off x="5211365" y="1538859"/>
            <a:ext cx="2543172"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US" dirty="0"/>
              <a:t>Position, Location</a:t>
            </a:r>
          </a:p>
        </p:txBody>
      </p:sp>
      <p:sp>
        <p:nvSpPr>
          <p:cNvPr id="35" name="Text Placeholder 16">
            <a:extLst>
              <a:ext uri="{FF2B5EF4-FFF2-40B4-BE49-F238E27FC236}">
                <a16:creationId xmlns:a16="http://schemas.microsoft.com/office/drawing/2014/main" id="{5B0CF73D-51D5-F167-59B0-4C8E1AD56FB6}"/>
              </a:ext>
            </a:extLst>
          </p:cNvPr>
          <p:cNvSpPr>
            <a:spLocks noGrp="1"/>
          </p:cNvSpPr>
          <p:nvPr>
            <p:ph type="body" sz="quarter" idx="37" hasCustomPrompt="1"/>
          </p:nvPr>
        </p:nvSpPr>
        <p:spPr>
          <a:xfrm>
            <a:off x="5211365" y="1321689"/>
            <a:ext cx="2543172" cy="169277"/>
          </a:xfrm>
        </p:spPr>
        <p:txBody>
          <a:bodyPr tIns="0" bIns="0">
            <a:noAutofit/>
          </a:bodyPr>
          <a:lstStyle>
            <a:lvl1pPr algn="l">
              <a:lnSpc>
                <a:spcPct val="100000"/>
              </a:lnSpc>
              <a:spcBef>
                <a:spcPts val="0"/>
              </a:spcBef>
              <a:spcAft>
                <a:spcPts val="0"/>
              </a:spcAft>
              <a:defRPr sz="1100" cap="all" baseline="0">
                <a:solidFill>
                  <a:schemeClr val="tx2"/>
                </a:solidFill>
                <a:latin typeface="+mj-lt"/>
              </a:defRPr>
            </a:lvl1pPr>
            <a:lvl2pPr algn="l">
              <a:lnSpc>
                <a:spcPct val="100000"/>
              </a:lnSpc>
              <a:spcBef>
                <a:spcPts val="200"/>
              </a:spcBef>
              <a:spcAft>
                <a:spcPts val="200"/>
              </a:spcAft>
              <a:defRPr sz="1100">
                <a:solidFill>
                  <a:schemeClr val="tx1"/>
                </a:solidFill>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0"/>
            <a:r>
              <a:rPr lang="en-US" dirty="0"/>
              <a:t>NAME SURNAME</a:t>
            </a:r>
          </a:p>
        </p:txBody>
      </p:sp>
      <p:sp>
        <p:nvSpPr>
          <p:cNvPr id="36" name="Text Placeholder 16">
            <a:extLst>
              <a:ext uri="{FF2B5EF4-FFF2-40B4-BE49-F238E27FC236}">
                <a16:creationId xmlns:a16="http://schemas.microsoft.com/office/drawing/2014/main" id="{A429076C-2756-FC7A-38CE-31B0132D9C9A}"/>
              </a:ext>
            </a:extLst>
          </p:cNvPr>
          <p:cNvSpPr>
            <a:spLocks noGrp="1"/>
          </p:cNvSpPr>
          <p:nvPr>
            <p:ph type="body" sz="quarter" idx="38" hasCustomPrompt="1"/>
          </p:nvPr>
        </p:nvSpPr>
        <p:spPr>
          <a:xfrm>
            <a:off x="5387048" y="1756091"/>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37" name="Text Placeholder 16">
            <a:extLst>
              <a:ext uri="{FF2B5EF4-FFF2-40B4-BE49-F238E27FC236}">
                <a16:creationId xmlns:a16="http://schemas.microsoft.com/office/drawing/2014/main" id="{AA911953-F270-2CC3-A35E-D6747A3D2DD4}"/>
              </a:ext>
            </a:extLst>
          </p:cNvPr>
          <p:cNvSpPr>
            <a:spLocks noGrp="1"/>
          </p:cNvSpPr>
          <p:nvPr>
            <p:ph type="body" sz="quarter" idx="39" hasCustomPrompt="1"/>
          </p:nvPr>
        </p:nvSpPr>
        <p:spPr>
          <a:xfrm>
            <a:off x="5387048" y="1973323"/>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name.surname@hfw.com</a:t>
            </a:r>
            <a:endParaRPr lang="en-US" dirty="0"/>
          </a:p>
        </p:txBody>
      </p:sp>
      <p:sp>
        <p:nvSpPr>
          <p:cNvPr id="38" name="TextBox 37">
            <a:extLst>
              <a:ext uri="{FF2B5EF4-FFF2-40B4-BE49-F238E27FC236}">
                <a16:creationId xmlns:a16="http://schemas.microsoft.com/office/drawing/2014/main" id="{48198480-FD49-A6FE-6411-998B15B403DB}"/>
              </a:ext>
            </a:extLst>
          </p:cNvPr>
          <p:cNvSpPr txBox="1"/>
          <p:nvPr userDrawn="1"/>
        </p:nvSpPr>
        <p:spPr>
          <a:xfrm flipH="1">
            <a:off x="5212884" y="1756091"/>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39" name="TextBox 38">
            <a:extLst>
              <a:ext uri="{FF2B5EF4-FFF2-40B4-BE49-F238E27FC236}">
                <a16:creationId xmlns:a16="http://schemas.microsoft.com/office/drawing/2014/main" id="{82C4203F-1F52-37D4-F1B3-7820160ECFFB}"/>
              </a:ext>
            </a:extLst>
          </p:cNvPr>
          <p:cNvSpPr txBox="1"/>
          <p:nvPr userDrawn="1"/>
        </p:nvSpPr>
        <p:spPr>
          <a:xfrm flipH="1">
            <a:off x="5212884" y="1973323"/>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E</a:t>
            </a:r>
          </a:p>
        </p:txBody>
      </p:sp>
      <p:sp>
        <p:nvSpPr>
          <p:cNvPr id="40" name="Picture Placeholder 14">
            <a:extLst>
              <a:ext uri="{FF2B5EF4-FFF2-40B4-BE49-F238E27FC236}">
                <a16:creationId xmlns:a16="http://schemas.microsoft.com/office/drawing/2014/main" id="{E39A9BF0-CDC0-92B9-C86C-20E2C296CCDA}"/>
              </a:ext>
            </a:extLst>
          </p:cNvPr>
          <p:cNvSpPr>
            <a:spLocks noGrp="1"/>
          </p:cNvSpPr>
          <p:nvPr>
            <p:ph type="pic" sz="quarter" idx="40" hasCustomPrompt="1"/>
          </p:nvPr>
        </p:nvSpPr>
        <p:spPr>
          <a:xfrm>
            <a:off x="516891" y="1298891"/>
            <a:ext cx="876299" cy="876299"/>
          </a:xfrm>
          <a:solidFill>
            <a:schemeClr val="bg1"/>
          </a:solidFill>
        </p:spPr>
        <p:txBody>
          <a:bodyPr anchor="ctr">
            <a:normAutofit/>
          </a:bodyPr>
          <a:lstStyle>
            <a:lvl1pPr algn="ctr">
              <a:defRPr sz="1000">
                <a:latin typeface="+mn-lt"/>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GB" dirty="0"/>
              <a:t>Picture</a:t>
            </a:r>
          </a:p>
        </p:txBody>
      </p:sp>
      <p:sp>
        <p:nvSpPr>
          <p:cNvPr id="41" name="Text Placeholder 16">
            <a:extLst>
              <a:ext uri="{FF2B5EF4-FFF2-40B4-BE49-F238E27FC236}">
                <a16:creationId xmlns:a16="http://schemas.microsoft.com/office/drawing/2014/main" id="{13ED7132-03FE-77EB-D338-107ADB85331F}"/>
              </a:ext>
            </a:extLst>
          </p:cNvPr>
          <p:cNvSpPr>
            <a:spLocks noGrp="1"/>
          </p:cNvSpPr>
          <p:nvPr>
            <p:ph type="body" sz="quarter" idx="41" hasCustomPrompt="1"/>
          </p:nvPr>
        </p:nvSpPr>
        <p:spPr>
          <a:xfrm>
            <a:off x="1492805" y="1538859"/>
            <a:ext cx="2543172"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US" dirty="0"/>
              <a:t>Position, Location</a:t>
            </a:r>
          </a:p>
        </p:txBody>
      </p:sp>
      <p:sp>
        <p:nvSpPr>
          <p:cNvPr id="42" name="Text Placeholder 16">
            <a:extLst>
              <a:ext uri="{FF2B5EF4-FFF2-40B4-BE49-F238E27FC236}">
                <a16:creationId xmlns:a16="http://schemas.microsoft.com/office/drawing/2014/main" id="{1F34B3DE-3A4C-ECEE-4983-1B0BB7EC9160}"/>
              </a:ext>
            </a:extLst>
          </p:cNvPr>
          <p:cNvSpPr>
            <a:spLocks noGrp="1"/>
          </p:cNvSpPr>
          <p:nvPr>
            <p:ph type="body" sz="quarter" idx="42" hasCustomPrompt="1"/>
          </p:nvPr>
        </p:nvSpPr>
        <p:spPr>
          <a:xfrm>
            <a:off x="1492805" y="1321689"/>
            <a:ext cx="2543172" cy="169277"/>
          </a:xfrm>
        </p:spPr>
        <p:txBody>
          <a:bodyPr tIns="0" bIns="0">
            <a:noAutofit/>
          </a:bodyPr>
          <a:lstStyle>
            <a:lvl1pPr algn="l">
              <a:lnSpc>
                <a:spcPct val="100000"/>
              </a:lnSpc>
              <a:spcBef>
                <a:spcPts val="0"/>
              </a:spcBef>
              <a:spcAft>
                <a:spcPts val="0"/>
              </a:spcAft>
              <a:defRPr sz="1100" cap="all" baseline="0">
                <a:solidFill>
                  <a:schemeClr val="tx2"/>
                </a:solidFill>
                <a:latin typeface="+mj-lt"/>
              </a:defRPr>
            </a:lvl1pPr>
            <a:lvl2pPr algn="l">
              <a:lnSpc>
                <a:spcPct val="100000"/>
              </a:lnSpc>
              <a:spcBef>
                <a:spcPts val="200"/>
              </a:spcBef>
              <a:spcAft>
                <a:spcPts val="200"/>
              </a:spcAft>
              <a:defRPr sz="1100">
                <a:solidFill>
                  <a:schemeClr val="tx1"/>
                </a:solidFill>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0"/>
            <a:r>
              <a:rPr lang="en-US" dirty="0"/>
              <a:t>NAME SURNAME</a:t>
            </a:r>
          </a:p>
        </p:txBody>
      </p:sp>
      <p:sp>
        <p:nvSpPr>
          <p:cNvPr id="43" name="Text Placeholder 16">
            <a:extLst>
              <a:ext uri="{FF2B5EF4-FFF2-40B4-BE49-F238E27FC236}">
                <a16:creationId xmlns:a16="http://schemas.microsoft.com/office/drawing/2014/main" id="{928ECBE1-7B1C-F8B6-7CC6-3C16CB51FE44}"/>
              </a:ext>
            </a:extLst>
          </p:cNvPr>
          <p:cNvSpPr>
            <a:spLocks noGrp="1"/>
          </p:cNvSpPr>
          <p:nvPr>
            <p:ph type="body" sz="quarter" idx="43" hasCustomPrompt="1"/>
          </p:nvPr>
        </p:nvSpPr>
        <p:spPr>
          <a:xfrm>
            <a:off x="1668488" y="1756091"/>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44" name="Text Placeholder 16">
            <a:extLst>
              <a:ext uri="{FF2B5EF4-FFF2-40B4-BE49-F238E27FC236}">
                <a16:creationId xmlns:a16="http://schemas.microsoft.com/office/drawing/2014/main" id="{67000870-B22E-05DA-499F-460540EF18D5}"/>
              </a:ext>
            </a:extLst>
          </p:cNvPr>
          <p:cNvSpPr>
            <a:spLocks noGrp="1"/>
          </p:cNvSpPr>
          <p:nvPr>
            <p:ph type="body" sz="quarter" idx="44" hasCustomPrompt="1"/>
          </p:nvPr>
        </p:nvSpPr>
        <p:spPr>
          <a:xfrm>
            <a:off x="1668488" y="1973323"/>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name.surname@hfw.com</a:t>
            </a:r>
            <a:endParaRPr lang="en-US" dirty="0"/>
          </a:p>
        </p:txBody>
      </p:sp>
      <p:sp>
        <p:nvSpPr>
          <p:cNvPr id="45" name="TextBox 44">
            <a:extLst>
              <a:ext uri="{FF2B5EF4-FFF2-40B4-BE49-F238E27FC236}">
                <a16:creationId xmlns:a16="http://schemas.microsoft.com/office/drawing/2014/main" id="{C4D7086B-DFFF-F5AF-FC33-DB28DD46C46C}"/>
              </a:ext>
            </a:extLst>
          </p:cNvPr>
          <p:cNvSpPr txBox="1"/>
          <p:nvPr userDrawn="1"/>
        </p:nvSpPr>
        <p:spPr>
          <a:xfrm flipH="1">
            <a:off x="1494324" y="1756091"/>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46" name="TextBox 45">
            <a:extLst>
              <a:ext uri="{FF2B5EF4-FFF2-40B4-BE49-F238E27FC236}">
                <a16:creationId xmlns:a16="http://schemas.microsoft.com/office/drawing/2014/main" id="{ECD16A64-F531-8C98-9D9D-E9648F50C881}"/>
              </a:ext>
            </a:extLst>
          </p:cNvPr>
          <p:cNvSpPr txBox="1"/>
          <p:nvPr userDrawn="1"/>
        </p:nvSpPr>
        <p:spPr>
          <a:xfrm flipH="1">
            <a:off x="1494324" y="1973323"/>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E</a:t>
            </a:r>
          </a:p>
        </p:txBody>
      </p:sp>
      <p:sp>
        <p:nvSpPr>
          <p:cNvPr id="47" name="Picture Placeholder 14">
            <a:extLst>
              <a:ext uri="{FF2B5EF4-FFF2-40B4-BE49-F238E27FC236}">
                <a16:creationId xmlns:a16="http://schemas.microsoft.com/office/drawing/2014/main" id="{FCBF5B17-E3B7-E8CE-F1D6-91E78D476C26}"/>
              </a:ext>
            </a:extLst>
          </p:cNvPr>
          <p:cNvSpPr>
            <a:spLocks noGrp="1"/>
          </p:cNvSpPr>
          <p:nvPr>
            <p:ph type="pic" sz="quarter" idx="45" hasCustomPrompt="1"/>
          </p:nvPr>
        </p:nvSpPr>
        <p:spPr>
          <a:xfrm>
            <a:off x="4235451" y="2319337"/>
            <a:ext cx="876299" cy="876299"/>
          </a:xfrm>
          <a:solidFill>
            <a:schemeClr val="bg1"/>
          </a:solidFill>
        </p:spPr>
        <p:txBody>
          <a:bodyPr anchor="ctr">
            <a:normAutofit/>
          </a:bodyPr>
          <a:lstStyle>
            <a:lvl1pPr algn="ctr">
              <a:defRPr sz="1000">
                <a:latin typeface="+mn-lt"/>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GB" dirty="0"/>
              <a:t>Picture</a:t>
            </a:r>
          </a:p>
        </p:txBody>
      </p:sp>
      <p:sp>
        <p:nvSpPr>
          <p:cNvPr id="48" name="Text Placeholder 16">
            <a:extLst>
              <a:ext uri="{FF2B5EF4-FFF2-40B4-BE49-F238E27FC236}">
                <a16:creationId xmlns:a16="http://schemas.microsoft.com/office/drawing/2014/main" id="{74CA3B02-5DF3-B5CF-80A0-D9373BAEC72F}"/>
              </a:ext>
            </a:extLst>
          </p:cNvPr>
          <p:cNvSpPr>
            <a:spLocks noGrp="1"/>
          </p:cNvSpPr>
          <p:nvPr>
            <p:ph type="body" sz="quarter" idx="46" hasCustomPrompt="1"/>
          </p:nvPr>
        </p:nvSpPr>
        <p:spPr>
          <a:xfrm>
            <a:off x="5211365" y="2559305"/>
            <a:ext cx="2543172"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US" dirty="0"/>
              <a:t>Position, Location</a:t>
            </a:r>
          </a:p>
        </p:txBody>
      </p:sp>
      <p:sp>
        <p:nvSpPr>
          <p:cNvPr id="49" name="Text Placeholder 16">
            <a:extLst>
              <a:ext uri="{FF2B5EF4-FFF2-40B4-BE49-F238E27FC236}">
                <a16:creationId xmlns:a16="http://schemas.microsoft.com/office/drawing/2014/main" id="{27D0C356-16EF-F264-F3A5-7DA2B3A9589C}"/>
              </a:ext>
            </a:extLst>
          </p:cNvPr>
          <p:cNvSpPr>
            <a:spLocks noGrp="1"/>
          </p:cNvSpPr>
          <p:nvPr>
            <p:ph type="body" sz="quarter" idx="47" hasCustomPrompt="1"/>
          </p:nvPr>
        </p:nvSpPr>
        <p:spPr>
          <a:xfrm>
            <a:off x="5211365" y="2342135"/>
            <a:ext cx="2543172" cy="169277"/>
          </a:xfrm>
        </p:spPr>
        <p:txBody>
          <a:bodyPr tIns="0" bIns="0">
            <a:noAutofit/>
          </a:bodyPr>
          <a:lstStyle>
            <a:lvl1pPr algn="l">
              <a:lnSpc>
                <a:spcPct val="100000"/>
              </a:lnSpc>
              <a:spcBef>
                <a:spcPts val="0"/>
              </a:spcBef>
              <a:spcAft>
                <a:spcPts val="0"/>
              </a:spcAft>
              <a:defRPr sz="1100" cap="all" baseline="0">
                <a:solidFill>
                  <a:schemeClr val="tx2"/>
                </a:solidFill>
                <a:latin typeface="+mj-lt"/>
              </a:defRPr>
            </a:lvl1pPr>
            <a:lvl2pPr algn="l">
              <a:lnSpc>
                <a:spcPct val="100000"/>
              </a:lnSpc>
              <a:spcBef>
                <a:spcPts val="200"/>
              </a:spcBef>
              <a:spcAft>
                <a:spcPts val="200"/>
              </a:spcAft>
              <a:defRPr sz="1100">
                <a:solidFill>
                  <a:schemeClr val="tx1"/>
                </a:solidFill>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0"/>
            <a:r>
              <a:rPr lang="en-US" dirty="0"/>
              <a:t>NAME SURNAME</a:t>
            </a:r>
          </a:p>
        </p:txBody>
      </p:sp>
      <p:sp>
        <p:nvSpPr>
          <p:cNvPr id="50" name="Text Placeholder 16">
            <a:extLst>
              <a:ext uri="{FF2B5EF4-FFF2-40B4-BE49-F238E27FC236}">
                <a16:creationId xmlns:a16="http://schemas.microsoft.com/office/drawing/2014/main" id="{994AA1FD-73F5-3CB9-ABD5-D1975A8DA379}"/>
              </a:ext>
            </a:extLst>
          </p:cNvPr>
          <p:cNvSpPr>
            <a:spLocks noGrp="1"/>
          </p:cNvSpPr>
          <p:nvPr>
            <p:ph type="body" sz="quarter" idx="48" hasCustomPrompt="1"/>
          </p:nvPr>
        </p:nvSpPr>
        <p:spPr>
          <a:xfrm>
            <a:off x="5387048" y="2776537"/>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51" name="Text Placeholder 16">
            <a:extLst>
              <a:ext uri="{FF2B5EF4-FFF2-40B4-BE49-F238E27FC236}">
                <a16:creationId xmlns:a16="http://schemas.microsoft.com/office/drawing/2014/main" id="{3C4229B8-ECCF-AE3C-8800-0DCAAAB34784}"/>
              </a:ext>
            </a:extLst>
          </p:cNvPr>
          <p:cNvSpPr>
            <a:spLocks noGrp="1"/>
          </p:cNvSpPr>
          <p:nvPr>
            <p:ph type="body" sz="quarter" idx="49" hasCustomPrompt="1"/>
          </p:nvPr>
        </p:nvSpPr>
        <p:spPr>
          <a:xfrm>
            <a:off x="5387048" y="2993769"/>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name.surname@hfw.com</a:t>
            </a:r>
            <a:endParaRPr lang="en-US" dirty="0"/>
          </a:p>
        </p:txBody>
      </p:sp>
      <p:sp>
        <p:nvSpPr>
          <p:cNvPr id="52" name="TextBox 51">
            <a:extLst>
              <a:ext uri="{FF2B5EF4-FFF2-40B4-BE49-F238E27FC236}">
                <a16:creationId xmlns:a16="http://schemas.microsoft.com/office/drawing/2014/main" id="{71C89E1E-3C13-96FB-7233-43671A6C3ADA}"/>
              </a:ext>
            </a:extLst>
          </p:cNvPr>
          <p:cNvSpPr txBox="1"/>
          <p:nvPr userDrawn="1"/>
        </p:nvSpPr>
        <p:spPr>
          <a:xfrm flipH="1">
            <a:off x="5212884" y="2776537"/>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53" name="TextBox 52">
            <a:extLst>
              <a:ext uri="{FF2B5EF4-FFF2-40B4-BE49-F238E27FC236}">
                <a16:creationId xmlns:a16="http://schemas.microsoft.com/office/drawing/2014/main" id="{7DD16675-497F-E05C-56B1-DFB96390941D}"/>
              </a:ext>
            </a:extLst>
          </p:cNvPr>
          <p:cNvSpPr txBox="1"/>
          <p:nvPr userDrawn="1"/>
        </p:nvSpPr>
        <p:spPr>
          <a:xfrm flipH="1">
            <a:off x="5212884" y="2993769"/>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E</a:t>
            </a:r>
          </a:p>
        </p:txBody>
      </p:sp>
      <p:sp>
        <p:nvSpPr>
          <p:cNvPr id="54" name="Picture Placeholder 14">
            <a:extLst>
              <a:ext uri="{FF2B5EF4-FFF2-40B4-BE49-F238E27FC236}">
                <a16:creationId xmlns:a16="http://schemas.microsoft.com/office/drawing/2014/main" id="{765D0AF9-09D7-CB8A-18F1-CEE987C8A0F5}"/>
              </a:ext>
            </a:extLst>
          </p:cNvPr>
          <p:cNvSpPr>
            <a:spLocks noGrp="1"/>
          </p:cNvSpPr>
          <p:nvPr>
            <p:ph type="pic" sz="quarter" idx="50" hasCustomPrompt="1"/>
          </p:nvPr>
        </p:nvSpPr>
        <p:spPr>
          <a:xfrm>
            <a:off x="516891" y="2319337"/>
            <a:ext cx="876299" cy="876299"/>
          </a:xfrm>
          <a:solidFill>
            <a:schemeClr val="bg1"/>
          </a:solidFill>
        </p:spPr>
        <p:txBody>
          <a:bodyPr anchor="ctr">
            <a:normAutofit/>
          </a:bodyPr>
          <a:lstStyle>
            <a:lvl1pPr algn="ctr">
              <a:defRPr sz="1000">
                <a:latin typeface="+mn-lt"/>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GB" dirty="0"/>
              <a:t>Picture</a:t>
            </a:r>
          </a:p>
        </p:txBody>
      </p:sp>
      <p:sp>
        <p:nvSpPr>
          <p:cNvPr id="55" name="Text Placeholder 16">
            <a:extLst>
              <a:ext uri="{FF2B5EF4-FFF2-40B4-BE49-F238E27FC236}">
                <a16:creationId xmlns:a16="http://schemas.microsoft.com/office/drawing/2014/main" id="{12D1AF25-C238-F5D2-7E4D-8425E6ACF0C1}"/>
              </a:ext>
            </a:extLst>
          </p:cNvPr>
          <p:cNvSpPr>
            <a:spLocks noGrp="1"/>
          </p:cNvSpPr>
          <p:nvPr>
            <p:ph type="body" sz="quarter" idx="51" hasCustomPrompt="1"/>
          </p:nvPr>
        </p:nvSpPr>
        <p:spPr>
          <a:xfrm>
            <a:off x="1492805" y="2559305"/>
            <a:ext cx="2543172"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US" dirty="0"/>
              <a:t>Position, Location</a:t>
            </a:r>
          </a:p>
        </p:txBody>
      </p:sp>
      <p:sp>
        <p:nvSpPr>
          <p:cNvPr id="56" name="Text Placeholder 16">
            <a:extLst>
              <a:ext uri="{FF2B5EF4-FFF2-40B4-BE49-F238E27FC236}">
                <a16:creationId xmlns:a16="http://schemas.microsoft.com/office/drawing/2014/main" id="{58D64E4A-189B-B2C3-165C-1C8E6C459A82}"/>
              </a:ext>
            </a:extLst>
          </p:cNvPr>
          <p:cNvSpPr>
            <a:spLocks noGrp="1"/>
          </p:cNvSpPr>
          <p:nvPr>
            <p:ph type="body" sz="quarter" idx="52" hasCustomPrompt="1"/>
          </p:nvPr>
        </p:nvSpPr>
        <p:spPr>
          <a:xfrm>
            <a:off x="1492805" y="2342135"/>
            <a:ext cx="2543172" cy="169277"/>
          </a:xfrm>
        </p:spPr>
        <p:txBody>
          <a:bodyPr tIns="0" bIns="0">
            <a:noAutofit/>
          </a:bodyPr>
          <a:lstStyle>
            <a:lvl1pPr algn="l">
              <a:lnSpc>
                <a:spcPct val="100000"/>
              </a:lnSpc>
              <a:spcBef>
                <a:spcPts val="0"/>
              </a:spcBef>
              <a:spcAft>
                <a:spcPts val="0"/>
              </a:spcAft>
              <a:defRPr sz="1100" cap="all" baseline="0">
                <a:solidFill>
                  <a:schemeClr val="tx2"/>
                </a:solidFill>
                <a:latin typeface="+mj-lt"/>
              </a:defRPr>
            </a:lvl1pPr>
            <a:lvl2pPr algn="l">
              <a:lnSpc>
                <a:spcPct val="100000"/>
              </a:lnSpc>
              <a:spcBef>
                <a:spcPts val="200"/>
              </a:spcBef>
              <a:spcAft>
                <a:spcPts val="200"/>
              </a:spcAft>
              <a:defRPr sz="1100">
                <a:solidFill>
                  <a:schemeClr val="tx1"/>
                </a:solidFill>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0"/>
            <a:r>
              <a:rPr lang="en-US" dirty="0"/>
              <a:t>NAME SURNAME</a:t>
            </a:r>
          </a:p>
        </p:txBody>
      </p:sp>
      <p:sp>
        <p:nvSpPr>
          <p:cNvPr id="57" name="Text Placeholder 16">
            <a:extLst>
              <a:ext uri="{FF2B5EF4-FFF2-40B4-BE49-F238E27FC236}">
                <a16:creationId xmlns:a16="http://schemas.microsoft.com/office/drawing/2014/main" id="{31B8901B-9AA9-2A54-5444-FAAAC0E68BE5}"/>
              </a:ext>
            </a:extLst>
          </p:cNvPr>
          <p:cNvSpPr>
            <a:spLocks noGrp="1"/>
          </p:cNvSpPr>
          <p:nvPr>
            <p:ph type="body" sz="quarter" idx="53" hasCustomPrompt="1"/>
          </p:nvPr>
        </p:nvSpPr>
        <p:spPr>
          <a:xfrm>
            <a:off x="1668488" y="2776537"/>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58" name="Text Placeholder 16">
            <a:extLst>
              <a:ext uri="{FF2B5EF4-FFF2-40B4-BE49-F238E27FC236}">
                <a16:creationId xmlns:a16="http://schemas.microsoft.com/office/drawing/2014/main" id="{C7B415D3-E86F-CB8B-4256-8E447C9821B2}"/>
              </a:ext>
            </a:extLst>
          </p:cNvPr>
          <p:cNvSpPr>
            <a:spLocks noGrp="1"/>
          </p:cNvSpPr>
          <p:nvPr>
            <p:ph type="body" sz="quarter" idx="54" hasCustomPrompt="1"/>
          </p:nvPr>
        </p:nvSpPr>
        <p:spPr>
          <a:xfrm>
            <a:off x="1668488" y="2993769"/>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name.surname@hfw.com</a:t>
            </a:r>
            <a:endParaRPr lang="en-US" dirty="0"/>
          </a:p>
        </p:txBody>
      </p:sp>
      <p:sp>
        <p:nvSpPr>
          <p:cNvPr id="59" name="TextBox 58">
            <a:extLst>
              <a:ext uri="{FF2B5EF4-FFF2-40B4-BE49-F238E27FC236}">
                <a16:creationId xmlns:a16="http://schemas.microsoft.com/office/drawing/2014/main" id="{77DD0898-E136-F88E-FAC2-567AA8F09F52}"/>
              </a:ext>
            </a:extLst>
          </p:cNvPr>
          <p:cNvSpPr txBox="1"/>
          <p:nvPr userDrawn="1"/>
        </p:nvSpPr>
        <p:spPr>
          <a:xfrm flipH="1">
            <a:off x="1494324" y="2776537"/>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60" name="TextBox 59">
            <a:extLst>
              <a:ext uri="{FF2B5EF4-FFF2-40B4-BE49-F238E27FC236}">
                <a16:creationId xmlns:a16="http://schemas.microsoft.com/office/drawing/2014/main" id="{75A38973-D9A4-62D3-7BAC-CA5462931AF9}"/>
              </a:ext>
            </a:extLst>
          </p:cNvPr>
          <p:cNvSpPr txBox="1"/>
          <p:nvPr userDrawn="1"/>
        </p:nvSpPr>
        <p:spPr>
          <a:xfrm flipH="1">
            <a:off x="1494324" y="2993769"/>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E</a:t>
            </a:r>
          </a:p>
        </p:txBody>
      </p:sp>
      <p:sp>
        <p:nvSpPr>
          <p:cNvPr id="61" name="Picture Placeholder 14">
            <a:extLst>
              <a:ext uri="{FF2B5EF4-FFF2-40B4-BE49-F238E27FC236}">
                <a16:creationId xmlns:a16="http://schemas.microsoft.com/office/drawing/2014/main" id="{D905706B-3B0D-8AEA-D5E3-00161EC30E40}"/>
              </a:ext>
            </a:extLst>
          </p:cNvPr>
          <p:cNvSpPr>
            <a:spLocks noGrp="1"/>
          </p:cNvSpPr>
          <p:nvPr>
            <p:ph type="pic" sz="quarter" idx="55" hasCustomPrompt="1"/>
          </p:nvPr>
        </p:nvSpPr>
        <p:spPr>
          <a:xfrm>
            <a:off x="4235451" y="3327399"/>
            <a:ext cx="876299" cy="876299"/>
          </a:xfrm>
          <a:solidFill>
            <a:schemeClr val="bg1"/>
          </a:solidFill>
        </p:spPr>
        <p:txBody>
          <a:bodyPr anchor="ctr">
            <a:normAutofit/>
          </a:bodyPr>
          <a:lstStyle>
            <a:lvl1pPr algn="ctr">
              <a:defRPr sz="1000">
                <a:latin typeface="+mn-lt"/>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GB" dirty="0"/>
              <a:t>Picture</a:t>
            </a:r>
          </a:p>
        </p:txBody>
      </p:sp>
      <p:sp>
        <p:nvSpPr>
          <p:cNvPr id="62" name="Text Placeholder 16">
            <a:extLst>
              <a:ext uri="{FF2B5EF4-FFF2-40B4-BE49-F238E27FC236}">
                <a16:creationId xmlns:a16="http://schemas.microsoft.com/office/drawing/2014/main" id="{9E85131A-A0EB-50C6-2235-C5AECFD90BB8}"/>
              </a:ext>
            </a:extLst>
          </p:cNvPr>
          <p:cNvSpPr>
            <a:spLocks noGrp="1"/>
          </p:cNvSpPr>
          <p:nvPr>
            <p:ph type="body" sz="quarter" idx="56" hasCustomPrompt="1"/>
          </p:nvPr>
        </p:nvSpPr>
        <p:spPr>
          <a:xfrm>
            <a:off x="5211365" y="3567367"/>
            <a:ext cx="2543172"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US" dirty="0"/>
              <a:t>Position, Location</a:t>
            </a:r>
          </a:p>
        </p:txBody>
      </p:sp>
      <p:sp>
        <p:nvSpPr>
          <p:cNvPr id="63" name="Text Placeholder 16">
            <a:extLst>
              <a:ext uri="{FF2B5EF4-FFF2-40B4-BE49-F238E27FC236}">
                <a16:creationId xmlns:a16="http://schemas.microsoft.com/office/drawing/2014/main" id="{3F6CA03E-6080-4680-8909-FE3132F26098}"/>
              </a:ext>
            </a:extLst>
          </p:cNvPr>
          <p:cNvSpPr>
            <a:spLocks noGrp="1"/>
          </p:cNvSpPr>
          <p:nvPr>
            <p:ph type="body" sz="quarter" idx="57" hasCustomPrompt="1"/>
          </p:nvPr>
        </p:nvSpPr>
        <p:spPr>
          <a:xfrm>
            <a:off x="5211365" y="3350197"/>
            <a:ext cx="2543172" cy="169277"/>
          </a:xfrm>
        </p:spPr>
        <p:txBody>
          <a:bodyPr tIns="0" bIns="0">
            <a:noAutofit/>
          </a:bodyPr>
          <a:lstStyle>
            <a:lvl1pPr algn="l">
              <a:lnSpc>
                <a:spcPct val="100000"/>
              </a:lnSpc>
              <a:spcBef>
                <a:spcPts val="0"/>
              </a:spcBef>
              <a:spcAft>
                <a:spcPts val="0"/>
              </a:spcAft>
              <a:defRPr sz="1100" cap="all" baseline="0">
                <a:solidFill>
                  <a:schemeClr val="tx2"/>
                </a:solidFill>
                <a:latin typeface="+mj-lt"/>
              </a:defRPr>
            </a:lvl1pPr>
            <a:lvl2pPr algn="l">
              <a:lnSpc>
                <a:spcPct val="100000"/>
              </a:lnSpc>
              <a:spcBef>
                <a:spcPts val="200"/>
              </a:spcBef>
              <a:spcAft>
                <a:spcPts val="200"/>
              </a:spcAft>
              <a:defRPr sz="1100">
                <a:solidFill>
                  <a:schemeClr val="tx1"/>
                </a:solidFill>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0"/>
            <a:r>
              <a:rPr lang="en-US" dirty="0"/>
              <a:t>NAME SURNAME</a:t>
            </a:r>
          </a:p>
        </p:txBody>
      </p:sp>
      <p:sp>
        <p:nvSpPr>
          <p:cNvPr id="64" name="Text Placeholder 16">
            <a:extLst>
              <a:ext uri="{FF2B5EF4-FFF2-40B4-BE49-F238E27FC236}">
                <a16:creationId xmlns:a16="http://schemas.microsoft.com/office/drawing/2014/main" id="{C4815F97-45FD-D787-09EF-E884FDA22B58}"/>
              </a:ext>
            </a:extLst>
          </p:cNvPr>
          <p:cNvSpPr>
            <a:spLocks noGrp="1"/>
          </p:cNvSpPr>
          <p:nvPr>
            <p:ph type="body" sz="quarter" idx="58" hasCustomPrompt="1"/>
          </p:nvPr>
        </p:nvSpPr>
        <p:spPr>
          <a:xfrm>
            <a:off x="5387048" y="3784599"/>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65" name="Text Placeholder 16">
            <a:extLst>
              <a:ext uri="{FF2B5EF4-FFF2-40B4-BE49-F238E27FC236}">
                <a16:creationId xmlns:a16="http://schemas.microsoft.com/office/drawing/2014/main" id="{B08963BE-324B-EE1B-4BAE-E266F3D3E8BC}"/>
              </a:ext>
            </a:extLst>
          </p:cNvPr>
          <p:cNvSpPr>
            <a:spLocks noGrp="1"/>
          </p:cNvSpPr>
          <p:nvPr>
            <p:ph type="body" sz="quarter" idx="59" hasCustomPrompt="1"/>
          </p:nvPr>
        </p:nvSpPr>
        <p:spPr>
          <a:xfrm>
            <a:off x="5387048" y="4001831"/>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name.surname@hfw.com</a:t>
            </a:r>
            <a:endParaRPr lang="en-US" dirty="0"/>
          </a:p>
        </p:txBody>
      </p:sp>
      <p:sp>
        <p:nvSpPr>
          <p:cNvPr id="66" name="TextBox 65">
            <a:extLst>
              <a:ext uri="{FF2B5EF4-FFF2-40B4-BE49-F238E27FC236}">
                <a16:creationId xmlns:a16="http://schemas.microsoft.com/office/drawing/2014/main" id="{B8EA8497-707A-BFCE-D177-DCAE44128DA4}"/>
              </a:ext>
            </a:extLst>
          </p:cNvPr>
          <p:cNvSpPr txBox="1"/>
          <p:nvPr userDrawn="1"/>
        </p:nvSpPr>
        <p:spPr>
          <a:xfrm flipH="1">
            <a:off x="5212884" y="3784599"/>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67" name="TextBox 66">
            <a:extLst>
              <a:ext uri="{FF2B5EF4-FFF2-40B4-BE49-F238E27FC236}">
                <a16:creationId xmlns:a16="http://schemas.microsoft.com/office/drawing/2014/main" id="{703B5A1F-E858-57EE-A432-CD67331D325E}"/>
              </a:ext>
            </a:extLst>
          </p:cNvPr>
          <p:cNvSpPr txBox="1"/>
          <p:nvPr userDrawn="1"/>
        </p:nvSpPr>
        <p:spPr>
          <a:xfrm flipH="1">
            <a:off x="5212884" y="4001831"/>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E</a:t>
            </a:r>
          </a:p>
        </p:txBody>
      </p:sp>
      <p:sp>
        <p:nvSpPr>
          <p:cNvPr id="68" name="Picture Placeholder 14">
            <a:extLst>
              <a:ext uri="{FF2B5EF4-FFF2-40B4-BE49-F238E27FC236}">
                <a16:creationId xmlns:a16="http://schemas.microsoft.com/office/drawing/2014/main" id="{B34AE539-959F-5EE2-CF82-BB5C91C20FDC}"/>
              </a:ext>
            </a:extLst>
          </p:cNvPr>
          <p:cNvSpPr>
            <a:spLocks noGrp="1"/>
          </p:cNvSpPr>
          <p:nvPr>
            <p:ph type="pic" sz="quarter" idx="60" hasCustomPrompt="1"/>
          </p:nvPr>
        </p:nvSpPr>
        <p:spPr>
          <a:xfrm>
            <a:off x="516891" y="3327399"/>
            <a:ext cx="876299" cy="876299"/>
          </a:xfrm>
          <a:solidFill>
            <a:schemeClr val="bg1"/>
          </a:solidFill>
        </p:spPr>
        <p:txBody>
          <a:bodyPr anchor="ctr">
            <a:normAutofit/>
          </a:bodyPr>
          <a:lstStyle>
            <a:lvl1pPr algn="ctr">
              <a:defRPr sz="1000">
                <a:latin typeface="+mn-lt"/>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GB" dirty="0"/>
              <a:t>Picture</a:t>
            </a:r>
          </a:p>
        </p:txBody>
      </p:sp>
      <p:sp>
        <p:nvSpPr>
          <p:cNvPr id="69" name="Text Placeholder 16">
            <a:extLst>
              <a:ext uri="{FF2B5EF4-FFF2-40B4-BE49-F238E27FC236}">
                <a16:creationId xmlns:a16="http://schemas.microsoft.com/office/drawing/2014/main" id="{2DE182B2-3EC5-FF8A-8250-C13C24346AA9}"/>
              </a:ext>
            </a:extLst>
          </p:cNvPr>
          <p:cNvSpPr>
            <a:spLocks noGrp="1"/>
          </p:cNvSpPr>
          <p:nvPr>
            <p:ph type="body" sz="quarter" idx="61" hasCustomPrompt="1"/>
          </p:nvPr>
        </p:nvSpPr>
        <p:spPr>
          <a:xfrm>
            <a:off x="1492805" y="3567367"/>
            <a:ext cx="2543172"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US" dirty="0"/>
              <a:t>Position, Location</a:t>
            </a:r>
          </a:p>
        </p:txBody>
      </p:sp>
      <p:sp>
        <p:nvSpPr>
          <p:cNvPr id="70" name="Text Placeholder 16">
            <a:extLst>
              <a:ext uri="{FF2B5EF4-FFF2-40B4-BE49-F238E27FC236}">
                <a16:creationId xmlns:a16="http://schemas.microsoft.com/office/drawing/2014/main" id="{5221C9C2-AF4E-4D0D-8410-AA29ED2F0196}"/>
              </a:ext>
            </a:extLst>
          </p:cNvPr>
          <p:cNvSpPr>
            <a:spLocks noGrp="1"/>
          </p:cNvSpPr>
          <p:nvPr>
            <p:ph type="body" sz="quarter" idx="62" hasCustomPrompt="1"/>
          </p:nvPr>
        </p:nvSpPr>
        <p:spPr>
          <a:xfrm>
            <a:off x="1492805" y="3350197"/>
            <a:ext cx="2543172" cy="169277"/>
          </a:xfrm>
        </p:spPr>
        <p:txBody>
          <a:bodyPr tIns="0" bIns="0">
            <a:noAutofit/>
          </a:bodyPr>
          <a:lstStyle>
            <a:lvl1pPr algn="l">
              <a:lnSpc>
                <a:spcPct val="100000"/>
              </a:lnSpc>
              <a:spcBef>
                <a:spcPts val="0"/>
              </a:spcBef>
              <a:spcAft>
                <a:spcPts val="0"/>
              </a:spcAft>
              <a:defRPr sz="1100" cap="all" baseline="0">
                <a:solidFill>
                  <a:schemeClr val="tx2"/>
                </a:solidFill>
                <a:latin typeface="+mj-lt"/>
              </a:defRPr>
            </a:lvl1pPr>
            <a:lvl2pPr algn="l">
              <a:lnSpc>
                <a:spcPct val="100000"/>
              </a:lnSpc>
              <a:spcBef>
                <a:spcPts val="200"/>
              </a:spcBef>
              <a:spcAft>
                <a:spcPts val="200"/>
              </a:spcAft>
              <a:defRPr sz="1100">
                <a:solidFill>
                  <a:schemeClr val="tx1"/>
                </a:solidFill>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0"/>
            <a:r>
              <a:rPr lang="en-US" dirty="0"/>
              <a:t>NAME SURNAME</a:t>
            </a:r>
          </a:p>
        </p:txBody>
      </p:sp>
      <p:sp>
        <p:nvSpPr>
          <p:cNvPr id="71" name="Text Placeholder 16">
            <a:extLst>
              <a:ext uri="{FF2B5EF4-FFF2-40B4-BE49-F238E27FC236}">
                <a16:creationId xmlns:a16="http://schemas.microsoft.com/office/drawing/2014/main" id="{EF8EE7FE-1431-E0E4-AF24-A7E25E4F0EFC}"/>
              </a:ext>
            </a:extLst>
          </p:cNvPr>
          <p:cNvSpPr>
            <a:spLocks noGrp="1"/>
          </p:cNvSpPr>
          <p:nvPr>
            <p:ph type="body" sz="quarter" idx="63" hasCustomPrompt="1"/>
          </p:nvPr>
        </p:nvSpPr>
        <p:spPr>
          <a:xfrm>
            <a:off x="1668488" y="3784599"/>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72" name="Text Placeholder 16">
            <a:extLst>
              <a:ext uri="{FF2B5EF4-FFF2-40B4-BE49-F238E27FC236}">
                <a16:creationId xmlns:a16="http://schemas.microsoft.com/office/drawing/2014/main" id="{FF08729D-A09C-E532-5CD7-E7FA26C7CF05}"/>
              </a:ext>
            </a:extLst>
          </p:cNvPr>
          <p:cNvSpPr>
            <a:spLocks noGrp="1"/>
          </p:cNvSpPr>
          <p:nvPr>
            <p:ph type="body" sz="quarter" idx="64" hasCustomPrompt="1"/>
          </p:nvPr>
        </p:nvSpPr>
        <p:spPr>
          <a:xfrm>
            <a:off x="1668488" y="4001831"/>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name.surname@hfw.com</a:t>
            </a:r>
            <a:endParaRPr lang="en-US" dirty="0"/>
          </a:p>
        </p:txBody>
      </p:sp>
      <p:sp>
        <p:nvSpPr>
          <p:cNvPr id="73" name="TextBox 72">
            <a:extLst>
              <a:ext uri="{FF2B5EF4-FFF2-40B4-BE49-F238E27FC236}">
                <a16:creationId xmlns:a16="http://schemas.microsoft.com/office/drawing/2014/main" id="{F019190F-D136-35C9-6EED-E318D13243EC}"/>
              </a:ext>
            </a:extLst>
          </p:cNvPr>
          <p:cNvSpPr txBox="1"/>
          <p:nvPr userDrawn="1"/>
        </p:nvSpPr>
        <p:spPr>
          <a:xfrm flipH="1">
            <a:off x="1494324" y="3784599"/>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74" name="TextBox 73">
            <a:extLst>
              <a:ext uri="{FF2B5EF4-FFF2-40B4-BE49-F238E27FC236}">
                <a16:creationId xmlns:a16="http://schemas.microsoft.com/office/drawing/2014/main" id="{C74D3179-288F-B1EE-3446-2018351B7AE5}"/>
              </a:ext>
            </a:extLst>
          </p:cNvPr>
          <p:cNvSpPr txBox="1"/>
          <p:nvPr userDrawn="1"/>
        </p:nvSpPr>
        <p:spPr>
          <a:xfrm flipH="1">
            <a:off x="1494324" y="4001831"/>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E</a:t>
            </a:r>
          </a:p>
        </p:txBody>
      </p:sp>
      <p:sp>
        <p:nvSpPr>
          <p:cNvPr id="3" name="TextBox 4">
            <a:extLst>
              <a:ext uri="{FF2B5EF4-FFF2-40B4-BE49-F238E27FC236}">
                <a16:creationId xmlns:a16="http://schemas.microsoft.com/office/drawing/2014/main" id="{534E18B7-C9A6-2BC0-7B84-D6E0B1893B0C}"/>
              </a:ext>
            </a:extLst>
          </p:cNvPr>
          <p:cNvSpPr txBox="1"/>
          <p:nvPr userDrawn="1"/>
        </p:nvSpPr>
        <p:spPr>
          <a:xfrm>
            <a:off x="12346713" y="109538"/>
            <a:ext cx="2253207" cy="498085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INSERTING IMAGES:</a:t>
            </a:r>
          </a:p>
          <a:p>
            <a:pPr marL="179388" indent="-179388">
              <a:spcBef>
                <a:spcPts val="200"/>
              </a:spcBef>
              <a:spcAft>
                <a:spcPts val="200"/>
              </a:spcAft>
              <a:buFont typeface="+mj-lt"/>
              <a:buAutoNum type="arabicPeriod"/>
            </a:pPr>
            <a:r>
              <a:rPr lang="en-US" sz="900" dirty="0">
                <a:solidFill>
                  <a:schemeClr val="tx1"/>
                </a:solidFill>
                <a:latin typeface="+mn-lt"/>
              </a:rPr>
              <a:t>Simply click the image placeholder and select your image.</a:t>
            </a:r>
          </a:p>
          <a:p>
            <a:pPr marL="179388" indent="-179388">
              <a:spcBef>
                <a:spcPts val="200"/>
              </a:spcBef>
              <a:spcAft>
                <a:spcPts val="200"/>
              </a:spcAft>
              <a:buFont typeface="+mj-lt"/>
              <a:buAutoNum type="arabicPeriod"/>
            </a:pPr>
            <a:r>
              <a:rPr lang="en-US" sz="900" dirty="0">
                <a:solidFill>
                  <a:schemeClr val="tx1"/>
                </a:solidFill>
                <a:latin typeface="+mn-lt"/>
              </a:rPr>
              <a:t>Once your image is inserted into the shape it may be distorted. (Stretched or Squashed)</a:t>
            </a:r>
          </a:p>
          <a:p>
            <a:pPr marL="179388" indent="-179388">
              <a:spcBef>
                <a:spcPts val="200"/>
              </a:spcBef>
              <a:spcAft>
                <a:spcPts val="200"/>
              </a:spcAft>
              <a:buFont typeface="+mj-lt"/>
              <a:buAutoNum type="arabicPeriod"/>
            </a:pPr>
            <a:endParaRPr lang="en-US" sz="900" dirty="0">
              <a:solidFill>
                <a:schemeClr val="tx1"/>
              </a:solidFill>
              <a:latin typeface="+mn-lt"/>
            </a:endParaRPr>
          </a:p>
          <a:p>
            <a:pPr>
              <a:spcBef>
                <a:spcPts val="200"/>
              </a:spcBef>
              <a:spcAft>
                <a:spcPts val="200"/>
              </a:spcAft>
            </a:pPr>
            <a:r>
              <a:rPr lang="en-US" sz="900" b="1" dirty="0">
                <a:solidFill>
                  <a:schemeClr val="tx1"/>
                </a:solidFill>
                <a:latin typeface="+mn-lt"/>
              </a:rPr>
              <a:t>To fix this:</a:t>
            </a:r>
          </a:p>
          <a:p>
            <a:pPr marL="179388" indent="-179388">
              <a:spcBef>
                <a:spcPts val="200"/>
              </a:spcBef>
              <a:spcAft>
                <a:spcPts val="200"/>
              </a:spcAft>
              <a:buFont typeface="+mj-lt"/>
              <a:buAutoNum type="arabicPeriod"/>
            </a:pPr>
            <a:r>
              <a:rPr lang="en-US" sz="900" dirty="0">
                <a:solidFill>
                  <a:schemeClr val="tx1"/>
                </a:solidFill>
                <a:latin typeface="+mn-lt"/>
              </a:rPr>
              <a:t>Click on the image and from the top menu under </a:t>
            </a:r>
            <a:r>
              <a:rPr lang="en-US" sz="900" b="1" dirty="0">
                <a:solidFill>
                  <a:schemeClr val="tx1"/>
                </a:solidFill>
                <a:latin typeface="+mn-lt"/>
              </a:rPr>
              <a:t>PICTURE FORMAT </a:t>
            </a:r>
            <a:r>
              <a:rPr lang="en-US" sz="900" dirty="0">
                <a:solidFill>
                  <a:schemeClr val="tx1"/>
                </a:solidFill>
                <a:latin typeface="+mn-lt"/>
              </a:rPr>
              <a:t>select the </a:t>
            </a:r>
            <a:r>
              <a:rPr lang="en-US" sz="900" b="1" dirty="0">
                <a:solidFill>
                  <a:schemeClr val="tx1"/>
                </a:solidFill>
                <a:latin typeface="+mn-lt"/>
              </a:rPr>
              <a:t>CROP</a:t>
            </a:r>
            <a:r>
              <a:rPr lang="en-US" sz="900" dirty="0">
                <a:solidFill>
                  <a:schemeClr val="tx1"/>
                </a:solidFill>
                <a:latin typeface="+mn-lt"/>
              </a:rPr>
              <a:t> on the right and from the drop down menu select </a:t>
            </a:r>
            <a:r>
              <a:rPr lang="en-US" sz="900" b="1" kern="1200" dirty="0">
                <a:solidFill>
                  <a:schemeClr val="tx1"/>
                </a:solidFill>
                <a:latin typeface="+mn-lt"/>
                <a:ea typeface="+mn-ea"/>
                <a:cs typeface="+mn-cs"/>
              </a:rPr>
              <a:t>FILL</a:t>
            </a:r>
          </a:p>
          <a:p>
            <a:pPr marL="179388" indent="-179388">
              <a:spcBef>
                <a:spcPts val="200"/>
              </a:spcBef>
              <a:spcAft>
                <a:spcPts val="200"/>
              </a:spcAft>
              <a:buFont typeface="+mj-lt"/>
              <a:buAutoNum type="arabicPeriod"/>
            </a:pPr>
            <a:r>
              <a:rPr lang="en-US" sz="900" b="0" kern="1200" dirty="0">
                <a:solidFill>
                  <a:schemeClr val="tx1"/>
                </a:solidFill>
                <a:latin typeface="+mn-lt"/>
                <a:ea typeface="+mn-ea"/>
                <a:cs typeface="+mn-cs"/>
              </a:rPr>
              <a:t>From here you can move the image within the shape for best visual appearance</a:t>
            </a:r>
          </a:p>
          <a:p>
            <a:pPr marL="179388" indent="-179388">
              <a:spcBef>
                <a:spcPts val="200"/>
              </a:spcBef>
              <a:spcAft>
                <a:spcPts val="200"/>
              </a:spcAft>
              <a:buFont typeface="+mj-lt"/>
              <a:buAutoNum type="arabicPeriod"/>
            </a:pPr>
            <a:endParaRPr lang="en-US" sz="900" b="0" i="0" kern="1200" dirty="0">
              <a:solidFill>
                <a:schemeClr val="tx1"/>
              </a:solidFill>
              <a:latin typeface="+mn-lt"/>
              <a:ea typeface="+mn-ea"/>
              <a:cs typeface="+mn-cs"/>
            </a:endParaRPr>
          </a:p>
          <a:p>
            <a:pPr marL="0" marR="0" lvl="0" indent="0" algn="l" defTabSz="914400" rtl="0" eaLnBrk="1" fontAlgn="auto" latinLnBrk="0" hangingPunct="1">
              <a:lnSpc>
                <a:spcPct val="100000"/>
              </a:lnSpc>
              <a:spcBef>
                <a:spcPts val="200"/>
              </a:spcBef>
              <a:spcAft>
                <a:spcPts val="200"/>
              </a:spcAft>
              <a:buClrTx/>
              <a:buSzTx/>
              <a:buFont typeface="+mj-lt"/>
              <a:buNone/>
              <a:tabLst/>
              <a:defRPr/>
            </a:pPr>
            <a:r>
              <a:rPr lang="en-GB" sz="1000" b="1" i="0" dirty="0">
                <a:effectLst/>
                <a:latin typeface="Arial" panose="020B0604020202020204" pitchFamily="34" charset="0"/>
                <a:ea typeface="Calibri" panose="020F0502020204030204" pitchFamily="34" charset="0"/>
              </a:rPr>
              <a:t>When inserting staff photos, </a:t>
            </a:r>
            <a:r>
              <a:rPr lang="en-GB" sz="1000" i="0" dirty="0">
                <a:effectLst/>
                <a:latin typeface="Arial" panose="020B0604020202020204" pitchFamily="34" charset="0"/>
                <a:ea typeface="Calibri" panose="020F0502020204030204" pitchFamily="34" charset="0"/>
              </a:rPr>
              <a:t>please use the same method as suggested above. To ensure you are using staff photos that are optimised for use in this Pitch Template, please insert them from the “Staff Photos 40x40 BW” folder, located in the Staff photos section of the HFW Pitch Template folder.</a:t>
            </a:r>
            <a:endParaRPr lang="en-GB" sz="1000" i="0" dirty="0">
              <a:effectLst/>
              <a:latin typeface="Calibri" panose="020F0502020204030204" pitchFamily="34" charset="0"/>
              <a:ea typeface="Calibri" panose="020F0502020204030204" pitchFamily="34" charset="0"/>
            </a:endParaRPr>
          </a:p>
          <a:p>
            <a:pPr marL="179388" indent="-179388">
              <a:spcBef>
                <a:spcPts val="200"/>
              </a:spcBef>
              <a:spcAft>
                <a:spcPts val="200"/>
              </a:spcAft>
              <a:buFont typeface="+mj-lt"/>
              <a:buAutoNum type="arabicPeriod"/>
            </a:pPr>
            <a:endParaRPr lang="en-US" sz="900" b="0" kern="1200" dirty="0">
              <a:solidFill>
                <a:schemeClr val="tx1"/>
              </a:solidFill>
              <a:latin typeface="+mn-lt"/>
              <a:ea typeface="+mn-ea"/>
              <a:cs typeface="+mn-cs"/>
            </a:endParaRPr>
          </a:p>
          <a:p>
            <a:pPr marL="179388" indent="-179388">
              <a:spcBef>
                <a:spcPts val="200"/>
              </a:spcBef>
              <a:spcAft>
                <a:spcPts val="200"/>
              </a:spcAft>
              <a:buFont typeface="+mj-lt"/>
              <a:buAutoNum type="arabicPeriod"/>
            </a:pPr>
            <a:endParaRPr lang="en-US" sz="900" b="0" kern="1200" dirty="0">
              <a:solidFill>
                <a:schemeClr val="tx1"/>
              </a:solidFill>
              <a:latin typeface="+mn-lt"/>
              <a:ea typeface="+mn-ea"/>
              <a:cs typeface="+mn-cs"/>
            </a:endParaRPr>
          </a:p>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SAMPLE CONTACT LAYOUT</a:t>
            </a:r>
          </a:p>
        </p:txBody>
      </p:sp>
      <p:grpSp>
        <p:nvGrpSpPr>
          <p:cNvPr id="4" name="Group 3">
            <a:extLst>
              <a:ext uri="{FF2B5EF4-FFF2-40B4-BE49-F238E27FC236}">
                <a16:creationId xmlns:a16="http://schemas.microsoft.com/office/drawing/2014/main" id="{E09CC6B7-401C-8EC6-91AF-251983043908}"/>
              </a:ext>
            </a:extLst>
          </p:cNvPr>
          <p:cNvGrpSpPr/>
          <p:nvPr userDrawn="1"/>
        </p:nvGrpSpPr>
        <p:grpSpPr>
          <a:xfrm>
            <a:off x="12437199" y="5138030"/>
            <a:ext cx="2813913" cy="819975"/>
            <a:chOff x="12399099" y="4230487"/>
            <a:chExt cx="2813913" cy="819975"/>
          </a:xfrm>
        </p:grpSpPr>
        <p:sp>
          <p:nvSpPr>
            <p:cNvPr id="7" name="TextBox 6">
              <a:extLst>
                <a:ext uri="{FF2B5EF4-FFF2-40B4-BE49-F238E27FC236}">
                  <a16:creationId xmlns:a16="http://schemas.microsoft.com/office/drawing/2014/main" id="{2B635795-3F77-E401-F643-F36EC8620F6B}"/>
                </a:ext>
              </a:extLst>
            </p:cNvPr>
            <p:cNvSpPr txBox="1"/>
            <p:nvPr userDrawn="1"/>
          </p:nvSpPr>
          <p:spPr>
            <a:xfrm flipH="1">
              <a:off x="12573262" y="4663953"/>
              <a:ext cx="2639750"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grpSp>
          <p:nvGrpSpPr>
            <p:cNvPr id="8" name="Group 7">
              <a:extLst>
                <a:ext uri="{FF2B5EF4-FFF2-40B4-BE49-F238E27FC236}">
                  <a16:creationId xmlns:a16="http://schemas.microsoft.com/office/drawing/2014/main" id="{D05AEE41-C934-9076-0A3D-43A5BDA6C818}"/>
                </a:ext>
              </a:extLst>
            </p:cNvPr>
            <p:cNvGrpSpPr/>
            <p:nvPr userDrawn="1"/>
          </p:nvGrpSpPr>
          <p:grpSpPr>
            <a:xfrm>
              <a:off x="12399099" y="4230487"/>
              <a:ext cx="2326813" cy="819975"/>
              <a:chOff x="12399099" y="4230487"/>
              <a:chExt cx="2326813" cy="819975"/>
            </a:xfrm>
          </p:grpSpPr>
          <p:sp>
            <p:nvSpPr>
              <p:cNvPr id="10" name="TextBox 9">
                <a:extLst>
                  <a:ext uri="{FF2B5EF4-FFF2-40B4-BE49-F238E27FC236}">
                    <a16:creationId xmlns:a16="http://schemas.microsoft.com/office/drawing/2014/main" id="{83FDE780-4383-E93C-C14A-00FA251D2011}"/>
                  </a:ext>
                </a:extLst>
              </p:cNvPr>
              <p:cNvSpPr txBox="1"/>
              <p:nvPr userDrawn="1"/>
            </p:nvSpPr>
            <p:spPr>
              <a:xfrm flipH="1">
                <a:off x="12399100" y="4663953"/>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11" name="TextBox 10">
                <a:extLst>
                  <a:ext uri="{FF2B5EF4-FFF2-40B4-BE49-F238E27FC236}">
                    <a16:creationId xmlns:a16="http://schemas.microsoft.com/office/drawing/2014/main" id="{86D97389-5E3B-31D3-096E-0AC930554448}"/>
                  </a:ext>
                </a:extLst>
              </p:cNvPr>
              <p:cNvSpPr txBox="1"/>
              <p:nvPr userDrawn="1"/>
            </p:nvSpPr>
            <p:spPr>
              <a:xfrm flipH="1">
                <a:off x="12399100" y="4881185"/>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E</a:t>
                </a:r>
              </a:p>
            </p:txBody>
          </p:sp>
          <p:sp>
            <p:nvSpPr>
              <p:cNvPr id="12" name="TextBox 11">
                <a:extLst>
                  <a:ext uri="{FF2B5EF4-FFF2-40B4-BE49-F238E27FC236}">
                    <a16:creationId xmlns:a16="http://schemas.microsoft.com/office/drawing/2014/main" id="{A239CF88-C3CE-A2CD-49B2-54CC1A708067}"/>
                  </a:ext>
                </a:extLst>
              </p:cNvPr>
              <p:cNvSpPr txBox="1"/>
              <p:nvPr userDrawn="1"/>
            </p:nvSpPr>
            <p:spPr>
              <a:xfrm flipH="1">
                <a:off x="12573262" y="4881185"/>
                <a:ext cx="2152650"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name.surname@hfw.com</a:t>
                </a:r>
                <a:endParaRPr lang="en-US" dirty="0"/>
              </a:p>
            </p:txBody>
          </p:sp>
          <p:sp>
            <p:nvSpPr>
              <p:cNvPr id="13" name="TextBox 12">
                <a:extLst>
                  <a:ext uri="{FF2B5EF4-FFF2-40B4-BE49-F238E27FC236}">
                    <a16:creationId xmlns:a16="http://schemas.microsoft.com/office/drawing/2014/main" id="{F1BC9175-809E-890C-9998-91161A51717B}"/>
                  </a:ext>
                </a:extLst>
              </p:cNvPr>
              <p:cNvSpPr txBox="1"/>
              <p:nvPr userDrawn="1"/>
            </p:nvSpPr>
            <p:spPr>
              <a:xfrm flipH="1">
                <a:off x="12399099" y="4230487"/>
                <a:ext cx="1968833"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solidFill>
                      <a:schemeClr val="tx2"/>
                    </a:solidFill>
                    <a:latin typeface="+mj-lt"/>
                  </a:rPr>
                  <a:t>NAME SURNAME</a:t>
                </a:r>
              </a:p>
            </p:txBody>
          </p:sp>
          <p:sp>
            <p:nvSpPr>
              <p:cNvPr id="14" name="TextBox 13">
                <a:extLst>
                  <a:ext uri="{FF2B5EF4-FFF2-40B4-BE49-F238E27FC236}">
                    <a16:creationId xmlns:a16="http://schemas.microsoft.com/office/drawing/2014/main" id="{C6DDC749-B6C6-E051-A7C2-E9424DE18380}"/>
                  </a:ext>
                </a:extLst>
              </p:cNvPr>
              <p:cNvSpPr txBox="1"/>
              <p:nvPr userDrawn="1"/>
            </p:nvSpPr>
            <p:spPr>
              <a:xfrm flipH="1">
                <a:off x="12399099" y="4445785"/>
                <a:ext cx="1968833"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US" dirty="0"/>
                  <a:t>Position, Location</a:t>
                </a:r>
              </a:p>
            </p:txBody>
          </p:sp>
        </p:grpSp>
      </p:grpSp>
    </p:spTree>
    <p:extLst>
      <p:ext uri="{BB962C8B-B14F-4D97-AF65-F5344CB8AC3E}">
        <p14:creationId xmlns:p14="http://schemas.microsoft.com/office/powerpoint/2010/main" val="1737738298"/>
      </p:ext>
    </p:extLst>
  </p:cSld>
  <p:clrMapOvr>
    <a:masterClrMapping/>
  </p:clrMapOvr>
  <p:transition spd="med">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Key Contacts 4 &amp; Quote">
    <p:bg>
      <p:bgPr>
        <a:solidFill>
          <a:schemeClr val="bg2"/>
        </a:solidFill>
        <a:effectLst/>
      </p:bgPr>
    </p:bg>
    <p:spTree>
      <p:nvGrpSpPr>
        <p:cNvPr id="1" name=""/>
        <p:cNvGrpSpPr/>
        <p:nvPr/>
      </p:nvGrpSpPr>
      <p:grpSpPr>
        <a:xfrm>
          <a:off x="0" y="0"/>
          <a:ext cx="0" cy="0"/>
          <a:chOff x="0" y="0"/>
          <a:chExt cx="0" cy="0"/>
        </a:xfrm>
      </p:grpSpPr>
      <p:sp>
        <p:nvSpPr>
          <p:cNvPr id="9" name="Picture Placeholder 10">
            <a:extLst>
              <a:ext uri="{FF2B5EF4-FFF2-40B4-BE49-F238E27FC236}">
                <a16:creationId xmlns:a16="http://schemas.microsoft.com/office/drawing/2014/main" id="{957F7B8C-8896-F507-1133-31FF9F06D6DB}"/>
              </a:ext>
            </a:extLst>
          </p:cNvPr>
          <p:cNvSpPr>
            <a:spLocks noGrp="1"/>
          </p:cNvSpPr>
          <p:nvPr>
            <p:ph type="pic" sz="quarter" idx="13" hasCustomPrompt="1"/>
          </p:nvPr>
        </p:nvSpPr>
        <p:spPr>
          <a:xfrm>
            <a:off x="8126412" y="0"/>
            <a:ext cx="4065587" cy="6858000"/>
          </a:xfrm>
          <a:solidFill>
            <a:schemeClr val="tx1"/>
          </a:solidFill>
        </p:spPr>
        <p:txBody>
          <a:bodyPr vert="horz" lIns="0" tIns="45720" rIns="0" bIns="45720" rtlCol="0" anchor="ctr">
            <a:normAutofit/>
          </a:bodyPr>
          <a:lstStyle>
            <a:lvl1pPr algn="ctr">
              <a:defRPr lang="en-GB" sz="2800" b="0" dirty="0">
                <a:solidFill>
                  <a:schemeClr val="bg1"/>
                </a:solidFill>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US" dirty="0"/>
              <a:t>ADD RELATED </a:t>
            </a:r>
            <a:br>
              <a:rPr lang="en-US" dirty="0"/>
            </a:br>
            <a:r>
              <a:rPr lang="en-US" dirty="0"/>
              <a:t>IMAGE </a:t>
            </a:r>
            <a:br>
              <a:rPr lang="en-US" dirty="0"/>
            </a:br>
            <a:r>
              <a:rPr lang="en-US" dirty="0"/>
              <a:t>FROM HFW </a:t>
            </a:r>
            <a:br>
              <a:rPr lang="en-US" dirty="0"/>
            </a:br>
            <a:r>
              <a:rPr lang="en-US" dirty="0"/>
              <a:t>IMAGE LIBRARY</a:t>
            </a:r>
          </a:p>
        </p:txBody>
      </p:sp>
      <p:sp>
        <p:nvSpPr>
          <p:cNvPr id="2" name="Title 1"/>
          <p:cNvSpPr>
            <a:spLocks noGrp="1"/>
          </p:cNvSpPr>
          <p:nvPr>
            <p:ph type="title" hasCustomPrompt="1"/>
          </p:nvPr>
        </p:nvSpPr>
        <p:spPr>
          <a:xfrm>
            <a:off x="508000" y="454013"/>
            <a:ext cx="7459663" cy="663587"/>
          </a:xfrm>
        </p:spPr>
        <p:txBody>
          <a:bodyPr/>
          <a:lstStyle/>
          <a:p>
            <a:r>
              <a:rPr lang="en-US" dirty="0"/>
              <a:t>Key </a:t>
            </a:r>
            <a:r>
              <a:rPr lang="en-US" dirty="0" err="1"/>
              <a:t>contactS</a:t>
            </a:r>
            <a:endParaRPr lang="en-US" dirty="0"/>
          </a:p>
        </p:txBody>
      </p:sp>
      <p:sp>
        <p:nvSpPr>
          <p:cNvPr id="5" name="Footer Placeholder 4"/>
          <p:cNvSpPr>
            <a:spLocks noGrp="1"/>
          </p:cNvSpPr>
          <p:nvPr>
            <p:ph type="ftr" sz="quarter" idx="11"/>
          </p:nvPr>
        </p:nvSpPr>
        <p:spPr/>
        <p:txBody>
          <a:bodyPr/>
          <a:lstStyle/>
          <a:p>
            <a:r>
              <a:rPr lang="en-GB"/>
              <a:t>INSERT FOOTER HER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8CFE0557-AA98-4E6C-B0C3-581794696B68}" type="slidenum">
              <a:rPr lang="en-GB" smtClean="0"/>
              <a:pPr/>
              <a:t>‹#›</a:t>
            </a:fld>
            <a:endParaRPr lang="en-GB"/>
          </a:p>
        </p:txBody>
      </p:sp>
      <p:sp>
        <p:nvSpPr>
          <p:cNvPr id="13" name="Text Placeholder 12">
            <a:extLst>
              <a:ext uri="{FF2B5EF4-FFF2-40B4-BE49-F238E27FC236}">
                <a16:creationId xmlns:a16="http://schemas.microsoft.com/office/drawing/2014/main" id="{05E3BF04-5E70-3052-D53D-422912D5FF1E}"/>
              </a:ext>
            </a:extLst>
          </p:cNvPr>
          <p:cNvSpPr>
            <a:spLocks noGrp="1"/>
          </p:cNvSpPr>
          <p:nvPr>
            <p:ph type="body" sz="quarter" idx="34" hasCustomPrompt="1"/>
          </p:nvPr>
        </p:nvSpPr>
        <p:spPr>
          <a:xfrm>
            <a:off x="508000" y="5334846"/>
            <a:ext cx="7127876" cy="681779"/>
          </a:xfrm>
        </p:spPr>
        <p:txBody>
          <a:bodyPr vert="horz" lIns="0" tIns="45720" rIns="0" bIns="0" rtlCol="0" anchor="b" anchorCtr="0">
            <a:noAutofit/>
          </a:bodyPr>
          <a:lstStyle>
            <a:lvl1pPr marL="108000" indent="-108000">
              <a:lnSpc>
                <a:spcPct val="110000"/>
              </a:lnSpc>
              <a:spcBef>
                <a:spcPts val="0"/>
              </a:spcBef>
              <a:spcAft>
                <a:spcPts val="0"/>
              </a:spcAft>
              <a:defRPr lang="en-US" sz="2000" dirty="0">
                <a:solidFill>
                  <a:schemeClr val="accent2"/>
                </a:solidFill>
              </a:defRPr>
            </a:lvl1pPr>
            <a:lvl2pPr>
              <a:defRPr lang="en-US" sz="1400" dirty="0">
                <a:solidFill>
                  <a:schemeClr val="tx2"/>
                </a:solidFill>
                <a:latin typeface="+mj-lt"/>
              </a:defRPr>
            </a:lvl2pPr>
          </a:lstStyle>
          <a:p>
            <a:pPr marL="108000" lvl="0" indent="-108000">
              <a:lnSpc>
                <a:spcPct val="100000"/>
              </a:lnSpc>
              <a:spcBef>
                <a:spcPts val="200"/>
              </a:spcBef>
              <a:spcAft>
                <a:spcPts val="200"/>
              </a:spcAft>
            </a:pPr>
            <a:r>
              <a:rPr lang="en-US" dirty="0"/>
              <a:t>“Quote goes here.”</a:t>
            </a:r>
          </a:p>
        </p:txBody>
      </p:sp>
      <p:sp>
        <p:nvSpPr>
          <p:cNvPr id="14" name="Text Placeholder 7">
            <a:extLst>
              <a:ext uri="{FF2B5EF4-FFF2-40B4-BE49-F238E27FC236}">
                <a16:creationId xmlns:a16="http://schemas.microsoft.com/office/drawing/2014/main" id="{93F1B609-C175-92E7-B8D4-A0BE08083270}"/>
              </a:ext>
            </a:extLst>
          </p:cNvPr>
          <p:cNvSpPr>
            <a:spLocks noGrp="1"/>
          </p:cNvSpPr>
          <p:nvPr>
            <p:ph type="body" sz="quarter" idx="24" hasCustomPrompt="1"/>
          </p:nvPr>
        </p:nvSpPr>
        <p:spPr>
          <a:xfrm>
            <a:off x="508000" y="6047121"/>
            <a:ext cx="7127876" cy="215444"/>
          </a:xfrm>
        </p:spPr>
        <p:txBody>
          <a:bodyPr wrap="square" tIns="0" bIns="0" anchor="b" anchorCtr="0">
            <a:spAutoFit/>
          </a:bodyPr>
          <a:lstStyle>
            <a:lvl1pPr marL="108000">
              <a:lnSpc>
                <a:spcPct val="100000"/>
              </a:lnSpc>
              <a:defRPr sz="1400" cap="all" baseline="0">
                <a:solidFill>
                  <a:schemeClr val="tx2"/>
                </a:solidFill>
                <a:latin typeface="+mj-lt"/>
              </a:defRPr>
            </a:lvl1pPr>
            <a:lvl2pPr marL="108000">
              <a:lnSpc>
                <a:spcPct val="100000"/>
              </a:lnSpc>
              <a:defRPr sz="1400" cap="all" baseline="0">
                <a:solidFill>
                  <a:schemeClr val="tx2"/>
                </a:solidFill>
                <a:latin typeface="+mj-lt"/>
              </a:defRPr>
            </a:lvl2pPr>
            <a:lvl3pPr marL="108000">
              <a:lnSpc>
                <a:spcPct val="100000"/>
              </a:lnSpc>
              <a:defRPr sz="1400" cap="all" baseline="0">
                <a:solidFill>
                  <a:schemeClr val="tx2"/>
                </a:solidFill>
                <a:latin typeface="+mj-lt"/>
              </a:defRPr>
            </a:lvl3pPr>
            <a:lvl4pPr marL="108000">
              <a:lnSpc>
                <a:spcPct val="100000"/>
              </a:lnSpc>
              <a:defRPr sz="1400" cap="all" baseline="0">
                <a:solidFill>
                  <a:schemeClr val="tx2"/>
                </a:solidFill>
                <a:latin typeface="+mj-lt"/>
              </a:defRPr>
            </a:lvl4pPr>
            <a:lvl5pPr marL="108000">
              <a:lnSpc>
                <a:spcPct val="100000"/>
              </a:lnSpc>
              <a:defRPr sz="1400" cap="all" baseline="0">
                <a:solidFill>
                  <a:schemeClr val="tx2"/>
                </a:solidFill>
                <a:latin typeface="+mj-lt"/>
              </a:defRPr>
            </a:lvl5pPr>
          </a:lstStyle>
          <a:p>
            <a:pPr lvl="0"/>
            <a:r>
              <a:rPr lang="en-US" dirty="0"/>
              <a:t>quote author</a:t>
            </a:r>
            <a:endParaRPr lang="en-GB" dirty="0"/>
          </a:p>
        </p:txBody>
      </p:sp>
      <p:sp>
        <p:nvSpPr>
          <p:cNvPr id="29" name="Picture Placeholder 14">
            <a:extLst>
              <a:ext uri="{FF2B5EF4-FFF2-40B4-BE49-F238E27FC236}">
                <a16:creationId xmlns:a16="http://schemas.microsoft.com/office/drawing/2014/main" id="{17FF6D15-D720-69BF-3D16-D9C63EE56B4A}"/>
              </a:ext>
            </a:extLst>
          </p:cNvPr>
          <p:cNvSpPr>
            <a:spLocks noGrp="1"/>
          </p:cNvSpPr>
          <p:nvPr>
            <p:ph type="pic" sz="quarter" idx="35" hasCustomPrompt="1"/>
          </p:nvPr>
        </p:nvSpPr>
        <p:spPr>
          <a:xfrm>
            <a:off x="4235451" y="1298891"/>
            <a:ext cx="876299" cy="876299"/>
          </a:xfrm>
          <a:solidFill>
            <a:schemeClr val="bg1"/>
          </a:solidFill>
        </p:spPr>
        <p:txBody>
          <a:bodyPr anchor="ctr">
            <a:normAutofit/>
          </a:bodyPr>
          <a:lstStyle>
            <a:lvl1pPr algn="ctr">
              <a:defRPr sz="1000">
                <a:latin typeface="+mn-lt"/>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GB" dirty="0"/>
              <a:t>Picture</a:t>
            </a:r>
          </a:p>
        </p:txBody>
      </p:sp>
      <p:sp>
        <p:nvSpPr>
          <p:cNvPr id="30" name="Text Placeholder 16">
            <a:extLst>
              <a:ext uri="{FF2B5EF4-FFF2-40B4-BE49-F238E27FC236}">
                <a16:creationId xmlns:a16="http://schemas.microsoft.com/office/drawing/2014/main" id="{D9047389-F8CE-FBCE-9303-04A73E6E4184}"/>
              </a:ext>
            </a:extLst>
          </p:cNvPr>
          <p:cNvSpPr>
            <a:spLocks noGrp="1"/>
          </p:cNvSpPr>
          <p:nvPr>
            <p:ph type="body" sz="quarter" idx="36" hasCustomPrompt="1"/>
          </p:nvPr>
        </p:nvSpPr>
        <p:spPr>
          <a:xfrm>
            <a:off x="5211365" y="1538859"/>
            <a:ext cx="2543172"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US" dirty="0"/>
              <a:t>Position, Location</a:t>
            </a:r>
          </a:p>
        </p:txBody>
      </p:sp>
      <p:sp>
        <p:nvSpPr>
          <p:cNvPr id="31" name="Text Placeholder 16">
            <a:extLst>
              <a:ext uri="{FF2B5EF4-FFF2-40B4-BE49-F238E27FC236}">
                <a16:creationId xmlns:a16="http://schemas.microsoft.com/office/drawing/2014/main" id="{092FE7C7-3F5B-8E9E-0F9C-9D402960BFD2}"/>
              </a:ext>
            </a:extLst>
          </p:cNvPr>
          <p:cNvSpPr>
            <a:spLocks noGrp="1"/>
          </p:cNvSpPr>
          <p:nvPr>
            <p:ph type="body" sz="quarter" idx="37" hasCustomPrompt="1"/>
          </p:nvPr>
        </p:nvSpPr>
        <p:spPr>
          <a:xfrm>
            <a:off x="5211365" y="1321689"/>
            <a:ext cx="2543172" cy="169277"/>
          </a:xfrm>
        </p:spPr>
        <p:txBody>
          <a:bodyPr tIns="0" bIns="0">
            <a:noAutofit/>
          </a:bodyPr>
          <a:lstStyle>
            <a:lvl1pPr algn="l">
              <a:lnSpc>
                <a:spcPct val="100000"/>
              </a:lnSpc>
              <a:spcBef>
                <a:spcPts val="0"/>
              </a:spcBef>
              <a:spcAft>
                <a:spcPts val="0"/>
              </a:spcAft>
              <a:defRPr sz="1100" cap="all" baseline="0">
                <a:solidFill>
                  <a:schemeClr val="tx2"/>
                </a:solidFill>
                <a:latin typeface="+mj-lt"/>
              </a:defRPr>
            </a:lvl1pPr>
            <a:lvl2pPr algn="l">
              <a:lnSpc>
                <a:spcPct val="100000"/>
              </a:lnSpc>
              <a:spcBef>
                <a:spcPts val="200"/>
              </a:spcBef>
              <a:spcAft>
                <a:spcPts val="200"/>
              </a:spcAft>
              <a:defRPr sz="1100">
                <a:solidFill>
                  <a:schemeClr val="tx1"/>
                </a:solidFill>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0"/>
            <a:r>
              <a:rPr lang="en-US" dirty="0"/>
              <a:t>NAME SURNAME</a:t>
            </a:r>
          </a:p>
        </p:txBody>
      </p:sp>
      <p:sp>
        <p:nvSpPr>
          <p:cNvPr id="32" name="Text Placeholder 16">
            <a:extLst>
              <a:ext uri="{FF2B5EF4-FFF2-40B4-BE49-F238E27FC236}">
                <a16:creationId xmlns:a16="http://schemas.microsoft.com/office/drawing/2014/main" id="{D98FAD1A-C0DE-29DF-A49D-BB7FD917D32A}"/>
              </a:ext>
            </a:extLst>
          </p:cNvPr>
          <p:cNvSpPr>
            <a:spLocks noGrp="1"/>
          </p:cNvSpPr>
          <p:nvPr>
            <p:ph type="body" sz="quarter" idx="38" hasCustomPrompt="1"/>
          </p:nvPr>
        </p:nvSpPr>
        <p:spPr>
          <a:xfrm>
            <a:off x="5387048" y="1756091"/>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33" name="Text Placeholder 16">
            <a:extLst>
              <a:ext uri="{FF2B5EF4-FFF2-40B4-BE49-F238E27FC236}">
                <a16:creationId xmlns:a16="http://schemas.microsoft.com/office/drawing/2014/main" id="{C5C58895-4997-9E05-0E67-5BD353C35110}"/>
              </a:ext>
            </a:extLst>
          </p:cNvPr>
          <p:cNvSpPr>
            <a:spLocks noGrp="1"/>
          </p:cNvSpPr>
          <p:nvPr>
            <p:ph type="body" sz="quarter" idx="39" hasCustomPrompt="1"/>
          </p:nvPr>
        </p:nvSpPr>
        <p:spPr>
          <a:xfrm>
            <a:off x="5387048" y="1973323"/>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name.surname@hfw.com</a:t>
            </a:r>
            <a:endParaRPr lang="en-US" dirty="0"/>
          </a:p>
        </p:txBody>
      </p:sp>
      <p:sp>
        <p:nvSpPr>
          <p:cNvPr id="34" name="TextBox 33">
            <a:extLst>
              <a:ext uri="{FF2B5EF4-FFF2-40B4-BE49-F238E27FC236}">
                <a16:creationId xmlns:a16="http://schemas.microsoft.com/office/drawing/2014/main" id="{56DC8280-9034-AD67-FF3C-11AB9D13C3E4}"/>
              </a:ext>
            </a:extLst>
          </p:cNvPr>
          <p:cNvSpPr txBox="1"/>
          <p:nvPr userDrawn="1"/>
        </p:nvSpPr>
        <p:spPr>
          <a:xfrm flipH="1">
            <a:off x="5212884" y="1756091"/>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35" name="TextBox 34">
            <a:extLst>
              <a:ext uri="{FF2B5EF4-FFF2-40B4-BE49-F238E27FC236}">
                <a16:creationId xmlns:a16="http://schemas.microsoft.com/office/drawing/2014/main" id="{1C66D9FA-3CA1-1F63-E214-0B1E2868A266}"/>
              </a:ext>
            </a:extLst>
          </p:cNvPr>
          <p:cNvSpPr txBox="1"/>
          <p:nvPr userDrawn="1"/>
        </p:nvSpPr>
        <p:spPr>
          <a:xfrm flipH="1">
            <a:off x="5212884" y="1973323"/>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E</a:t>
            </a:r>
          </a:p>
        </p:txBody>
      </p:sp>
      <p:sp>
        <p:nvSpPr>
          <p:cNvPr id="36" name="Picture Placeholder 14">
            <a:extLst>
              <a:ext uri="{FF2B5EF4-FFF2-40B4-BE49-F238E27FC236}">
                <a16:creationId xmlns:a16="http://schemas.microsoft.com/office/drawing/2014/main" id="{B9C99512-C8C8-3C27-8AF9-9B6B5A196261}"/>
              </a:ext>
            </a:extLst>
          </p:cNvPr>
          <p:cNvSpPr>
            <a:spLocks noGrp="1"/>
          </p:cNvSpPr>
          <p:nvPr>
            <p:ph type="pic" sz="quarter" idx="40" hasCustomPrompt="1"/>
          </p:nvPr>
        </p:nvSpPr>
        <p:spPr>
          <a:xfrm>
            <a:off x="516891" y="1298891"/>
            <a:ext cx="876299" cy="876299"/>
          </a:xfrm>
          <a:solidFill>
            <a:schemeClr val="bg1"/>
          </a:solidFill>
        </p:spPr>
        <p:txBody>
          <a:bodyPr anchor="ctr">
            <a:normAutofit/>
          </a:bodyPr>
          <a:lstStyle>
            <a:lvl1pPr algn="ctr">
              <a:defRPr sz="1000">
                <a:latin typeface="+mn-lt"/>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GB" dirty="0"/>
              <a:t>Picture</a:t>
            </a:r>
          </a:p>
        </p:txBody>
      </p:sp>
      <p:sp>
        <p:nvSpPr>
          <p:cNvPr id="37" name="Text Placeholder 16">
            <a:extLst>
              <a:ext uri="{FF2B5EF4-FFF2-40B4-BE49-F238E27FC236}">
                <a16:creationId xmlns:a16="http://schemas.microsoft.com/office/drawing/2014/main" id="{58C69FC3-B245-6116-1442-09652FC4B6CF}"/>
              </a:ext>
            </a:extLst>
          </p:cNvPr>
          <p:cNvSpPr>
            <a:spLocks noGrp="1"/>
          </p:cNvSpPr>
          <p:nvPr>
            <p:ph type="body" sz="quarter" idx="41" hasCustomPrompt="1"/>
          </p:nvPr>
        </p:nvSpPr>
        <p:spPr>
          <a:xfrm>
            <a:off x="1492805" y="1538859"/>
            <a:ext cx="2543172"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US" dirty="0"/>
              <a:t>Position, Location</a:t>
            </a:r>
          </a:p>
        </p:txBody>
      </p:sp>
      <p:sp>
        <p:nvSpPr>
          <p:cNvPr id="38" name="Text Placeholder 16">
            <a:extLst>
              <a:ext uri="{FF2B5EF4-FFF2-40B4-BE49-F238E27FC236}">
                <a16:creationId xmlns:a16="http://schemas.microsoft.com/office/drawing/2014/main" id="{074DE568-A9C8-5C05-E045-0684ADDAAAAA}"/>
              </a:ext>
            </a:extLst>
          </p:cNvPr>
          <p:cNvSpPr>
            <a:spLocks noGrp="1"/>
          </p:cNvSpPr>
          <p:nvPr>
            <p:ph type="body" sz="quarter" idx="42" hasCustomPrompt="1"/>
          </p:nvPr>
        </p:nvSpPr>
        <p:spPr>
          <a:xfrm>
            <a:off x="1492805" y="1321689"/>
            <a:ext cx="2543172" cy="169277"/>
          </a:xfrm>
        </p:spPr>
        <p:txBody>
          <a:bodyPr tIns="0" bIns="0">
            <a:noAutofit/>
          </a:bodyPr>
          <a:lstStyle>
            <a:lvl1pPr algn="l">
              <a:lnSpc>
                <a:spcPct val="100000"/>
              </a:lnSpc>
              <a:spcBef>
                <a:spcPts val="0"/>
              </a:spcBef>
              <a:spcAft>
                <a:spcPts val="0"/>
              </a:spcAft>
              <a:defRPr sz="1100" cap="all" baseline="0">
                <a:solidFill>
                  <a:schemeClr val="tx2"/>
                </a:solidFill>
                <a:latin typeface="+mj-lt"/>
              </a:defRPr>
            </a:lvl1pPr>
            <a:lvl2pPr algn="l">
              <a:lnSpc>
                <a:spcPct val="100000"/>
              </a:lnSpc>
              <a:spcBef>
                <a:spcPts val="200"/>
              </a:spcBef>
              <a:spcAft>
                <a:spcPts val="200"/>
              </a:spcAft>
              <a:defRPr sz="1100">
                <a:solidFill>
                  <a:schemeClr val="tx1"/>
                </a:solidFill>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0"/>
            <a:r>
              <a:rPr lang="en-US" dirty="0"/>
              <a:t>NAME SURNAME</a:t>
            </a:r>
          </a:p>
        </p:txBody>
      </p:sp>
      <p:sp>
        <p:nvSpPr>
          <p:cNvPr id="39" name="Text Placeholder 16">
            <a:extLst>
              <a:ext uri="{FF2B5EF4-FFF2-40B4-BE49-F238E27FC236}">
                <a16:creationId xmlns:a16="http://schemas.microsoft.com/office/drawing/2014/main" id="{2A7733AC-AEED-1B5F-40AC-EA31578B4841}"/>
              </a:ext>
            </a:extLst>
          </p:cNvPr>
          <p:cNvSpPr>
            <a:spLocks noGrp="1"/>
          </p:cNvSpPr>
          <p:nvPr>
            <p:ph type="body" sz="quarter" idx="43" hasCustomPrompt="1"/>
          </p:nvPr>
        </p:nvSpPr>
        <p:spPr>
          <a:xfrm>
            <a:off x="1668488" y="1756091"/>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40" name="Text Placeholder 16">
            <a:extLst>
              <a:ext uri="{FF2B5EF4-FFF2-40B4-BE49-F238E27FC236}">
                <a16:creationId xmlns:a16="http://schemas.microsoft.com/office/drawing/2014/main" id="{E2D9B488-ECED-AE81-B86A-D2A0F5F2635D}"/>
              </a:ext>
            </a:extLst>
          </p:cNvPr>
          <p:cNvSpPr>
            <a:spLocks noGrp="1"/>
          </p:cNvSpPr>
          <p:nvPr>
            <p:ph type="body" sz="quarter" idx="44" hasCustomPrompt="1"/>
          </p:nvPr>
        </p:nvSpPr>
        <p:spPr>
          <a:xfrm>
            <a:off x="1668488" y="1973323"/>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name.surname@hfw.com</a:t>
            </a:r>
            <a:endParaRPr lang="en-US" dirty="0"/>
          </a:p>
        </p:txBody>
      </p:sp>
      <p:sp>
        <p:nvSpPr>
          <p:cNvPr id="41" name="TextBox 40">
            <a:extLst>
              <a:ext uri="{FF2B5EF4-FFF2-40B4-BE49-F238E27FC236}">
                <a16:creationId xmlns:a16="http://schemas.microsoft.com/office/drawing/2014/main" id="{75BAB06F-B0A0-A307-4B01-1141A1E0E37F}"/>
              </a:ext>
            </a:extLst>
          </p:cNvPr>
          <p:cNvSpPr txBox="1"/>
          <p:nvPr userDrawn="1"/>
        </p:nvSpPr>
        <p:spPr>
          <a:xfrm flipH="1">
            <a:off x="1494324" y="1756091"/>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42" name="TextBox 41">
            <a:extLst>
              <a:ext uri="{FF2B5EF4-FFF2-40B4-BE49-F238E27FC236}">
                <a16:creationId xmlns:a16="http://schemas.microsoft.com/office/drawing/2014/main" id="{244061C0-9CF4-2E5A-0DAD-EF93A164DD4C}"/>
              </a:ext>
            </a:extLst>
          </p:cNvPr>
          <p:cNvSpPr txBox="1"/>
          <p:nvPr userDrawn="1"/>
        </p:nvSpPr>
        <p:spPr>
          <a:xfrm flipH="1">
            <a:off x="1494324" y="1973323"/>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E</a:t>
            </a:r>
          </a:p>
        </p:txBody>
      </p:sp>
      <p:sp>
        <p:nvSpPr>
          <p:cNvPr id="43" name="Picture Placeholder 14">
            <a:extLst>
              <a:ext uri="{FF2B5EF4-FFF2-40B4-BE49-F238E27FC236}">
                <a16:creationId xmlns:a16="http://schemas.microsoft.com/office/drawing/2014/main" id="{2E0BC25B-F6B8-47DC-A1BF-EFCA0A934B2E}"/>
              </a:ext>
            </a:extLst>
          </p:cNvPr>
          <p:cNvSpPr>
            <a:spLocks noGrp="1"/>
          </p:cNvSpPr>
          <p:nvPr>
            <p:ph type="pic" sz="quarter" idx="45" hasCustomPrompt="1"/>
          </p:nvPr>
        </p:nvSpPr>
        <p:spPr>
          <a:xfrm>
            <a:off x="4235451" y="2319337"/>
            <a:ext cx="876299" cy="876299"/>
          </a:xfrm>
          <a:solidFill>
            <a:schemeClr val="bg1"/>
          </a:solidFill>
        </p:spPr>
        <p:txBody>
          <a:bodyPr anchor="ctr">
            <a:normAutofit/>
          </a:bodyPr>
          <a:lstStyle>
            <a:lvl1pPr algn="ctr">
              <a:defRPr sz="1000">
                <a:latin typeface="+mn-lt"/>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GB" dirty="0"/>
              <a:t>Picture</a:t>
            </a:r>
          </a:p>
        </p:txBody>
      </p:sp>
      <p:sp>
        <p:nvSpPr>
          <p:cNvPr id="44" name="Text Placeholder 16">
            <a:extLst>
              <a:ext uri="{FF2B5EF4-FFF2-40B4-BE49-F238E27FC236}">
                <a16:creationId xmlns:a16="http://schemas.microsoft.com/office/drawing/2014/main" id="{7D68F9B7-2123-D2C1-B6C7-0370EA19DF07}"/>
              </a:ext>
            </a:extLst>
          </p:cNvPr>
          <p:cNvSpPr>
            <a:spLocks noGrp="1"/>
          </p:cNvSpPr>
          <p:nvPr>
            <p:ph type="body" sz="quarter" idx="46" hasCustomPrompt="1"/>
          </p:nvPr>
        </p:nvSpPr>
        <p:spPr>
          <a:xfrm>
            <a:off x="5211365" y="2559305"/>
            <a:ext cx="2543172"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US" dirty="0"/>
              <a:t>Position, Location</a:t>
            </a:r>
          </a:p>
        </p:txBody>
      </p:sp>
      <p:sp>
        <p:nvSpPr>
          <p:cNvPr id="45" name="Text Placeholder 16">
            <a:extLst>
              <a:ext uri="{FF2B5EF4-FFF2-40B4-BE49-F238E27FC236}">
                <a16:creationId xmlns:a16="http://schemas.microsoft.com/office/drawing/2014/main" id="{7D673390-A712-D77E-4110-85D768FD496A}"/>
              </a:ext>
            </a:extLst>
          </p:cNvPr>
          <p:cNvSpPr>
            <a:spLocks noGrp="1"/>
          </p:cNvSpPr>
          <p:nvPr>
            <p:ph type="body" sz="quarter" idx="47" hasCustomPrompt="1"/>
          </p:nvPr>
        </p:nvSpPr>
        <p:spPr>
          <a:xfrm>
            <a:off x="5211365" y="2342135"/>
            <a:ext cx="2543172" cy="169277"/>
          </a:xfrm>
        </p:spPr>
        <p:txBody>
          <a:bodyPr tIns="0" bIns="0">
            <a:noAutofit/>
          </a:bodyPr>
          <a:lstStyle>
            <a:lvl1pPr algn="l">
              <a:lnSpc>
                <a:spcPct val="100000"/>
              </a:lnSpc>
              <a:spcBef>
                <a:spcPts val="0"/>
              </a:spcBef>
              <a:spcAft>
                <a:spcPts val="0"/>
              </a:spcAft>
              <a:defRPr sz="1100" cap="all" baseline="0">
                <a:solidFill>
                  <a:schemeClr val="tx2"/>
                </a:solidFill>
                <a:latin typeface="+mj-lt"/>
              </a:defRPr>
            </a:lvl1pPr>
            <a:lvl2pPr algn="l">
              <a:lnSpc>
                <a:spcPct val="100000"/>
              </a:lnSpc>
              <a:spcBef>
                <a:spcPts val="200"/>
              </a:spcBef>
              <a:spcAft>
                <a:spcPts val="200"/>
              </a:spcAft>
              <a:defRPr sz="1100">
                <a:solidFill>
                  <a:schemeClr val="tx1"/>
                </a:solidFill>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0"/>
            <a:r>
              <a:rPr lang="en-US" dirty="0"/>
              <a:t>NAME SURNAME</a:t>
            </a:r>
          </a:p>
        </p:txBody>
      </p:sp>
      <p:sp>
        <p:nvSpPr>
          <p:cNvPr id="46" name="Text Placeholder 16">
            <a:extLst>
              <a:ext uri="{FF2B5EF4-FFF2-40B4-BE49-F238E27FC236}">
                <a16:creationId xmlns:a16="http://schemas.microsoft.com/office/drawing/2014/main" id="{16345E27-D0D7-2806-8F5D-D2C30EC3654C}"/>
              </a:ext>
            </a:extLst>
          </p:cNvPr>
          <p:cNvSpPr>
            <a:spLocks noGrp="1"/>
          </p:cNvSpPr>
          <p:nvPr>
            <p:ph type="body" sz="quarter" idx="48" hasCustomPrompt="1"/>
          </p:nvPr>
        </p:nvSpPr>
        <p:spPr>
          <a:xfrm>
            <a:off x="5387048" y="2776537"/>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47" name="Text Placeholder 16">
            <a:extLst>
              <a:ext uri="{FF2B5EF4-FFF2-40B4-BE49-F238E27FC236}">
                <a16:creationId xmlns:a16="http://schemas.microsoft.com/office/drawing/2014/main" id="{80CA41A7-3C9D-DD69-8A06-A84215378EFC}"/>
              </a:ext>
            </a:extLst>
          </p:cNvPr>
          <p:cNvSpPr>
            <a:spLocks noGrp="1"/>
          </p:cNvSpPr>
          <p:nvPr>
            <p:ph type="body" sz="quarter" idx="49" hasCustomPrompt="1"/>
          </p:nvPr>
        </p:nvSpPr>
        <p:spPr>
          <a:xfrm>
            <a:off x="5387048" y="2993769"/>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name.surname@hfw.com</a:t>
            </a:r>
            <a:endParaRPr lang="en-US" dirty="0"/>
          </a:p>
        </p:txBody>
      </p:sp>
      <p:sp>
        <p:nvSpPr>
          <p:cNvPr id="48" name="TextBox 47">
            <a:extLst>
              <a:ext uri="{FF2B5EF4-FFF2-40B4-BE49-F238E27FC236}">
                <a16:creationId xmlns:a16="http://schemas.microsoft.com/office/drawing/2014/main" id="{18443D3A-EF2A-522A-DD0C-01B8AD916D94}"/>
              </a:ext>
            </a:extLst>
          </p:cNvPr>
          <p:cNvSpPr txBox="1"/>
          <p:nvPr userDrawn="1"/>
        </p:nvSpPr>
        <p:spPr>
          <a:xfrm flipH="1">
            <a:off x="5212884" y="2776537"/>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49" name="TextBox 48">
            <a:extLst>
              <a:ext uri="{FF2B5EF4-FFF2-40B4-BE49-F238E27FC236}">
                <a16:creationId xmlns:a16="http://schemas.microsoft.com/office/drawing/2014/main" id="{4E417F35-A14F-23E8-DABD-2B541DF82529}"/>
              </a:ext>
            </a:extLst>
          </p:cNvPr>
          <p:cNvSpPr txBox="1"/>
          <p:nvPr userDrawn="1"/>
        </p:nvSpPr>
        <p:spPr>
          <a:xfrm flipH="1">
            <a:off x="5212884" y="2993769"/>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E</a:t>
            </a:r>
          </a:p>
        </p:txBody>
      </p:sp>
      <p:sp>
        <p:nvSpPr>
          <p:cNvPr id="50" name="Picture Placeholder 14">
            <a:extLst>
              <a:ext uri="{FF2B5EF4-FFF2-40B4-BE49-F238E27FC236}">
                <a16:creationId xmlns:a16="http://schemas.microsoft.com/office/drawing/2014/main" id="{CAC6651C-82C8-A2F2-0696-71A4B9A53C5A}"/>
              </a:ext>
            </a:extLst>
          </p:cNvPr>
          <p:cNvSpPr>
            <a:spLocks noGrp="1"/>
          </p:cNvSpPr>
          <p:nvPr>
            <p:ph type="pic" sz="quarter" idx="50" hasCustomPrompt="1"/>
          </p:nvPr>
        </p:nvSpPr>
        <p:spPr>
          <a:xfrm>
            <a:off x="516891" y="2319337"/>
            <a:ext cx="876299" cy="876299"/>
          </a:xfrm>
          <a:solidFill>
            <a:schemeClr val="bg1"/>
          </a:solidFill>
        </p:spPr>
        <p:txBody>
          <a:bodyPr anchor="ctr">
            <a:normAutofit/>
          </a:bodyPr>
          <a:lstStyle>
            <a:lvl1pPr algn="ctr">
              <a:defRPr sz="1000">
                <a:latin typeface="+mn-lt"/>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GB" dirty="0"/>
              <a:t>Picture</a:t>
            </a:r>
          </a:p>
        </p:txBody>
      </p:sp>
      <p:sp>
        <p:nvSpPr>
          <p:cNvPr id="51" name="Text Placeholder 16">
            <a:extLst>
              <a:ext uri="{FF2B5EF4-FFF2-40B4-BE49-F238E27FC236}">
                <a16:creationId xmlns:a16="http://schemas.microsoft.com/office/drawing/2014/main" id="{FAD7FF78-3063-BB80-6AFC-3A5D7A02F368}"/>
              </a:ext>
            </a:extLst>
          </p:cNvPr>
          <p:cNvSpPr>
            <a:spLocks noGrp="1"/>
          </p:cNvSpPr>
          <p:nvPr>
            <p:ph type="body" sz="quarter" idx="51" hasCustomPrompt="1"/>
          </p:nvPr>
        </p:nvSpPr>
        <p:spPr>
          <a:xfrm>
            <a:off x="1492805" y="2559305"/>
            <a:ext cx="2543172"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US" dirty="0"/>
              <a:t>Position, Location</a:t>
            </a:r>
          </a:p>
        </p:txBody>
      </p:sp>
      <p:sp>
        <p:nvSpPr>
          <p:cNvPr id="52" name="Text Placeholder 16">
            <a:extLst>
              <a:ext uri="{FF2B5EF4-FFF2-40B4-BE49-F238E27FC236}">
                <a16:creationId xmlns:a16="http://schemas.microsoft.com/office/drawing/2014/main" id="{2A3EA119-A73E-5192-8329-1141825D20FE}"/>
              </a:ext>
            </a:extLst>
          </p:cNvPr>
          <p:cNvSpPr>
            <a:spLocks noGrp="1"/>
          </p:cNvSpPr>
          <p:nvPr>
            <p:ph type="body" sz="quarter" idx="52" hasCustomPrompt="1"/>
          </p:nvPr>
        </p:nvSpPr>
        <p:spPr>
          <a:xfrm>
            <a:off x="1492805" y="2342135"/>
            <a:ext cx="2543172" cy="169277"/>
          </a:xfrm>
        </p:spPr>
        <p:txBody>
          <a:bodyPr tIns="0" bIns="0">
            <a:noAutofit/>
          </a:bodyPr>
          <a:lstStyle>
            <a:lvl1pPr algn="l">
              <a:lnSpc>
                <a:spcPct val="100000"/>
              </a:lnSpc>
              <a:spcBef>
                <a:spcPts val="0"/>
              </a:spcBef>
              <a:spcAft>
                <a:spcPts val="0"/>
              </a:spcAft>
              <a:defRPr sz="1100" cap="all" baseline="0">
                <a:solidFill>
                  <a:schemeClr val="tx2"/>
                </a:solidFill>
                <a:latin typeface="+mj-lt"/>
              </a:defRPr>
            </a:lvl1pPr>
            <a:lvl2pPr algn="l">
              <a:lnSpc>
                <a:spcPct val="100000"/>
              </a:lnSpc>
              <a:spcBef>
                <a:spcPts val="200"/>
              </a:spcBef>
              <a:spcAft>
                <a:spcPts val="200"/>
              </a:spcAft>
              <a:defRPr sz="1100">
                <a:solidFill>
                  <a:schemeClr val="tx1"/>
                </a:solidFill>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0"/>
            <a:r>
              <a:rPr lang="en-US" dirty="0"/>
              <a:t>NAME SURNAME</a:t>
            </a:r>
          </a:p>
        </p:txBody>
      </p:sp>
      <p:sp>
        <p:nvSpPr>
          <p:cNvPr id="53" name="Text Placeholder 16">
            <a:extLst>
              <a:ext uri="{FF2B5EF4-FFF2-40B4-BE49-F238E27FC236}">
                <a16:creationId xmlns:a16="http://schemas.microsoft.com/office/drawing/2014/main" id="{7C6ADCCA-8324-E1A3-F2A9-D37543C8F141}"/>
              </a:ext>
            </a:extLst>
          </p:cNvPr>
          <p:cNvSpPr>
            <a:spLocks noGrp="1"/>
          </p:cNvSpPr>
          <p:nvPr>
            <p:ph type="body" sz="quarter" idx="53" hasCustomPrompt="1"/>
          </p:nvPr>
        </p:nvSpPr>
        <p:spPr>
          <a:xfrm>
            <a:off x="1668488" y="2776537"/>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54" name="Text Placeholder 16">
            <a:extLst>
              <a:ext uri="{FF2B5EF4-FFF2-40B4-BE49-F238E27FC236}">
                <a16:creationId xmlns:a16="http://schemas.microsoft.com/office/drawing/2014/main" id="{BE48A086-D3DD-3EA2-8239-4ED8BE761955}"/>
              </a:ext>
            </a:extLst>
          </p:cNvPr>
          <p:cNvSpPr>
            <a:spLocks noGrp="1"/>
          </p:cNvSpPr>
          <p:nvPr>
            <p:ph type="body" sz="quarter" idx="54" hasCustomPrompt="1"/>
          </p:nvPr>
        </p:nvSpPr>
        <p:spPr>
          <a:xfrm>
            <a:off x="1668488" y="2993769"/>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name.surname@hfw.com</a:t>
            </a:r>
            <a:endParaRPr lang="en-US" dirty="0"/>
          </a:p>
        </p:txBody>
      </p:sp>
      <p:sp>
        <p:nvSpPr>
          <p:cNvPr id="55" name="TextBox 54">
            <a:extLst>
              <a:ext uri="{FF2B5EF4-FFF2-40B4-BE49-F238E27FC236}">
                <a16:creationId xmlns:a16="http://schemas.microsoft.com/office/drawing/2014/main" id="{85C78290-7E57-1710-6ED2-74D257D9C241}"/>
              </a:ext>
            </a:extLst>
          </p:cNvPr>
          <p:cNvSpPr txBox="1"/>
          <p:nvPr userDrawn="1"/>
        </p:nvSpPr>
        <p:spPr>
          <a:xfrm flipH="1">
            <a:off x="1494324" y="2776537"/>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56" name="TextBox 55">
            <a:extLst>
              <a:ext uri="{FF2B5EF4-FFF2-40B4-BE49-F238E27FC236}">
                <a16:creationId xmlns:a16="http://schemas.microsoft.com/office/drawing/2014/main" id="{73314C5E-F718-E6F4-CE04-015186ABA8ED}"/>
              </a:ext>
            </a:extLst>
          </p:cNvPr>
          <p:cNvSpPr txBox="1"/>
          <p:nvPr userDrawn="1"/>
        </p:nvSpPr>
        <p:spPr>
          <a:xfrm flipH="1">
            <a:off x="1494324" y="2993769"/>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E</a:t>
            </a:r>
          </a:p>
        </p:txBody>
      </p:sp>
      <p:sp>
        <p:nvSpPr>
          <p:cNvPr id="3" name="TextBox 4">
            <a:extLst>
              <a:ext uri="{FF2B5EF4-FFF2-40B4-BE49-F238E27FC236}">
                <a16:creationId xmlns:a16="http://schemas.microsoft.com/office/drawing/2014/main" id="{AEDE7E81-9865-1EDD-BC9D-D12BB0BBFDC7}"/>
              </a:ext>
            </a:extLst>
          </p:cNvPr>
          <p:cNvSpPr txBox="1"/>
          <p:nvPr userDrawn="1"/>
        </p:nvSpPr>
        <p:spPr>
          <a:xfrm>
            <a:off x="12346713" y="109538"/>
            <a:ext cx="2253207" cy="498085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INSERTING IMAGES:</a:t>
            </a:r>
          </a:p>
          <a:p>
            <a:pPr marL="179388" indent="-179388">
              <a:spcBef>
                <a:spcPts val="200"/>
              </a:spcBef>
              <a:spcAft>
                <a:spcPts val="200"/>
              </a:spcAft>
              <a:buFont typeface="+mj-lt"/>
              <a:buAutoNum type="arabicPeriod"/>
            </a:pPr>
            <a:r>
              <a:rPr lang="en-US" sz="900" dirty="0">
                <a:solidFill>
                  <a:schemeClr val="tx1"/>
                </a:solidFill>
                <a:latin typeface="+mn-lt"/>
              </a:rPr>
              <a:t>Simply click the image placeholder and select your image.</a:t>
            </a:r>
          </a:p>
          <a:p>
            <a:pPr marL="179388" indent="-179388">
              <a:spcBef>
                <a:spcPts val="200"/>
              </a:spcBef>
              <a:spcAft>
                <a:spcPts val="200"/>
              </a:spcAft>
              <a:buFont typeface="+mj-lt"/>
              <a:buAutoNum type="arabicPeriod"/>
            </a:pPr>
            <a:r>
              <a:rPr lang="en-US" sz="900" dirty="0">
                <a:solidFill>
                  <a:schemeClr val="tx1"/>
                </a:solidFill>
                <a:latin typeface="+mn-lt"/>
              </a:rPr>
              <a:t>Once your image is inserted into the shape it may be distorted. (Stretched or Squashed)</a:t>
            </a:r>
          </a:p>
          <a:p>
            <a:pPr marL="179388" indent="-179388">
              <a:spcBef>
                <a:spcPts val="200"/>
              </a:spcBef>
              <a:spcAft>
                <a:spcPts val="200"/>
              </a:spcAft>
              <a:buFont typeface="+mj-lt"/>
              <a:buAutoNum type="arabicPeriod"/>
            </a:pPr>
            <a:endParaRPr lang="en-US" sz="900" dirty="0">
              <a:solidFill>
                <a:schemeClr val="tx1"/>
              </a:solidFill>
              <a:latin typeface="+mn-lt"/>
            </a:endParaRPr>
          </a:p>
          <a:p>
            <a:pPr>
              <a:spcBef>
                <a:spcPts val="200"/>
              </a:spcBef>
              <a:spcAft>
                <a:spcPts val="200"/>
              </a:spcAft>
            </a:pPr>
            <a:r>
              <a:rPr lang="en-US" sz="900" b="1" dirty="0">
                <a:solidFill>
                  <a:schemeClr val="tx1"/>
                </a:solidFill>
                <a:latin typeface="+mn-lt"/>
              </a:rPr>
              <a:t>To fix this:</a:t>
            </a:r>
          </a:p>
          <a:p>
            <a:pPr marL="179388" indent="-179388">
              <a:spcBef>
                <a:spcPts val="200"/>
              </a:spcBef>
              <a:spcAft>
                <a:spcPts val="200"/>
              </a:spcAft>
              <a:buFont typeface="+mj-lt"/>
              <a:buAutoNum type="arabicPeriod"/>
            </a:pPr>
            <a:r>
              <a:rPr lang="en-US" sz="900" dirty="0">
                <a:solidFill>
                  <a:schemeClr val="tx1"/>
                </a:solidFill>
                <a:latin typeface="+mn-lt"/>
              </a:rPr>
              <a:t>Click on the image and from the top menu under </a:t>
            </a:r>
            <a:r>
              <a:rPr lang="en-US" sz="900" b="1" dirty="0">
                <a:solidFill>
                  <a:schemeClr val="tx1"/>
                </a:solidFill>
                <a:latin typeface="+mn-lt"/>
              </a:rPr>
              <a:t>PICTURE FORMAT </a:t>
            </a:r>
            <a:r>
              <a:rPr lang="en-US" sz="900" dirty="0">
                <a:solidFill>
                  <a:schemeClr val="tx1"/>
                </a:solidFill>
                <a:latin typeface="+mn-lt"/>
              </a:rPr>
              <a:t>select the </a:t>
            </a:r>
            <a:r>
              <a:rPr lang="en-US" sz="900" b="1" dirty="0">
                <a:solidFill>
                  <a:schemeClr val="tx1"/>
                </a:solidFill>
                <a:latin typeface="+mn-lt"/>
              </a:rPr>
              <a:t>CROP</a:t>
            </a:r>
            <a:r>
              <a:rPr lang="en-US" sz="900" dirty="0">
                <a:solidFill>
                  <a:schemeClr val="tx1"/>
                </a:solidFill>
                <a:latin typeface="+mn-lt"/>
              </a:rPr>
              <a:t> on the right and from the drop down menu select </a:t>
            </a:r>
            <a:r>
              <a:rPr lang="en-US" sz="900" b="1" kern="1200" dirty="0">
                <a:solidFill>
                  <a:schemeClr val="tx1"/>
                </a:solidFill>
                <a:latin typeface="+mn-lt"/>
                <a:ea typeface="+mn-ea"/>
                <a:cs typeface="+mn-cs"/>
              </a:rPr>
              <a:t>FILL</a:t>
            </a:r>
          </a:p>
          <a:p>
            <a:pPr marL="179388" indent="-179388">
              <a:spcBef>
                <a:spcPts val="200"/>
              </a:spcBef>
              <a:spcAft>
                <a:spcPts val="200"/>
              </a:spcAft>
              <a:buFont typeface="+mj-lt"/>
              <a:buAutoNum type="arabicPeriod"/>
            </a:pPr>
            <a:r>
              <a:rPr lang="en-US" sz="900" b="0" kern="1200" dirty="0">
                <a:solidFill>
                  <a:schemeClr val="tx1"/>
                </a:solidFill>
                <a:latin typeface="+mn-lt"/>
                <a:ea typeface="+mn-ea"/>
                <a:cs typeface="+mn-cs"/>
              </a:rPr>
              <a:t>From here you can move the image within the shape for best visual appearance</a:t>
            </a:r>
          </a:p>
          <a:p>
            <a:pPr marL="179388" indent="-179388">
              <a:spcBef>
                <a:spcPts val="200"/>
              </a:spcBef>
              <a:spcAft>
                <a:spcPts val="200"/>
              </a:spcAft>
              <a:buFont typeface="+mj-lt"/>
              <a:buAutoNum type="arabicPeriod"/>
            </a:pPr>
            <a:endParaRPr lang="en-US" sz="900" b="0" i="0" kern="1200" dirty="0">
              <a:solidFill>
                <a:schemeClr val="tx1"/>
              </a:solidFill>
              <a:latin typeface="+mn-lt"/>
              <a:ea typeface="+mn-ea"/>
              <a:cs typeface="+mn-cs"/>
            </a:endParaRPr>
          </a:p>
          <a:p>
            <a:pPr marL="0" marR="0" lvl="0" indent="0" algn="l" defTabSz="914400" rtl="0" eaLnBrk="1" fontAlgn="auto" latinLnBrk="0" hangingPunct="1">
              <a:lnSpc>
                <a:spcPct val="100000"/>
              </a:lnSpc>
              <a:spcBef>
                <a:spcPts val="200"/>
              </a:spcBef>
              <a:spcAft>
                <a:spcPts val="200"/>
              </a:spcAft>
              <a:buClrTx/>
              <a:buSzTx/>
              <a:buFont typeface="+mj-lt"/>
              <a:buNone/>
              <a:tabLst/>
              <a:defRPr/>
            </a:pPr>
            <a:r>
              <a:rPr lang="en-GB" sz="1000" b="1" i="0" dirty="0">
                <a:effectLst/>
                <a:latin typeface="Arial" panose="020B0604020202020204" pitchFamily="34" charset="0"/>
                <a:ea typeface="Calibri" panose="020F0502020204030204" pitchFamily="34" charset="0"/>
              </a:rPr>
              <a:t>When inserting staff photos, </a:t>
            </a:r>
            <a:r>
              <a:rPr lang="en-GB" sz="1000" i="0" dirty="0">
                <a:effectLst/>
                <a:latin typeface="Arial" panose="020B0604020202020204" pitchFamily="34" charset="0"/>
                <a:ea typeface="Calibri" panose="020F0502020204030204" pitchFamily="34" charset="0"/>
              </a:rPr>
              <a:t>please use the same method as suggested above. To ensure you are using staff photos that are optimised for use in this Pitch Template, please insert them from the “Staff Photos 40x40 BW” folder, located in the Staff photos section of the HFW Pitch Template folder.</a:t>
            </a:r>
            <a:endParaRPr lang="en-GB" sz="1000" i="0" dirty="0">
              <a:effectLst/>
              <a:latin typeface="Calibri" panose="020F0502020204030204" pitchFamily="34" charset="0"/>
              <a:ea typeface="Calibri" panose="020F0502020204030204" pitchFamily="34" charset="0"/>
            </a:endParaRPr>
          </a:p>
          <a:p>
            <a:pPr marL="179388" indent="-179388">
              <a:spcBef>
                <a:spcPts val="200"/>
              </a:spcBef>
              <a:spcAft>
                <a:spcPts val="200"/>
              </a:spcAft>
              <a:buFont typeface="+mj-lt"/>
              <a:buAutoNum type="arabicPeriod"/>
            </a:pPr>
            <a:endParaRPr lang="en-US" sz="900" b="0" kern="1200" dirty="0">
              <a:solidFill>
                <a:schemeClr val="tx1"/>
              </a:solidFill>
              <a:latin typeface="+mn-lt"/>
              <a:ea typeface="+mn-ea"/>
              <a:cs typeface="+mn-cs"/>
            </a:endParaRPr>
          </a:p>
          <a:p>
            <a:pPr marL="179388" indent="-179388">
              <a:spcBef>
                <a:spcPts val="200"/>
              </a:spcBef>
              <a:spcAft>
                <a:spcPts val="200"/>
              </a:spcAft>
              <a:buFont typeface="+mj-lt"/>
              <a:buAutoNum type="arabicPeriod"/>
            </a:pPr>
            <a:endParaRPr lang="en-US" sz="900" b="0" kern="1200" dirty="0">
              <a:solidFill>
                <a:schemeClr val="tx1"/>
              </a:solidFill>
              <a:latin typeface="+mn-lt"/>
              <a:ea typeface="+mn-ea"/>
              <a:cs typeface="+mn-cs"/>
            </a:endParaRPr>
          </a:p>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SAMPLE CONTACT LAYOUT</a:t>
            </a:r>
          </a:p>
        </p:txBody>
      </p:sp>
      <p:grpSp>
        <p:nvGrpSpPr>
          <p:cNvPr id="4" name="Group 3">
            <a:extLst>
              <a:ext uri="{FF2B5EF4-FFF2-40B4-BE49-F238E27FC236}">
                <a16:creationId xmlns:a16="http://schemas.microsoft.com/office/drawing/2014/main" id="{030BB784-73CE-9D84-B581-F66D671670C1}"/>
              </a:ext>
            </a:extLst>
          </p:cNvPr>
          <p:cNvGrpSpPr/>
          <p:nvPr userDrawn="1"/>
        </p:nvGrpSpPr>
        <p:grpSpPr>
          <a:xfrm>
            <a:off x="12437199" y="5138030"/>
            <a:ext cx="2813913" cy="819975"/>
            <a:chOff x="12399099" y="4230487"/>
            <a:chExt cx="2813913" cy="819975"/>
          </a:xfrm>
        </p:grpSpPr>
        <p:sp>
          <p:nvSpPr>
            <p:cNvPr id="7" name="TextBox 6">
              <a:extLst>
                <a:ext uri="{FF2B5EF4-FFF2-40B4-BE49-F238E27FC236}">
                  <a16:creationId xmlns:a16="http://schemas.microsoft.com/office/drawing/2014/main" id="{D515BE8D-C1E8-00FC-423A-AD05A819A577}"/>
                </a:ext>
              </a:extLst>
            </p:cNvPr>
            <p:cNvSpPr txBox="1"/>
            <p:nvPr userDrawn="1"/>
          </p:nvSpPr>
          <p:spPr>
            <a:xfrm flipH="1">
              <a:off x="12573262" y="4663953"/>
              <a:ext cx="2639750"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grpSp>
          <p:nvGrpSpPr>
            <p:cNvPr id="8" name="Group 7">
              <a:extLst>
                <a:ext uri="{FF2B5EF4-FFF2-40B4-BE49-F238E27FC236}">
                  <a16:creationId xmlns:a16="http://schemas.microsoft.com/office/drawing/2014/main" id="{FE76A35F-857A-EB1E-91FE-AE2B4908738E}"/>
                </a:ext>
              </a:extLst>
            </p:cNvPr>
            <p:cNvGrpSpPr/>
            <p:nvPr userDrawn="1"/>
          </p:nvGrpSpPr>
          <p:grpSpPr>
            <a:xfrm>
              <a:off x="12399099" y="4230487"/>
              <a:ext cx="2326813" cy="819975"/>
              <a:chOff x="12399099" y="4230487"/>
              <a:chExt cx="2326813" cy="819975"/>
            </a:xfrm>
          </p:grpSpPr>
          <p:sp>
            <p:nvSpPr>
              <p:cNvPr id="10" name="TextBox 9">
                <a:extLst>
                  <a:ext uri="{FF2B5EF4-FFF2-40B4-BE49-F238E27FC236}">
                    <a16:creationId xmlns:a16="http://schemas.microsoft.com/office/drawing/2014/main" id="{1478353D-5F46-0C64-BA59-40579021A8F3}"/>
                  </a:ext>
                </a:extLst>
              </p:cNvPr>
              <p:cNvSpPr txBox="1"/>
              <p:nvPr userDrawn="1"/>
            </p:nvSpPr>
            <p:spPr>
              <a:xfrm flipH="1">
                <a:off x="12399100" y="4663953"/>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11" name="TextBox 10">
                <a:extLst>
                  <a:ext uri="{FF2B5EF4-FFF2-40B4-BE49-F238E27FC236}">
                    <a16:creationId xmlns:a16="http://schemas.microsoft.com/office/drawing/2014/main" id="{DB8DA1D6-C036-FAC7-6A7A-75310072F8D4}"/>
                  </a:ext>
                </a:extLst>
              </p:cNvPr>
              <p:cNvSpPr txBox="1"/>
              <p:nvPr userDrawn="1"/>
            </p:nvSpPr>
            <p:spPr>
              <a:xfrm flipH="1">
                <a:off x="12399100" y="4881185"/>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E</a:t>
                </a:r>
              </a:p>
            </p:txBody>
          </p:sp>
          <p:sp>
            <p:nvSpPr>
              <p:cNvPr id="12" name="TextBox 11">
                <a:extLst>
                  <a:ext uri="{FF2B5EF4-FFF2-40B4-BE49-F238E27FC236}">
                    <a16:creationId xmlns:a16="http://schemas.microsoft.com/office/drawing/2014/main" id="{E8BB659E-8D7A-E65E-9FE0-449EEFFC971D}"/>
                  </a:ext>
                </a:extLst>
              </p:cNvPr>
              <p:cNvSpPr txBox="1"/>
              <p:nvPr userDrawn="1"/>
            </p:nvSpPr>
            <p:spPr>
              <a:xfrm flipH="1">
                <a:off x="12573262" y="4881185"/>
                <a:ext cx="2152650"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name.surname@hfw.com</a:t>
                </a:r>
                <a:endParaRPr lang="en-US" dirty="0"/>
              </a:p>
            </p:txBody>
          </p:sp>
          <p:sp>
            <p:nvSpPr>
              <p:cNvPr id="18" name="TextBox 17">
                <a:extLst>
                  <a:ext uri="{FF2B5EF4-FFF2-40B4-BE49-F238E27FC236}">
                    <a16:creationId xmlns:a16="http://schemas.microsoft.com/office/drawing/2014/main" id="{B0B84CA5-DCAE-1699-EEC9-B56B9AC1601C}"/>
                  </a:ext>
                </a:extLst>
              </p:cNvPr>
              <p:cNvSpPr txBox="1"/>
              <p:nvPr userDrawn="1"/>
            </p:nvSpPr>
            <p:spPr>
              <a:xfrm flipH="1">
                <a:off x="12399099" y="4230487"/>
                <a:ext cx="1968833"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solidFill>
                      <a:schemeClr val="tx2"/>
                    </a:solidFill>
                    <a:latin typeface="+mj-lt"/>
                  </a:rPr>
                  <a:t>NAME SURNAME</a:t>
                </a:r>
              </a:p>
            </p:txBody>
          </p:sp>
          <p:sp>
            <p:nvSpPr>
              <p:cNvPr id="19" name="TextBox 18">
                <a:extLst>
                  <a:ext uri="{FF2B5EF4-FFF2-40B4-BE49-F238E27FC236}">
                    <a16:creationId xmlns:a16="http://schemas.microsoft.com/office/drawing/2014/main" id="{C423E0A2-E8D3-1EC8-BF38-EAC1C84DDEDA}"/>
                  </a:ext>
                </a:extLst>
              </p:cNvPr>
              <p:cNvSpPr txBox="1"/>
              <p:nvPr userDrawn="1"/>
            </p:nvSpPr>
            <p:spPr>
              <a:xfrm flipH="1">
                <a:off x="12399099" y="4445785"/>
                <a:ext cx="1968833"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US" dirty="0"/>
                  <a:t>Position, Location</a:t>
                </a:r>
              </a:p>
            </p:txBody>
          </p:sp>
        </p:grpSp>
      </p:grpSp>
    </p:spTree>
    <p:extLst>
      <p:ext uri="{BB962C8B-B14F-4D97-AF65-F5344CB8AC3E}">
        <p14:creationId xmlns:p14="http://schemas.microsoft.com/office/powerpoint/2010/main" val="1326585140"/>
      </p:ext>
    </p:extLst>
  </p:cSld>
  <p:clrMapOvr>
    <a:masterClrMapping/>
  </p:clrMapOvr>
  <p:transition spd="med">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Key Contacts 2 &amp; Quote">
    <p:bg>
      <p:bgPr>
        <a:solidFill>
          <a:schemeClr val="bg2"/>
        </a:solidFill>
        <a:effectLst/>
      </p:bgPr>
    </p:bg>
    <p:spTree>
      <p:nvGrpSpPr>
        <p:cNvPr id="1" name=""/>
        <p:cNvGrpSpPr/>
        <p:nvPr/>
      </p:nvGrpSpPr>
      <p:grpSpPr>
        <a:xfrm>
          <a:off x="0" y="0"/>
          <a:ext cx="0" cy="0"/>
          <a:chOff x="0" y="0"/>
          <a:chExt cx="0" cy="0"/>
        </a:xfrm>
      </p:grpSpPr>
      <p:sp>
        <p:nvSpPr>
          <p:cNvPr id="9" name="Picture Placeholder 10">
            <a:extLst>
              <a:ext uri="{FF2B5EF4-FFF2-40B4-BE49-F238E27FC236}">
                <a16:creationId xmlns:a16="http://schemas.microsoft.com/office/drawing/2014/main" id="{957F7B8C-8896-F507-1133-31FF9F06D6DB}"/>
              </a:ext>
            </a:extLst>
          </p:cNvPr>
          <p:cNvSpPr>
            <a:spLocks noGrp="1"/>
          </p:cNvSpPr>
          <p:nvPr>
            <p:ph type="pic" sz="quarter" idx="13" hasCustomPrompt="1"/>
          </p:nvPr>
        </p:nvSpPr>
        <p:spPr>
          <a:xfrm>
            <a:off x="8126412" y="0"/>
            <a:ext cx="4065587" cy="6858000"/>
          </a:xfrm>
          <a:solidFill>
            <a:schemeClr val="tx1"/>
          </a:solidFill>
        </p:spPr>
        <p:txBody>
          <a:bodyPr vert="horz" lIns="0" tIns="45720" rIns="0" bIns="45720" rtlCol="0" anchor="ctr">
            <a:normAutofit/>
          </a:bodyPr>
          <a:lstStyle>
            <a:lvl1pPr algn="ctr">
              <a:defRPr lang="en-GB" sz="2800" b="0" dirty="0">
                <a:solidFill>
                  <a:schemeClr val="bg1"/>
                </a:solidFill>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US" dirty="0"/>
              <a:t>ADD RELATED </a:t>
            </a:r>
            <a:br>
              <a:rPr lang="en-US" dirty="0"/>
            </a:br>
            <a:r>
              <a:rPr lang="en-US" dirty="0"/>
              <a:t>IMAGE </a:t>
            </a:r>
            <a:br>
              <a:rPr lang="en-US" dirty="0"/>
            </a:br>
            <a:r>
              <a:rPr lang="en-US" dirty="0"/>
              <a:t>FROM HFW </a:t>
            </a:r>
            <a:br>
              <a:rPr lang="en-US" dirty="0"/>
            </a:br>
            <a:r>
              <a:rPr lang="en-US" dirty="0"/>
              <a:t>IMAGE LIBRARY</a:t>
            </a:r>
          </a:p>
        </p:txBody>
      </p:sp>
      <p:sp>
        <p:nvSpPr>
          <p:cNvPr id="2" name="Title 1"/>
          <p:cNvSpPr>
            <a:spLocks noGrp="1"/>
          </p:cNvSpPr>
          <p:nvPr>
            <p:ph type="title" hasCustomPrompt="1"/>
          </p:nvPr>
        </p:nvSpPr>
        <p:spPr>
          <a:xfrm>
            <a:off x="508000" y="454013"/>
            <a:ext cx="7459663" cy="663587"/>
          </a:xfrm>
        </p:spPr>
        <p:txBody>
          <a:bodyPr/>
          <a:lstStyle>
            <a:lvl1pPr>
              <a:defRPr/>
            </a:lvl1pPr>
          </a:lstStyle>
          <a:p>
            <a:r>
              <a:rPr lang="en-US" dirty="0"/>
              <a:t>Key </a:t>
            </a:r>
            <a:r>
              <a:rPr lang="en-US" dirty="0" err="1"/>
              <a:t>contactS</a:t>
            </a:r>
            <a:endParaRPr lang="en-US" dirty="0"/>
          </a:p>
        </p:txBody>
      </p:sp>
      <p:sp>
        <p:nvSpPr>
          <p:cNvPr id="5" name="Footer Placeholder 4"/>
          <p:cNvSpPr>
            <a:spLocks noGrp="1"/>
          </p:cNvSpPr>
          <p:nvPr>
            <p:ph type="ftr" sz="quarter" idx="11"/>
          </p:nvPr>
        </p:nvSpPr>
        <p:spPr/>
        <p:txBody>
          <a:bodyPr/>
          <a:lstStyle/>
          <a:p>
            <a:r>
              <a:rPr lang="en-GB"/>
              <a:t>INSERT FOOTER HER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8CFE0557-AA98-4E6C-B0C3-581794696B68}" type="slidenum">
              <a:rPr lang="en-GB" smtClean="0"/>
              <a:pPr/>
              <a:t>‹#›</a:t>
            </a:fld>
            <a:endParaRPr lang="en-GB"/>
          </a:p>
        </p:txBody>
      </p:sp>
      <p:sp>
        <p:nvSpPr>
          <p:cNvPr id="7" name="Content Placeholder 2">
            <a:extLst>
              <a:ext uri="{FF2B5EF4-FFF2-40B4-BE49-F238E27FC236}">
                <a16:creationId xmlns:a16="http://schemas.microsoft.com/office/drawing/2014/main" id="{6A078DCC-43B1-8D23-0AA3-05E731BDE2C0}"/>
              </a:ext>
            </a:extLst>
          </p:cNvPr>
          <p:cNvSpPr>
            <a:spLocks noGrp="1"/>
          </p:cNvSpPr>
          <p:nvPr>
            <p:ph idx="21" hasCustomPrompt="1"/>
          </p:nvPr>
        </p:nvSpPr>
        <p:spPr>
          <a:xfrm>
            <a:off x="504826" y="2315934"/>
            <a:ext cx="3403599" cy="2874138"/>
          </a:xfrm>
        </p:spPr>
        <p:txBody>
          <a:bodyPr vert="horz" lIns="0" tIns="45720" rIns="0" bIns="4572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12" name="Content Placeholder 2">
            <a:extLst>
              <a:ext uri="{FF2B5EF4-FFF2-40B4-BE49-F238E27FC236}">
                <a16:creationId xmlns:a16="http://schemas.microsoft.com/office/drawing/2014/main" id="{44E07C73-29FB-D898-A303-EE530927EF1D}"/>
              </a:ext>
            </a:extLst>
          </p:cNvPr>
          <p:cNvSpPr>
            <a:spLocks noGrp="1"/>
          </p:cNvSpPr>
          <p:nvPr>
            <p:ph idx="22" hasCustomPrompt="1"/>
          </p:nvPr>
        </p:nvSpPr>
        <p:spPr>
          <a:xfrm>
            <a:off x="4238626" y="2315934"/>
            <a:ext cx="3403599" cy="2874138"/>
          </a:xfrm>
        </p:spPr>
        <p:txBody>
          <a:bodyPr vert="horz" lIns="0" tIns="45720" rIns="0" bIns="4572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13" name="Text Placeholder 12">
            <a:extLst>
              <a:ext uri="{FF2B5EF4-FFF2-40B4-BE49-F238E27FC236}">
                <a16:creationId xmlns:a16="http://schemas.microsoft.com/office/drawing/2014/main" id="{5B93EE01-800D-0028-C9B0-B20815E33555}"/>
              </a:ext>
            </a:extLst>
          </p:cNvPr>
          <p:cNvSpPr>
            <a:spLocks noGrp="1"/>
          </p:cNvSpPr>
          <p:nvPr>
            <p:ph type="body" sz="quarter" idx="34" hasCustomPrompt="1"/>
          </p:nvPr>
        </p:nvSpPr>
        <p:spPr>
          <a:xfrm>
            <a:off x="508000" y="5334846"/>
            <a:ext cx="7127876" cy="681779"/>
          </a:xfrm>
        </p:spPr>
        <p:txBody>
          <a:bodyPr vert="horz" lIns="0" tIns="45720" rIns="0" bIns="0" rtlCol="0" anchor="b" anchorCtr="0">
            <a:noAutofit/>
          </a:bodyPr>
          <a:lstStyle>
            <a:lvl1pPr marL="108000" indent="-108000">
              <a:lnSpc>
                <a:spcPct val="110000"/>
              </a:lnSpc>
              <a:spcBef>
                <a:spcPts val="0"/>
              </a:spcBef>
              <a:spcAft>
                <a:spcPts val="0"/>
              </a:spcAft>
              <a:defRPr lang="en-US" sz="2000" dirty="0">
                <a:solidFill>
                  <a:schemeClr val="accent2"/>
                </a:solidFill>
              </a:defRPr>
            </a:lvl1pPr>
            <a:lvl2pPr>
              <a:defRPr lang="en-US" sz="1400" dirty="0">
                <a:solidFill>
                  <a:schemeClr val="tx2"/>
                </a:solidFill>
                <a:latin typeface="+mj-lt"/>
              </a:defRPr>
            </a:lvl2pPr>
          </a:lstStyle>
          <a:p>
            <a:pPr marL="108000" lvl="0" indent="-108000">
              <a:lnSpc>
                <a:spcPct val="100000"/>
              </a:lnSpc>
              <a:spcBef>
                <a:spcPts val="200"/>
              </a:spcBef>
              <a:spcAft>
                <a:spcPts val="200"/>
              </a:spcAft>
            </a:pPr>
            <a:r>
              <a:rPr lang="en-US" dirty="0"/>
              <a:t>“Quote goes here.”</a:t>
            </a:r>
          </a:p>
        </p:txBody>
      </p:sp>
      <p:sp>
        <p:nvSpPr>
          <p:cNvPr id="14" name="Text Placeholder 7">
            <a:extLst>
              <a:ext uri="{FF2B5EF4-FFF2-40B4-BE49-F238E27FC236}">
                <a16:creationId xmlns:a16="http://schemas.microsoft.com/office/drawing/2014/main" id="{50163123-3A62-135D-F620-22C8EB6C0938}"/>
              </a:ext>
            </a:extLst>
          </p:cNvPr>
          <p:cNvSpPr>
            <a:spLocks noGrp="1"/>
          </p:cNvSpPr>
          <p:nvPr>
            <p:ph type="body" sz="quarter" idx="24" hasCustomPrompt="1"/>
          </p:nvPr>
        </p:nvSpPr>
        <p:spPr>
          <a:xfrm>
            <a:off x="508000" y="6047121"/>
            <a:ext cx="7127876" cy="215444"/>
          </a:xfrm>
        </p:spPr>
        <p:txBody>
          <a:bodyPr wrap="square" tIns="0" bIns="0" anchor="b" anchorCtr="0">
            <a:spAutoFit/>
          </a:bodyPr>
          <a:lstStyle>
            <a:lvl1pPr marL="108000">
              <a:lnSpc>
                <a:spcPct val="100000"/>
              </a:lnSpc>
              <a:defRPr sz="1400" cap="all" baseline="0">
                <a:solidFill>
                  <a:schemeClr val="tx2"/>
                </a:solidFill>
                <a:latin typeface="+mj-lt"/>
              </a:defRPr>
            </a:lvl1pPr>
            <a:lvl2pPr marL="108000">
              <a:lnSpc>
                <a:spcPct val="100000"/>
              </a:lnSpc>
              <a:defRPr sz="1400" cap="all" baseline="0">
                <a:solidFill>
                  <a:schemeClr val="tx2"/>
                </a:solidFill>
                <a:latin typeface="+mj-lt"/>
              </a:defRPr>
            </a:lvl2pPr>
            <a:lvl3pPr marL="108000">
              <a:lnSpc>
                <a:spcPct val="100000"/>
              </a:lnSpc>
              <a:defRPr sz="1400" cap="all" baseline="0">
                <a:solidFill>
                  <a:schemeClr val="tx2"/>
                </a:solidFill>
                <a:latin typeface="+mj-lt"/>
              </a:defRPr>
            </a:lvl3pPr>
            <a:lvl4pPr marL="108000">
              <a:lnSpc>
                <a:spcPct val="100000"/>
              </a:lnSpc>
              <a:defRPr sz="1400" cap="all" baseline="0">
                <a:solidFill>
                  <a:schemeClr val="tx2"/>
                </a:solidFill>
                <a:latin typeface="+mj-lt"/>
              </a:defRPr>
            </a:lvl4pPr>
            <a:lvl5pPr marL="108000">
              <a:lnSpc>
                <a:spcPct val="100000"/>
              </a:lnSpc>
              <a:defRPr sz="1400" cap="all" baseline="0">
                <a:solidFill>
                  <a:schemeClr val="tx2"/>
                </a:solidFill>
                <a:latin typeface="+mj-lt"/>
              </a:defRPr>
            </a:lvl5pPr>
          </a:lstStyle>
          <a:p>
            <a:pPr lvl="0"/>
            <a:r>
              <a:rPr lang="en-US" dirty="0"/>
              <a:t>quote author</a:t>
            </a:r>
            <a:endParaRPr lang="en-GB" dirty="0"/>
          </a:p>
        </p:txBody>
      </p:sp>
      <p:sp>
        <p:nvSpPr>
          <p:cNvPr id="26" name="Picture Placeholder 14">
            <a:extLst>
              <a:ext uri="{FF2B5EF4-FFF2-40B4-BE49-F238E27FC236}">
                <a16:creationId xmlns:a16="http://schemas.microsoft.com/office/drawing/2014/main" id="{327AE98A-18F9-446F-844C-2DAA30DEAFB0}"/>
              </a:ext>
            </a:extLst>
          </p:cNvPr>
          <p:cNvSpPr>
            <a:spLocks noGrp="1"/>
          </p:cNvSpPr>
          <p:nvPr>
            <p:ph type="pic" sz="quarter" idx="35" hasCustomPrompt="1"/>
          </p:nvPr>
        </p:nvSpPr>
        <p:spPr>
          <a:xfrm>
            <a:off x="4235451" y="1298891"/>
            <a:ext cx="876299" cy="876299"/>
          </a:xfrm>
          <a:solidFill>
            <a:schemeClr val="bg1"/>
          </a:solidFill>
        </p:spPr>
        <p:txBody>
          <a:bodyPr anchor="ctr">
            <a:normAutofit/>
          </a:bodyPr>
          <a:lstStyle>
            <a:lvl1pPr algn="ctr">
              <a:defRPr sz="1000">
                <a:latin typeface="+mn-lt"/>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GB" dirty="0"/>
              <a:t>Picture</a:t>
            </a:r>
          </a:p>
        </p:txBody>
      </p:sp>
      <p:sp>
        <p:nvSpPr>
          <p:cNvPr id="27" name="Text Placeholder 16">
            <a:extLst>
              <a:ext uri="{FF2B5EF4-FFF2-40B4-BE49-F238E27FC236}">
                <a16:creationId xmlns:a16="http://schemas.microsoft.com/office/drawing/2014/main" id="{046D2B2F-86F6-59BC-2C7E-5AC1EEE12BB7}"/>
              </a:ext>
            </a:extLst>
          </p:cNvPr>
          <p:cNvSpPr>
            <a:spLocks noGrp="1"/>
          </p:cNvSpPr>
          <p:nvPr>
            <p:ph type="body" sz="quarter" idx="36" hasCustomPrompt="1"/>
          </p:nvPr>
        </p:nvSpPr>
        <p:spPr>
          <a:xfrm>
            <a:off x="5211365" y="1538859"/>
            <a:ext cx="2543172"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US" dirty="0"/>
              <a:t>Position, Location</a:t>
            </a:r>
          </a:p>
        </p:txBody>
      </p:sp>
      <p:sp>
        <p:nvSpPr>
          <p:cNvPr id="29" name="Text Placeholder 16">
            <a:extLst>
              <a:ext uri="{FF2B5EF4-FFF2-40B4-BE49-F238E27FC236}">
                <a16:creationId xmlns:a16="http://schemas.microsoft.com/office/drawing/2014/main" id="{D74E72F2-AC5C-525C-AE97-7494E77C12DF}"/>
              </a:ext>
            </a:extLst>
          </p:cNvPr>
          <p:cNvSpPr>
            <a:spLocks noGrp="1"/>
          </p:cNvSpPr>
          <p:nvPr>
            <p:ph type="body" sz="quarter" idx="37" hasCustomPrompt="1"/>
          </p:nvPr>
        </p:nvSpPr>
        <p:spPr>
          <a:xfrm>
            <a:off x="5211365" y="1321689"/>
            <a:ext cx="2543172" cy="169277"/>
          </a:xfrm>
        </p:spPr>
        <p:txBody>
          <a:bodyPr tIns="0" bIns="0">
            <a:noAutofit/>
          </a:bodyPr>
          <a:lstStyle>
            <a:lvl1pPr algn="l">
              <a:lnSpc>
                <a:spcPct val="100000"/>
              </a:lnSpc>
              <a:spcBef>
                <a:spcPts val="0"/>
              </a:spcBef>
              <a:spcAft>
                <a:spcPts val="0"/>
              </a:spcAft>
              <a:defRPr sz="1100" cap="all" baseline="0">
                <a:solidFill>
                  <a:schemeClr val="tx2"/>
                </a:solidFill>
                <a:latin typeface="+mj-lt"/>
              </a:defRPr>
            </a:lvl1pPr>
            <a:lvl2pPr algn="l">
              <a:lnSpc>
                <a:spcPct val="100000"/>
              </a:lnSpc>
              <a:spcBef>
                <a:spcPts val="200"/>
              </a:spcBef>
              <a:spcAft>
                <a:spcPts val="200"/>
              </a:spcAft>
              <a:defRPr sz="1100">
                <a:solidFill>
                  <a:schemeClr val="tx1"/>
                </a:solidFill>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0"/>
            <a:r>
              <a:rPr lang="en-US" dirty="0"/>
              <a:t>NAME SURNAME</a:t>
            </a:r>
          </a:p>
        </p:txBody>
      </p:sp>
      <p:sp>
        <p:nvSpPr>
          <p:cNvPr id="30" name="Text Placeholder 16">
            <a:extLst>
              <a:ext uri="{FF2B5EF4-FFF2-40B4-BE49-F238E27FC236}">
                <a16:creationId xmlns:a16="http://schemas.microsoft.com/office/drawing/2014/main" id="{9DE53AC3-7017-8FB7-BCFA-EC650073215D}"/>
              </a:ext>
            </a:extLst>
          </p:cNvPr>
          <p:cNvSpPr>
            <a:spLocks noGrp="1"/>
          </p:cNvSpPr>
          <p:nvPr>
            <p:ph type="body" sz="quarter" idx="38" hasCustomPrompt="1"/>
          </p:nvPr>
        </p:nvSpPr>
        <p:spPr>
          <a:xfrm>
            <a:off x="5387048" y="1756091"/>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31" name="Text Placeholder 16">
            <a:extLst>
              <a:ext uri="{FF2B5EF4-FFF2-40B4-BE49-F238E27FC236}">
                <a16:creationId xmlns:a16="http://schemas.microsoft.com/office/drawing/2014/main" id="{B25EEBA5-68B6-FED7-7260-066EC76C3B9B}"/>
              </a:ext>
            </a:extLst>
          </p:cNvPr>
          <p:cNvSpPr>
            <a:spLocks noGrp="1"/>
          </p:cNvSpPr>
          <p:nvPr>
            <p:ph type="body" sz="quarter" idx="39" hasCustomPrompt="1"/>
          </p:nvPr>
        </p:nvSpPr>
        <p:spPr>
          <a:xfrm>
            <a:off x="5387048" y="1973323"/>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name.surname@hfw.com</a:t>
            </a:r>
            <a:endParaRPr lang="en-US" dirty="0"/>
          </a:p>
        </p:txBody>
      </p:sp>
      <p:sp>
        <p:nvSpPr>
          <p:cNvPr id="32" name="TextBox 31">
            <a:extLst>
              <a:ext uri="{FF2B5EF4-FFF2-40B4-BE49-F238E27FC236}">
                <a16:creationId xmlns:a16="http://schemas.microsoft.com/office/drawing/2014/main" id="{096203A0-27A7-6AD5-8774-AF78571FCC4C}"/>
              </a:ext>
            </a:extLst>
          </p:cNvPr>
          <p:cNvSpPr txBox="1"/>
          <p:nvPr userDrawn="1"/>
        </p:nvSpPr>
        <p:spPr>
          <a:xfrm flipH="1">
            <a:off x="5212884" y="1756091"/>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33" name="TextBox 32">
            <a:extLst>
              <a:ext uri="{FF2B5EF4-FFF2-40B4-BE49-F238E27FC236}">
                <a16:creationId xmlns:a16="http://schemas.microsoft.com/office/drawing/2014/main" id="{EDAEBD87-9CB7-F7D4-2E6B-AAC8AE2BC4D4}"/>
              </a:ext>
            </a:extLst>
          </p:cNvPr>
          <p:cNvSpPr txBox="1"/>
          <p:nvPr userDrawn="1"/>
        </p:nvSpPr>
        <p:spPr>
          <a:xfrm flipH="1">
            <a:off x="5212884" y="1973323"/>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E</a:t>
            </a:r>
          </a:p>
        </p:txBody>
      </p:sp>
      <p:sp>
        <p:nvSpPr>
          <p:cNvPr id="34" name="Picture Placeholder 14">
            <a:extLst>
              <a:ext uri="{FF2B5EF4-FFF2-40B4-BE49-F238E27FC236}">
                <a16:creationId xmlns:a16="http://schemas.microsoft.com/office/drawing/2014/main" id="{966D93E6-9AA5-87F2-109B-A52F6034F5A9}"/>
              </a:ext>
            </a:extLst>
          </p:cNvPr>
          <p:cNvSpPr>
            <a:spLocks noGrp="1"/>
          </p:cNvSpPr>
          <p:nvPr>
            <p:ph type="pic" sz="quarter" idx="40" hasCustomPrompt="1"/>
          </p:nvPr>
        </p:nvSpPr>
        <p:spPr>
          <a:xfrm>
            <a:off x="516891" y="1298891"/>
            <a:ext cx="876299" cy="876299"/>
          </a:xfrm>
          <a:solidFill>
            <a:schemeClr val="bg1"/>
          </a:solidFill>
        </p:spPr>
        <p:txBody>
          <a:bodyPr anchor="ctr">
            <a:normAutofit/>
          </a:bodyPr>
          <a:lstStyle>
            <a:lvl1pPr algn="ctr">
              <a:defRPr sz="1000">
                <a:latin typeface="+mn-lt"/>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GB" dirty="0"/>
              <a:t>Picture</a:t>
            </a:r>
          </a:p>
        </p:txBody>
      </p:sp>
      <p:sp>
        <p:nvSpPr>
          <p:cNvPr id="35" name="Text Placeholder 16">
            <a:extLst>
              <a:ext uri="{FF2B5EF4-FFF2-40B4-BE49-F238E27FC236}">
                <a16:creationId xmlns:a16="http://schemas.microsoft.com/office/drawing/2014/main" id="{7A6CA8BE-7F8F-2109-5E3D-7AE9F03008C6}"/>
              </a:ext>
            </a:extLst>
          </p:cNvPr>
          <p:cNvSpPr>
            <a:spLocks noGrp="1"/>
          </p:cNvSpPr>
          <p:nvPr>
            <p:ph type="body" sz="quarter" idx="41" hasCustomPrompt="1"/>
          </p:nvPr>
        </p:nvSpPr>
        <p:spPr>
          <a:xfrm>
            <a:off x="1492805" y="1538859"/>
            <a:ext cx="2543172"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US" dirty="0"/>
              <a:t>Position, Location</a:t>
            </a:r>
          </a:p>
        </p:txBody>
      </p:sp>
      <p:sp>
        <p:nvSpPr>
          <p:cNvPr id="36" name="Text Placeholder 16">
            <a:extLst>
              <a:ext uri="{FF2B5EF4-FFF2-40B4-BE49-F238E27FC236}">
                <a16:creationId xmlns:a16="http://schemas.microsoft.com/office/drawing/2014/main" id="{701F9EE0-A51A-BA65-DE8F-AA3E19DB19EA}"/>
              </a:ext>
            </a:extLst>
          </p:cNvPr>
          <p:cNvSpPr>
            <a:spLocks noGrp="1"/>
          </p:cNvSpPr>
          <p:nvPr>
            <p:ph type="body" sz="quarter" idx="42" hasCustomPrompt="1"/>
          </p:nvPr>
        </p:nvSpPr>
        <p:spPr>
          <a:xfrm>
            <a:off x="1492805" y="1321689"/>
            <a:ext cx="2543172" cy="169277"/>
          </a:xfrm>
        </p:spPr>
        <p:txBody>
          <a:bodyPr tIns="0" bIns="0">
            <a:noAutofit/>
          </a:bodyPr>
          <a:lstStyle>
            <a:lvl1pPr algn="l">
              <a:lnSpc>
                <a:spcPct val="100000"/>
              </a:lnSpc>
              <a:spcBef>
                <a:spcPts val="0"/>
              </a:spcBef>
              <a:spcAft>
                <a:spcPts val="0"/>
              </a:spcAft>
              <a:defRPr sz="1100" cap="all" baseline="0">
                <a:solidFill>
                  <a:schemeClr val="tx2"/>
                </a:solidFill>
                <a:latin typeface="+mj-lt"/>
              </a:defRPr>
            </a:lvl1pPr>
            <a:lvl2pPr algn="l">
              <a:lnSpc>
                <a:spcPct val="100000"/>
              </a:lnSpc>
              <a:spcBef>
                <a:spcPts val="200"/>
              </a:spcBef>
              <a:spcAft>
                <a:spcPts val="200"/>
              </a:spcAft>
              <a:defRPr sz="1100">
                <a:solidFill>
                  <a:schemeClr val="tx1"/>
                </a:solidFill>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0"/>
            <a:r>
              <a:rPr lang="en-US" dirty="0"/>
              <a:t>NAME SURNAME</a:t>
            </a:r>
          </a:p>
        </p:txBody>
      </p:sp>
      <p:sp>
        <p:nvSpPr>
          <p:cNvPr id="37" name="Text Placeholder 16">
            <a:extLst>
              <a:ext uri="{FF2B5EF4-FFF2-40B4-BE49-F238E27FC236}">
                <a16:creationId xmlns:a16="http://schemas.microsoft.com/office/drawing/2014/main" id="{FE4EAC6E-C485-A9CA-2067-7E57CAFA398A}"/>
              </a:ext>
            </a:extLst>
          </p:cNvPr>
          <p:cNvSpPr>
            <a:spLocks noGrp="1"/>
          </p:cNvSpPr>
          <p:nvPr>
            <p:ph type="body" sz="quarter" idx="43" hasCustomPrompt="1"/>
          </p:nvPr>
        </p:nvSpPr>
        <p:spPr>
          <a:xfrm>
            <a:off x="1668488" y="1756091"/>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38" name="Text Placeholder 16">
            <a:extLst>
              <a:ext uri="{FF2B5EF4-FFF2-40B4-BE49-F238E27FC236}">
                <a16:creationId xmlns:a16="http://schemas.microsoft.com/office/drawing/2014/main" id="{7FE23975-477D-B2BB-1EA2-6082193CE8B7}"/>
              </a:ext>
            </a:extLst>
          </p:cNvPr>
          <p:cNvSpPr>
            <a:spLocks noGrp="1"/>
          </p:cNvSpPr>
          <p:nvPr>
            <p:ph type="body" sz="quarter" idx="44" hasCustomPrompt="1"/>
          </p:nvPr>
        </p:nvSpPr>
        <p:spPr>
          <a:xfrm>
            <a:off x="1668488" y="1973323"/>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name.surname@hfw.com</a:t>
            </a:r>
            <a:endParaRPr lang="en-US" dirty="0"/>
          </a:p>
        </p:txBody>
      </p:sp>
      <p:sp>
        <p:nvSpPr>
          <p:cNvPr id="39" name="TextBox 38">
            <a:extLst>
              <a:ext uri="{FF2B5EF4-FFF2-40B4-BE49-F238E27FC236}">
                <a16:creationId xmlns:a16="http://schemas.microsoft.com/office/drawing/2014/main" id="{C6E53A73-95D7-7689-C9CB-8529F63843BF}"/>
              </a:ext>
            </a:extLst>
          </p:cNvPr>
          <p:cNvSpPr txBox="1"/>
          <p:nvPr userDrawn="1"/>
        </p:nvSpPr>
        <p:spPr>
          <a:xfrm flipH="1">
            <a:off x="1494324" y="1756091"/>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40" name="TextBox 39">
            <a:extLst>
              <a:ext uri="{FF2B5EF4-FFF2-40B4-BE49-F238E27FC236}">
                <a16:creationId xmlns:a16="http://schemas.microsoft.com/office/drawing/2014/main" id="{C53E79FC-1631-B2FF-83A7-1E81922626E5}"/>
              </a:ext>
            </a:extLst>
          </p:cNvPr>
          <p:cNvSpPr txBox="1"/>
          <p:nvPr userDrawn="1"/>
        </p:nvSpPr>
        <p:spPr>
          <a:xfrm flipH="1">
            <a:off x="1494324" y="1973323"/>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E</a:t>
            </a:r>
          </a:p>
        </p:txBody>
      </p:sp>
      <p:sp>
        <p:nvSpPr>
          <p:cNvPr id="3" name="TextBox 4">
            <a:extLst>
              <a:ext uri="{FF2B5EF4-FFF2-40B4-BE49-F238E27FC236}">
                <a16:creationId xmlns:a16="http://schemas.microsoft.com/office/drawing/2014/main" id="{05C15AD3-B5E0-9952-D026-1F6413214B0B}"/>
              </a:ext>
            </a:extLst>
          </p:cNvPr>
          <p:cNvSpPr txBox="1"/>
          <p:nvPr userDrawn="1"/>
        </p:nvSpPr>
        <p:spPr>
          <a:xfrm>
            <a:off x="12346713" y="109538"/>
            <a:ext cx="2253207" cy="498085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INSERTING IMAGES:</a:t>
            </a:r>
          </a:p>
          <a:p>
            <a:pPr marL="179388" indent="-179388">
              <a:spcBef>
                <a:spcPts val="200"/>
              </a:spcBef>
              <a:spcAft>
                <a:spcPts val="200"/>
              </a:spcAft>
              <a:buFont typeface="+mj-lt"/>
              <a:buAutoNum type="arabicPeriod"/>
            </a:pPr>
            <a:r>
              <a:rPr lang="en-US" sz="900" dirty="0">
                <a:solidFill>
                  <a:schemeClr val="tx1"/>
                </a:solidFill>
                <a:latin typeface="+mn-lt"/>
              </a:rPr>
              <a:t>Simply click the image placeholder and select your image.</a:t>
            </a:r>
          </a:p>
          <a:p>
            <a:pPr marL="179388" indent="-179388">
              <a:spcBef>
                <a:spcPts val="200"/>
              </a:spcBef>
              <a:spcAft>
                <a:spcPts val="200"/>
              </a:spcAft>
              <a:buFont typeface="+mj-lt"/>
              <a:buAutoNum type="arabicPeriod"/>
            </a:pPr>
            <a:r>
              <a:rPr lang="en-US" sz="900" dirty="0">
                <a:solidFill>
                  <a:schemeClr val="tx1"/>
                </a:solidFill>
                <a:latin typeface="+mn-lt"/>
              </a:rPr>
              <a:t>Once your image is inserted into the shape it may be distorted. (Stretched or Squashed)</a:t>
            </a:r>
          </a:p>
          <a:p>
            <a:pPr marL="179388" indent="-179388">
              <a:spcBef>
                <a:spcPts val="200"/>
              </a:spcBef>
              <a:spcAft>
                <a:spcPts val="200"/>
              </a:spcAft>
              <a:buFont typeface="+mj-lt"/>
              <a:buAutoNum type="arabicPeriod"/>
            </a:pPr>
            <a:endParaRPr lang="en-US" sz="900" dirty="0">
              <a:solidFill>
                <a:schemeClr val="tx1"/>
              </a:solidFill>
              <a:latin typeface="+mn-lt"/>
            </a:endParaRPr>
          </a:p>
          <a:p>
            <a:pPr>
              <a:spcBef>
                <a:spcPts val="200"/>
              </a:spcBef>
              <a:spcAft>
                <a:spcPts val="200"/>
              </a:spcAft>
            </a:pPr>
            <a:r>
              <a:rPr lang="en-US" sz="900" b="1" dirty="0">
                <a:solidFill>
                  <a:schemeClr val="tx1"/>
                </a:solidFill>
                <a:latin typeface="+mn-lt"/>
              </a:rPr>
              <a:t>To fix this:</a:t>
            </a:r>
          </a:p>
          <a:p>
            <a:pPr marL="179388" indent="-179388">
              <a:spcBef>
                <a:spcPts val="200"/>
              </a:spcBef>
              <a:spcAft>
                <a:spcPts val="200"/>
              </a:spcAft>
              <a:buFont typeface="+mj-lt"/>
              <a:buAutoNum type="arabicPeriod"/>
            </a:pPr>
            <a:r>
              <a:rPr lang="en-US" sz="900" dirty="0">
                <a:solidFill>
                  <a:schemeClr val="tx1"/>
                </a:solidFill>
                <a:latin typeface="+mn-lt"/>
              </a:rPr>
              <a:t>Click on the image and from the top menu under </a:t>
            </a:r>
            <a:r>
              <a:rPr lang="en-US" sz="900" b="1" dirty="0">
                <a:solidFill>
                  <a:schemeClr val="tx1"/>
                </a:solidFill>
                <a:latin typeface="+mn-lt"/>
              </a:rPr>
              <a:t>PICTURE FORMAT </a:t>
            </a:r>
            <a:r>
              <a:rPr lang="en-US" sz="900" dirty="0">
                <a:solidFill>
                  <a:schemeClr val="tx1"/>
                </a:solidFill>
                <a:latin typeface="+mn-lt"/>
              </a:rPr>
              <a:t>select the </a:t>
            </a:r>
            <a:r>
              <a:rPr lang="en-US" sz="900" b="1" dirty="0">
                <a:solidFill>
                  <a:schemeClr val="tx1"/>
                </a:solidFill>
                <a:latin typeface="+mn-lt"/>
              </a:rPr>
              <a:t>CROP</a:t>
            </a:r>
            <a:r>
              <a:rPr lang="en-US" sz="900" dirty="0">
                <a:solidFill>
                  <a:schemeClr val="tx1"/>
                </a:solidFill>
                <a:latin typeface="+mn-lt"/>
              </a:rPr>
              <a:t> on the right and from the drop down menu select </a:t>
            </a:r>
            <a:r>
              <a:rPr lang="en-US" sz="900" b="1" kern="1200" dirty="0">
                <a:solidFill>
                  <a:schemeClr val="tx1"/>
                </a:solidFill>
                <a:latin typeface="+mn-lt"/>
                <a:ea typeface="+mn-ea"/>
                <a:cs typeface="+mn-cs"/>
              </a:rPr>
              <a:t>FILL</a:t>
            </a:r>
          </a:p>
          <a:p>
            <a:pPr marL="179388" indent="-179388">
              <a:spcBef>
                <a:spcPts val="200"/>
              </a:spcBef>
              <a:spcAft>
                <a:spcPts val="200"/>
              </a:spcAft>
              <a:buFont typeface="+mj-lt"/>
              <a:buAutoNum type="arabicPeriod"/>
            </a:pPr>
            <a:r>
              <a:rPr lang="en-US" sz="900" b="0" kern="1200" dirty="0">
                <a:solidFill>
                  <a:schemeClr val="tx1"/>
                </a:solidFill>
                <a:latin typeface="+mn-lt"/>
                <a:ea typeface="+mn-ea"/>
                <a:cs typeface="+mn-cs"/>
              </a:rPr>
              <a:t>From here you can move the image within the shape for best visual appearance</a:t>
            </a:r>
          </a:p>
          <a:p>
            <a:pPr marL="179388" indent="-179388">
              <a:spcBef>
                <a:spcPts val="200"/>
              </a:spcBef>
              <a:spcAft>
                <a:spcPts val="200"/>
              </a:spcAft>
              <a:buFont typeface="+mj-lt"/>
              <a:buAutoNum type="arabicPeriod"/>
            </a:pPr>
            <a:endParaRPr lang="en-US" sz="900" b="0" i="0" kern="1200" dirty="0">
              <a:solidFill>
                <a:schemeClr val="tx1"/>
              </a:solidFill>
              <a:latin typeface="+mn-lt"/>
              <a:ea typeface="+mn-ea"/>
              <a:cs typeface="+mn-cs"/>
            </a:endParaRPr>
          </a:p>
          <a:p>
            <a:pPr marL="0" marR="0" lvl="0" indent="0" algn="l" defTabSz="914400" rtl="0" eaLnBrk="1" fontAlgn="auto" latinLnBrk="0" hangingPunct="1">
              <a:lnSpc>
                <a:spcPct val="100000"/>
              </a:lnSpc>
              <a:spcBef>
                <a:spcPts val="200"/>
              </a:spcBef>
              <a:spcAft>
                <a:spcPts val="200"/>
              </a:spcAft>
              <a:buClrTx/>
              <a:buSzTx/>
              <a:buFont typeface="+mj-lt"/>
              <a:buNone/>
              <a:tabLst/>
              <a:defRPr/>
            </a:pPr>
            <a:r>
              <a:rPr lang="en-GB" sz="1000" b="1" i="0" dirty="0">
                <a:effectLst/>
                <a:latin typeface="Arial" panose="020B0604020202020204" pitchFamily="34" charset="0"/>
                <a:ea typeface="Calibri" panose="020F0502020204030204" pitchFamily="34" charset="0"/>
              </a:rPr>
              <a:t>When inserting staff photos, </a:t>
            </a:r>
            <a:r>
              <a:rPr lang="en-GB" sz="1000" i="0" dirty="0">
                <a:effectLst/>
                <a:latin typeface="Arial" panose="020B0604020202020204" pitchFamily="34" charset="0"/>
                <a:ea typeface="Calibri" panose="020F0502020204030204" pitchFamily="34" charset="0"/>
              </a:rPr>
              <a:t>please use the same method as suggested above. To ensure you are using staff photos that are optimised for use in this Pitch Template, please insert them from the “Staff Photos 40x40 BW” folder, located in the Staff photos section of the HFW Pitch Template folder.</a:t>
            </a:r>
            <a:endParaRPr lang="en-GB" sz="1000" i="0" dirty="0">
              <a:effectLst/>
              <a:latin typeface="Calibri" panose="020F0502020204030204" pitchFamily="34" charset="0"/>
              <a:ea typeface="Calibri" panose="020F0502020204030204" pitchFamily="34" charset="0"/>
            </a:endParaRPr>
          </a:p>
          <a:p>
            <a:pPr marL="179388" indent="-179388">
              <a:spcBef>
                <a:spcPts val="200"/>
              </a:spcBef>
              <a:spcAft>
                <a:spcPts val="200"/>
              </a:spcAft>
              <a:buFont typeface="+mj-lt"/>
              <a:buAutoNum type="arabicPeriod"/>
            </a:pPr>
            <a:endParaRPr lang="en-US" sz="900" b="0" kern="1200" dirty="0">
              <a:solidFill>
                <a:schemeClr val="tx1"/>
              </a:solidFill>
              <a:latin typeface="+mn-lt"/>
              <a:ea typeface="+mn-ea"/>
              <a:cs typeface="+mn-cs"/>
            </a:endParaRPr>
          </a:p>
          <a:p>
            <a:pPr marL="179388" indent="-179388">
              <a:spcBef>
                <a:spcPts val="200"/>
              </a:spcBef>
              <a:spcAft>
                <a:spcPts val="200"/>
              </a:spcAft>
              <a:buFont typeface="+mj-lt"/>
              <a:buAutoNum type="arabicPeriod"/>
            </a:pPr>
            <a:endParaRPr lang="en-US" sz="900" b="0" kern="1200" dirty="0">
              <a:solidFill>
                <a:schemeClr val="tx1"/>
              </a:solidFill>
              <a:latin typeface="+mn-lt"/>
              <a:ea typeface="+mn-ea"/>
              <a:cs typeface="+mn-cs"/>
            </a:endParaRPr>
          </a:p>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SAMPLE CONTACT LAYOUT</a:t>
            </a:r>
          </a:p>
        </p:txBody>
      </p:sp>
      <p:grpSp>
        <p:nvGrpSpPr>
          <p:cNvPr id="4" name="Group 3">
            <a:extLst>
              <a:ext uri="{FF2B5EF4-FFF2-40B4-BE49-F238E27FC236}">
                <a16:creationId xmlns:a16="http://schemas.microsoft.com/office/drawing/2014/main" id="{DBF14DDD-8351-B2F6-89CA-20DD59E47522}"/>
              </a:ext>
            </a:extLst>
          </p:cNvPr>
          <p:cNvGrpSpPr/>
          <p:nvPr userDrawn="1"/>
        </p:nvGrpSpPr>
        <p:grpSpPr>
          <a:xfrm>
            <a:off x="12437199" y="5138030"/>
            <a:ext cx="2813913" cy="819975"/>
            <a:chOff x="12399099" y="4230487"/>
            <a:chExt cx="2813913" cy="819975"/>
          </a:xfrm>
        </p:grpSpPr>
        <p:sp>
          <p:nvSpPr>
            <p:cNvPr id="8" name="TextBox 7">
              <a:extLst>
                <a:ext uri="{FF2B5EF4-FFF2-40B4-BE49-F238E27FC236}">
                  <a16:creationId xmlns:a16="http://schemas.microsoft.com/office/drawing/2014/main" id="{B1D570C4-47FB-43CC-3417-559FCF4EA0F5}"/>
                </a:ext>
              </a:extLst>
            </p:cNvPr>
            <p:cNvSpPr txBox="1"/>
            <p:nvPr userDrawn="1"/>
          </p:nvSpPr>
          <p:spPr>
            <a:xfrm flipH="1">
              <a:off x="12573262" y="4663953"/>
              <a:ext cx="2639750"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grpSp>
          <p:nvGrpSpPr>
            <p:cNvPr id="10" name="Group 9">
              <a:extLst>
                <a:ext uri="{FF2B5EF4-FFF2-40B4-BE49-F238E27FC236}">
                  <a16:creationId xmlns:a16="http://schemas.microsoft.com/office/drawing/2014/main" id="{B8792914-78AE-45E5-723E-86E373390FBA}"/>
                </a:ext>
              </a:extLst>
            </p:cNvPr>
            <p:cNvGrpSpPr/>
            <p:nvPr userDrawn="1"/>
          </p:nvGrpSpPr>
          <p:grpSpPr>
            <a:xfrm>
              <a:off x="12399099" y="4230487"/>
              <a:ext cx="2326813" cy="819975"/>
              <a:chOff x="12399099" y="4230487"/>
              <a:chExt cx="2326813" cy="819975"/>
            </a:xfrm>
          </p:grpSpPr>
          <p:sp>
            <p:nvSpPr>
              <p:cNvPr id="11" name="TextBox 10">
                <a:extLst>
                  <a:ext uri="{FF2B5EF4-FFF2-40B4-BE49-F238E27FC236}">
                    <a16:creationId xmlns:a16="http://schemas.microsoft.com/office/drawing/2014/main" id="{FCE1696F-FC2B-101F-F013-24FD5C9D084A}"/>
                  </a:ext>
                </a:extLst>
              </p:cNvPr>
              <p:cNvSpPr txBox="1"/>
              <p:nvPr userDrawn="1"/>
            </p:nvSpPr>
            <p:spPr>
              <a:xfrm flipH="1">
                <a:off x="12399100" y="4663953"/>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18" name="TextBox 17">
                <a:extLst>
                  <a:ext uri="{FF2B5EF4-FFF2-40B4-BE49-F238E27FC236}">
                    <a16:creationId xmlns:a16="http://schemas.microsoft.com/office/drawing/2014/main" id="{2276B011-FA83-D901-AF67-CBB579EFA141}"/>
                  </a:ext>
                </a:extLst>
              </p:cNvPr>
              <p:cNvSpPr txBox="1"/>
              <p:nvPr userDrawn="1"/>
            </p:nvSpPr>
            <p:spPr>
              <a:xfrm flipH="1">
                <a:off x="12399100" y="4881185"/>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E</a:t>
                </a:r>
              </a:p>
            </p:txBody>
          </p:sp>
          <p:sp>
            <p:nvSpPr>
              <p:cNvPr id="19" name="TextBox 18">
                <a:extLst>
                  <a:ext uri="{FF2B5EF4-FFF2-40B4-BE49-F238E27FC236}">
                    <a16:creationId xmlns:a16="http://schemas.microsoft.com/office/drawing/2014/main" id="{60BB907B-C867-5BC9-D254-9521432A8CB0}"/>
                  </a:ext>
                </a:extLst>
              </p:cNvPr>
              <p:cNvSpPr txBox="1"/>
              <p:nvPr userDrawn="1"/>
            </p:nvSpPr>
            <p:spPr>
              <a:xfrm flipH="1">
                <a:off x="12573262" y="4881185"/>
                <a:ext cx="2152650"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name.surname@hfw.com</a:t>
                </a:r>
                <a:endParaRPr lang="en-US" dirty="0"/>
              </a:p>
            </p:txBody>
          </p:sp>
          <p:sp>
            <p:nvSpPr>
              <p:cNvPr id="28" name="TextBox 27">
                <a:extLst>
                  <a:ext uri="{FF2B5EF4-FFF2-40B4-BE49-F238E27FC236}">
                    <a16:creationId xmlns:a16="http://schemas.microsoft.com/office/drawing/2014/main" id="{62489BB1-4A22-3668-D60A-36FD76D4C8E0}"/>
                  </a:ext>
                </a:extLst>
              </p:cNvPr>
              <p:cNvSpPr txBox="1"/>
              <p:nvPr userDrawn="1"/>
            </p:nvSpPr>
            <p:spPr>
              <a:xfrm flipH="1">
                <a:off x="12399099" y="4230487"/>
                <a:ext cx="1968833"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solidFill>
                      <a:schemeClr val="tx2"/>
                    </a:solidFill>
                    <a:latin typeface="+mj-lt"/>
                  </a:rPr>
                  <a:t>NAME SURNAME</a:t>
                </a:r>
              </a:p>
            </p:txBody>
          </p:sp>
          <p:sp>
            <p:nvSpPr>
              <p:cNvPr id="41" name="TextBox 40">
                <a:extLst>
                  <a:ext uri="{FF2B5EF4-FFF2-40B4-BE49-F238E27FC236}">
                    <a16:creationId xmlns:a16="http://schemas.microsoft.com/office/drawing/2014/main" id="{AD8B4216-4669-39C4-B412-368313082707}"/>
                  </a:ext>
                </a:extLst>
              </p:cNvPr>
              <p:cNvSpPr txBox="1"/>
              <p:nvPr userDrawn="1"/>
            </p:nvSpPr>
            <p:spPr>
              <a:xfrm flipH="1">
                <a:off x="12399099" y="4445785"/>
                <a:ext cx="1968833"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US" dirty="0"/>
                  <a:t>Position, Location</a:t>
                </a:r>
              </a:p>
            </p:txBody>
          </p:sp>
        </p:grpSp>
      </p:grpSp>
    </p:spTree>
    <p:extLst>
      <p:ext uri="{BB962C8B-B14F-4D97-AF65-F5344CB8AC3E}">
        <p14:creationId xmlns:p14="http://schemas.microsoft.com/office/powerpoint/2010/main" val="864929746"/>
      </p:ext>
    </p:extLst>
  </p:cSld>
  <p:clrMapOvr>
    <a:masterClrMapping/>
  </p:clrMapOvr>
  <p:transition spd="med">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Key Contacts 1 &amp; Quote">
    <p:bg>
      <p:bgPr>
        <a:solidFill>
          <a:schemeClr val="bg2"/>
        </a:solidFill>
        <a:effectLst/>
      </p:bgPr>
    </p:bg>
    <p:spTree>
      <p:nvGrpSpPr>
        <p:cNvPr id="1" name=""/>
        <p:cNvGrpSpPr/>
        <p:nvPr/>
      </p:nvGrpSpPr>
      <p:grpSpPr>
        <a:xfrm>
          <a:off x="0" y="0"/>
          <a:ext cx="0" cy="0"/>
          <a:chOff x="0" y="0"/>
          <a:chExt cx="0" cy="0"/>
        </a:xfrm>
      </p:grpSpPr>
      <p:sp>
        <p:nvSpPr>
          <p:cNvPr id="9" name="Picture Placeholder 10">
            <a:extLst>
              <a:ext uri="{FF2B5EF4-FFF2-40B4-BE49-F238E27FC236}">
                <a16:creationId xmlns:a16="http://schemas.microsoft.com/office/drawing/2014/main" id="{957F7B8C-8896-F507-1133-31FF9F06D6DB}"/>
              </a:ext>
            </a:extLst>
          </p:cNvPr>
          <p:cNvSpPr>
            <a:spLocks noGrp="1"/>
          </p:cNvSpPr>
          <p:nvPr>
            <p:ph type="pic" sz="quarter" idx="13" hasCustomPrompt="1"/>
          </p:nvPr>
        </p:nvSpPr>
        <p:spPr>
          <a:xfrm>
            <a:off x="8126412" y="0"/>
            <a:ext cx="4065587" cy="6858000"/>
          </a:xfrm>
          <a:solidFill>
            <a:schemeClr val="tx1"/>
          </a:solidFill>
        </p:spPr>
        <p:txBody>
          <a:bodyPr vert="horz" lIns="0" tIns="45720" rIns="0" bIns="45720" rtlCol="0" anchor="ctr">
            <a:normAutofit/>
          </a:bodyPr>
          <a:lstStyle>
            <a:lvl1pPr algn="ctr">
              <a:defRPr lang="en-GB" sz="2800" b="0" dirty="0">
                <a:solidFill>
                  <a:schemeClr val="bg1"/>
                </a:solidFill>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US" dirty="0"/>
              <a:t>ADD RELATED </a:t>
            </a:r>
            <a:br>
              <a:rPr lang="en-US" dirty="0"/>
            </a:br>
            <a:r>
              <a:rPr lang="en-US" dirty="0"/>
              <a:t>IMAGE </a:t>
            </a:r>
            <a:br>
              <a:rPr lang="en-US" dirty="0"/>
            </a:br>
            <a:r>
              <a:rPr lang="en-US" dirty="0"/>
              <a:t>FROM HFW </a:t>
            </a:r>
            <a:br>
              <a:rPr lang="en-US" dirty="0"/>
            </a:br>
            <a:r>
              <a:rPr lang="en-US" dirty="0"/>
              <a:t>IMAGE LIBRARY</a:t>
            </a:r>
          </a:p>
        </p:txBody>
      </p:sp>
      <p:sp>
        <p:nvSpPr>
          <p:cNvPr id="2" name="Title 1"/>
          <p:cNvSpPr>
            <a:spLocks noGrp="1"/>
          </p:cNvSpPr>
          <p:nvPr>
            <p:ph type="title" hasCustomPrompt="1"/>
          </p:nvPr>
        </p:nvSpPr>
        <p:spPr>
          <a:xfrm>
            <a:off x="508000" y="454013"/>
            <a:ext cx="7459663" cy="663587"/>
          </a:xfrm>
        </p:spPr>
        <p:txBody>
          <a:bodyPr/>
          <a:lstStyle/>
          <a:p>
            <a:r>
              <a:rPr lang="en-US" dirty="0"/>
              <a:t>Key contact</a:t>
            </a:r>
          </a:p>
        </p:txBody>
      </p:sp>
      <p:sp>
        <p:nvSpPr>
          <p:cNvPr id="5" name="Footer Placeholder 4"/>
          <p:cNvSpPr>
            <a:spLocks noGrp="1"/>
          </p:cNvSpPr>
          <p:nvPr>
            <p:ph type="ftr" sz="quarter" idx="11"/>
          </p:nvPr>
        </p:nvSpPr>
        <p:spPr/>
        <p:txBody>
          <a:bodyPr/>
          <a:lstStyle/>
          <a:p>
            <a:r>
              <a:rPr lang="en-GB"/>
              <a:t>INSERT FOOTER HER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8CFE0557-AA98-4E6C-B0C3-581794696B68}" type="slidenum">
              <a:rPr lang="en-GB" smtClean="0"/>
              <a:pPr/>
              <a:t>‹#›</a:t>
            </a:fld>
            <a:endParaRPr lang="en-GB"/>
          </a:p>
        </p:txBody>
      </p:sp>
      <p:sp>
        <p:nvSpPr>
          <p:cNvPr id="7" name="Content Placeholder 2">
            <a:extLst>
              <a:ext uri="{FF2B5EF4-FFF2-40B4-BE49-F238E27FC236}">
                <a16:creationId xmlns:a16="http://schemas.microsoft.com/office/drawing/2014/main" id="{6A078DCC-43B1-8D23-0AA3-05E731BDE2C0}"/>
              </a:ext>
            </a:extLst>
          </p:cNvPr>
          <p:cNvSpPr>
            <a:spLocks noGrp="1"/>
          </p:cNvSpPr>
          <p:nvPr>
            <p:ph idx="21" hasCustomPrompt="1"/>
          </p:nvPr>
        </p:nvSpPr>
        <p:spPr>
          <a:xfrm>
            <a:off x="504826" y="2315934"/>
            <a:ext cx="3403599" cy="2874138"/>
          </a:xfrm>
        </p:spPr>
        <p:txBody>
          <a:bodyPr vert="horz" lIns="0" tIns="45720" rIns="0" bIns="4572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12" name="Content Placeholder 2">
            <a:extLst>
              <a:ext uri="{FF2B5EF4-FFF2-40B4-BE49-F238E27FC236}">
                <a16:creationId xmlns:a16="http://schemas.microsoft.com/office/drawing/2014/main" id="{44E07C73-29FB-D898-A303-EE530927EF1D}"/>
              </a:ext>
            </a:extLst>
          </p:cNvPr>
          <p:cNvSpPr>
            <a:spLocks noGrp="1"/>
          </p:cNvSpPr>
          <p:nvPr>
            <p:ph idx="22" hasCustomPrompt="1"/>
          </p:nvPr>
        </p:nvSpPr>
        <p:spPr>
          <a:xfrm>
            <a:off x="4238626" y="2315934"/>
            <a:ext cx="3403599" cy="2874138"/>
          </a:xfrm>
        </p:spPr>
        <p:txBody>
          <a:bodyPr vert="horz" lIns="0" tIns="45720" rIns="0" bIns="4572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13" name="Text Placeholder 12">
            <a:extLst>
              <a:ext uri="{FF2B5EF4-FFF2-40B4-BE49-F238E27FC236}">
                <a16:creationId xmlns:a16="http://schemas.microsoft.com/office/drawing/2014/main" id="{06BC5A3C-D0D2-2084-9DD2-280E112D4DF9}"/>
              </a:ext>
            </a:extLst>
          </p:cNvPr>
          <p:cNvSpPr>
            <a:spLocks noGrp="1"/>
          </p:cNvSpPr>
          <p:nvPr>
            <p:ph type="body" sz="quarter" idx="34" hasCustomPrompt="1"/>
          </p:nvPr>
        </p:nvSpPr>
        <p:spPr>
          <a:xfrm>
            <a:off x="508000" y="5334846"/>
            <a:ext cx="7127876" cy="681779"/>
          </a:xfrm>
        </p:spPr>
        <p:txBody>
          <a:bodyPr vert="horz" lIns="0" tIns="45720" rIns="0" bIns="0" rtlCol="0" anchor="b" anchorCtr="0">
            <a:noAutofit/>
          </a:bodyPr>
          <a:lstStyle>
            <a:lvl1pPr marL="108000" indent="-108000">
              <a:lnSpc>
                <a:spcPct val="110000"/>
              </a:lnSpc>
              <a:spcBef>
                <a:spcPts val="0"/>
              </a:spcBef>
              <a:spcAft>
                <a:spcPts val="0"/>
              </a:spcAft>
              <a:defRPr lang="en-US" sz="2000" dirty="0">
                <a:solidFill>
                  <a:schemeClr val="accent2"/>
                </a:solidFill>
              </a:defRPr>
            </a:lvl1pPr>
            <a:lvl2pPr>
              <a:defRPr lang="en-US" sz="1400" dirty="0">
                <a:solidFill>
                  <a:schemeClr val="tx2"/>
                </a:solidFill>
                <a:latin typeface="+mj-lt"/>
              </a:defRPr>
            </a:lvl2pPr>
          </a:lstStyle>
          <a:p>
            <a:pPr marL="108000" lvl="0" indent="-108000">
              <a:lnSpc>
                <a:spcPct val="100000"/>
              </a:lnSpc>
              <a:spcBef>
                <a:spcPts val="200"/>
              </a:spcBef>
              <a:spcAft>
                <a:spcPts val="200"/>
              </a:spcAft>
            </a:pPr>
            <a:r>
              <a:rPr lang="en-US" dirty="0"/>
              <a:t>“Quote goes here.”</a:t>
            </a:r>
          </a:p>
        </p:txBody>
      </p:sp>
      <p:sp>
        <p:nvSpPr>
          <p:cNvPr id="14" name="Text Placeholder 7">
            <a:extLst>
              <a:ext uri="{FF2B5EF4-FFF2-40B4-BE49-F238E27FC236}">
                <a16:creationId xmlns:a16="http://schemas.microsoft.com/office/drawing/2014/main" id="{A443A848-8D32-1A80-9CC8-75D08845B45A}"/>
              </a:ext>
            </a:extLst>
          </p:cNvPr>
          <p:cNvSpPr>
            <a:spLocks noGrp="1"/>
          </p:cNvSpPr>
          <p:nvPr>
            <p:ph type="body" sz="quarter" idx="24" hasCustomPrompt="1"/>
          </p:nvPr>
        </p:nvSpPr>
        <p:spPr>
          <a:xfrm>
            <a:off x="508000" y="6047121"/>
            <a:ext cx="7127876" cy="215444"/>
          </a:xfrm>
        </p:spPr>
        <p:txBody>
          <a:bodyPr wrap="square" tIns="0" bIns="0" anchor="b" anchorCtr="0">
            <a:spAutoFit/>
          </a:bodyPr>
          <a:lstStyle>
            <a:lvl1pPr marL="108000">
              <a:lnSpc>
                <a:spcPct val="100000"/>
              </a:lnSpc>
              <a:defRPr sz="1400" cap="all" baseline="0">
                <a:solidFill>
                  <a:schemeClr val="tx2"/>
                </a:solidFill>
                <a:latin typeface="+mj-lt"/>
              </a:defRPr>
            </a:lvl1pPr>
            <a:lvl2pPr marL="108000">
              <a:lnSpc>
                <a:spcPct val="100000"/>
              </a:lnSpc>
              <a:defRPr sz="1400" cap="all" baseline="0">
                <a:solidFill>
                  <a:schemeClr val="tx2"/>
                </a:solidFill>
                <a:latin typeface="+mj-lt"/>
              </a:defRPr>
            </a:lvl2pPr>
            <a:lvl3pPr marL="108000">
              <a:lnSpc>
                <a:spcPct val="100000"/>
              </a:lnSpc>
              <a:defRPr sz="1400" cap="all" baseline="0">
                <a:solidFill>
                  <a:schemeClr val="tx2"/>
                </a:solidFill>
                <a:latin typeface="+mj-lt"/>
              </a:defRPr>
            </a:lvl3pPr>
            <a:lvl4pPr marL="108000">
              <a:lnSpc>
                <a:spcPct val="100000"/>
              </a:lnSpc>
              <a:defRPr sz="1400" cap="all" baseline="0">
                <a:solidFill>
                  <a:schemeClr val="tx2"/>
                </a:solidFill>
                <a:latin typeface="+mj-lt"/>
              </a:defRPr>
            </a:lvl4pPr>
            <a:lvl5pPr marL="108000">
              <a:lnSpc>
                <a:spcPct val="100000"/>
              </a:lnSpc>
              <a:defRPr sz="1400" cap="all" baseline="0">
                <a:solidFill>
                  <a:schemeClr val="tx2"/>
                </a:solidFill>
                <a:latin typeface="+mj-lt"/>
              </a:defRPr>
            </a:lvl5pPr>
          </a:lstStyle>
          <a:p>
            <a:pPr lvl="0"/>
            <a:r>
              <a:rPr lang="en-US" dirty="0"/>
              <a:t>quote author</a:t>
            </a:r>
            <a:endParaRPr lang="en-GB" dirty="0"/>
          </a:p>
        </p:txBody>
      </p:sp>
      <p:sp>
        <p:nvSpPr>
          <p:cNvPr id="24" name="Picture Placeholder 14">
            <a:extLst>
              <a:ext uri="{FF2B5EF4-FFF2-40B4-BE49-F238E27FC236}">
                <a16:creationId xmlns:a16="http://schemas.microsoft.com/office/drawing/2014/main" id="{855CB8FD-EED8-96D6-CD9D-E04490CD2465}"/>
              </a:ext>
            </a:extLst>
          </p:cNvPr>
          <p:cNvSpPr>
            <a:spLocks noGrp="1"/>
          </p:cNvSpPr>
          <p:nvPr>
            <p:ph type="pic" sz="quarter" idx="40" hasCustomPrompt="1"/>
          </p:nvPr>
        </p:nvSpPr>
        <p:spPr>
          <a:xfrm>
            <a:off x="516891" y="1298891"/>
            <a:ext cx="876299" cy="876299"/>
          </a:xfrm>
          <a:solidFill>
            <a:schemeClr val="bg1"/>
          </a:solidFill>
        </p:spPr>
        <p:txBody>
          <a:bodyPr anchor="ctr">
            <a:normAutofit/>
          </a:bodyPr>
          <a:lstStyle>
            <a:lvl1pPr algn="ctr">
              <a:defRPr sz="1000">
                <a:latin typeface="+mn-lt"/>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GB" dirty="0"/>
              <a:t>Picture</a:t>
            </a:r>
          </a:p>
        </p:txBody>
      </p:sp>
      <p:sp>
        <p:nvSpPr>
          <p:cNvPr id="25" name="Text Placeholder 16">
            <a:extLst>
              <a:ext uri="{FF2B5EF4-FFF2-40B4-BE49-F238E27FC236}">
                <a16:creationId xmlns:a16="http://schemas.microsoft.com/office/drawing/2014/main" id="{E14F3E14-0135-DEA8-3411-1FE3092F2FE1}"/>
              </a:ext>
            </a:extLst>
          </p:cNvPr>
          <p:cNvSpPr>
            <a:spLocks noGrp="1"/>
          </p:cNvSpPr>
          <p:nvPr>
            <p:ph type="body" sz="quarter" idx="41" hasCustomPrompt="1"/>
          </p:nvPr>
        </p:nvSpPr>
        <p:spPr>
          <a:xfrm>
            <a:off x="1492805" y="1538859"/>
            <a:ext cx="2543172"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US" dirty="0"/>
              <a:t>Position, Location</a:t>
            </a:r>
          </a:p>
        </p:txBody>
      </p:sp>
      <p:sp>
        <p:nvSpPr>
          <p:cNvPr id="26" name="Text Placeholder 16">
            <a:extLst>
              <a:ext uri="{FF2B5EF4-FFF2-40B4-BE49-F238E27FC236}">
                <a16:creationId xmlns:a16="http://schemas.microsoft.com/office/drawing/2014/main" id="{1CD0329F-18A2-A31D-426B-11D4CFBC07A2}"/>
              </a:ext>
            </a:extLst>
          </p:cNvPr>
          <p:cNvSpPr>
            <a:spLocks noGrp="1"/>
          </p:cNvSpPr>
          <p:nvPr>
            <p:ph type="body" sz="quarter" idx="42" hasCustomPrompt="1"/>
          </p:nvPr>
        </p:nvSpPr>
        <p:spPr>
          <a:xfrm>
            <a:off x="1492805" y="1321689"/>
            <a:ext cx="2543172" cy="169277"/>
          </a:xfrm>
        </p:spPr>
        <p:txBody>
          <a:bodyPr tIns="0" bIns="0">
            <a:noAutofit/>
          </a:bodyPr>
          <a:lstStyle>
            <a:lvl1pPr algn="l">
              <a:lnSpc>
                <a:spcPct val="100000"/>
              </a:lnSpc>
              <a:spcBef>
                <a:spcPts val="0"/>
              </a:spcBef>
              <a:spcAft>
                <a:spcPts val="0"/>
              </a:spcAft>
              <a:defRPr sz="1100" cap="all" baseline="0">
                <a:solidFill>
                  <a:schemeClr val="tx2"/>
                </a:solidFill>
                <a:latin typeface="+mj-lt"/>
              </a:defRPr>
            </a:lvl1pPr>
            <a:lvl2pPr algn="l">
              <a:lnSpc>
                <a:spcPct val="100000"/>
              </a:lnSpc>
              <a:spcBef>
                <a:spcPts val="200"/>
              </a:spcBef>
              <a:spcAft>
                <a:spcPts val="200"/>
              </a:spcAft>
              <a:defRPr sz="1100">
                <a:solidFill>
                  <a:schemeClr val="tx1"/>
                </a:solidFill>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0"/>
            <a:r>
              <a:rPr lang="en-US" dirty="0"/>
              <a:t>NAME SURNAME</a:t>
            </a:r>
          </a:p>
        </p:txBody>
      </p:sp>
      <p:sp>
        <p:nvSpPr>
          <p:cNvPr id="27" name="Text Placeholder 16">
            <a:extLst>
              <a:ext uri="{FF2B5EF4-FFF2-40B4-BE49-F238E27FC236}">
                <a16:creationId xmlns:a16="http://schemas.microsoft.com/office/drawing/2014/main" id="{72106B29-BF34-0C10-F758-ADEB1D49F578}"/>
              </a:ext>
            </a:extLst>
          </p:cNvPr>
          <p:cNvSpPr>
            <a:spLocks noGrp="1"/>
          </p:cNvSpPr>
          <p:nvPr>
            <p:ph type="body" sz="quarter" idx="43" hasCustomPrompt="1"/>
          </p:nvPr>
        </p:nvSpPr>
        <p:spPr>
          <a:xfrm>
            <a:off x="1668488" y="1756091"/>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29" name="Text Placeholder 16">
            <a:extLst>
              <a:ext uri="{FF2B5EF4-FFF2-40B4-BE49-F238E27FC236}">
                <a16:creationId xmlns:a16="http://schemas.microsoft.com/office/drawing/2014/main" id="{05B19718-7BFF-58DA-EF52-F5C8FEDACA2B}"/>
              </a:ext>
            </a:extLst>
          </p:cNvPr>
          <p:cNvSpPr>
            <a:spLocks noGrp="1"/>
          </p:cNvSpPr>
          <p:nvPr>
            <p:ph type="body" sz="quarter" idx="44" hasCustomPrompt="1"/>
          </p:nvPr>
        </p:nvSpPr>
        <p:spPr>
          <a:xfrm>
            <a:off x="1668488" y="1973323"/>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name.surname@hfw.com</a:t>
            </a:r>
            <a:endParaRPr lang="en-US" dirty="0"/>
          </a:p>
        </p:txBody>
      </p:sp>
      <p:sp>
        <p:nvSpPr>
          <p:cNvPr id="30" name="TextBox 29">
            <a:extLst>
              <a:ext uri="{FF2B5EF4-FFF2-40B4-BE49-F238E27FC236}">
                <a16:creationId xmlns:a16="http://schemas.microsoft.com/office/drawing/2014/main" id="{C7A9E955-E882-DA97-D523-AB9CBA416110}"/>
              </a:ext>
            </a:extLst>
          </p:cNvPr>
          <p:cNvSpPr txBox="1"/>
          <p:nvPr userDrawn="1"/>
        </p:nvSpPr>
        <p:spPr>
          <a:xfrm flipH="1">
            <a:off x="1494324" y="1756091"/>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31" name="TextBox 30">
            <a:extLst>
              <a:ext uri="{FF2B5EF4-FFF2-40B4-BE49-F238E27FC236}">
                <a16:creationId xmlns:a16="http://schemas.microsoft.com/office/drawing/2014/main" id="{3B2D9B78-9D16-A4CE-B2EB-0335480DC486}"/>
              </a:ext>
            </a:extLst>
          </p:cNvPr>
          <p:cNvSpPr txBox="1"/>
          <p:nvPr userDrawn="1"/>
        </p:nvSpPr>
        <p:spPr>
          <a:xfrm flipH="1">
            <a:off x="1494324" y="1973323"/>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E</a:t>
            </a:r>
          </a:p>
        </p:txBody>
      </p:sp>
      <p:sp>
        <p:nvSpPr>
          <p:cNvPr id="3" name="TextBox 4">
            <a:extLst>
              <a:ext uri="{FF2B5EF4-FFF2-40B4-BE49-F238E27FC236}">
                <a16:creationId xmlns:a16="http://schemas.microsoft.com/office/drawing/2014/main" id="{AE8DF657-12CC-15E0-9977-B80660F2D6BA}"/>
              </a:ext>
            </a:extLst>
          </p:cNvPr>
          <p:cNvSpPr txBox="1"/>
          <p:nvPr userDrawn="1"/>
        </p:nvSpPr>
        <p:spPr>
          <a:xfrm>
            <a:off x="12346713" y="109538"/>
            <a:ext cx="2253207" cy="498085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INSERTING IMAGES:</a:t>
            </a:r>
          </a:p>
          <a:p>
            <a:pPr marL="179388" indent="-179388">
              <a:spcBef>
                <a:spcPts val="200"/>
              </a:spcBef>
              <a:spcAft>
                <a:spcPts val="200"/>
              </a:spcAft>
              <a:buFont typeface="+mj-lt"/>
              <a:buAutoNum type="arabicPeriod"/>
            </a:pPr>
            <a:r>
              <a:rPr lang="en-US" sz="900" dirty="0">
                <a:solidFill>
                  <a:schemeClr val="tx1"/>
                </a:solidFill>
                <a:latin typeface="+mn-lt"/>
              </a:rPr>
              <a:t>Simply click the image placeholder and select your image.</a:t>
            </a:r>
          </a:p>
          <a:p>
            <a:pPr marL="179388" indent="-179388">
              <a:spcBef>
                <a:spcPts val="200"/>
              </a:spcBef>
              <a:spcAft>
                <a:spcPts val="200"/>
              </a:spcAft>
              <a:buFont typeface="+mj-lt"/>
              <a:buAutoNum type="arabicPeriod"/>
            </a:pPr>
            <a:r>
              <a:rPr lang="en-US" sz="900" dirty="0">
                <a:solidFill>
                  <a:schemeClr val="tx1"/>
                </a:solidFill>
                <a:latin typeface="+mn-lt"/>
              </a:rPr>
              <a:t>Once your image is inserted into the shape it may be distorted. (Stretched or Squashed)</a:t>
            </a:r>
          </a:p>
          <a:p>
            <a:pPr marL="179388" indent="-179388">
              <a:spcBef>
                <a:spcPts val="200"/>
              </a:spcBef>
              <a:spcAft>
                <a:spcPts val="200"/>
              </a:spcAft>
              <a:buFont typeface="+mj-lt"/>
              <a:buAutoNum type="arabicPeriod"/>
            </a:pPr>
            <a:endParaRPr lang="en-US" sz="900" dirty="0">
              <a:solidFill>
                <a:schemeClr val="tx1"/>
              </a:solidFill>
              <a:latin typeface="+mn-lt"/>
            </a:endParaRPr>
          </a:p>
          <a:p>
            <a:pPr>
              <a:spcBef>
                <a:spcPts val="200"/>
              </a:spcBef>
              <a:spcAft>
                <a:spcPts val="200"/>
              </a:spcAft>
            </a:pPr>
            <a:r>
              <a:rPr lang="en-US" sz="900" b="1" dirty="0">
                <a:solidFill>
                  <a:schemeClr val="tx1"/>
                </a:solidFill>
                <a:latin typeface="+mn-lt"/>
              </a:rPr>
              <a:t>To fix this:</a:t>
            </a:r>
          </a:p>
          <a:p>
            <a:pPr marL="179388" indent="-179388">
              <a:spcBef>
                <a:spcPts val="200"/>
              </a:spcBef>
              <a:spcAft>
                <a:spcPts val="200"/>
              </a:spcAft>
              <a:buFont typeface="+mj-lt"/>
              <a:buAutoNum type="arabicPeriod"/>
            </a:pPr>
            <a:r>
              <a:rPr lang="en-US" sz="900" dirty="0">
                <a:solidFill>
                  <a:schemeClr val="tx1"/>
                </a:solidFill>
                <a:latin typeface="+mn-lt"/>
              </a:rPr>
              <a:t>Click on the image and from the top menu under </a:t>
            </a:r>
            <a:r>
              <a:rPr lang="en-US" sz="900" b="1" dirty="0">
                <a:solidFill>
                  <a:schemeClr val="tx1"/>
                </a:solidFill>
                <a:latin typeface="+mn-lt"/>
              </a:rPr>
              <a:t>PICTURE FORMAT </a:t>
            </a:r>
            <a:r>
              <a:rPr lang="en-US" sz="900" dirty="0">
                <a:solidFill>
                  <a:schemeClr val="tx1"/>
                </a:solidFill>
                <a:latin typeface="+mn-lt"/>
              </a:rPr>
              <a:t>select the </a:t>
            </a:r>
            <a:r>
              <a:rPr lang="en-US" sz="900" b="1" dirty="0">
                <a:solidFill>
                  <a:schemeClr val="tx1"/>
                </a:solidFill>
                <a:latin typeface="+mn-lt"/>
              </a:rPr>
              <a:t>CROP</a:t>
            </a:r>
            <a:r>
              <a:rPr lang="en-US" sz="900" dirty="0">
                <a:solidFill>
                  <a:schemeClr val="tx1"/>
                </a:solidFill>
                <a:latin typeface="+mn-lt"/>
              </a:rPr>
              <a:t> on the right and from the drop down menu select </a:t>
            </a:r>
            <a:r>
              <a:rPr lang="en-US" sz="900" b="1" kern="1200" dirty="0">
                <a:solidFill>
                  <a:schemeClr val="tx1"/>
                </a:solidFill>
                <a:latin typeface="+mn-lt"/>
                <a:ea typeface="+mn-ea"/>
                <a:cs typeface="+mn-cs"/>
              </a:rPr>
              <a:t>FILL</a:t>
            </a:r>
          </a:p>
          <a:p>
            <a:pPr marL="179388" indent="-179388">
              <a:spcBef>
                <a:spcPts val="200"/>
              </a:spcBef>
              <a:spcAft>
                <a:spcPts val="200"/>
              </a:spcAft>
              <a:buFont typeface="+mj-lt"/>
              <a:buAutoNum type="arabicPeriod"/>
            </a:pPr>
            <a:r>
              <a:rPr lang="en-US" sz="900" b="0" kern="1200" dirty="0">
                <a:solidFill>
                  <a:schemeClr val="tx1"/>
                </a:solidFill>
                <a:latin typeface="+mn-lt"/>
                <a:ea typeface="+mn-ea"/>
                <a:cs typeface="+mn-cs"/>
              </a:rPr>
              <a:t>From here you can move the image within the shape for best visual appearance</a:t>
            </a:r>
          </a:p>
          <a:p>
            <a:pPr marL="179388" indent="-179388">
              <a:spcBef>
                <a:spcPts val="200"/>
              </a:spcBef>
              <a:spcAft>
                <a:spcPts val="200"/>
              </a:spcAft>
              <a:buFont typeface="+mj-lt"/>
              <a:buAutoNum type="arabicPeriod"/>
            </a:pPr>
            <a:endParaRPr lang="en-US" sz="900" b="0" i="0" kern="1200" dirty="0">
              <a:solidFill>
                <a:schemeClr val="tx1"/>
              </a:solidFill>
              <a:latin typeface="+mn-lt"/>
              <a:ea typeface="+mn-ea"/>
              <a:cs typeface="+mn-cs"/>
            </a:endParaRPr>
          </a:p>
          <a:p>
            <a:pPr marL="0" marR="0" lvl="0" indent="0" algn="l" defTabSz="914400" rtl="0" eaLnBrk="1" fontAlgn="auto" latinLnBrk="0" hangingPunct="1">
              <a:lnSpc>
                <a:spcPct val="100000"/>
              </a:lnSpc>
              <a:spcBef>
                <a:spcPts val="200"/>
              </a:spcBef>
              <a:spcAft>
                <a:spcPts val="200"/>
              </a:spcAft>
              <a:buClrTx/>
              <a:buSzTx/>
              <a:buFont typeface="+mj-lt"/>
              <a:buNone/>
              <a:tabLst/>
              <a:defRPr/>
            </a:pPr>
            <a:r>
              <a:rPr lang="en-GB" sz="1000" b="1" i="0" dirty="0">
                <a:effectLst/>
                <a:latin typeface="Arial" panose="020B0604020202020204" pitchFamily="34" charset="0"/>
                <a:ea typeface="Calibri" panose="020F0502020204030204" pitchFamily="34" charset="0"/>
              </a:rPr>
              <a:t>When inserting staff photos, </a:t>
            </a:r>
            <a:r>
              <a:rPr lang="en-GB" sz="1000" i="0" dirty="0">
                <a:effectLst/>
                <a:latin typeface="Arial" panose="020B0604020202020204" pitchFamily="34" charset="0"/>
                <a:ea typeface="Calibri" panose="020F0502020204030204" pitchFamily="34" charset="0"/>
              </a:rPr>
              <a:t>please use the same method as suggested above. To ensure you are using staff photos that are optimised for use in this Pitch Template, please insert them from the “Staff Photos 40x40 BW” folder, located in the Staff photos section of the HFW Pitch Template folder.</a:t>
            </a:r>
            <a:endParaRPr lang="en-GB" sz="1000" i="0" dirty="0">
              <a:effectLst/>
              <a:latin typeface="Calibri" panose="020F0502020204030204" pitchFamily="34" charset="0"/>
              <a:ea typeface="Calibri" panose="020F0502020204030204" pitchFamily="34" charset="0"/>
            </a:endParaRPr>
          </a:p>
          <a:p>
            <a:pPr marL="179388" indent="-179388">
              <a:spcBef>
                <a:spcPts val="200"/>
              </a:spcBef>
              <a:spcAft>
                <a:spcPts val="200"/>
              </a:spcAft>
              <a:buFont typeface="+mj-lt"/>
              <a:buAutoNum type="arabicPeriod"/>
            </a:pPr>
            <a:endParaRPr lang="en-US" sz="900" b="0" kern="1200" dirty="0">
              <a:solidFill>
                <a:schemeClr val="tx1"/>
              </a:solidFill>
              <a:latin typeface="+mn-lt"/>
              <a:ea typeface="+mn-ea"/>
              <a:cs typeface="+mn-cs"/>
            </a:endParaRPr>
          </a:p>
          <a:p>
            <a:pPr marL="179388" indent="-179388">
              <a:spcBef>
                <a:spcPts val="200"/>
              </a:spcBef>
              <a:spcAft>
                <a:spcPts val="200"/>
              </a:spcAft>
              <a:buFont typeface="+mj-lt"/>
              <a:buAutoNum type="arabicPeriod"/>
            </a:pPr>
            <a:endParaRPr lang="en-US" sz="900" b="0" kern="1200" dirty="0">
              <a:solidFill>
                <a:schemeClr val="tx1"/>
              </a:solidFill>
              <a:latin typeface="+mn-lt"/>
              <a:ea typeface="+mn-ea"/>
              <a:cs typeface="+mn-cs"/>
            </a:endParaRPr>
          </a:p>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SAMPLE CONTACT LAYOUT</a:t>
            </a:r>
          </a:p>
        </p:txBody>
      </p:sp>
      <p:grpSp>
        <p:nvGrpSpPr>
          <p:cNvPr id="4" name="Group 3">
            <a:extLst>
              <a:ext uri="{FF2B5EF4-FFF2-40B4-BE49-F238E27FC236}">
                <a16:creationId xmlns:a16="http://schemas.microsoft.com/office/drawing/2014/main" id="{2F3BE283-3B92-563E-A743-597A5C156CA4}"/>
              </a:ext>
            </a:extLst>
          </p:cNvPr>
          <p:cNvGrpSpPr/>
          <p:nvPr userDrawn="1"/>
        </p:nvGrpSpPr>
        <p:grpSpPr>
          <a:xfrm>
            <a:off x="12437199" y="5138030"/>
            <a:ext cx="2813913" cy="819975"/>
            <a:chOff x="12399099" y="4230487"/>
            <a:chExt cx="2813913" cy="819975"/>
          </a:xfrm>
        </p:grpSpPr>
        <p:sp>
          <p:nvSpPr>
            <p:cNvPr id="8" name="TextBox 7">
              <a:extLst>
                <a:ext uri="{FF2B5EF4-FFF2-40B4-BE49-F238E27FC236}">
                  <a16:creationId xmlns:a16="http://schemas.microsoft.com/office/drawing/2014/main" id="{C8C7B7DD-6D0C-315C-A08E-74C40237B3D8}"/>
                </a:ext>
              </a:extLst>
            </p:cNvPr>
            <p:cNvSpPr txBox="1"/>
            <p:nvPr userDrawn="1"/>
          </p:nvSpPr>
          <p:spPr>
            <a:xfrm flipH="1">
              <a:off x="12573262" y="4663953"/>
              <a:ext cx="2639750"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grpSp>
          <p:nvGrpSpPr>
            <p:cNvPr id="10" name="Group 9">
              <a:extLst>
                <a:ext uri="{FF2B5EF4-FFF2-40B4-BE49-F238E27FC236}">
                  <a16:creationId xmlns:a16="http://schemas.microsoft.com/office/drawing/2014/main" id="{78A2293A-1913-76C0-D851-3D5EC7A62009}"/>
                </a:ext>
              </a:extLst>
            </p:cNvPr>
            <p:cNvGrpSpPr/>
            <p:nvPr userDrawn="1"/>
          </p:nvGrpSpPr>
          <p:grpSpPr>
            <a:xfrm>
              <a:off x="12399099" y="4230487"/>
              <a:ext cx="2326813" cy="819975"/>
              <a:chOff x="12399099" y="4230487"/>
              <a:chExt cx="2326813" cy="819975"/>
            </a:xfrm>
          </p:grpSpPr>
          <p:sp>
            <p:nvSpPr>
              <p:cNvPr id="11" name="TextBox 10">
                <a:extLst>
                  <a:ext uri="{FF2B5EF4-FFF2-40B4-BE49-F238E27FC236}">
                    <a16:creationId xmlns:a16="http://schemas.microsoft.com/office/drawing/2014/main" id="{F3CB0B0E-758B-1961-6AF7-C3D947808D51}"/>
                  </a:ext>
                </a:extLst>
              </p:cNvPr>
              <p:cNvSpPr txBox="1"/>
              <p:nvPr userDrawn="1"/>
            </p:nvSpPr>
            <p:spPr>
              <a:xfrm flipH="1">
                <a:off x="12399100" y="4663953"/>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28" name="TextBox 27">
                <a:extLst>
                  <a:ext uri="{FF2B5EF4-FFF2-40B4-BE49-F238E27FC236}">
                    <a16:creationId xmlns:a16="http://schemas.microsoft.com/office/drawing/2014/main" id="{C0E876FD-75A9-BAE7-8311-A7B4118A09A7}"/>
                  </a:ext>
                </a:extLst>
              </p:cNvPr>
              <p:cNvSpPr txBox="1"/>
              <p:nvPr userDrawn="1"/>
            </p:nvSpPr>
            <p:spPr>
              <a:xfrm flipH="1">
                <a:off x="12399100" y="4881185"/>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E</a:t>
                </a:r>
              </a:p>
            </p:txBody>
          </p:sp>
          <p:sp>
            <p:nvSpPr>
              <p:cNvPr id="32" name="TextBox 31">
                <a:extLst>
                  <a:ext uri="{FF2B5EF4-FFF2-40B4-BE49-F238E27FC236}">
                    <a16:creationId xmlns:a16="http://schemas.microsoft.com/office/drawing/2014/main" id="{ABC9559D-8CD4-548B-956A-EA44BD1DC5C6}"/>
                  </a:ext>
                </a:extLst>
              </p:cNvPr>
              <p:cNvSpPr txBox="1"/>
              <p:nvPr userDrawn="1"/>
            </p:nvSpPr>
            <p:spPr>
              <a:xfrm flipH="1">
                <a:off x="12573262" y="4881185"/>
                <a:ext cx="2152650"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name.surname@hfw.com</a:t>
                </a:r>
                <a:endParaRPr lang="en-US" dirty="0"/>
              </a:p>
            </p:txBody>
          </p:sp>
          <p:sp>
            <p:nvSpPr>
              <p:cNvPr id="33" name="TextBox 32">
                <a:extLst>
                  <a:ext uri="{FF2B5EF4-FFF2-40B4-BE49-F238E27FC236}">
                    <a16:creationId xmlns:a16="http://schemas.microsoft.com/office/drawing/2014/main" id="{18E3B791-7E54-3818-18D3-0004FAAAF9EE}"/>
                  </a:ext>
                </a:extLst>
              </p:cNvPr>
              <p:cNvSpPr txBox="1"/>
              <p:nvPr userDrawn="1"/>
            </p:nvSpPr>
            <p:spPr>
              <a:xfrm flipH="1">
                <a:off x="12399099" y="4230487"/>
                <a:ext cx="1968833"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solidFill>
                      <a:schemeClr val="tx2"/>
                    </a:solidFill>
                    <a:latin typeface="+mj-lt"/>
                  </a:rPr>
                  <a:t>NAME SURNAME</a:t>
                </a:r>
              </a:p>
            </p:txBody>
          </p:sp>
          <p:sp>
            <p:nvSpPr>
              <p:cNvPr id="34" name="TextBox 33">
                <a:extLst>
                  <a:ext uri="{FF2B5EF4-FFF2-40B4-BE49-F238E27FC236}">
                    <a16:creationId xmlns:a16="http://schemas.microsoft.com/office/drawing/2014/main" id="{EC099238-34C5-D997-49D7-9886D809F8E5}"/>
                  </a:ext>
                </a:extLst>
              </p:cNvPr>
              <p:cNvSpPr txBox="1"/>
              <p:nvPr userDrawn="1"/>
            </p:nvSpPr>
            <p:spPr>
              <a:xfrm flipH="1">
                <a:off x="12399099" y="4445785"/>
                <a:ext cx="1968833"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US" dirty="0"/>
                  <a:t>Position, Location</a:t>
                </a:r>
              </a:p>
            </p:txBody>
          </p:sp>
        </p:grpSp>
      </p:grpSp>
    </p:spTree>
    <p:extLst>
      <p:ext uri="{BB962C8B-B14F-4D97-AF65-F5344CB8AC3E}">
        <p14:creationId xmlns:p14="http://schemas.microsoft.com/office/powerpoint/2010/main" val="257537140"/>
      </p:ext>
    </p:extLst>
  </p:cSld>
  <p:clrMapOvr>
    <a:masterClrMapping/>
  </p:clrMapOvr>
  <p:transition spd="med">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Key Contacts 1 &amp; Bullets">
    <p:bg>
      <p:bgPr>
        <a:solidFill>
          <a:schemeClr val="bg2"/>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BAEBD445-A1FC-2982-56FD-02AAAC44A523}"/>
              </a:ext>
            </a:extLst>
          </p:cNvPr>
          <p:cNvSpPr/>
          <p:nvPr userDrawn="1"/>
        </p:nvSpPr>
        <p:spPr>
          <a:xfrm>
            <a:off x="8126413" y="0"/>
            <a:ext cx="4065587"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hasCustomPrompt="1"/>
          </p:nvPr>
        </p:nvSpPr>
        <p:spPr>
          <a:xfrm>
            <a:off x="508000" y="454013"/>
            <a:ext cx="7459663" cy="663587"/>
          </a:xfrm>
        </p:spPr>
        <p:txBody>
          <a:bodyPr/>
          <a:lstStyle>
            <a:lvl1pPr>
              <a:defRPr/>
            </a:lvl1pPr>
          </a:lstStyle>
          <a:p>
            <a:r>
              <a:rPr lang="en-US" dirty="0"/>
              <a:t>Key contact</a:t>
            </a:r>
          </a:p>
        </p:txBody>
      </p:sp>
      <p:sp>
        <p:nvSpPr>
          <p:cNvPr id="5" name="Footer Placeholder 4"/>
          <p:cNvSpPr>
            <a:spLocks noGrp="1"/>
          </p:cNvSpPr>
          <p:nvPr>
            <p:ph type="ftr" sz="quarter" idx="11"/>
          </p:nvPr>
        </p:nvSpPr>
        <p:spPr/>
        <p:txBody>
          <a:bodyPr/>
          <a:lstStyle/>
          <a:p>
            <a:r>
              <a:rPr lang="en-GB"/>
              <a:t>INSERT FOOTER HERE</a:t>
            </a:r>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8CFE0557-AA98-4E6C-B0C3-581794696B68}" type="slidenum">
              <a:rPr lang="en-GB" smtClean="0"/>
              <a:pPr/>
              <a:t>‹#›</a:t>
            </a:fld>
            <a:endParaRPr lang="en-GB"/>
          </a:p>
        </p:txBody>
      </p:sp>
      <p:sp>
        <p:nvSpPr>
          <p:cNvPr id="7" name="Content Placeholder 2">
            <a:extLst>
              <a:ext uri="{FF2B5EF4-FFF2-40B4-BE49-F238E27FC236}">
                <a16:creationId xmlns:a16="http://schemas.microsoft.com/office/drawing/2014/main" id="{6A078DCC-43B1-8D23-0AA3-05E731BDE2C0}"/>
              </a:ext>
            </a:extLst>
          </p:cNvPr>
          <p:cNvSpPr>
            <a:spLocks noGrp="1"/>
          </p:cNvSpPr>
          <p:nvPr>
            <p:ph idx="21" hasCustomPrompt="1"/>
          </p:nvPr>
        </p:nvSpPr>
        <p:spPr>
          <a:xfrm>
            <a:off x="504826" y="2315934"/>
            <a:ext cx="3403599" cy="2874138"/>
          </a:xfrm>
        </p:spPr>
        <p:txBody>
          <a:bodyPr vert="horz" lIns="0" tIns="45720" rIns="0" bIns="4572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12" name="Content Placeholder 2">
            <a:extLst>
              <a:ext uri="{FF2B5EF4-FFF2-40B4-BE49-F238E27FC236}">
                <a16:creationId xmlns:a16="http://schemas.microsoft.com/office/drawing/2014/main" id="{44E07C73-29FB-D898-A303-EE530927EF1D}"/>
              </a:ext>
            </a:extLst>
          </p:cNvPr>
          <p:cNvSpPr>
            <a:spLocks noGrp="1"/>
          </p:cNvSpPr>
          <p:nvPr>
            <p:ph idx="22" hasCustomPrompt="1"/>
          </p:nvPr>
        </p:nvSpPr>
        <p:spPr>
          <a:xfrm>
            <a:off x="4238626" y="2315934"/>
            <a:ext cx="3403599" cy="2874138"/>
          </a:xfrm>
        </p:spPr>
        <p:txBody>
          <a:bodyPr vert="horz" lIns="0" tIns="45720" rIns="0" bIns="4572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14" name="Text Placeholder 12">
            <a:extLst>
              <a:ext uri="{FF2B5EF4-FFF2-40B4-BE49-F238E27FC236}">
                <a16:creationId xmlns:a16="http://schemas.microsoft.com/office/drawing/2014/main" id="{C476BCA0-8C8E-A7CB-4F10-078CCA835BFE}"/>
              </a:ext>
            </a:extLst>
          </p:cNvPr>
          <p:cNvSpPr>
            <a:spLocks noGrp="1"/>
          </p:cNvSpPr>
          <p:nvPr>
            <p:ph type="body" sz="quarter" idx="34" hasCustomPrompt="1"/>
          </p:nvPr>
        </p:nvSpPr>
        <p:spPr>
          <a:xfrm>
            <a:off x="508000" y="5334846"/>
            <a:ext cx="7127876" cy="681779"/>
          </a:xfrm>
        </p:spPr>
        <p:txBody>
          <a:bodyPr vert="horz" lIns="0" tIns="45720" rIns="0" bIns="0" rtlCol="0" anchor="b" anchorCtr="0">
            <a:noAutofit/>
          </a:bodyPr>
          <a:lstStyle>
            <a:lvl1pPr marL="108000" indent="-108000">
              <a:lnSpc>
                <a:spcPct val="110000"/>
              </a:lnSpc>
              <a:spcBef>
                <a:spcPts val="0"/>
              </a:spcBef>
              <a:spcAft>
                <a:spcPts val="0"/>
              </a:spcAft>
              <a:defRPr lang="en-US" sz="2000" dirty="0">
                <a:solidFill>
                  <a:schemeClr val="accent2"/>
                </a:solidFill>
              </a:defRPr>
            </a:lvl1pPr>
            <a:lvl2pPr>
              <a:defRPr lang="en-US" sz="1400" dirty="0">
                <a:solidFill>
                  <a:schemeClr val="tx2"/>
                </a:solidFill>
                <a:latin typeface="+mj-lt"/>
              </a:defRPr>
            </a:lvl2pPr>
          </a:lstStyle>
          <a:p>
            <a:pPr marL="108000" lvl="0" indent="-108000">
              <a:lnSpc>
                <a:spcPct val="100000"/>
              </a:lnSpc>
              <a:spcBef>
                <a:spcPts val="200"/>
              </a:spcBef>
              <a:spcAft>
                <a:spcPts val="200"/>
              </a:spcAft>
            </a:pPr>
            <a:r>
              <a:rPr lang="en-US" dirty="0"/>
              <a:t>“Quote goes here.”</a:t>
            </a:r>
          </a:p>
        </p:txBody>
      </p:sp>
      <p:sp>
        <p:nvSpPr>
          <p:cNvPr id="15" name="Text Placeholder 7">
            <a:extLst>
              <a:ext uri="{FF2B5EF4-FFF2-40B4-BE49-F238E27FC236}">
                <a16:creationId xmlns:a16="http://schemas.microsoft.com/office/drawing/2014/main" id="{C55AA05B-151A-5173-D185-EDFA2BA16A2F}"/>
              </a:ext>
            </a:extLst>
          </p:cNvPr>
          <p:cNvSpPr>
            <a:spLocks noGrp="1"/>
          </p:cNvSpPr>
          <p:nvPr>
            <p:ph type="body" sz="quarter" idx="24" hasCustomPrompt="1"/>
          </p:nvPr>
        </p:nvSpPr>
        <p:spPr>
          <a:xfrm>
            <a:off x="508000" y="6047121"/>
            <a:ext cx="7127876" cy="215444"/>
          </a:xfrm>
        </p:spPr>
        <p:txBody>
          <a:bodyPr wrap="square" tIns="0" bIns="0" anchor="b" anchorCtr="0">
            <a:spAutoFit/>
          </a:bodyPr>
          <a:lstStyle>
            <a:lvl1pPr marL="108000">
              <a:lnSpc>
                <a:spcPct val="100000"/>
              </a:lnSpc>
              <a:defRPr sz="1400" cap="all" baseline="0">
                <a:solidFill>
                  <a:schemeClr val="tx2"/>
                </a:solidFill>
                <a:latin typeface="+mj-lt"/>
              </a:defRPr>
            </a:lvl1pPr>
            <a:lvl2pPr marL="108000">
              <a:lnSpc>
                <a:spcPct val="100000"/>
              </a:lnSpc>
              <a:defRPr sz="1400" cap="all" baseline="0">
                <a:solidFill>
                  <a:schemeClr val="tx2"/>
                </a:solidFill>
                <a:latin typeface="+mj-lt"/>
              </a:defRPr>
            </a:lvl2pPr>
            <a:lvl3pPr marL="108000">
              <a:lnSpc>
                <a:spcPct val="100000"/>
              </a:lnSpc>
              <a:defRPr sz="1400" cap="all" baseline="0">
                <a:solidFill>
                  <a:schemeClr val="tx2"/>
                </a:solidFill>
                <a:latin typeface="+mj-lt"/>
              </a:defRPr>
            </a:lvl3pPr>
            <a:lvl4pPr marL="108000">
              <a:lnSpc>
                <a:spcPct val="100000"/>
              </a:lnSpc>
              <a:defRPr sz="1400" cap="all" baseline="0">
                <a:solidFill>
                  <a:schemeClr val="tx2"/>
                </a:solidFill>
                <a:latin typeface="+mj-lt"/>
              </a:defRPr>
            </a:lvl4pPr>
            <a:lvl5pPr marL="108000">
              <a:lnSpc>
                <a:spcPct val="100000"/>
              </a:lnSpc>
              <a:defRPr sz="1400" cap="all" baseline="0">
                <a:solidFill>
                  <a:schemeClr val="tx2"/>
                </a:solidFill>
                <a:latin typeface="+mj-lt"/>
              </a:defRPr>
            </a:lvl5pPr>
          </a:lstStyle>
          <a:p>
            <a:pPr lvl="0"/>
            <a:r>
              <a:rPr lang="en-US" dirty="0"/>
              <a:t>quote author</a:t>
            </a:r>
            <a:endParaRPr lang="en-GB" dirty="0"/>
          </a:p>
        </p:txBody>
      </p:sp>
      <p:sp>
        <p:nvSpPr>
          <p:cNvPr id="25" name="Picture Placeholder 14">
            <a:extLst>
              <a:ext uri="{FF2B5EF4-FFF2-40B4-BE49-F238E27FC236}">
                <a16:creationId xmlns:a16="http://schemas.microsoft.com/office/drawing/2014/main" id="{FF2D5E29-3EF6-743F-8351-C2EB434BAEBA}"/>
              </a:ext>
            </a:extLst>
          </p:cNvPr>
          <p:cNvSpPr>
            <a:spLocks noGrp="1"/>
          </p:cNvSpPr>
          <p:nvPr>
            <p:ph type="pic" sz="quarter" idx="40" hasCustomPrompt="1"/>
          </p:nvPr>
        </p:nvSpPr>
        <p:spPr>
          <a:xfrm>
            <a:off x="516891" y="1298891"/>
            <a:ext cx="876299" cy="876299"/>
          </a:xfrm>
          <a:solidFill>
            <a:schemeClr val="bg1"/>
          </a:solidFill>
        </p:spPr>
        <p:txBody>
          <a:bodyPr anchor="ctr">
            <a:normAutofit/>
          </a:bodyPr>
          <a:lstStyle>
            <a:lvl1pPr algn="ctr">
              <a:defRPr sz="1000">
                <a:latin typeface="+mn-lt"/>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GB" dirty="0"/>
              <a:t>Picture</a:t>
            </a:r>
          </a:p>
        </p:txBody>
      </p:sp>
      <p:sp>
        <p:nvSpPr>
          <p:cNvPr id="26" name="Text Placeholder 16">
            <a:extLst>
              <a:ext uri="{FF2B5EF4-FFF2-40B4-BE49-F238E27FC236}">
                <a16:creationId xmlns:a16="http://schemas.microsoft.com/office/drawing/2014/main" id="{69D3C6DD-0294-C68D-A718-4498003298CA}"/>
              </a:ext>
            </a:extLst>
          </p:cNvPr>
          <p:cNvSpPr>
            <a:spLocks noGrp="1"/>
          </p:cNvSpPr>
          <p:nvPr>
            <p:ph type="body" sz="quarter" idx="41" hasCustomPrompt="1"/>
          </p:nvPr>
        </p:nvSpPr>
        <p:spPr>
          <a:xfrm>
            <a:off x="1492805" y="1538859"/>
            <a:ext cx="2543172"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US" dirty="0"/>
              <a:t>Position, Location</a:t>
            </a:r>
          </a:p>
        </p:txBody>
      </p:sp>
      <p:sp>
        <p:nvSpPr>
          <p:cNvPr id="27" name="Text Placeholder 16">
            <a:extLst>
              <a:ext uri="{FF2B5EF4-FFF2-40B4-BE49-F238E27FC236}">
                <a16:creationId xmlns:a16="http://schemas.microsoft.com/office/drawing/2014/main" id="{31585877-4B56-C5A8-9A65-B7D2E67B7B25}"/>
              </a:ext>
            </a:extLst>
          </p:cNvPr>
          <p:cNvSpPr>
            <a:spLocks noGrp="1"/>
          </p:cNvSpPr>
          <p:nvPr>
            <p:ph type="body" sz="quarter" idx="42" hasCustomPrompt="1"/>
          </p:nvPr>
        </p:nvSpPr>
        <p:spPr>
          <a:xfrm>
            <a:off x="1492805" y="1321689"/>
            <a:ext cx="2543172" cy="169277"/>
          </a:xfrm>
        </p:spPr>
        <p:txBody>
          <a:bodyPr tIns="0" bIns="0">
            <a:noAutofit/>
          </a:bodyPr>
          <a:lstStyle>
            <a:lvl1pPr algn="l">
              <a:lnSpc>
                <a:spcPct val="100000"/>
              </a:lnSpc>
              <a:spcBef>
                <a:spcPts val="0"/>
              </a:spcBef>
              <a:spcAft>
                <a:spcPts val="0"/>
              </a:spcAft>
              <a:defRPr sz="1100" cap="all" baseline="0">
                <a:solidFill>
                  <a:schemeClr val="tx2"/>
                </a:solidFill>
                <a:latin typeface="+mj-lt"/>
              </a:defRPr>
            </a:lvl1pPr>
            <a:lvl2pPr algn="l">
              <a:lnSpc>
                <a:spcPct val="100000"/>
              </a:lnSpc>
              <a:spcBef>
                <a:spcPts val="200"/>
              </a:spcBef>
              <a:spcAft>
                <a:spcPts val="200"/>
              </a:spcAft>
              <a:defRPr sz="1100">
                <a:solidFill>
                  <a:schemeClr val="tx1"/>
                </a:solidFill>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lvl="0"/>
            <a:r>
              <a:rPr lang="en-US" dirty="0"/>
              <a:t>NAME SURNAME</a:t>
            </a:r>
          </a:p>
        </p:txBody>
      </p:sp>
      <p:sp>
        <p:nvSpPr>
          <p:cNvPr id="29" name="Text Placeholder 16">
            <a:extLst>
              <a:ext uri="{FF2B5EF4-FFF2-40B4-BE49-F238E27FC236}">
                <a16:creationId xmlns:a16="http://schemas.microsoft.com/office/drawing/2014/main" id="{9509F098-0BB1-EDFD-C053-10B2C0DAF418}"/>
              </a:ext>
            </a:extLst>
          </p:cNvPr>
          <p:cNvSpPr>
            <a:spLocks noGrp="1"/>
          </p:cNvSpPr>
          <p:nvPr>
            <p:ph type="body" sz="quarter" idx="43" hasCustomPrompt="1"/>
          </p:nvPr>
        </p:nvSpPr>
        <p:spPr>
          <a:xfrm>
            <a:off x="1668488" y="1756091"/>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sp>
        <p:nvSpPr>
          <p:cNvPr id="30" name="Text Placeholder 16">
            <a:extLst>
              <a:ext uri="{FF2B5EF4-FFF2-40B4-BE49-F238E27FC236}">
                <a16:creationId xmlns:a16="http://schemas.microsoft.com/office/drawing/2014/main" id="{2863FF7E-DEC7-3134-F3E6-0308C70D6D46}"/>
              </a:ext>
            </a:extLst>
          </p:cNvPr>
          <p:cNvSpPr>
            <a:spLocks noGrp="1"/>
          </p:cNvSpPr>
          <p:nvPr>
            <p:ph type="body" sz="quarter" idx="44" hasCustomPrompt="1"/>
          </p:nvPr>
        </p:nvSpPr>
        <p:spPr>
          <a:xfrm>
            <a:off x="1668488" y="1973323"/>
            <a:ext cx="2367489" cy="169277"/>
          </a:xfrm>
        </p:spPr>
        <p:txBody>
          <a:bodyPr tIns="0" bIns="0">
            <a:noAutofit/>
          </a:bodyPr>
          <a:lstStyle>
            <a:lvl1pPr algn="l">
              <a:lnSpc>
                <a:spcPct val="100000"/>
              </a:lnSpc>
              <a:spcBef>
                <a:spcPts val="200"/>
              </a:spcBef>
              <a:spcAft>
                <a:spcPts val="200"/>
              </a:spcAft>
              <a:defRPr sz="1100">
                <a:solidFill>
                  <a:schemeClr val="tx1"/>
                </a:solidFill>
                <a:latin typeface="+mn-lt"/>
              </a:defRPr>
            </a:lvl1pPr>
            <a:lvl2pPr algn="l">
              <a:lnSpc>
                <a:spcPct val="100000"/>
              </a:lnSpc>
              <a:spcBef>
                <a:spcPts val="200"/>
              </a:spcBef>
              <a:spcAft>
                <a:spcPts val="200"/>
              </a:spcAft>
              <a:defRPr lang="en-US" sz="1100" kern="1200" dirty="0">
                <a:solidFill>
                  <a:schemeClr val="tx1"/>
                </a:solidFill>
                <a:latin typeface="+mn-lt"/>
                <a:ea typeface="+mn-ea"/>
                <a:cs typeface="+mn-cs"/>
              </a:defRPr>
            </a:lvl2pPr>
            <a:lvl3pPr algn="l">
              <a:lnSpc>
                <a:spcPct val="100000"/>
              </a:lnSpc>
              <a:spcBef>
                <a:spcPts val="200"/>
              </a:spcBef>
              <a:spcAft>
                <a:spcPts val="200"/>
              </a:spcAft>
              <a:buClr>
                <a:schemeClr val="bg1"/>
              </a:buClr>
              <a:defRPr sz="1100">
                <a:solidFill>
                  <a:schemeClr val="tx1"/>
                </a:solidFill>
              </a:defRPr>
            </a:lvl3pPr>
            <a:lvl4pPr algn="l">
              <a:lnSpc>
                <a:spcPct val="100000"/>
              </a:lnSpc>
              <a:spcBef>
                <a:spcPts val="200"/>
              </a:spcBef>
              <a:spcAft>
                <a:spcPts val="200"/>
              </a:spcAft>
              <a:buClr>
                <a:schemeClr val="bg1"/>
              </a:buClr>
              <a:defRPr sz="1100">
                <a:solidFill>
                  <a:schemeClr val="tx1"/>
                </a:solidFill>
              </a:defRPr>
            </a:lvl4pPr>
            <a:lvl5pPr algn="l">
              <a:lnSpc>
                <a:spcPct val="100000"/>
              </a:lnSpc>
              <a:spcBef>
                <a:spcPts val="200"/>
              </a:spcBef>
              <a:spcAft>
                <a:spcPts val="200"/>
              </a:spcAft>
              <a:buClr>
                <a:schemeClr val="bg1"/>
              </a:buClr>
              <a:defRPr sz="1100">
                <a:solidFill>
                  <a:schemeClr val="tx1"/>
                </a:solidFill>
              </a:defRPr>
            </a:lvl5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name.surname@hfw.com</a:t>
            </a:r>
            <a:endParaRPr lang="en-US" dirty="0"/>
          </a:p>
        </p:txBody>
      </p:sp>
      <p:sp>
        <p:nvSpPr>
          <p:cNvPr id="31" name="TextBox 30">
            <a:extLst>
              <a:ext uri="{FF2B5EF4-FFF2-40B4-BE49-F238E27FC236}">
                <a16:creationId xmlns:a16="http://schemas.microsoft.com/office/drawing/2014/main" id="{1217B7C6-8D46-136A-FE1C-B56A12D95CE8}"/>
              </a:ext>
            </a:extLst>
          </p:cNvPr>
          <p:cNvSpPr txBox="1"/>
          <p:nvPr userDrawn="1"/>
        </p:nvSpPr>
        <p:spPr>
          <a:xfrm flipH="1">
            <a:off x="1494324" y="1756091"/>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32" name="TextBox 31">
            <a:extLst>
              <a:ext uri="{FF2B5EF4-FFF2-40B4-BE49-F238E27FC236}">
                <a16:creationId xmlns:a16="http://schemas.microsoft.com/office/drawing/2014/main" id="{7973B918-54D4-25DA-112C-C262AD4E9D95}"/>
              </a:ext>
            </a:extLst>
          </p:cNvPr>
          <p:cNvSpPr txBox="1"/>
          <p:nvPr userDrawn="1"/>
        </p:nvSpPr>
        <p:spPr>
          <a:xfrm flipH="1">
            <a:off x="1494324" y="1973323"/>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E</a:t>
            </a:r>
          </a:p>
        </p:txBody>
      </p:sp>
      <p:sp>
        <p:nvSpPr>
          <p:cNvPr id="35" name="Content Placeholder 2">
            <a:extLst>
              <a:ext uri="{FF2B5EF4-FFF2-40B4-BE49-F238E27FC236}">
                <a16:creationId xmlns:a16="http://schemas.microsoft.com/office/drawing/2014/main" id="{0139114B-C5ED-1D76-F4AD-D8B268385D59}"/>
              </a:ext>
            </a:extLst>
          </p:cNvPr>
          <p:cNvSpPr>
            <a:spLocks noGrp="1"/>
          </p:cNvSpPr>
          <p:nvPr>
            <p:ph idx="45" hasCustomPrompt="1"/>
          </p:nvPr>
        </p:nvSpPr>
        <p:spPr>
          <a:xfrm>
            <a:off x="8737600" y="2262294"/>
            <a:ext cx="2963863" cy="3957531"/>
          </a:xfrm>
        </p:spPr>
        <p:txBody>
          <a:bodyPr vert="horz" lIns="0" tIns="45720" rIns="0" bIns="45720" rtlCol="0">
            <a:normAutofit/>
          </a:bodyPr>
          <a:lstStyle>
            <a:lvl1pPr algn="l" defTabSz="914400" rtl="0" eaLnBrk="1" latinLnBrk="0" hangingPunct="1">
              <a:lnSpc>
                <a:spcPct val="130000"/>
              </a:lnSpc>
              <a:spcBef>
                <a:spcPts val="300"/>
              </a:spcBef>
              <a:spcAft>
                <a:spcPts val="300"/>
              </a:spcAft>
              <a:buFont typeface="Arial" panose="020B0604020202020204" pitchFamily="34" charset="0"/>
              <a:defRPr lang="en-US" sz="1100" kern="1200" dirty="0">
                <a:solidFill>
                  <a:schemeClr val="tx1"/>
                </a:solidFill>
                <a:latin typeface="+mn-lt"/>
                <a:ea typeface="+mn-ea"/>
                <a:cs typeface="+mn-cs"/>
              </a:defRPr>
            </a:lvl1pPr>
            <a:lvl2pPr>
              <a:defRPr lang="en-US" dirty="0"/>
            </a:lvl2pPr>
            <a:lvl3pPr>
              <a:defRPr lang="en-US" dirty="0"/>
            </a:lvl3pPr>
            <a:lvl4pPr>
              <a:defRPr lang="en-US" dirty="0"/>
            </a:lvl4pPr>
            <a:lvl5pPr>
              <a:defRPr lang="en-US" dirty="0"/>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36" name="Content Placeholder 2">
            <a:extLst>
              <a:ext uri="{FF2B5EF4-FFF2-40B4-BE49-F238E27FC236}">
                <a16:creationId xmlns:a16="http://schemas.microsoft.com/office/drawing/2014/main" id="{128F6B8C-E257-E495-58ED-A215FF48DEA5}"/>
              </a:ext>
            </a:extLst>
          </p:cNvPr>
          <p:cNvSpPr>
            <a:spLocks noGrp="1"/>
          </p:cNvSpPr>
          <p:nvPr>
            <p:ph idx="1" hasCustomPrompt="1"/>
          </p:nvPr>
        </p:nvSpPr>
        <p:spPr>
          <a:xfrm>
            <a:off x="8737600" y="1896533"/>
            <a:ext cx="2946399" cy="365761"/>
          </a:xfrm>
        </p:spPr>
        <p:txBody>
          <a:bodyPr/>
          <a:lstStyle>
            <a:lvl1pPr>
              <a:defRPr cap="all" baseline="0"/>
            </a:lvl1pPr>
          </a:lstStyle>
          <a:p>
            <a:pPr lvl="0"/>
            <a:r>
              <a:rPr lang="en-US" dirty="0"/>
              <a:t>subhead</a:t>
            </a:r>
          </a:p>
        </p:txBody>
      </p:sp>
      <p:sp>
        <p:nvSpPr>
          <p:cNvPr id="3" name="TextBox 4">
            <a:extLst>
              <a:ext uri="{FF2B5EF4-FFF2-40B4-BE49-F238E27FC236}">
                <a16:creationId xmlns:a16="http://schemas.microsoft.com/office/drawing/2014/main" id="{DF43F6F4-EE25-DFF6-C9A4-CE521582B069}"/>
              </a:ext>
            </a:extLst>
          </p:cNvPr>
          <p:cNvSpPr txBox="1"/>
          <p:nvPr userDrawn="1"/>
        </p:nvSpPr>
        <p:spPr>
          <a:xfrm>
            <a:off x="12346713" y="109538"/>
            <a:ext cx="2253207" cy="498085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INSERTING IMAGES:</a:t>
            </a:r>
          </a:p>
          <a:p>
            <a:pPr marL="179388" indent="-179388">
              <a:spcBef>
                <a:spcPts val="200"/>
              </a:spcBef>
              <a:spcAft>
                <a:spcPts val="200"/>
              </a:spcAft>
              <a:buFont typeface="+mj-lt"/>
              <a:buAutoNum type="arabicPeriod"/>
            </a:pPr>
            <a:r>
              <a:rPr lang="en-US" sz="900" dirty="0">
                <a:solidFill>
                  <a:schemeClr val="tx1"/>
                </a:solidFill>
                <a:latin typeface="+mn-lt"/>
              </a:rPr>
              <a:t>Simply click the image placeholder and select your image.</a:t>
            </a:r>
          </a:p>
          <a:p>
            <a:pPr marL="179388" indent="-179388">
              <a:spcBef>
                <a:spcPts val="200"/>
              </a:spcBef>
              <a:spcAft>
                <a:spcPts val="200"/>
              </a:spcAft>
              <a:buFont typeface="+mj-lt"/>
              <a:buAutoNum type="arabicPeriod"/>
            </a:pPr>
            <a:r>
              <a:rPr lang="en-US" sz="900" dirty="0">
                <a:solidFill>
                  <a:schemeClr val="tx1"/>
                </a:solidFill>
                <a:latin typeface="+mn-lt"/>
              </a:rPr>
              <a:t>Once your image is inserted into the shape it may be distorted. (Stretched or Squashed)</a:t>
            </a:r>
          </a:p>
          <a:p>
            <a:pPr marL="179388" indent="-179388">
              <a:spcBef>
                <a:spcPts val="200"/>
              </a:spcBef>
              <a:spcAft>
                <a:spcPts val="200"/>
              </a:spcAft>
              <a:buFont typeface="+mj-lt"/>
              <a:buAutoNum type="arabicPeriod"/>
            </a:pPr>
            <a:endParaRPr lang="en-US" sz="900" dirty="0">
              <a:solidFill>
                <a:schemeClr val="tx1"/>
              </a:solidFill>
              <a:latin typeface="+mn-lt"/>
            </a:endParaRPr>
          </a:p>
          <a:p>
            <a:pPr>
              <a:spcBef>
                <a:spcPts val="200"/>
              </a:spcBef>
              <a:spcAft>
                <a:spcPts val="200"/>
              </a:spcAft>
            </a:pPr>
            <a:r>
              <a:rPr lang="en-US" sz="900" b="1" dirty="0">
                <a:solidFill>
                  <a:schemeClr val="tx1"/>
                </a:solidFill>
                <a:latin typeface="+mn-lt"/>
              </a:rPr>
              <a:t>To fix this:</a:t>
            </a:r>
          </a:p>
          <a:p>
            <a:pPr marL="179388" indent="-179388">
              <a:spcBef>
                <a:spcPts val="200"/>
              </a:spcBef>
              <a:spcAft>
                <a:spcPts val="200"/>
              </a:spcAft>
              <a:buFont typeface="+mj-lt"/>
              <a:buAutoNum type="arabicPeriod"/>
            </a:pPr>
            <a:r>
              <a:rPr lang="en-US" sz="900" dirty="0">
                <a:solidFill>
                  <a:schemeClr val="tx1"/>
                </a:solidFill>
                <a:latin typeface="+mn-lt"/>
              </a:rPr>
              <a:t>Click on the image and from the top menu under </a:t>
            </a:r>
            <a:r>
              <a:rPr lang="en-US" sz="900" b="1" dirty="0">
                <a:solidFill>
                  <a:schemeClr val="tx1"/>
                </a:solidFill>
                <a:latin typeface="+mn-lt"/>
              </a:rPr>
              <a:t>PICTURE FORMAT </a:t>
            </a:r>
            <a:r>
              <a:rPr lang="en-US" sz="900" dirty="0">
                <a:solidFill>
                  <a:schemeClr val="tx1"/>
                </a:solidFill>
                <a:latin typeface="+mn-lt"/>
              </a:rPr>
              <a:t>select the </a:t>
            </a:r>
            <a:r>
              <a:rPr lang="en-US" sz="900" b="1" dirty="0">
                <a:solidFill>
                  <a:schemeClr val="tx1"/>
                </a:solidFill>
                <a:latin typeface="+mn-lt"/>
              </a:rPr>
              <a:t>CROP</a:t>
            </a:r>
            <a:r>
              <a:rPr lang="en-US" sz="900" dirty="0">
                <a:solidFill>
                  <a:schemeClr val="tx1"/>
                </a:solidFill>
                <a:latin typeface="+mn-lt"/>
              </a:rPr>
              <a:t> on the right and from the drop down menu select </a:t>
            </a:r>
            <a:r>
              <a:rPr lang="en-US" sz="900" b="1" kern="1200" dirty="0">
                <a:solidFill>
                  <a:schemeClr val="tx1"/>
                </a:solidFill>
                <a:latin typeface="+mn-lt"/>
                <a:ea typeface="+mn-ea"/>
                <a:cs typeface="+mn-cs"/>
              </a:rPr>
              <a:t>FILL</a:t>
            </a:r>
          </a:p>
          <a:p>
            <a:pPr marL="179388" indent="-179388">
              <a:spcBef>
                <a:spcPts val="200"/>
              </a:spcBef>
              <a:spcAft>
                <a:spcPts val="200"/>
              </a:spcAft>
              <a:buFont typeface="+mj-lt"/>
              <a:buAutoNum type="arabicPeriod"/>
            </a:pPr>
            <a:r>
              <a:rPr lang="en-US" sz="900" b="0" kern="1200" dirty="0">
                <a:solidFill>
                  <a:schemeClr val="tx1"/>
                </a:solidFill>
                <a:latin typeface="+mn-lt"/>
                <a:ea typeface="+mn-ea"/>
                <a:cs typeface="+mn-cs"/>
              </a:rPr>
              <a:t>From here you can move the image within the shape for best visual appearance</a:t>
            </a:r>
          </a:p>
          <a:p>
            <a:pPr marL="179388" indent="-179388">
              <a:spcBef>
                <a:spcPts val="200"/>
              </a:spcBef>
              <a:spcAft>
                <a:spcPts val="200"/>
              </a:spcAft>
              <a:buFont typeface="+mj-lt"/>
              <a:buAutoNum type="arabicPeriod"/>
            </a:pPr>
            <a:endParaRPr lang="en-US" sz="900" b="0" i="0" kern="1200" dirty="0">
              <a:solidFill>
                <a:schemeClr val="tx1"/>
              </a:solidFill>
              <a:latin typeface="+mn-lt"/>
              <a:ea typeface="+mn-ea"/>
              <a:cs typeface="+mn-cs"/>
            </a:endParaRPr>
          </a:p>
          <a:p>
            <a:pPr marL="0" marR="0" lvl="0" indent="0" algn="l" defTabSz="914400" rtl="0" eaLnBrk="1" fontAlgn="auto" latinLnBrk="0" hangingPunct="1">
              <a:lnSpc>
                <a:spcPct val="100000"/>
              </a:lnSpc>
              <a:spcBef>
                <a:spcPts val="200"/>
              </a:spcBef>
              <a:spcAft>
                <a:spcPts val="200"/>
              </a:spcAft>
              <a:buClrTx/>
              <a:buSzTx/>
              <a:buFont typeface="+mj-lt"/>
              <a:buNone/>
              <a:tabLst/>
              <a:defRPr/>
            </a:pPr>
            <a:r>
              <a:rPr lang="en-GB" sz="1000" b="1" i="0" dirty="0">
                <a:effectLst/>
                <a:latin typeface="Arial" panose="020B0604020202020204" pitchFamily="34" charset="0"/>
                <a:ea typeface="Calibri" panose="020F0502020204030204" pitchFamily="34" charset="0"/>
              </a:rPr>
              <a:t>When inserting staff photos, </a:t>
            </a:r>
            <a:r>
              <a:rPr lang="en-GB" sz="1000" i="0" dirty="0">
                <a:effectLst/>
                <a:latin typeface="Arial" panose="020B0604020202020204" pitchFamily="34" charset="0"/>
                <a:ea typeface="Calibri" panose="020F0502020204030204" pitchFamily="34" charset="0"/>
              </a:rPr>
              <a:t>please use the same method as suggested above. To ensure you are using staff photos that are optimised for use in this Pitch Template, please insert them from the “Staff Photos 40x40 BW” folder, located in the Staff photos section of the HFW Pitch Template folder.</a:t>
            </a:r>
            <a:endParaRPr lang="en-GB" sz="1000" i="0" dirty="0">
              <a:effectLst/>
              <a:latin typeface="Calibri" panose="020F0502020204030204" pitchFamily="34" charset="0"/>
              <a:ea typeface="Calibri" panose="020F0502020204030204" pitchFamily="34" charset="0"/>
            </a:endParaRPr>
          </a:p>
          <a:p>
            <a:pPr marL="179388" indent="-179388">
              <a:spcBef>
                <a:spcPts val="200"/>
              </a:spcBef>
              <a:spcAft>
                <a:spcPts val="200"/>
              </a:spcAft>
              <a:buFont typeface="+mj-lt"/>
              <a:buAutoNum type="arabicPeriod"/>
            </a:pPr>
            <a:endParaRPr lang="en-US" sz="900" b="0" kern="1200" dirty="0">
              <a:solidFill>
                <a:schemeClr val="tx1"/>
              </a:solidFill>
              <a:latin typeface="+mn-lt"/>
              <a:ea typeface="+mn-ea"/>
              <a:cs typeface="+mn-cs"/>
            </a:endParaRPr>
          </a:p>
          <a:p>
            <a:pPr marL="179388" indent="-179388">
              <a:spcBef>
                <a:spcPts val="200"/>
              </a:spcBef>
              <a:spcAft>
                <a:spcPts val="200"/>
              </a:spcAft>
              <a:buFont typeface="+mj-lt"/>
              <a:buAutoNum type="arabicPeriod"/>
            </a:pPr>
            <a:endParaRPr lang="en-US" sz="900" b="0" kern="1200" dirty="0">
              <a:solidFill>
                <a:schemeClr val="tx1"/>
              </a:solidFill>
              <a:latin typeface="+mn-lt"/>
              <a:ea typeface="+mn-ea"/>
              <a:cs typeface="+mn-cs"/>
            </a:endParaRPr>
          </a:p>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SAMPLE CONTACT LAYOUT</a:t>
            </a:r>
          </a:p>
        </p:txBody>
      </p:sp>
      <p:grpSp>
        <p:nvGrpSpPr>
          <p:cNvPr id="4" name="Group 3">
            <a:extLst>
              <a:ext uri="{FF2B5EF4-FFF2-40B4-BE49-F238E27FC236}">
                <a16:creationId xmlns:a16="http://schemas.microsoft.com/office/drawing/2014/main" id="{2DE5B171-C3D7-8844-AE37-BD8630C61F2B}"/>
              </a:ext>
            </a:extLst>
          </p:cNvPr>
          <p:cNvGrpSpPr/>
          <p:nvPr userDrawn="1"/>
        </p:nvGrpSpPr>
        <p:grpSpPr>
          <a:xfrm>
            <a:off x="12437199" y="5138030"/>
            <a:ext cx="2813913" cy="819975"/>
            <a:chOff x="12399099" y="4230487"/>
            <a:chExt cx="2813913" cy="819975"/>
          </a:xfrm>
        </p:grpSpPr>
        <p:sp>
          <p:nvSpPr>
            <p:cNvPr id="8" name="TextBox 7">
              <a:extLst>
                <a:ext uri="{FF2B5EF4-FFF2-40B4-BE49-F238E27FC236}">
                  <a16:creationId xmlns:a16="http://schemas.microsoft.com/office/drawing/2014/main" id="{D48B7D76-D757-A890-E888-D4A444CC5557}"/>
                </a:ext>
              </a:extLst>
            </p:cNvPr>
            <p:cNvSpPr txBox="1"/>
            <p:nvPr userDrawn="1"/>
          </p:nvSpPr>
          <p:spPr>
            <a:xfrm flipH="1">
              <a:off x="12573262" y="4663953"/>
              <a:ext cx="2639750"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1234 56789</a:t>
              </a:r>
              <a:endParaRPr lang="en-US" dirty="0"/>
            </a:p>
          </p:txBody>
        </p:sp>
        <p:grpSp>
          <p:nvGrpSpPr>
            <p:cNvPr id="9" name="Group 8">
              <a:extLst>
                <a:ext uri="{FF2B5EF4-FFF2-40B4-BE49-F238E27FC236}">
                  <a16:creationId xmlns:a16="http://schemas.microsoft.com/office/drawing/2014/main" id="{D11F9462-4D1C-A0FC-EED4-C8FFC52808BC}"/>
                </a:ext>
              </a:extLst>
            </p:cNvPr>
            <p:cNvGrpSpPr/>
            <p:nvPr userDrawn="1"/>
          </p:nvGrpSpPr>
          <p:grpSpPr>
            <a:xfrm>
              <a:off x="12399099" y="4230487"/>
              <a:ext cx="2326813" cy="819975"/>
              <a:chOff x="12399099" y="4230487"/>
              <a:chExt cx="2326813" cy="819975"/>
            </a:xfrm>
          </p:grpSpPr>
          <p:sp>
            <p:nvSpPr>
              <p:cNvPr id="11" name="TextBox 10">
                <a:extLst>
                  <a:ext uri="{FF2B5EF4-FFF2-40B4-BE49-F238E27FC236}">
                    <a16:creationId xmlns:a16="http://schemas.microsoft.com/office/drawing/2014/main" id="{B876CB73-2368-CD6F-5EC7-80B002EDADDB}"/>
                  </a:ext>
                </a:extLst>
              </p:cNvPr>
              <p:cNvSpPr txBox="1"/>
              <p:nvPr userDrawn="1"/>
            </p:nvSpPr>
            <p:spPr>
              <a:xfrm flipH="1">
                <a:off x="12399100" y="4663953"/>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T</a:t>
                </a:r>
              </a:p>
            </p:txBody>
          </p:sp>
          <p:sp>
            <p:nvSpPr>
              <p:cNvPr id="13" name="TextBox 12">
                <a:extLst>
                  <a:ext uri="{FF2B5EF4-FFF2-40B4-BE49-F238E27FC236}">
                    <a16:creationId xmlns:a16="http://schemas.microsoft.com/office/drawing/2014/main" id="{4E4F7BD2-6E59-D1C6-BA2A-D44D6E66B45A}"/>
                  </a:ext>
                </a:extLst>
              </p:cNvPr>
              <p:cNvSpPr txBox="1"/>
              <p:nvPr userDrawn="1"/>
            </p:nvSpPr>
            <p:spPr>
              <a:xfrm flipH="1">
                <a:off x="12399100" y="4881185"/>
                <a:ext cx="131568"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latin typeface="+mj-lt"/>
                  </a:rPr>
                  <a:t>E</a:t>
                </a:r>
              </a:p>
            </p:txBody>
          </p:sp>
          <p:sp>
            <p:nvSpPr>
              <p:cNvPr id="28" name="TextBox 27">
                <a:extLst>
                  <a:ext uri="{FF2B5EF4-FFF2-40B4-BE49-F238E27FC236}">
                    <a16:creationId xmlns:a16="http://schemas.microsoft.com/office/drawing/2014/main" id="{791C7757-0CF8-28B4-B83C-147D68393AFA}"/>
                  </a:ext>
                </a:extLst>
              </p:cNvPr>
              <p:cNvSpPr txBox="1"/>
              <p:nvPr userDrawn="1"/>
            </p:nvSpPr>
            <p:spPr>
              <a:xfrm flipH="1">
                <a:off x="12573262" y="4881185"/>
                <a:ext cx="2152650"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GB" dirty="0"/>
                  <a:t>name.surname@hfw.com</a:t>
                </a:r>
                <a:endParaRPr lang="en-US" dirty="0"/>
              </a:p>
            </p:txBody>
          </p:sp>
          <p:sp>
            <p:nvSpPr>
              <p:cNvPr id="33" name="TextBox 32">
                <a:extLst>
                  <a:ext uri="{FF2B5EF4-FFF2-40B4-BE49-F238E27FC236}">
                    <a16:creationId xmlns:a16="http://schemas.microsoft.com/office/drawing/2014/main" id="{A32B81BC-0A6C-680B-DBE1-DADB1BC1EE11}"/>
                  </a:ext>
                </a:extLst>
              </p:cNvPr>
              <p:cNvSpPr txBox="1"/>
              <p:nvPr userDrawn="1"/>
            </p:nvSpPr>
            <p:spPr>
              <a:xfrm flipH="1">
                <a:off x="12399099" y="4230487"/>
                <a:ext cx="1968833"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solidFill>
                      <a:schemeClr val="tx2"/>
                    </a:solidFill>
                    <a:latin typeface="+mj-lt"/>
                  </a:rPr>
                  <a:t>NAME SURNAME</a:t>
                </a:r>
              </a:p>
            </p:txBody>
          </p:sp>
          <p:sp>
            <p:nvSpPr>
              <p:cNvPr id="34" name="TextBox 33">
                <a:extLst>
                  <a:ext uri="{FF2B5EF4-FFF2-40B4-BE49-F238E27FC236}">
                    <a16:creationId xmlns:a16="http://schemas.microsoft.com/office/drawing/2014/main" id="{586C850D-D9D8-4AFF-116C-84FC9854F177}"/>
                  </a:ext>
                </a:extLst>
              </p:cNvPr>
              <p:cNvSpPr txBox="1"/>
              <p:nvPr userDrawn="1"/>
            </p:nvSpPr>
            <p:spPr>
              <a:xfrm flipH="1">
                <a:off x="12399099" y="4445785"/>
                <a:ext cx="1968833" cy="169277"/>
              </a:xfrm>
              <a:prstGeom prst="rect">
                <a:avLst/>
              </a:prstGeom>
            </p:spPr>
            <p:txBody>
              <a:bodyPr vert="horz" lIns="0" tIns="0" rIns="0" bIns="0" rtlCol="0">
                <a:noAutofit/>
              </a:bodyPr>
              <a:lstStyle>
                <a:lvl1pPr lvl="0" indent="0" defTabSz="914400">
                  <a:lnSpc>
                    <a:spcPct val="100000"/>
                  </a:lnSpc>
                  <a:spcBef>
                    <a:spcPts val="200"/>
                  </a:spcBef>
                  <a:spcAft>
                    <a:spcPts val="200"/>
                  </a:spcAft>
                  <a:buFont typeface="Arial" panose="020B0604020202020204" pitchFamily="34" charset="0"/>
                  <a:buNone/>
                  <a:defRPr sz="1100"/>
                </a:lvl1pPr>
                <a:lvl2pPr marL="0" indent="0" defTabSz="914400">
                  <a:lnSpc>
                    <a:spcPct val="100000"/>
                  </a:lnSpc>
                  <a:spcBef>
                    <a:spcPts val="200"/>
                  </a:spcBef>
                  <a:spcAft>
                    <a:spcPts val="200"/>
                  </a:spcAft>
                  <a:buFont typeface="Arial" panose="020B0604020202020204" pitchFamily="34" charset="0"/>
                  <a:buNone/>
                  <a:defRPr sz="1100"/>
                </a:lvl2pPr>
                <a:lvl3pPr marL="180975" indent="-180975" defTabSz="914400">
                  <a:lnSpc>
                    <a:spcPct val="100000"/>
                  </a:lnSpc>
                  <a:spcBef>
                    <a:spcPts val="200"/>
                  </a:spcBef>
                  <a:spcAft>
                    <a:spcPts val="200"/>
                  </a:spcAft>
                  <a:buClr>
                    <a:schemeClr val="bg1"/>
                  </a:buClr>
                  <a:buSzPct val="105000"/>
                  <a:buFont typeface="Arial" panose="020B0604020202020204" pitchFamily="34" charset="0"/>
                  <a:buChar char="•"/>
                  <a:defRPr sz="1100"/>
                </a:lvl3pPr>
                <a:lvl4pPr marL="539750" indent="-180975" defTabSz="914400">
                  <a:lnSpc>
                    <a:spcPct val="100000"/>
                  </a:lnSpc>
                  <a:spcBef>
                    <a:spcPts val="200"/>
                  </a:spcBef>
                  <a:spcAft>
                    <a:spcPts val="200"/>
                  </a:spcAft>
                  <a:buClr>
                    <a:schemeClr val="bg1"/>
                  </a:buClr>
                  <a:buSzPct val="105000"/>
                  <a:buFont typeface="Arial" panose="020B0604020202020204" pitchFamily="34" charset="0"/>
                  <a:buChar char="•"/>
                  <a:defRPr sz="1100"/>
                </a:lvl4pPr>
                <a:lvl5pPr marL="898525" indent="-180975" defTabSz="914400">
                  <a:lnSpc>
                    <a:spcPct val="100000"/>
                  </a:lnSpc>
                  <a:spcBef>
                    <a:spcPts val="200"/>
                  </a:spcBef>
                  <a:spcAft>
                    <a:spcPts val="200"/>
                  </a:spcAft>
                  <a:buClr>
                    <a:schemeClr val="bg1"/>
                  </a:buClr>
                  <a:buSzPct val="105000"/>
                  <a:buFont typeface="Arial" panose="020B0604020202020204" pitchFamily="34" charset="0"/>
                  <a:buChar char="•"/>
                  <a:defRPr sz="11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0" lvl="0" indent="0" algn="l" defTabSz="914400" rtl="0" eaLnBrk="1" latinLnBrk="0" hangingPunct="1">
                  <a:lnSpc>
                    <a:spcPct val="100000"/>
                  </a:lnSpc>
                  <a:spcBef>
                    <a:spcPts val="200"/>
                  </a:spcBef>
                  <a:spcAft>
                    <a:spcPts val="200"/>
                  </a:spcAft>
                  <a:buFont typeface="Arial" panose="020B0604020202020204" pitchFamily="34" charset="0"/>
                  <a:buNone/>
                </a:pPr>
                <a:r>
                  <a:rPr lang="en-US" dirty="0"/>
                  <a:t>Position, Location</a:t>
                </a:r>
              </a:p>
            </p:txBody>
          </p:sp>
        </p:grpSp>
      </p:grpSp>
    </p:spTree>
    <p:extLst>
      <p:ext uri="{BB962C8B-B14F-4D97-AF65-F5344CB8AC3E}">
        <p14:creationId xmlns:p14="http://schemas.microsoft.com/office/powerpoint/2010/main" val="3488178379"/>
      </p:ext>
    </p:extLst>
  </p:cSld>
  <p:clrMapOvr>
    <a:masterClrMapping/>
  </p:clrMapOvr>
  <p:transition spd="med">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Our clients 16">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55B7257C-81BD-24F5-493D-8618B2A2FF2E}"/>
              </a:ext>
            </a:extLst>
          </p:cNvPr>
          <p:cNvSpPr/>
          <p:nvPr userDrawn="1"/>
        </p:nvSpPr>
        <p:spPr>
          <a:xfrm>
            <a:off x="507999" y="1353458"/>
            <a:ext cx="2480731" cy="1041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Rectangle 26">
            <a:extLst>
              <a:ext uri="{FF2B5EF4-FFF2-40B4-BE49-F238E27FC236}">
                <a16:creationId xmlns:a16="http://schemas.microsoft.com/office/drawing/2014/main" id="{61E59E7D-C43D-F88B-85DB-787A34FE5927}"/>
              </a:ext>
            </a:extLst>
          </p:cNvPr>
          <p:cNvSpPr/>
          <p:nvPr userDrawn="1"/>
        </p:nvSpPr>
        <p:spPr>
          <a:xfrm>
            <a:off x="3411013" y="1353458"/>
            <a:ext cx="2480731" cy="1041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 name="Rectangle 27">
            <a:extLst>
              <a:ext uri="{FF2B5EF4-FFF2-40B4-BE49-F238E27FC236}">
                <a16:creationId xmlns:a16="http://schemas.microsoft.com/office/drawing/2014/main" id="{4EC25F8A-F785-F893-36B8-F65A15F0652A}"/>
              </a:ext>
            </a:extLst>
          </p:cNvPr>
          <p:cNvSpPr/>
          <p:nvPr userDrawn="1"/>
        </p:nvSpPr>
        <p:spPr>
          <a:xfrm>
            <a:off x="6314027" y="1353458"/>
            <a:ext cx="2480731" cy="1041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 name="Rectangle 28">
            <a:extLst>
              <a:ext uri="{FF2B5EF4-FFF2-40B4-BE49-F238E27FC236}">
                <a16:creationId xmlns:a16="http://schemas.microsoft.com/office/drawing/2014/main" id="{B57DAA0A-DBE8-FD04-8DDE-55F63481B3B9}"/>
              </a:ext>
            </a:extLst>
          </p:cNvPr>
          <p:cNvSpPr/>
          <p:nvPr userDrawn="1"/>
        </p:nvSpPr>
        <p:spPr>
          <a:xfrm>
            <a:off x="9197003" y="1353458"/>
            <a:ext cx="2480731" cy="1041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a:extLst>
              <a:ext uri="{FF2B5EF4-FFF2-40B4-BE49-F238E27FC236}">
                <a16:creationId xmlns:a16="http://schemas.microsoft.com/office/drawing/2014/main" id="{051BE49C-BA91-D0CC-8983-C9C252C6A0AE}"/>
              </a:ext>
            </a:extLst>
          </p:cNvPr>
          <p:cNvSpPr>
            <a:spLocks noGrp="1"/>
          </p:cNvSpPr>
          <p:nvPr>
            <p:ph sz="quarter" idx="148" hasCustomPrompt="1"/>
          </p:nvPr>
        </p:nvSpPr>
        <p:spPr>
          <a:xfrm>
            <a:off x="507469" y="1353458"/>
            <a:ext cx="2481263" cy="1041400"/>
          </a:xfrm>
          <a:noFill/>
          <a:ln>
            <a:noFill/>
          </a:ln>
        </p:spPr>
        <p:txBody>
          <a:bodyPr vert="horz" lIns="0" tIns="45720" rIns="0" bIns="45720" rtlCol="0" anchor="ctr">
            <a:noAutofit/>
          </a:bodyPr>
          <a:lstStyle>
            <a:lvl1pPr algn="ctr">
              <a:defRPr lang="en-US" sz="1200" smtClean="0">
                <a:solidFill>
                  <a:schemeClr val="tx1"/>
                </a:solidFill>
                <a:latin typeface="+mn-lt"/>
              </a:defRPr>
            </a:lvl1pPr>
            <a:lvl2pPr>
              <a:defRPr lang="en-US" smtClean="0"/>
            </a:lvl2pPr>
            <a:lvl3pPr>
              <a:defRPr lang="en-US" smtClean="0"/>
            </a:lvl3pPr>
            <a:lvl4pPr>
              <a:defRPr lang="en-US" smtClean="0"/>
            </a:lvl4pPr>
            <a:lvl5pPr>
              <a:defRPr lang="en-GB"/>
            </a:lvl5pPr>
          </a:lstStyle>
          <a:p>
            <a:r>
              <a:rPr lang="en-GB" dirty="0"/>
              <a:t>Client logo/name here</a:t>
            </a:r>
          </a:p>
        </p:txBody>
      </p:sp>
      <p:sp>
        <p:nvSpPr>
          <p:cNvPr id="4" name="Content Placeholder 2">
            <a:extLst>
              <a:ext uri="{FF2B5EF4-FFF2-40B4-BE49-F238E27FC236}">
                <a16:creationId xmlns:a16="http://schemas.microsoft.com/office/drawing/2014/main" id="{BEFB47F1-8F7B-0269-44A3-8616B54364D3}"/>
              </a:ext>
            </a:extLst>
          </p:cNvPr>
          <p:cNvSpPr>
            <a:spLocks noGrp="1"/>
          </p:cNvSpPr>
          <p:nvPr>
            <p:ph sz="quarter" idx="149" hasCustomPrompt="1"/>
          </p:nvPr>
        </p:nvSpPr>
        <p:spPr>
          <a:xfrm>
            <a:off x="3405539" y="1353458"/>
            <a:ext cx="2481263" cy="1041400"/>
          </a:xfrm>
          <a:noFill/>
          <a:ln>
            <a:noFill/>
          </a:ln>
        </p:spPr>
        <p:txBody>
          <a:bodyPr vert="horz" lIns="0" tIns="45720" rIns="0" bIns="45720" rtlCol="0" anchor="ctr">
            <a:normAutofit/>
          </a:bodyPr>
          <a:lstStyle>
            <a:lvl1pPr algn="ctr">
              <a:defRPr lang="en-US" sz="1200" smtClean="0">
                <a:solidFill>
                  <a:schemeClr val="tx1"/>
                </a:solidFill>
                <a:latin typeface="+mn-lt"/>
              </a:defRPr>
            </a:lvl1pPr>
            <a:lvl2pPr>
              <a:defRPr lang="en-US" smtClean="0"/>
            </a:lvl2pPr>
            <a:lvl3pPr>
              <a:defRPr lang="en-US" smtClean="0"/>
            </a:lvl3pPr>
            <a:lvl4pPr>
              <a:defRPr lang="en-US" smtClean="0"/>
            </a:lvl4pPr>
            <a:lvl5pPr>
              <a:defRPr lang="en-GB"/>
            </a:lvl5pPr>
          </a:lstStyle>
          <a:p>
            <a:r>
              <a:rPr lang="en-GB" dirty="0"/>
              <a:t>Client logo/name here</a:t>
            </a:r>
          </a:p>
        </p:txBody>
      </p:sp>
      <p:sp>
        <p:nvSpPr>
          <p:cNvPr id="5" name="Content Placeholder 2">
            <a:extLst>
              <a:ext uri="{FF2B5EF4-FFF2-40B4-BE49-F238E27FC236}">
                <a16:creationId xmlns:a16="http://schemas.microsoft.com/office/drawing/2014/main" id="{9F18694F-3B06-5C32-1B51-0F999026AE6C}"/>
              </a:ext>
            </a:extLst>
          </p:cNvPr>
          <p:cNvSpPr>
            <a:spLocks noGrp="1"/>
          </p:cNvSpPr>
          <p:nvPr>
            <p:ph sz="quarter" idx="150" hasCustomPrompt="1"/>
          </p:nvPr>
        </p:nvSpPr>
        <p:spPr>
          <a:xfrm>
            <a:off x="6303609" y="1353458"/>
            <a:ext cx="2481263" cy="1041400"/>
          </a:xfrm>
          <a:noFill/>
          <a:ln>
            <a:noFill/>
          </a:ln>
        </p:spPr>
        <p:txBody>
          <a:bodyPr vert="horz" lIns="0" tIns="45720" rIns="0" bIns="45720" rtlCol="0" anchor="ctr">
            <a:normAutofit/>
          </a:bodyPr>
          <a:lstStyle>
            <a:lvl1pPr algn="ctr">
              <a:defRPr lang="en-US" sz="1200" smtClean="0">
                <a:solidFill>
                  <a:schemeClr val="tx1"/>
                </a:solidFill>
                <a:latin typeface="+mn-lt"/>
              </a:defRPr>
            </a:lvl1pPr>
            <a:lvl2pPr>
              <a:defRPr lang="en-US" smtClean="0"/>
            </a:lvl2pPr>
            <a:lvl3pPr>
              <a:defRPr lang="en-US" smtClean="0"/>
            </a:lvl3pPr>
            <a:lvl4pPr>
              <a:defRPr lang="en-US" smtClean="0"/>
            </a:lvl4pPr>
            <a:lvl5pPr>
              <a:defRPr lang="en-GB"/>
            </a:lvl5pPr>
          </a:lstStyle>
          <a:p>
            <a:r>
              <a:rPr lang="en-GB" dirty="0"/>
              <a:t>Client logo/name here</a:t>
            </a:r>
          </a:p>
        </p:txBody>
      </p:sp>
      <p:sp>
        <p:nvSpPr>
          <p:cNvPr id="6" name="Content Placeholder 2">
            <a:extLst>
              <a:ext uri="{FF2B5EF4-FFF2-40B4-BE49-F238E27FC236}">
                <a16:creationId xmlns:a16="http://schemas.microsoft.com/office/drawing/2014/main" id="{57968F3A-064E-30B5-267F-6A4951D36B41}"/>
              </a:ext>
            </a:extLst>
          </p:cNvPr>
          <p:cNvSpPr>
            <a:spLocks noGrp="1"/>
          </p:cNvSpPr>
          <p:nvPr>
            <p:ph sz="quarter" idx="151" hasCustomPrompt="1"/>
          </p:nvPr>
        </p:nvSpPr>
        <p:spPr>
          <a:xfrm>
            <a:off x="9201150" y="1353458"/>
            <a:ext cx="2481263" cy="1041400"/>
          </a:xfrm>
          <a:noFill/>
          <a:ln>
            <a:noFill/>
          </a:ln>
        </p:spPr>
        <p:txBody>
          <a:bodyPr vert="horz" lIns="0" tIns="45720" rIns="0" bIns="45720" rtlCol="0" anchor="ctr">
            <a:normAutofit/>
          </a:bodyPr>
          <a:lstStyle>
            <a:lvl1pPr algn="ctr">
              <a:defRPr lang="en-US" sz="1200" smtClean="0">
                <a:solidFill>
                  <a:schemeClr val="tx1"/>
                </a:solidFill>
                <a:latin typeface="+mn-lt"/>
              </a:defRPr>
            </a:lvl1pPr>
            <a:lvl2pPr>
              <a:defRPr lang="en-US" smtClean="0"/>
            </a:lvl2pPr>
            <a:lvl3pPr>
              <a:defRPr lang="en-US" smtClean="0"/>
            </a:lvl3pPr>
            <a:lvl4pPr>
              <a:defRPr lang="en-US" smtClean="0"/>
            </a:lvl4pPr>
            <a:lvl5pPr>
              <a:defRPr lang="en-GB"/>
            </a:lvl5pPr>
          </a:lstStyle>
          <a:p>
            <a:r>
              <a:rPr lang="en-GB" dirty="0"/>
              <a:t>Client logo/name here</a:t>
            </a:r>
          </a:p>
        </p:txBody>
      </p:sp>
      <p:sp>
        <p:nvSpPr>
          <p:cNvPr id="62" name="Rectangle 61">
            <a:extLst>
              <a:ext uri="{FF2B5EF4-FFF2-40B4-BE49-F238E27FC236}">
                <a16:creationId xmlns:a16="http://schemas.microsoft.com/office/drawing/2014/main" id="{50C47AE2-387B-61AE-D3A3-60D0C52C1A62}"/>
              </a:ext>
            </a:extLst>
          </p:cNvPr>
          <p:cNvSpPr/>
          <p:nvPr userDrawn="1"/>
        </p:nvSpPr>
        <p:spPr>
          <a:xfrm>
            <a:off x="12352867" y="0"/>
            <a:ext cx="1947333" cy="201506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b="1" i="0" dirty="0">
                <a:solidFill>
                  <a:schemeClr val="bg1"/>
                </a:solidFill>
                <a:effectLst/>
                <a:latin typeface="+mn-lt"/>
                <a:ea typeface="Calibri" panose="020F0502020204030204" pitchFamily="34" charset="0"/>
              </a:rPr>
              <a:t>NOTE:</a:t>
            </a:r>
          </a:p>
          <a:p>
            <a:r>
              <a:rPr lang="en-GB" sz="1200" i="1" dirty="0">
                <a:solidFill>
                  <a:schemeClr val="bg1"/>
                </a:solidFill>
                <a:effectLst/>
                <a:latin typeface="+mn-lt"/>
                <a:ea typeface="Calibri" panose="020F0502020204030204" pitchFamily="34" charset="0"/>
              </a:rPr>
              <a:t>You may only include a client logo if the client has provided express written permission to use it, and has shared a logo file (jpeg or </a:t>
            </a:r>
            <a:r>
              <a:rPr lang="en-GB" sz="1200" i="1" dirty="0" err="1">
                <a:solidFill>
                  <a:schemeClr val="bg1"/>
                </a:solidFill>
                <a:effectLst/>
                <a:latin typeface="+mn-lt"/>
                <a:ea typeface="Calibri" panose="020F0502020204030204" pitchFamily="34" charset="0"/>
              </a:rPr>
              <a:t>png</a:t>
            </a:r>
            <a:r>
              <a:rPr lang="en-GB" sz="1200" i="1" dirty="0">
                <a:solidFill>
                  <a:schemeClr val="bg1"/>
                </a:solidFill>
                <a:effectLst/>
                <a:latin typeface="+mn-lt"/>
                <a:ea typeface="Calibri" panose="020F0502020204030204" pitchFamily="34" charset="0"/>
              </a:rPr>
              <a:t>) for your use.</a:t>
            </a:r>
            <a:endParaRPr lang="en-GB" sz="1200" dirty="0">
              <a:solidFill>
                <a:schemeClr val="bg1"/>
              </a:solidFill>
              <a:effectLst/>
              <a:latin typeface="+mn-lt"/>
              <a:ea typeface="Calibri" panose="020F0502020204030204" pitchFamily="34" charset="0"/>
            </a:endParaRPr>
          </a:p>
        </p:txBody>
      </p:sp>
      <p:sp>
        <p:nvSpPr>
          <p:cNvPr id="63" name="TextBox 4">
            <a:extLst>
              <a:ext uri="{FF2B5EF4-FFF2-40B4-BE49-F238E27FC236}">
                <a16:creationId xmlns:a16="http://schemas.microsoft.com/office/drawing/2014/main" id="{8998C1AB-2423-5EDD-45B3-D10355DDC98F}"/>
              </a:ext>
            </a:extLst>
          </p:cNvPr>
          <p:cNvSpPr txBox="1"/>
          <p:nvPr userDrawn="1"/>
        </p:nvSpPr>
        <p:spPr>
          <a:xfrm>
            <a:off x="12346713" y="2175601"/>
            <a:ext cx="1934437" cy="31700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INSERTING IMAGES:</a:t>
            </a:r>
          </a:p>
          <a:p>
            <a:pPr marL="179388" indent="-179388">
              <a:spcBef>
                <a:spcPts val="200"/>
              </a:spcBef>
              <a:spcAft>
                <a:spcPts val="200"/>
              </a:spcAft>
              <a:buFont typeface="+mj-lt"/>
              <a:buAutoNum type="arabicPeriod"/>
            </a:pPr>
            <a:r>
              <a:rPr lang="en-US" sz="900" dirty="0">
                <a:solidFill>
                  <a:schemeClr val="tx1"/>
                </a:solidFill>
                <a:latin typeface="+mn-lt"/>
              </a:rPr>
              <a:t>Simply click the image placeholder and select your image.</a:t>
            </a:r>
          </a:p>
          <a:p>
            <a:pPr marL="179388" indent="-179388">
              <a:spcBef>
                <a:spcPts val="200"/>
              </a:spcBef>
              <a:spcAft>
                <a:spcPts val="200"/>
              </a:spcAft>
              <a:buFont typeface="+mj-lt"/>
              <a:buAutoNum type="arabicPeriod"/>
            </a:pPr>
            <a:r>
              <a:rPr lang="en-US" sz="900" dirty="0">
                <a:solidFill>
                  <a:schemeClr val="tx1"/>
                </a:solidFill>
                <a:latin typeface="+mn-lt"/>
              </a:rPr>
              <a:t>Once your image is inserted into the shape it may be distorted. (Stretched or Squashed)</a:t>
            </a:r>
          </a:p>
          <a:p>
            <a:pPr marL="179388" indent="-179388">
              <a:spcBef>
                <a:spcPts val="200"/>
              </a:spcBef>
              <a:spcAft>
                <a:spcPts val="200"/>
              </a:spcAft>
              <a:buFont typeface="+mj-lt"/>
              <a:buAutoNum type="arabicPeriod"/>
            </a:pPr>
            <a:endParaRPr lang="en-US" sz="900" dirty="0">
              <a:solidFill>
                <a:schemeClr val="tx1"/>
              </a:solidFill>
              <a:latin typeface="+mn-lt"/>
            </a:endParaRPr>
          </a:p>
          <a:p>
            <a:pPr>
              <a:spcBef>
                <a:spcPts val="200"/>
              </a:spcBef>
              <a:spcAft>
                <a:spcPts val="200"/>
              </a:spcAft>
            </a:pPr>
            <a:r>
              <a:rPr lang="en-US" sz="900" b="1" dirty="0">
                <a:solidFill>
                  <a:schemeClr val="tx1"/>
                </a:solidFill>
                <a:latin typeface="+mn-lt"/>
              </a:rPr>
              <a:t>To fix this:</a:t>
            </a:r>
          </a:p>
          <a:p>
            <a:pPr marL="179388" indent="-179388">
              <a:spcBef>
                <a:spcPts val="200"/>
              </a:spcBef>
              <a:spcAft>
                <a:spcPts val="200"/>
              </a:spcAft>
              <a:buFont typeface="+mj-lt"/>
              <a:buAutoNum type="arabicPeriod"/>
            </a:pPr>
            <a:r>
              <a:rPr lang="en-US" sz="900" dirty="0">
                <a:solidFill>
                  <a:schemeClr val="tx1"/>
                </a:solidFill>
                <a:latin typeface="+mn-lt"/>
              </a:rPr>
              <a:t>Click on the image and from the top menu under </a:t>
            </a:r>
            <a:r>
              <a:rPr lang="en-US" sz="900" b="1" dirty="0">
                <a:solidFill>
                  <a:schemeClr val="tx1"/>
                </a:solidFill>
                <a:latin typeface="+mn-lt"/>
              </a:rPr>
              <a:t>PICTURE FORMAT </a:t>
            </a:r>
            <a:r>
              <a:rPr lang="en-US" sz="900" dirty="0">
                <a:solidFill>
                  <a:schemeClr val="tx1"/>
                </a:solidFill>
                <a:latin typeface="+mn-lt"/>
              </a:rPr>
              <a:t>select the </a:t>
            </a:r>
            <a:r>
              <a:rPr lang="en-US" sz="900" b="1" dirty="0">
                <a:solidFill>
                  <a:schemeClr val="tx1"/>
                </a:solidFill>
                <a:latin typeface="+mn-lt"/>
              </a:rPr>
              <a:t>CROP</a:t>
            </a:r>
            <a:r>
              <a:rPr lang="en-US" sz="900" dirty="0">
                <a:solidFill>
                  <a:schemeClr val="tx1"/>
                </a:solidFill>
                <a:latin typeface="+mn-lt"/>
              </a:rPr>
              <a:t> on the right and from the drop down menu select </a:t>
            </a:r>
            <a:r>
              <a:rPr lang="en-US" sz="900" b="1" kern="1200" dirty="0">
                <a:solidFill>
                  <a:schemeClr val="tx1"/>
                </a:solidFill>
                <a:latin typeface="+mn-lt"/>
                <a:ea typeface="+mn-ea"/>
                <a:cs typeface="+mn-cs"/>
              </a:rPr>
              <a:t>FILL</a:t>
            </a:r>
          </a:p>
          <a:p>
            <a:pPr marL="179388" indent="-179388">
              <a:spcBef>
                <a:spcPts val="200"/>
              </a:spcBef>
              <a:spcAft>
                <a:spcPts val="200"/>
              </a:spcAft>
              <a:buFont typeface="+mj-lt"/>
              <a:buAutoNum type="arabicPeriod"/>
            </a:pPr>
            <a:r>
              <a:rPr lang="en-US" sz="900" b="0" kern="1200" dirty="0">
                <a:solidFill>
                  <a:schemeClr val="tx1"/>
                </a:solidFill>
                <a:latin typeface="+mn-lt"/>
                <a:ea typeface="+mn-ea"/>
                <a:cs typeface="+mn-cs"/>
              </a:rPr>
              <a:t>From here you can move the image within the shape for best visual appearance</a:t>
            </a:r>
          </a:p>
        </p:txBody>
      </p:sp>
      <p:sp>
        <p:nvSpPr>
          <p:cNvPr id="8" name="Footer Placeholder 7">
            <a:extLst>
              <a:ext uri="{FF2B5EF4-FFF2-40B4-BE49-F238E27FC236}">
                <a16:creationId xmlns:a16="http://schemas.microsoft.com/office/drawing/2014/main" id="{5F2C014C-2E86-9EBE-83B3-07B621469C1B}"/>
              </a:ext>
            </a:extLst>
          </p:cNvPr>
          <p:cNvSpPr>
            <a:spLocks noGrp="1"/>
          </p:cNvSpPr>
          <p:nvPr>
            <p:ph type="ftr" sz="quarter" idx="131"/>
          </p:nvPr>
        </p:nvSpPr>
        <p:spPr/>
        <p:txBody>
          <a:bodyPr/>
          <a:lstStyle/>
          <a:p>
            <a:r>
              <a:rPr lang="en-GB"/>
              <a:t>INSERT FOOTER HERE</a:t>
            </a:r>
            <a:endParaRPr lang="en-GB" dirty="0"/>
          </a:p>
        </p:txBody>
      </p:sp>
      <p:sp>
        <p:nvSpPr>
          <p:cNvPr id="9" name="Slide Number Placeholder 8">
            <a:extLst>
              <a:ext uri="{FF2B5EF4-FFF2-40B4-BE49-F238E27FC236}">
                <a16:creationId xmlns:a16="http://schemas.microsoft.com/office/drawing/2014/main" id="{E288C039-9693-AAFE-89A8-74C7AB4BF41D}"/>
              </a:ext>
            </a:extLst>
          </p:cNvPr>
          <p:cNvSpPr>
            <a:spLocks noGrp="1"/>
          </p:cNvSpPr>
          <p:nvPr>
            <p:ph type="sldNum" sz="quarter" idx="132"/>
          </p:nvPr>
        </p:nvSpPr>
        <p:spPr/>
        <p:txBody>
          <a:bodyPr/>
          <a:lstStyle/>
          <a:p>
            <a:fld id="{8CFE0557-AA98-4E6C-B0C3-581794696B68}" type="slidenum">
              <a:rPr lang="en-GB" smtClean="0"/>
              <a:pPr/>
              <a:t>‹#›</a:t>
            </a:fld>
            <a:endParaRPr lang="en-GB" dirty="0"/>
          </a:p>
        </p:txBody>
      </p:sp>
      <p:sp>
        <p:nvSpPr>
          <p:cNvPr id="10" name="Title 9">
            <a:extLst>
              <a:ext uri="{FF2B5EF4-FFF2-40B4-BE49-F238E27FC236}">
                <a16:creationId xmlns:a16="http://schemas.microsoft.com/office/drawing/2014/main" id="{19D430C3-1416-1FA5-14BA-386BBA8CF454}"/>
              </a:ext>
            </a:extLst>
          </p:cNvPr>
          <p:cNvSpPr>
            <a:spLocks noGrp="1"/>
          </p:cNvSpPr>
          <p:nvPr>
            <p:ph type="title" hasCustomPrompt="1"/>
          </p:nvPr>
        </p:nvSpPr>
        <p:spPr>
          <a:xfrm>
            <a:off x="508000" y="454013"/>
            <a:ext cx="11174413" cy="805609"/>
          </a:xfrm>
        </p:spPr>
        <p:txBody>
          <a:bodyPr/>
          <a:lstStyle/>
          <a:p>
            <a:r>
              <a:rPr lang="en-US" dirty="0"/>
              <a:t>TITLE: subtitle</a:t>
            </a:r>
            <a:endParaRPr lang="en-GB" dirty="0"/>
          </a:p>
        </p:txBody>
      </p:sp>
      <p:sp>
        <p:nvSpPr>
          <p:cNvPr id="30" name="Rectangle 29">
            <a:extLst>
              <a:ext uri="{FF2B5EF4-FFF2-40B4-BE49-F238E27FC236}">
                <a16:creationId xmlns:a16="http://schemas.microsoft.com/office/drawing/2014/main" id="{49FF4BF2-BE91-71A0-46EF-D87C1A35B2BD}"/>
              </a:ext>
            </a:extLst>
          </p:cNvPr>
          <p:cNvSpPr/>
          <p:nvPr userDrawn="1"/>
        </p:nvSpPr>
        <p:spPr>
          <a:xfrm>
            <a:off x="507999" y="2627028"/>
            <a:ext cx="2480731" cy="1041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Rectangle 30">
            <a:extLst>
              <a:ext uri="{FF2B5EF4-FFF2-40B4-BE49-F238E27FC236}">
                <a16:creationId xmlns:a16="http://schemas.microsoft.com/office/drawing/2014/main" id="{807D7AEA-9AFE-53A1-570E-2F5BC4CA4D51}"/>
              </a:ext>
            </a:extLst>
          </p:cNvPr>
          <p:cNvSpPr/>
          <p:nvPr userDrawn="1"/>
        </p:nvSpPr>
        <p:spPr>
          <a:xfrm>
            <a:off x="3411013" y="2627028"/>
            <a:ext cx="2480731" cy="1041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2" name="Rectangle 31">
            <a:extLst>
              <a:ext uri="{FF2B5EF4-FFF2-40B4-BE49-F238E27FC236}">
                <a16:creationId xmlns:a16="http://schemas.microsoft.com/office/drawing/2014/main" id="{211C30CB-5FA7-51A1-BBA4-7D2D2A9729DD}"/>
              </a:ext>
            </a:extLst>
          </p:cNvPr>
          <p:cNvSpPr/>
          <p:nvPr userDrawn="1"/>
        </p:nvSpPr>
        <p:spPr>
          <a:xfrm>
            <a:off x="6314027" y="2627028"/>
            <a:ext cx="2480731" cy="1041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 name="Rectangle 32">
            <a:extLst>
              <a:ext uri="{FF2B5EF4-FFF2-40B4-BE49-F238E27FC236}">
                <a16:creationId xmlns:a16="http://schemas.microsoft.com/office/drawing/2014/main" id="{89E8B0D8-2F55-D3AB-EF1A-6EAF370F7A47}"/>
              </a:ext>
            </a:extLst>
          </p:cNvPr>
          <p:cNvSpPr/>
          <p:nvPr userDrawn="1"/>
        </p:nvSpPr>
        <p:spPr>
          <a:xfrm>
            <a:off x="9197003" y="2627028"/>
            <a:ext cx="2480731" cy="1041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 name="Content Placeholder 2">
            <a:extLst>
              <a:ext uri="{FF2B5EF4-FFF2-40B4-BE49-F238E27FC236}">
                <a16:creationId xmlns:a16="http://schemas.microsoft.com/office/drawing/2014/main" id="{C26B53E5-8DE7-1440-8B02-6832D3E72B1E}"/>
              </a:ext>
            </a:extLst>
          </p:cNvPr>
          <p:cNvSpPr>
            <a:spLocks noGrp="1"/>
          </p:cNvSpPr>
          <p:nvPr>
            <p:ph sz="quarter" idx="152" hasCustomPrompt="1"/>
          </p:nvPr>
        </p:nvSpPr>
        <p:spPr>
          <a:xfrm>
            <a:off x="507469" y="2627028"/>
            <a:ext cx="2481263" cy="1041400"/>
          </a:xfrm>
          <a:noFill/>
          <a:ln>
            <a:noFill/>
          </a:ln>
        </p:spPr>
        <p:txBody>
          <a:bodyPr vert="horz" lIns="0" tIns="45720" rIns="0" bIns="45720" rtlCol="0" anchor="ctr">
            <a:noAutofit/>
          </a:bodyPr>
          <a:lstStyle>
            <a:lvl1pPr algn="ctr">
              <a:defRPr lang="en-US" sz="1200" smtClean="0">
                <a:solidFill>
                  <a:schemeClr val="tx1"/>
                </a:solidFill>
                <a:latin typeface="+mn-lt"/>
              </a:defRPr>
            </a:lvl1pPr>
            <a:lvl2pPr>
              <a:defRPr lang="en-US" smtClean="0"/>
            </a:lvl2pPr>
            <a:lvl3pPr>
              <a:defRPr lang="en-US" smtClean="0"/>
            </a:lvl3pPr>
            <a:lvl4pPr>
              <a:defRPr lang="en-US" smtClean="0"/>
            </a:lvl4pPr>
            <a:lvl5pPr>
              <a:defRPr lang="en-GB"/>
            </a:lvl5pPr>
          </a:lstStyle>
          <a:p>
            <a:r>
              <a:rPr lang="en-GB" dirty="0"/>
              <a:t>Client logo/name here</a:t>
            </a:r>
          </a:p>
        </p:txBody>
      </p:sp>
      <p:sp>
        <p:nvSpPr>
          <p:cNvPr id="35" name="Content Placeholder 2">
            <a:extLst>
              <a:ext uri="{FF2B5EF4-FFF2-40B4-BE49-F238E27FC236}">
                <a16:creationId xmlns:a16="http://schemas.microsoft.com/office/drawing/2014/main" id="{F081111F-5D38-0D65-3A50-75A0C04B69EC}"/>
              </a:ext>
            </a:extLst>
          </p:cNvPr>
          <p:cNvSpPr>
            <a:spLocks noGrp="1"/>
          </p:cNvSpPr>
          <p:nvPr>
            <p:ph sz="quarter" idx="153" hasCustomPrompt="1"/>
          </p:nvPr>
        </p:nvSpPr>
        <p:spPr>
          <a:xfrm>
            <a:off x="3405539" y="2627028"/>
            <a:ext cx="2481263" cy="1041400"/>
          </a:xfrm>
          <a:noFill/>
          <a:ln>
            <a:noFill/>
          </a:ln>
        </p:spPr>
        <p:txBody>
          <a:bodyPr vert="horz" lIns="0" tIns="45720" rIns="0" bIns="45720" rtlCol="0" anchor="ctr">
            <a:normAutofit/>
          </a:bodyPr>
          <a:lstStyle>
            <a:lvl1pPr algn="ctr">
              <a:defRPr lang="en-US" sz="1200" smtClean="0">
                <a:solidFill>
                  <a:schemeClr val="tx1"/>
                </a:solidFill>
                <a:latin typeface="+mn-lt"/>
              </a:defRPr>
            </a:lvl1pPr>
            <a:lvl2pPr>
              <a:defRPr lang="en-US" smtClean="0"/>
            </a:lvl2pPr>
            <a:lvl3pPr>
              <a:defRPr lang="en-US" smtClean="0"/>
            </a:lvl3pPr>
            <a:lvl4pPr>
              <a:defRPr lang="en-US" smtClean="0"/>
            </a:lvl4pPr>
            <a:lvl5pPr>
              <a:defRPr lang="en-GB"/>
            </a:lvl5pPr>
          </a:lstStyle>
          <a:p>
            <a:r>
              <a:rPr lang="en-GB" dirty="0"/>
              <a:t>Client logo/name here</a:t>
            </a:r>
          </a:p>
        </p:txBody>
      </p:sp>
      <p:sp>
        <p:nvSpPr>
          <p:cNvPr id="36" name="Content Placeholder 2">
            <a:extLst>
              <a:ext uri="{FF2B5EF4-FFF2-40B4-BE49-F238E27FC236}">
                <a16:creationId xmlns:a16="http://schemas.microsoft.com/office/drawing/2014/main" id="{FFAD5005-0C6D-42B5-109F-FFDD9C550AF7}"/>
              </a:ext>
            </a:extLst>
          </p:cNvPr>
          <p:cNvSpPr>
            <a:spLocks noGrp="1"/>
          </p:cNvSpPr>
          <p:nvPr>
            <p:ph sz="quarter" idx="154" hasCustomPrompt="1"/>
          </p:nvPr>
        </p:nvSpPr>
        <p:spPr>
          <a:xfrm>
            <a:off x="6303609" y="2627028"/>
            <a:ext cx="2481263" cy="1041400"/>
          </a:xfrm>
          <a:noFill/>
          <a:ln>
            <a:noFill/>
          </a:ln>
        </p:spPr>
        <p:txBody>
          <a:bodyPr vert="horz" lIns="0" tIns="45720" rIns="0" bIns="45720" rtlCol="0" anchor="ctr">
            <a:normAutofit/>
          </a:bodyPr>
          <a:lstStyle>
            <a:lvl1pPr algn="ctr">
              <a:defRPr lang="en-US" sz="1200" smtClean="0">
                <a:solidFill>
                  <a:schemeClr val="tx1"/>
                </a:solidFill>
                <a:latin typeface="+mn-lt"/>
              </a:defRPr>
            </a:lvl1pPr>
            <a:lvl2pPr>
              <a:defRPr lang="en-US" smtClean="0"/>
            </a:lvl2pPr>
            <a:lvl3pPr>
              <a:defRPr lang="en-US" smtClean="0"/>
            </a:lvl3pPr>
            <a:lvl4pPr>
              <a:defRPr lang="en-US" smtClean="0"/>
            </a:lvl4pPr>
            <a:lvl5pPr>
              <a:defRPr lang="en-GB"/>
            </a:lvl5pPr>
          </a:lstStyle>
          <a:p>
            <a:r>
              <a:rPr lang="en-GB" dirty="0"/>
              <a:t>Client logo/name here</a:t>
            </a:r>
          </a:p>
        </p:txBody>
      </p:sp>
      <p:sp>
        <p:nvSpPr>
          <p:cNvPr id="37" name="Content Placeholder 2">
            <a:extLst>
              <a:ext uri="{FF2B5EF4-FFF2-40B4-BE49-F238E27FC236}">
                <a16:creationId xmlns:a16="http://schemas.microsoft.com/office/drawing/2014/main" id="{40A809AF-93E3-F63F-E9F0-775460D0B2C9}"/>
              </a:ext>
            </a:extLst>
          </p:cNvPr>
          <p:cNvSpPr>
            <a:spLocks noGrp="1"/>
          </p:cNvSpPr>
          <p:nvPr>
            <p:ph sz="quarter" idx="155" hasCustomPrompt="1"/>
          </p:nvPr>
        </p:nvSpPr>
        <p:spPr>
          <a:xfrm>
            <a:off x="9201150" y="2627028"/>
            <a:ext cx="2481263" cy="1041400"/>
          </a:xfrm>
          <a:noFill/>
          <a:ln>
            <a:noFill/>
          </a:ln>
        </p:spPr>
        <p:txBody>
          <a:bodyPr vert="horz" lIns="0" tIns="45720" rIns="0" bIns="45720" rtlCol="0" anchor="ctr">
            <a:normAutofit/>
          </a:bodyPr>
          <a:lstStyle>
            <a:lvl1pPr algn="ctr">
              <a:defRPr lang="en-US" sz="1200" smtClean="0">
                <a:solidFill>
                  <a:schemeClr val="tx1"/>
                </a:solidFill>
                <a:latin typeface="+mn-lt"/>
              </a:defRPr>
            </a:lvl1pPr>
            <a:lvl2pPr>
              <a:defRPr lang="en-US" smtClean="0"/>
            </a:lvl2pPr>
            <a:lvl3pPr>
              <a:defRPr lang="en-US" smtClean="0"/>
            </a:lvl3pPr>
            <a:lvl4pPr>
              <a:defRPr lang="en-US" smtClean="0"/>
            </a:lvl4pPr>
            <a:lvl5pPr>
              <a:defRPr lang="en-GB"/>
            </a:lvl5pPr>
          </a:lstStyle>
          <a:p>
            <a:r>
              <a:rPr lang="en-GB" dirty="0"/>
              <a:t>Client logo/name here</a:t>
            </a:r>
          </a:p>
        </p:txBody>
      </p:sp>
      <p:sp>
        <p:nvSpPr>
          <p:cNvPr id="38" name="Rectangle 37">
            <a:extLst>
              <a:ext uri="{FF2B5EF4-FFF2-40B4-BE49-F238E27FC236}">
                <a16:creationId xmlns:a16="http://schemas.microsoft.com/office/drawing/2014/main" id="{303E42CA-7EDD-F7A8-3CA3-237281642E5C}"/>
              </a:ext>
            </a:extLst>
          </p:cNvPr>
          <p:cNvSpPr/>
          <p:nvPr userDrawn="1"/>
        </p:nvSpPr>
        <p:spPr>
          <a:xfrm>
            <a:off x="507999" y="3900598"/>
            <a:ext cx="2480731" cy="1041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9" name="Rectangle 38">
            <a:extLst>
              <a:ext uri="{FF2B5EF4-FFF2-40B4-BE49-F238E27FC236}">
                <a16:creationId xmlns:a16="http://schemas.microsoft.com/office/drawing/2014/main" id="{A78466DB-D9DC-3EF0-89CA-7A2C3A0175BF}"/>
              </a:ext>
            </a:extLst>
          </p:cNvPr>
          <p:cNvSpPr/>
          <p:nvPr userDrawn="1"/>
        </p:nvSpPr>
        <p:spPr>
          <a:xfrm>
            <a:off x="3411013" y="3900598"/>
            <a:ext cx="2480731" cy="1041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0" name="Rectangle 39">
            <a:extLst>
              <a:ext uri="{FF2B5EF4-FFF2-40B4-BE49-F238E27FC236}">
                <a16:creationId xmlns:a16="http://schemas.microsoft.com/office/drawing/2014/main" id="{2C51D75C-91E3-F308-4541-497332CF0806}"/>
              </a:ext>
            </a:extLst>
          </p:cNvPr>
          <p:cNvSpPr/>
          <p:nvPr userDrawn="1"/>
        </p:nvSpPr>
        <p:spPr>
          <a:xfrm>
            <a:off x="6314027" y="3900598"/>
            <a:ext cx="2480731" cy="1041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1" name="Rectangle 40">
            <a:extLst>
              <a:ext uri="{FF2B5EF4-FFF2-40B4-BE49-F238E27FC236}">
                <a16:creationId xmlns:a16="http://schemas.microsoft.com/office/drawing/2014/main" id="{C7718DAE-2084-D7FF-EE02-07F7BC032ED0}"/>
              </a:ext>
            </a:extLst>
          </p:cNvPr>
          <p:cNvSpPr/>
          <p:nvPr userDrawn="1"/>
        </p:nvSpPr>
        <p:spPr>
          <a:xfrm>
            <a:off x="9197003" y="3900598"/>
            <a:ext cx="2480731" cy="1041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2" name="Content Placeholder 2">
            <a:extLst>
              <a:ext uri="{FF2B5EF4-FFF2-40B4-BE49-F238E27FC236}">
                <a16:creationId xmlns:a16="http://schemas.microsoft.com/office/drawing/2014/main" id="{634DD80E-2FAC-B006-AB7F-913A31FC4443}"/>
              </a:ext>
            </a:extLst>
          </p:cNvPr>
          <p:cNvSpPr>
            <a:spLocks noGrp="1"/>
          </p:cNvSpPr>
          <p:nvPr>
            <p:ph sz="quarter" idx="156" hasCustomPrompt="1"/>
          </p:nvPr>
        </p:nvSpPr>
        <p:spPr>
          <a:xfrm>
            <a:off x="507469" y="3900598"/>
            <a:ext cx="2481263" cy="1041400"/>
          </a:xfrm>
          <a:noFill/>
          <a:ln>
            <a:noFill/>
          </a:ln>
        </p:spPr>
        <p:txBody>
          <a:bodyPr vert="horz" lIns="0" tIns="45720" rIns="0" bIns="45720" rtlCol="0" anchor="ctr">
            <a:noAutofit/>
          </a:bodyPr>
          <a:lstStyle>
            <a:lvl1pPr algn="ctr">
              <a:defRPr lang="en-US" sz="1200" smtClean="0">
                <a:solidFill>
                  <a:schemeClr val="tx1"/>
                </a:solidFill>
                <a:latin typeface="+mn-lt"/>
              </a:defRPr>
            </a:lvl1pPr>
            <a:lvl2pPr>
              <a:defRPr lang="en-US" smtClean="0"/>
            </a:lvl2pPr>
            <a:lvl3pPr>
              <a:defRPr lang="en-US" smtClean="0"/>
            </a:lvl3pPr>
            <a:lvl4pPr>
              <a:defRPr lang="en-US" smtClean="0"/>
            </a:lvl4pPr>
            <a:lvl5pPr>
              <a:defRPr lang="en-GB"/>
            </a:lvl5pPr>
          </a:lstStyle>
          <a:p>
            <a:r>
              <a:rPr lang="en-GB" dirty="0"/>
              <a:t>Client logo/name here</a:t>
            </a:r>
          </a:p>
        </p:txBody>
      </p:sp>
      <p:sp>
        <p:nvSpPr>
          <p:cNvPr id="43" name="Content Placeholder 2">
            <a:extLst>
              <a:ext uri="{FF2B5EF4-FFF2-40B4-BE49-F238E27FC236}">
                <a16:creationId xmlns:a16="http://schemas.microsoft.com/office/drawing/2014/main" id="{008F0742-BA6A-A293-5767-0051C4D5EFD2}"/>
              </a:ext>
            </a:extLst>
          </p:cNvPr>
          <p:cNvSpPr>
            <a:spLocks noGrp="1"/>
          </p:cNvSpPr>
          <p:nvPr>
            <p:ph sz="quarter" idx="157" hasCustomPrompt="1"/>
          </p:nvPr>
        </p:nvSpPr>
        <p:spPr>
          <a:xfrm>
            <a:off x="3405539" y="3900598"/>
            <a:ext cx="2481263" cy="1041400"/>
          </a:xfrm>
          <a:noFill/>
          <a:ln>
            <a:noFill/>
          </a:ln>
        </p:spPr>
        <p:txBody>
          <a:bodyPr vert="horz" lIns="0" tIns="45720" rIns="0" bIns="45720" rtlCol="0" anchor="ctr">
            <a:normAutofit/>
          </a:bodyPr>
          <a:lstStyle>
            <a:lvl1pPr algn="ctr">
              <a:defRPr lang="en-US" sz="1200" smtClean="0">
                <a:solidFill>
                  <a:schemeClr val="tx1"/>
                </a:solidFill>
                <a:latin typeface="+mn-lt"/>
              </a:defRPr>
            </a:lvl1pPr>
            <a:lvl2pPr>
              <a:defRPr lang="en-US" smtClean="0"/>
            </a:lvl2pPr>
            <a:lvl3pPr>
              <a:defRPr lang="en-US" smtClean="0"/>
            </a:lvl3pPr>
            <a:lvl4pPr>
              <a:defRPr lang="en-US" smtClean="0"/>
            </a:lvl4pPr>
            <a:lvl5pPr>
              <a:defRPr lang="en-GB"/>
            </a:lvl5pPr>
          </a:lstStyle>
          <a:p>
            <a:r>
              <a:rPr lang="en-GB" dirty="0"/>
              <a:t>Client logo/name here</a:t>
            </a:r>
          </a:p>
        </p:txBody>
      </p:sp>
      <p:sp>
        <p:nvSpPr>
          <p:cNvPr id="44" name="Content Placeholder 2">
            <a:extLst>
              <a:ext uri="{FF2B5EF4-FFF2-40B4-BE49-F238E27FC236}">
                <a16:creationId xmlns:a16="http://schemas.microsoft.com/office/drawing/2014/main" id="{28347B7E-4546-BB4C-F3EF-C729FB36736A}"/>
              </a:ext>
            </a:extLst>
          </p:cNvPr>
          <p:cNvSpPr>
            <a:spLocks noGrp="1"/>
          </p:cNvSpPr>
          <p:nvPr>
            <p:ph sz="quarter" idx="158" hasCustomPrompt="1"/>
          </p:nvPr>
        </p:nvSpPr>
        <p:spPr>
          <a:xfrm>
            <a:off x="6303609" y="3900598"/>
            <a:ext cx="2481263" cy="1041400"/>
          </a:xfrm>
          <a:noFill/>
          <a:ln>
            <a:noFill/>
          </a:ln>
        </p:spPr>
        <p:txBody>
          <a:bodyPr vert="horz" lIns="0" tIns="45720" rIns="0" bIns="45720" rtlCol="0" anchor="ctr">
            <a:normAutofit/>
          </a:bodyPr>
          <a:lstStyle>
            <a:lvl1pPr algn="ctr">
              <a:defRPr lang="en-US" sz="1200" smtClean="0">
                <a:solidFill>
                  <a:schemeClr val="tx1"/>
                </a:solidFill>
                <a:latin typeface="+mn-lt"/>
              </a:defRPr>
            </a:lvl1pPr>
            <a:lvl2pPr>
              <a:defRPr lang="en-US" smtClean="0"/>
            </a:lvl2pPr>
            <a:lvl3pPr>
              <a:defRPr lang="en-US" smtClean="0"/>
            </a:lvl3pPr>
            <a:lvl4pPr>
              <a:defRPr lang="en-US" smtClean="0"/>
            </a:lvl4pPr>
            <a:lvl5pPr>
              <a:defRPr lang="en-GB"/>
            </a:lvl5pPr>
          </a:lstStyle>
          <a:p>
            <a:r>
              <a:rPr lang="en-GB" dirty="0"/>
              <a:t>Client logo/name here</a:t>
            </a:r>
          </a:p>
        </p:txBody>
      </p:sp>
      <p:sp>
        <p:nvSpPr>
          <p:cNvPr id="45" name="Content Placeholder 2">
            <a:extLst>
              <a:ext uri="{FF2B5EF4-FFF2-40B4-BE49-F238E27FC236}">
                <a16:creationId xmlns:a16="http://schemas.microsoft.com/office/drawing/2014/main" id="{294D6B3C-A881-B7CB-74DB-0B5EAF78DE07}"/>
              </a:ext>
            </a:extLst>
          </p:cNvPr>
          <p:cNvSpPr>
            <a:spLocks noGrp="1"/>
          </p:cNvSpPr>
          <p:nvPr>
            <p:ph sz="quarter" idx="159" hasCustomPrompt="1"/>
          </p:nvPr>
        </p:nvSpPr>
        <p:spPr>
          <a:xfrm>
            <a:off x="9201150" y="3900598"/>
            <a:ext cx="2481263" cy="1041400"/>
          </a:xfrm>
          <a:noFill/>
          <a:ln>
            <a:noFill/>
          </a:ln>
        </p:spPr>
        <p:txBody>
          <a:bodyPr vert="horz" lIns="0" tIns="45720" rIns="0" bIns="45720" rtlCol="0" anchor="ctr">
            <a:normAutofit/>
          </a:bodyPr>
          <a:lstStyle>
            <a:lvl1pPr algn="ctr">
              <a:defRPr lang="en-US" sz="1200" smtClean="0">
                <a:solidFill>
                  <a:schemeClr val="tx1"/>
                </a:solidFill>
                <a:latin typeface="+mn-lt"/>
              </a:defRPr>
            </a:lvl1pPr>
            <a:lvl2pPr>
              <a:defRPr lang="en-US" smtClean="0"/>
            </a:lvl2pPr>
            <a:lvl3pPr>
              <a:defRPr lang="en-US" smtClean="0"/>
            </a:lvl3pPr>
            <a:lvl4pPr>
              <a:defRPr lang="en-US" smtClean="0"/>
            </a:lvl4pPr>
            <a:lvl5pPr>
              <a:defRPr lang="en-GB"/>
            </a:lvl5pPr>
          </a:lstStyle>
          <a:p>
            <a:r>
              <a:rPr lang="en-GB" dirty="0"/>
              <a:t>Client logo/name here</a:t>
            </a:r>
          </a:p>
        </p:txBody>
      </p:sp>
      <p:sp>
        <p:nvSpPr>
          <p:cNvPr id="46" name="Rectangle 45">
            <a:extLst>
              <a:ext uri="{FF2B5EF4-FFF2-40B4-BE49-F238E27FC236}">
                <a16:creationId xmlns:a16="http://schemas.microsoft.com/office/drawing/2014/main" id="{57D12892-1521-334C-B65D-99E96299FA5A}"/>
              </a:ext>
            </a:extLst>
          </p:cNvPr>
          <p:cNvSpPr/>
          <p:nvPr userDrawn="1"/>
        </p:nvSpPr>
        <p:spPr>
          <a:xfrm>
            <a:off x="507999" y="5174168"/>
            <a:ext cx="2480731" cy="1041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7" name="Rectangle 46">
            <a:extLst>
              <a:ext uri="{FF2B5EF4-FFF2-40B4-BE49-F238E27FC236}">
                <a16:creationId xmlns:a16="http://schemas.microsoft.com/office/drawing/2014/main" id="{3F6E9E5C-4583-4877-E182-85999D08EAC7}"/>
              </a:ext>
            </a:extLst>
          </p:cNvPr>
          <p:cNvSpPr/>
          <p:nvPr userDrawn="1"/>
        </p:nvSpPr>
        <p:spPr>
          <a:xfrm>
            <a:off x="3411013" y="5174168"/>
            <a:ext cx="2480731" cy="1041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8" name="Rectangle 47">
            <a:extLst>
              <a:ext uri="{FF2B5EF4-FFF2-40B4-BE49-F238E27FC236}">
                <a16:creationId xmlns:a16="http://schemas.microsoft.com/office/drawing/2014/main" id="{526A6C3E-A73D-A7B9-6655-59BA5FB4770B}"/>
              </a:ext>
            </a:extLst>
          </p:cNvPr>
          <p:cNvSpPr/>
          <p:nvPr userDrawn="1"/>
        </p:nvSpPr>
        <p:spPr>
          <a:xfrm>
            <a:off x="6314027" y="5174168"/>
            <a:ext cx="2480731" cy="1041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9" name="Rectangle 48">
            <a:extLst>
              <a:ext uri="{FF2B5EF4-FFF2-40B4-BE49-F238E27FC236}">
                <a16:creationId xmlns:a16="http://schemas.microsoft.com/office/drawing/2014/main" id="{8ED39DA1-E4B2-A3A5-5E4E-F63EBBE35427}"/>
              </a:ext>
            </a:extLst>
          </p:cNvPr>
          <p:cNvSpPr/>
          <p:nvPr userDrawn="1"/>
        </p:nvSpPr>
        <p:spPr>
          <a:xfrm>
            <a:off x="9197003" y="5174168"/>
            <a:ext cx="2480731" cy="1041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0" name="Content Placeholder 2">
            <a:extLst>
              <a:ext uri="{FF2B5EF4-FFF2-40B4-BE49-F238E27FC236}">
                <a16:creationId xmlns:a16="http://schemas.microsoft.com/office/drawing/2014/main" id="{4C82AACB-3E22-BD05-A7BE-4F40BAD3642E}"/>
              </a:ext>
            </a:extLst>
          </p:cNvPr>
          <p:cNvSpPr>
            <a:spLocks noGrp="1"/>
          </p:cNvSpPr>
          <p:nvPr>
            <p:ph sz="quarter" idx="160" hasCustomPrompt="1"/>
          </p:nvPr>
        </p:nvSpPr>
        <p:spPr>
          <a:xfrm>
            <a:off x="507469" y="5174168"/>
            <a:ext cx="2481263" cy="1041400"/>
          </a:xfrm>
          <a:noFill/>
          <a:ln>
            <a:noFill/>
          </a:ln>
        </p:spPr>
        <p:txBody>
          <a:bodyPr vert="horz" lIns="0" tIns="45720" rIns="0" bIns="45720" rtlCol="0" anchor="ctr">
            <a:noAutofit/>
          </a:bodyPr>
          <a:lstStyle>
            <a:lvl1pPr algn="ctr">
              <a:defRPr lang="en-US" sz="1200" smtClean="0">
                <a:solidFill>
                  <a:schemeClr val="tx1"/>
                </a:solidFill>
                <a:latin typeface="+mn-lt"/>
              </a:defRPr>
            </a:lvl1pPr>
            <a:lvl2pPr>
              <a:defRPr lang="en-US" smtClean="0"/>
            </a:lvl2pPr>
            <a:lvl3pPr>
              <a:defRPr lang="en-US" smtClean="0"/>
            </a:lvl3pPr>
            <a:lvl4pPr>
              <a:defRPr lang="en-US" smtClean="0"/>
            </a:lvl4pPr>
            <a:lvl5pPr>
              <a:defRPr lang="en-GB"/>
            </a:lvl5pPr>
          </a:lstStyle>
          <a:p>
            <a:r>
              <a:rPr lang="en-GB" dirty="0"/>
              <a:t>Client logo/name here</a:t>
            </a:r>
          </a:p>
        </p:txBody>
      </p:sp>
      <p:sp>
        <p:nvSpPr>
          <p:cNvPr id="51" name="Content Placeholder 2">
            <a:extLst>
              <a:ext uri="{FF2B5EF4-FFF2-40B4-BE49-F238E27FC236}">
                <a16:creationId xmlns:a16="http://schemas.microsoft.com/office/drawing/2014/main" id="{0BD3AA71-EF7B-F12F-4DEE-E93618BE23C7}"/>
              </a:ext>
            </a:extLst>
          </p:cNvPr>
          <p:cNvSpPr>
            <a:spLocks noGrp="1"/>
          </p:cNvSpPr>
          <p:nvPr>
            <p:ph sz="quarter" idx="161" hasCustomPrompt="1"/>
          </p:nvPr>
        </p:nvSpPr>
        <p:spPr>
          <a:xfrm>
            <a:off x="3405539" y="5174168"/>
            <a:ext cx="2481263" cy="1041400"/>
          </a:xfrm>
          <a:noFill/>
          <a:ln>
            <a:noFill/>
          </a:ln>
        </p:spPr>
        <p:txBody>
          <a:bodyPr vert="horz" lIns="0" tIns="45720" rIns="0" bIns="45720" rtlCol="0" anchor="ctr">
            <a:normAutofit/>
          </a:bodyPr>
          <a:lstStyle>
            <a:lvl1pPr algn="ctr">
              <a:defRPr lang="en-US" sz="1200" smtClean="0">
                <a:solidFill>
                  <a:schemeClr val="tx1"/>
                </a:solidFill>
                <a:latin typeface="+mn-lt"/>
              </a:defRPr>
            </a:lvl1pPr>
            <a:lvl2pPr>
              <a:defRPr lang="en-US" smtClean="0"/>
            </a:lvl2pPr>
            <a:lvl3pPr>
              <a:defRPr lang="en-US" smtClean="0"/>
            </a:lvl3pPr>
            <a:lvl4pPr>
              <a:defRPr lang="en-US" smtClean="0"/>
            </a:lvl4pPr>
            <a:lvl5pPr>
              <a:defRPr lang="en-GB"/>
            </a:lvl5pPr>
          </a:lstStyle>
          <a:p>
            <a:r>
              <a:rPr lang="en-GB" dirty="0"/>
              <a:t>Client logo/name here</a:t>
            </a:r>
          </a:p>
        </p:txBody>
      </p:sp>
      <p:sp>
        <p:nvSpPr>
          <p:cNvPr id="52" name="Content Placeholder 2">
            <a:extLst>
              <a:ext uri="{FF2B5EF4-FFF2-40B4-BE49-F238E27FC236}">
                <a16:creationId xmlns:a16="http://schemas.microsoft.com/office/drawing/2014/main" id="{A5D23CCE-0BD8-E60E-2CBC-8EE94156DB65}"/>
              </a:ext>
            </a:extLst>
          </p:cNvPr>
          <p:cNvSpPr>
            <a:spLocks noGrp="1"/>
          </p:cNvSpPr>
          <p:nvPr>
            <p:ph sz="quarter" idx="162" hasCustomPrompt="1"/>
          </p:nvPr>
        </p:nvSpPr>
        <p:spPr>
          <a:xfrm>
            <a:off x="6303609" y="5174168"/>
            <a:ext cx="2481263" cy="1041400"/>
          </a:xfrm>
          <a:noFill/>
          <a:ln>
            <a:noFill/>
          </a:ln>
        </p:spPr>
        <p:txBody>
          <a:bodyPr vert="horz" lIns="0" tIns="45720" rIns="0" bIns="45720" rtlCol="0" anchor="ctr">
            <a:normAutofit/>
          </a:bodyPr>
          <a:lstStyle>
            <a:lvl1pPr algn="ctr">
              <a:defRPr lang="en-US" sz="1200" smtClean="0">
                <a:solidFill>
                  <a:schemeClr val="tx1"/>
                </a:solidFill>
                <a:latin typeface="+mn-lt"/>
              </a:defRPr>
            </a:lvl1pPr>
            <a:lvl2pPr>
              <a:defRPr lang="en-US" smtClean="0"/>
            </a:lvl2pPr>
            <a:lvl3pPr>
              <a:defRPr lang="en-US" smtClean="0"/>
            </a:lvl3pPr>
            <a:lvl4pPr>
              <a:defRPr lang="en-US" smtClean="0"/>
            </a:lvl4pPr>
            <a:lvl5pPr>
              <a:defRPr lang="en-GB"/>
            </a:lvl5pPr>
          </a:lstStyle>
          <a:p>
            <a:r>
              <a:rPr lang="en-GB" dirty="0"/>
              <a:t>Client logo/name here</a:t>
            </a:r>
          </a:p>
        </p:txBody>
      </p:sp>
      <p:sp>
        <p:nvSpPr>
          <p:cNvPr id="53" name="Content Placeholder 2">
            <a:extLst>
              <a:ext uri="{FF2B5EF4-FFF2-40B4-BE49-F238E27FC236}">
                <a16:creationId xmlns:a16="http://schemas.microsoft.com/office/drawing/2014/main" id="{122984EE-B09B-99C4-D068-2FD9FFD743E5}"/>
              </a:ext>
            </a:extLst>
          </p:cNvPr>
          <p:cNvSpPr>
            <a:spLocks noGrp="1"/>
          </p:cNvSpPr>
          <p:nvPr>
            <p:ph sz="quarter" idx="163" hasCustomPrompt="1"/>
          </p:nvPr>
        </p:nvSpPr>
        <p:spPr>
          <a:xfrm>
            <a:off x="9201150" y="5174168"/>
            <a:ext cx="2481263" cy="1041400"/>
          </a:xfrm>
          <a:noFill/>
          <a:ln>
            <a:noFill/>
          </a:ln>
        </p:spPr>
        <p:txBody>
          <a:bodyPr vert="horz" lIns="0" tIns="45720" rIns="0" bIns="45720" rtlCol="0" anchor="ctr">
            <a:normAutofit/>
          </a:bodyPr>
          <a:lstStyle>
            <a:lvl1pPr algn="ctr">
              <a:defRPr lang="en-US" sz="1200" smtClean="0">
                <a:solidFill>
                  <a:schemeClr val="tx1"/>
                </a:solidFill>
                <a:latin typeface="+mn-lt"/>
              </a:defRPr>
            </a:lvl1pPr>
            <a:lvl2pPr>
              <a:defRPr lang="en-US" smtClean="0"/>
            </a:lvl2pPr>
            <a:lvl3pPr>
              <a:defRPr lang="en-US" smtClean="0"/>
            </a:lvl3pPr>
            <a:lvl4pPr>
              <a:defRPr lang="en-US" smtClean="0"/>
            </a:lvl4pPr>
            <a:lvl5pPr>
              <a:defRPr lang="en-GB"/>
            </a:lvl5pPr>
          </a:lstStyle>
          <a:p>
            <a:r>
              <a:rPr lang="en-GB" dirty="0"/>
              <a:t>Client logo/name here</a:t>
            </a:r>
          </a:p>
        </p:txBody>
      </p:sp>
    </p:spTree>
    <p:extLst>
      <p:ext uri="{BB962C8B-B14F-4D97-AF65-F5344CB8AC3E}">
        <p14:creationId xmlns:p14="http://schemas.microsoft.com/office/powerpoint/2010/main" val="184047111"/>
      </p:ext>
    </p:extLst>
  </p:cSld>
  <p:clrMapOvr>
    <a:masterClrMapping/>
  </p:clrMapOvr>
  <p:transition spd="med">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with Icons - COMMODITIE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5F66194C-CBAB-28B7-2C12-C5118E55305A}"/>
              </a:ext>
            </a:extLst>
          </p:cNvPr>
          <p:cNvSpPr>
            <a:spLocks noGrp="1"/>
          </p:cNvSpPr>
          <p:nvPr>
            <p:ph type="pic" sz="quarter" idx="13" hasCustomPrompt="1"/>
          </p:nvPr>
        </p:nvSpPr>
        <p:spPr>
          <a:xfrm>
            <a:off x="4067176" y="2"/>
            <a:ext cx="8124824" cy="6857999"/>
          </a:xfrm>
          <a:custGeom>
            <a:avLst/>
            <a:gdLst>
              <a:gd name="connsiteX0" fmla="*/ 3500648 w 8124824"/>
              <a:gd name="connsiteY0" fmla="*/ 1154291 h 6857999"/>
              <a:gd name="connsiteX1" fmla="*/ 3500648 w 8124824"/>
              <a:gd name="connsiteY1" fmla="*/ 1224425 h 6857999"/>
              <a:gd name="connsiteX2" fmla="*/ 3519525 w 8124824"/>
              <a:gd name="connsiteY2" fmla="*/ 1224425 h 6857999"/>
              <a:gd name="connsiteX3" fmla="*/ 3593568 w 8124824"/>
              <a:gd name="connsiteY3" fmla="*/ 1297478 h 6857999"/>
              <a:gd name="connsiteX4" fmla="*/ 3519525 w 8124824"/>
              <a:gd name="connsiteY4" fmla="*/ 1370533 h 6857999"/>
              <a:gd name="connsiteX5" fmla="*/ 3445479 w 8124824"/>
              <a:gd name="connsiteY5" fmla="*/ 1297478 h 6857999"/>
              <a:gd name="connsiteX6" fmla="*/ 3407727 w 8124824"/>
              <a:gd name="connsiteY6" fmla="*/ 1297478 h 6857999"/>
              <a:gd name="connsiteX7" fmla="*/ 3519525 w 8124824"/>
              <a:gd name="connsiteY7" fmla="*/ 1407816 h 6857999"/>
              <a:gd name="connsiteX8" fmla="*/ 3519525 w 8124824"/>
              <a:gd name="connsiteY8" fmla="*/ 1407868 h 6857999"/>
              <a:gd name="connsiteX9" fmla="*/ 3631321 w 8124824"/>
              <a:gd name="connsiteY9" fmla="*/ 1297531 h 6857999"/>
              <a:gd name="connsiteX10" fmla="*/ 3538401 w 8124824"/>
              <a:gd name="connsiteY10" fmla="*/ 1188759 h 6857999"/>
              <a:gd name="connsiteX11" fmla="*/ 3538401 w 8124824"/>
              <a:gd name="connsiteY11" fmla="*/ 1154291 h 6857999"/>
              <a:gd name="connsiteX12" fmla="*/ 1479209 w 8124824"/>
              <a:gd name="connsiteY12" fmla="*/ 1074105 h 6857999"/>
              <a:gd name="connsiteX13" fmla="*/ 1408607 w 8124824"/>
              <a:gd name="connsiteY13" fmla="*/ 1110605 h 6857999"/>
              <a:gd name="connsiteX14" fmla="*/ 1408554 w 8124824"/>
              <a:gd name="connsiteY14" fmla="*/ 1110658 h 6857999"/>
              <a:gd name="connsiteX15" fmla="*/ 1408658 w 8124824"/>
              <a:gd name="connsiteY15" fmla="*/ 1112535 h 6857999"/>
              <a:gd name="connsiteX16" fmla="*/ 1408554 w 8124824"/>
              <a:gd name="connsiteY16" fmla="*/ 1112587 h 6857999"/>
              <a:gd name="connsiteX17" fmla="*/ 1418827 w 8124824"/>
              <a:gd name="connsiteY17" fmla="*/ 1286331 h 6857999"/>
              <a:gd name="connsiteX18" fmla="*/ 1423676 w 8124824"/>
              <a:gd name="connsiteY18" fmla="*/ 1283620 h 6857999"/>
              <a:gd name="connsiteX19" fmla="*/ 1454389 w 8124824"/>
              <a:gd name="connsiteY19" fmla="*/ 1231945 h 6857999"/>
              <a:gd name="connsiteX20" fmla="*/ 1479209 w 8124824"/>
              <a:gd name="connsiteY20" fmla="*/ 1076087 h 6857999"/>
              <a:gd name="connsiteX21" fmla="*/ 1478845 w 8124824"/>
              <a:gd name="connsiteY21" fmla="*/ 1076244 h 6857999"/>
              <a:gd name="connsiteX22" fmla="*/ 1479209 w 8124824"/>
              <a:gd name="connsiteY22" fmla="*/ 1074105 h 6857999"/>
              <a:gd name="connsiteX23" fmla="*/ 6746854 w 8124824"/>
              <a:gd name="connsiteY23" fmla="*/ 1051836 h 6857999"/>
              <a:gd name="connsiteX24" fmla="*/ 6477373 w 8124824"/>
              <a:gd name="connsiteY24" fmla="*/ 1080255 h 6857999"/>
              <a:gd name="connsiteX25" fmla="*/ 6472315 w 8124824"/>
              <a:gd name="connsiteY25" fmla="*/ 1080777 h 6857999"/>
              <a:gd name="connsiteX26" fmla="*/ 6466996 w 8124824"/>
              <a:gd name="connsiteY26" fmla="*/ 1091309 h 6857999"/>
              <a:gd name="connsiteX27" fmla="*/ 6567060 w 8124824"/>
              <a:gd name="connsiteY27" fmla="*/ 1296184 h 6857999"/>
              <a:gd name="connsiteX28" fmla="*/ 6932017 w 8124824"/>
              <a:gd name="connsiteY28" fmla="*/ 1296184 h 6857999"/>
              <a:gd name="connsiteX29" fmla="*/ 7031978 w 8124824"/>
              <a:gd name="connsiteY29" fmla="*/ 1091309 h 6857999"/>
              <a:gd name="connsiteX30" fmla="*/ 7026607 w 8124824"/>
              <a:gd name="connsiteY30" fmla="*/ 1080777 h 6857999"/>
              <a:gd name="connsiteX31" fmla="*/ 7024261 w 8124824"/>
              <a:gd name="connsiteY31" fmla="*/ 1080568 h 6857999"/>
              <a:gd name="connsiteX32" fmla="*/ 6748053 w 8124824"/>
              <a:gd name="connsiteY32" fmla="*/ 1051992 h 6857999"/>
              <a:gd name="connsiteX33" fmla="*/ 5673793 w 8124824"/>
              <a:gd name="connsiteY33" fmla="*/ 1044602 h 6857999"/>
              <a:gd name="connsiteX34" fmla="*/ 5640838 w 8124824"/>
              <a:gd name="connsiteY34" fmla="*/ 1059984 h 6857999"/>
              <a:gd name="connsiteX35" fmla="*/ 5633017 w 8124824"/>
              <a:gd name="connsiteY35" fmla="*/ 1073698 h 6857999"/>
              <a:gd name="connsiteX36" fmla="*/ 5630670 w 8124824"/>
              <a:gd name="connsiteY36" fmla="*/ 1087412 h 6857999"/>
              <a:gd name="connsiteX37" fmla="*/ 5630670 w 8124824"/>
              <a:gd name="connsiteY37" fmla="*/ 1087620 h 6857999"/>
              <a:gd name="connsiteX38" fmla="*/ 5647043 w 8124824"/>
              <a:gd name="connsiteY38" fmla="*/ 1121410 h 6857999"/>
              <a:gd name="connsiteX39" fmla="*/ 5653040 w 8124824"/>
              <a:gd name="connsiteY39" fmla="*/ 1126154 h 6857999"/>
              <a:gd name="connsiteX40" fmla="*/ 5646626 w 8124824"/>
              <a:gd name="connsiteY40" fmla="*/ 1181323 h 6857999"/>
              <a:gd name="connsiteX41" fmla="*/ 5700804 w 8124824"/>
              <a:gd name="connsiteY41" fmla="*/ 1181323 h 6857999"/>
              <a:gd name="connsiteX42" fmla="*/ 5694286 w 8124824"/>
              <a:gd name="connsiteY42" fmla="*/ 1126154 h 6857999"/>
              <a:gd name="connsiteX43" fmla="*/ 5700386 w 8124824"/>
              <a:gd name="connsiteY43" fmla="*/ 1121410 h 6857999"/>
              <a:gd name="connsiteX44" fmla="*/ 5716760 w 8124824"/>
              <a:gd name="connsiteY44" fmla="*/ 1087620 h 6857999"/>
              <a:gd name="connsiteX45" fmla="*/ 5716760 w 8124824"/>
              <a:gd name="connsiteY45" fmla="*/ 1087412 h 6857999"/>
              <a:gd name="connsiteX46" fmla="*/ 5716864 w 8124824"/>
              <a:gd name="connsiteY46" fmla="*/ 1087412 h 6857999"/>
              <a:gd name="connsiteX47" fmla="*/ 5714518 w 8124824"/>
              <a:gd name="connsiteY47" fmla="*/ 1073698 h 6857999"/>
              <a:gd name="connsiteX48" fmla="*/ 5706695 w 8124824"/>
              <a:gd name="connsiteY48" fmla="*/ 1059984 h 6857999"/>
              <a:gd name="connsiteX49" fmla="*/ 5673793 w 8124824"/>
              <a:gd name="connsiteY49" fmla="*/ 1044602 h 6857999"/>
              <a:gd name="connsiteX50" fmla="*/ 2527354 w 8124824"/>
              <a:gd name="connsiteY50" fmla="*/ 1033943 h 6857999"/>
              <a:gd name="connsiteX51" fmla="*/ 2684568 w 8124824"/>
              <a:gd name="connsiteY51" fmla="*/ 1033943 h 6857999"/>
              <a:gd name="connsiteX52" fmla="*/ 2684568 w 8124824"/>
              <a:gd name="connsiteY52" fmla="*/ 1227450 h 6857999"/>
              <a:gd name="connsiteX53" fmla="*/ 2463270 w 8124824"/>
              <a:gd name="connsiteY53" fmla="*/ 1227450 h 6857999"/>
              <a:gd name="connsiteX54" fmla="*/ 2717993 w 8124824"/>
              <a:gd name="connsiteY54" fmla="*/ 1033890 h 6857999"/>
              <a:gd name="connsiteX55" fmla="*/ 2782077 w 8124824"/>
              <a:gd name="connsiteY55" fmla="*/ 1227397 h 6857999"/>
              <a:gd name="connsiteX56" fmla="*/ 2717993 w 8124824"/>
              <a:gd name="connsiteY56" fmla="*/ 1227397 h 6857999"/>
              <a:gd name="connsiteX57" fmla="*/ 2359137 w 8124824"/>
              <a:gd name="connsiteY57" fmla="*/ 1032743 h 6857999"/>
              <a:gd name="connsiteX58" fmla="*/ 2423223 w 8124824"/>
              <a:gd name="connsiteY58" fmla="*/ 1226145 h 6857999"/>
              <a:gd name="connsiteX59" fmla="*/ 2359137 w 8124824"/>
              <a:gd name="connsiteY59" fmla="*/ 1226145 h 6857999"/>
              <a:gd name="connsiteX60" fmla="*/ 2168499 w 8124824"/>
              <a:gd name="connsiteY60" fmla="*/ 1032743 h 6857999"/>
              <a:gd name="connsiteX61" fmla="*/ 2325713 w 8124824"/>
              <a:gd name="connsiteY61" fmla="*/ 1032743 h 6857999"/>
              <a:gd name="connsiteX62" fmla="*/ 2325713 w 8124824"/>
              <a:gd name="connsiteY62" fmla="*/ 1226145 h 6857999"/>
              <a:gd name="connsiteX63" fmla="*/ 2104414 w 8124824"/>
              <a:gd name="connsiteY63" fmla="*/ 1226145 h 6857999"/>
              <a:gd name="connsiteX64" fmla="*/ 5673793 w 8124824"/>
              <a:gd name="connsiteY64" fmla="*/ 1017173 h 6857999"/>
              <a:gd name="connsiteX65" fmla="*/ 5738607 w 8124824"/>
              <a:gd name="connsiteY65" fmla="*/ 1059984 h 6857999"/>
              <a:gd name="connsiteX66" fmla="*/ 5742936 w 8124824"/>
              <a:gd name="connsiteY66" fmla="*/ 1073698 h 6857999"/>
              <a:gd name="connsiteX67" fmla="*/ 5744291 w 8124824"/>
              <a:gd name="connsiteY67" fmla="*/ 1087412 h 6857999"/>
              <a:gd name="connsiteX68" fmla="*/ 5744291 w 8124824"/>
              <a:gd name="connsiteY68" fmla="*/ 1087620 h 6857999"/>
              <a:gd name="connsiteX69" fmla="*/ 5723382 w 8124824"/>
              <a:gd name="connsiteY69" fmla="*/ 1137678 h 6857999"/>
              <a:gd name="connsiteX70" fmla="*/ 5731726 w 8124824"/>
              <a:gd name="connsiteY70" fmla="*/ 1208803 h 6857999"/>
              <a:gd name="connsiteX71" fmla="*/ 5615860 w 8124824"/>
              <a:gd name="connsiteY71" fmla="*/ 1208803 h 6857999"/>
              <a:gd name="connsiteX72" fmla="*/ 5624152 w 8124824"/>
              <a:gd name="connsiteY72" fmla="*/ 1137678 h 6857999"/>
              <a:gd name="connsiteX73" fmla="*/ 5603242 w 8124824"/>
              <a:gd name="connsiteY73" fmla="*/ 1087620 h 6857999"/>
              <a:gd name="connsiteX74" fmla="*/ 5603242 w 8124824"/>
              <a:gd name="connsiteY74" fmla="*/ 1087412 h 6857999"/>
              <a:gd name="connsiteX75" fmla="*/ 5604650 w 8124824"/>
              <a:gd name="connsiteY75" fmla="*/ 1073698 h 6857999"/>
              <a:gd name="connsiteX76" fmla="*/ 5608979 w 8124824"/>
              <a:gd name="connsiteY76" fmla="*/ 1059984 h 6857999"/>
              <a:gd name="connsiteX77" fmla="*/ 5673793 w 8124824"/>
              <a:gd name="connsiteY77" fmla="*/ 1017173 h 6857999"/>
              <a:gd name="connsiteX78" fmla="*/ 6762601 w 8124824"/>
              <a:gd name="connsiteY78" fmla="*/ 1000370 h 6857999"/>
              <a:gd name="connsiteX79" fmla="*/ 6762601 w 8124824"/>
              <a:gd name="connsiteY79" fmla="*/ 1024356 h 6857999"/>
              <a:gd name="connsiteX80" fmla="*/ 6766511 w 8124824"/>
              <a:gd name="connsiteY80" fmla="*/ 1024774 h 6857999"/>
              <a:gd name="connsiteX81" fmla="*/ 6862874 w 8124824"/>
              <a:gd name="connsiteY81" fmla="*/ 1034784 h 6857999"/>
              <a:gd name="connsiteX82" fmla="*/ 6862874 w 8124824"/>
              <a:gd name="connsiteY82" fmla="*/ 1000370 h 6857999"/>
              <a:gd name="connsiteX83" fmla="*/ 6891866 w 8124824"/>
              <a:gd name="connsiteY83" fmla="*/ 1000317 h 6857999"/>
              <a:gd name="connsiteX84" fmla="*/ 6891866 w 8124824"/>
              <a:gd name="connsiteY84" fmla="*/ 1037704 h 6857999"/>
              <a:gd name="connsiteX85" fmla="*/ 6895048 w 8124824"/>
              <a:gd name="connsiteY85" fmla="*/ 1038069 h 6857999"/>
              <a:gd name="connsiteX86" fmla="*/ 6995321 w 8124824"/>
              <a:gd name="connsiteY86" fmla="*/ 1048447 h 6857999"/>
              <a:gd name="connsiteX87" fmla="*/ 6995321 w 8124824"/>
              <a:gd name="connsiteY87" fmla="*/ 1000317 h 6857999"/>
              <a:gd name="connsiteX88" fmla="*/ 6634170 w 8124824"/>
              <a:gd name="connsiteY88" fmla="*/ 1000317 h 6857999"/>
              <a:gd name="connsiteX89" fmla="*/ 6634170 w 8124824"/>
              <a:gd name="connsiteY89" fmla="*/ 1034524 h 6857999"/>
              <a:gd name="connsiteX90" fmla="*/ 6638811 w 8124824"/>
              <a:gd name="connsiteY90" fmla="*/ 1034106 h 6857999"/>
              <a:gd name="connsiteX91" fmla="*/ 6733662 w 8124824"/>
              <a:gd name="connsiteY91" fmla="*/ 1024096 h 6857999"/>
              <a:gd name="connsiteX92" fmla="*/ 6733662 w 8124824"/>
              <a:gd name="connsiteY92" fmla="*/ 1000317 h 6857999"/>
              <a:gd name="connsiteX93" fmla="*/ 6634222 w 8124824"/>
              <a:gd name="connsiteY93" fmla="*/ 1000317 h 6857999"/>
              <a:gd name="connsiteX94" fmla="*/ 6506418 w 8124824"/>
              <a:gd name="connsiteY94" fmla="*/ 1000317 h 6857999"/>
              <a:gd name="connsiteX95" fmla="*/ 6506418 w 8124824"/>
              <a:gd name="connsiteY95" fmla="*/ 1048029 h 6857999"/>
              <a:gd name="connsiteX96" fmla="*/ 6605127 w 8124824"/>
              <a:gd name="connsiteY96" fmla="*/ 1037653 h 6857999"/>
              <a:gd name="connsiteX97" fmla="*/ 6605127 w 8124824"/>
              <a:gd name="connsiteY97" fmla="*/ 1000317 h 6857999"/>
              <a:gd name="connsiteX98" fmla="*/ 4629579 w 8124824"/>
              <a:gd name="connsiteY98" fmla="*/ 974096 h 6857999"/>
              <a:gd name="connsiteX99" fmla="*/ 4519033 w 8124824"/>
              <a:gd name="connsiteY99" fmla="*/ 1398184 h 6857999"/>
              <a:gd name="connsiteX100" fmla="*/ 4802384 w 8124824"/>
              <a:gd name="connsiteY100" fmla="*/ 1019096 h 6857999"/>
              <a:gd name="connsiteX101" fmla="*/ 4629631 w 8124824"/>
              <a:gd name="connsiteY101" fmla="*/ 974096 h 6857999"/>
              <a:gd name="connsiteX102" fmla="*/ 5476897 w 8124824"/>
              <a:gd name="connsiteY102" fmla="*/ 961170 h 6857999"/>
              <a:gd name="connsiteX103" fmla="*/ 5476897 w 8124824"/>
              <a:gd name="connsiteY103" fmla="*/ 1285663 h 6857999"/>
              <a:gd name="connsiteX104" fmla="*/ 5870742 w 8124824"/>
              <a:gd name="connsiteY104" fmla="*/ 1285663 h 6857999"/>
              <a:gd name="connsiteX105" fmla="*/ 5870742 w 8124824"/>
              <a:gd name="connsiteY105" fmla="*/ 961170 h 6857999"/>
              <a:gd name="connsiteX106" fmla="*/ 3519732 w 8124824"/>
              <a:gd name="connsiteY106" fmla="*/ 923709 h 6857999"/>
              <a:gd name="connsiteX107" fmla="*/ 3459611 w 8124824"/>
              <a:gd name="connsiteY107" fmla="*/ 983831 h 6857999"/>
              <a:gd name="connsiteX108" fmla="*/ 3519732 w 8124824"/>
              <a:gd name="connsiteY108" fmla="*/ 1043901 h 6857999"/>
              <a:gd name="connsiteX109" fmla="*/ 3579804 w 8124824"/>
              <a:gd name="connsiteY109" fmla="*/ 983831 h 6857999"/>
              <a:gd name="connsiteX110" fmla="*/ 3519732 w 8124824"/>
              <a:gd name="connsiteY110" fmla="*/ 923709 h 6857999"/>
              <a:gd name="connsiteX111" fmla="*/ 6891866 w 8124824"/>
              <a:gd name="connsiteY111" fmla="*/ 916365 h 6857999"/>
              <a:gd name="connsiteX112" fmla="*/ 6891866 w 8124824"/>
              <a:gd name="connsiteY112" fmla="*/ 971325 h 6857999"/>
              <a:gd name="connsiteX113" fmla="*/ 6995321 w 8124824"/>
              <a:gd name="connsiteY113" fmla="*/ 971325 h 6857999"/>
              <a:gd name="connsiteX114" fmla="*/ 6995321 w 8124824"/>
              <a:gd name="connsiteY114" fmla="*/ 916365 h 6857999"/>
              <a:gd name="connsiteX115" fmla="*/ 6762601 w 8124824"/>
              <a:gd name="connsiteY115" fmla="*/ 916365 h 6857999"/>
              <a:gd name="connsiteX116" fmla="*/ 6762601 w 8124824"/>
              <a:gd name="connsiteY116" fmla="*/ 971325 h 6857999"/>
              <a:gd name="connsiteX117" fmla="*/ 6862874 w 8124824"/>
              <a:gd name="connsiteY117" fmla="*/ 971325 h 6857999"/>
              <a:gd name="connsiteX118" fmla="*/ 6862874 w 8124824"/>
              <a:gd name="connsiteY118" fmla="*/ 916365 h 6857999"/>
              <a:gd name="connsiteX119" fmla="*/ 6634170 w 8124824"/>
              <a:gd name="connsiteY119" fmla="*/ 916365 h 6857999"/>
              <a:gd name="connsiteX120" fmla="*/ 6634170 w 8124824"/>
              <a:gd name="connsiteY120" fmla="*/ 971325 h 6857999"/>
              <a:gd name="connsiteX121" fmla="*/ 6733609 w 8124824"/>
              <a:gd name="connsiteY121" fmla="*/ 971325 h 6857999"/>
              <a:gd name="connsiteX122" fmla="*/ 6733609 w 8124824"/>
              <a:gd name="connsiteY122" fmla="*/ 916365 h 6857999"/>
              <a:gd name="connsiteX123" fmla="*/ 6506469 w 8124824"/>
              <a:gd name="connsiteY123" fmla="*/ 916365 h 6857999"/>
              <a:gd name="connsiteX124" fmla="*/ 6506469 w 8124824"/>
              <a:gd name="connsiteY124" fmla="*/ 971325 h 6857999"/>
              <a:gd name="connsiteX125" fmla="*/ 6605178 w 8124824"/>
              <a:gd name="connsiteY125" fmla="*/ 971325 h 6857999"/>
              <a:gd name="connsiteX126" fmla="*/ 6605178 w 8124824"/>
              <a:gd name="connsiteY126" fmla="*/ 916365 h 6857999"/>
              <a:gd name="connsiteX127" fmla="*/ 3519732 w 8124824"/>
              <a:gd name="connsiteY127" fmla="*/ 886166 h 6857999"/>
              <a:gd name="connsiteX128" fmla="*/ 3617398 w 8124824"/>
              <a:gd name="connsiteY128" fmla="*/ 983780 h 6857999"/>
              <a:gd name="connsiteX129" fmla="*/ 3519732 w 8124824"/>
              <a:gd name="connsiteY129" fmla="*/ 1081446 h 6857999"/>
              <a:gd name="connsiteX130" fmla="*/ 3422066 w 8124824"/>
              <a:gd name="connsiteY130" fmla="*/ 983780 h 6857999"/>
              <a:gd name="connsiteX131" fmla="*/ 3519732 w 8124824"/>
              <a:gd name="connsiteY131" fmla="*/ 886166 h 6857999"/>
              <a:gd name="connsiteX132" fmla="*/ 3324452 w 8124824"/>
              <a:gd name="connsiteY132" fmla="*/ 854671 h 6857999"/>
              <a:gd name="connsiteX133" fmla="*/ 3382905 w 8124824"/>
              <a:gd name="connsiteY133" fmla="*/ 1116643 h 6857999"/>
              <a:gd name="connsiteX134" fmla="*/ 3656090 w 8124824"/>
              <a:gd name="connsiteY134" fmla="*/ 1116643 h 6857999"/>
              <a:gd name="connsiteX135" fmla="*/ 3714595 w 8124824"/>
              <a:gd name="connsiteY135" fmla="*/ 854671 h 6857999"/>
              <a:gd name="connsiteX136" fmla="*/ 3324505 w 8124824"/>
              <a:gd name="connsiteY136" fmla="*/ 854671 h 6857999"/>
              <a:gd name="connsiteX137" fmla="*/ 1116267 w 8124824"/>
              <a:gd name="connsiteY137" fmla="*/ 850675 h 6857999"/>
              <a:gd name="connsiteX138" fmla="*/ 1090163 w 8124824"/>
              <a:gd name="connsiteY138" fmla="*/ 860785 h 6857999"/>
              <a:gd name="connsiteX139" fmla="*/ 1085782 w 8124824"/>
              <a:gd name="connsiteY139" fmla="*/ 864695 h 6857999"/>
              <a:gd name="connsiteX140" fmla="*/ 1294150 w 8124824"/>
              <a:gd name="connsiteY140" fmla="*/ 986346 h 6857999"/>
              <a:gd name="connsiteX141" fmla="*/ 1294150 w 8124824"/>
              <a:gd name="connsiteY141" fmla="*/ 986295 h 6857999"/>
              <a:gd name="connsiteX142" fmla="*/ 1396144 w 8124824"/>
              <a:gd name="connsiteY142" fmla="*/ 932117 h 6857999"/>
              <a:gd name="connsiteX143" fmla="*/ 1149764 w 8124824"/>
              <a:gd name="connsiteY143" fmla="*/ 856716 h 6857999"/>
              <a:gd name="connsiteX144" fmla="*/ 1116267 w 8124824"/>
              <a:gd name="connsiteY144" fmla="*/ 850675 h 6857999"/>
              <a:gd name="connsiteX145" fmla="*/ 1645683 w 8124824"/>
              <a:gd name="connsiteY145" fmla="*/ 847722 h 6857999"/>
              <a:gd name="connsiteX146" fmla="*/ 1627872 w 8124824"/>
              <a:gd name="connsiteY146" fmla="*/ 852806 h 6857999"/>
              <a:gd name="connsiteX147" fmla="*/ 1175522 w 8124824"/>
              <a:gd name="connsiteY147" fmla="*/ 1086568 h 6857999"/>
              <a:gd name="connsiteX148" fmla="*/ 1149243 w 8124824"/>
              <a:gd name="connsiteY148" fmla="*/ 1088184 h 6857999"/>
              <a:gd name="connsiteX149" fmla="*/ 1049335 w 8124824"/>
              <a:gd name="connsiteY149" fmla="*/ 1058514 h 6857999"/>
              <a:gd name="connsiteX150" fmla="*/ 1024878 w 8124824"/>
              <a:gd name="connsiteY150" fmla="*/ 1071185 h 6857999"/>
              <a:gd name="connsiteX151" fmla="*/ 1173488 w 8124824"/>
              <a:gd name="connsiteY151" fmla="*/ 1171876 h 6857999"/>
              <a:gd name="connsiteX152" fmla="*/ 1211867 w 8124824"/>
              <a:gd name="connsiteY152" fmla="*/ 1172710 h 6857999"/>
              <a:gd name="connsiteX153" fmla="*/ 1670683 w 8124824"/>
              <a:gd name="connsiteY153" fmla="*/ 935611 h 6857999"/>
              <a:gd name="connsiteX154" fmla="*/ 1690706 w 8124824"/>
              <a:gd name="connsiteY154" fmla="*/ 872830 h 6857999"/>
              <a:gd name="connsiteX155" fmla="*/ 1645683 w 8124824"/>
              <a:gd name="connsiteY155" fmla="*/ 847722 h 6857999"/>
              <a:gd name="connsiteX156" fmla="*/ 2536897 w 8124824"/>
              <a:gd name="connsiteY156" fmla="*/ 803727 h 6857999"/>
              <a:gd name="connsiteX157" fmla="*/ 2600981 w 8124824"/>
              <a:gd name="connsiteY157" fmla="*/ 997128 h 6857999"/>
              <a:gd name="connsiteX158" fmla="*/ 2536897 w 8124824"/>
              <a:gd name="connsiteY158" fmla="*/ 997128 h 6857999"/>
              <a:gd name="connsiteX159" fmla="*/ 2346205 w 8124824"/>
              <a:gd name="connsiteY159" fmla="*/ 803727 h 6857999"/>
              <a:gd name="connsiteX160" fmla="*/ 2503421 w 8124824"/>
              <a:gd name="connsiteY160" fmla="*/ 803727 h 6857999"/>
              <a:gd name="connsiteX161" fmla="*/ 2503472 w 8124824"/>
              <a:gd name="connsiteY161" fmla="*/ 803727 h 6857999"/>
              <a:gd name="connsiteX162" fmla="*/ 2503472 w 8124824"/>
              <a:gd name="connsiteY162" fmla="*/ 997128 h 6857999"/>
              <a:gd name="connsiteX163" fmla="*/ 2282172 w 8124824"/>
              <a:gd name="connsiteY163" fmla="*/ 997128 h 6857999"/>
              <a:gd name="connsiteX164" fmla="*/ 2325766 w 8124824"/>
              <a:gd name="connsiteY164" fmla="*/ 865465 h 6857999"/>
              <a:gd name="connsiteX165" fmla="*/ 2332335 w 8124824"/>
              <a:gd name="connsiteY165" fmla="*/ 845494 h 6857999"/>
              <a:gd name="connsiteX166" fmla="*/ 6612948 w 8124824"/>
              <a:gd name="connsiteY166" fmla="*/ 788508 h 6857999"/>
              <a:gd name="connsiteX167" fmla="*/ 6612948 w 8124824"/>
              <a:gd name="connsiteY167" fmla="*/ 831997 h 6857999"/>
              <a:gd name="connsiteX168" fmla="*/ 6670932 w 8124824"/>
              <a:gd name="connsiteY168" fmla="*/ 831997 h 6857999"/>
              <a:gd name="connsiteX169" fmla="*/ 6670932 w 8124824"/>
              <a:gd name="connsiteY169" fmla="*/ 887373 h 6857999"/>
              <a:gd name="connsiteX170" fmla="*/ 6830388 w 8124824"/>
              <a:gd name="connsiteY170" fmla="*/ 887373 h 6857999"/>
              <a:gd name="connsiteX171" fmla="*/ 6830388 w 8124824"/>
              <a:gd name="connsiteY171" fmla="*/ 831997 h 6857999"/>
              <a:gd name="connsiteX172" fmla="*/ 6888374 w 8124824"/>
              <a:gd name="connsiteY172" fmla="*/ 831997 h 6857999"/>
              <a:gd name="connsiteX173" fmla="*/ 6888374 w 8124824"/>
              <a:gd name="connsiteY173" fmla="*/ 788508 h 6857999"/>
              <a:gd name="connsiteX174" fmla="*/ 5673793 w 8124824"/>
              <a:gd name="connsiteY174" fmla="*/ 779448 h 6857999"/>
              <a:gd name="connsiteX175" fmla="*/ 5519812 w 8124824"/>
              <a:gd name="connsiteY175" fmla="*/ 933482 h 6857999"/>
              <a:gd name="connsiteX176" fmla="*/ 5519812 w 8124824"/>
              <a:gd name="connsiteY176" fmla="*/ 933742 h 6857999"/>
              <a:gd name="connsiteX177" fmla="*/ 5547239 w 8124824"/>
              <a:gd name="connsiteY177" fmla="*/ 933742 h 6857999"/>
              <a:gd name="connsiteX178" fmla="*/ 5547239 w 8124824"/>
              <a:gd name="connsiteY178" fmla="*/ 933482 h 6857999"/>
              <a:gd name="connsiteX179" fmla="*/ 5673793 w 8124824"/>
              <a:gd name="connsiteY179" fmla="*/ 806876 h 6857999"/>
              <a:gd name="connsiteX180" fmla="*/ 5800398 w 8124824"/>
              <a:gd name="connsiteY180" fmla="*/ 933482 h 6857999"/>
              <a:gd name="connsiteX181" fmla="*/ 5800398 w 8124824"/>
              <a:gd name="connsiteY181" fmla="*/ 933742 h 6857999"/>
              <a:gd name="connsiteX182" fmla="*/ 5827827 w 8124824"/>
              <a:gd name="connsiteY182" fmla="*/ 933742 h 6857999"/>
              <a:gd name="connsiteX183" fmla="*/ 5827827 w 8124824"/>
              <a:gd name="connsiteY183" fmla="*/ 933482 h 6857999"/>
              <a:gd name="connsiteX184" fmla="*/ 5673793 w 8124824"/>
              <a:gd name="connsiteY184" fmla="*/ 779448 h 6857999"/>
              <a:gd name="connsiteX185" fmla="*/ 3593568 w 8124824"/>
              <a:gd name="connsiteY185" fmla="*/ 701471 h 6857999"/>
              <a:gd name="connsiteX186" fmla="*/ 3593568 w 8124824"/>
              <a:gd name="connsiteY186" fmla="*/ 817336 h 6857999"/>
              <a:gd name="connsiteX187" fmla="*/ 3631321 w 8124824"/>
              <a:gd name="connsiteY187" fmla="*/ 817336 h 6857999"/>
              <a:gd name="connsiteX188" fmla="*/ 3631321 w 8124824"/>
              <a:gd name="connsiteY188" fmla="*/ 701471 h 6857999"/>
              <a:gd name="connsiteX189" fmla="*/ 3407727 w 8124824"/>
              <a:gd name="connsiteY189" fmla="*/ 701471 h 6857999"/>
              <a:gd name="connsiteX190" fmla="*/ 3407727 w 8124824"/>
              <a:gd name="connsiteY190" fmla="*/ 817336 h 6857999"/>
              <a:gd name="connsiteX191" fmla="*/ 3445532 w 8124824"/>
              <a:gd name="connsiteY191" fmla="*/ 817336 h 6857999"/>
              <a:gd name="connsiteX192" fmla="*/ 3445532 w 8124824"/>
              <a:gd name="connsiteY192" fmla="*/ 701471 h 6857999"/>
              <a:gd name="connsiteX193" fmla="*/ 4658414 w 8124824"/>
              <a:gd name="connsiteY193" fmla="*/ 701330 h 6857999"/>
              <a:gd name="connsiteX194" fmla="*/ 4389090 w 8124824"/>
              <a:gd name="connsiteY194" fmla="*/ 1061593 h 6857999"/>
              <a:gd name="connsiteX195" fmla="*/ 4553344 w 8124824"/>
              <a:gd name="connsiteY195" fmla="*/ 1104351 h 6857999"/>
              <a:gd name="connsiteX196" fmla="*/ 4658414 w 8124824"/>
              <a:gd name="connsiteY196" fmla="*/ 701383 h 6857999"/>
              <a:gd name="connsiteX197" fmla="*/ 2443298 w 8124824"/>
              <a:gd name="connsiteY197" fmla="*/ 591083 h 6857999"/>
              <a:gd name="connsiteX198" fmla="*/ 1989540 w 8124824"/>
              <a:gd name="connsiteY198" fmla="*/ 1044841 h 6857999"/>
              <a:gd name="connsiteX199" fmla="*/ 2443298 w 8124824"/>
              <a:gd name="connsiteY199" fmla="*/ 1498600 h 6857999"/>
              <a:gd name="connsiteX200" fmla="*/ 2897056 w 8124824"/>
              <a:gd name="connsiteY200" fmla="*/ 1044841 h 6857999"/>
              <a:gd name="connsiteX201" fmla="*/ 2443298 w 8124824"/>
              <a:gd name="connsiteY201" fmla="*/ 591083 h 6857999"/>
              <a:gd name="connsiteX202" fmla="*/ 0 w 8124824"/>
              <a:gd name="connsiteY202" fmla="*/ 0 h 6857999"/>
              <a:gd name="connsiteX203" fmla="*/ 8124824 w 8124824"/>
              <a:gd name="connsiteY203" fmla="*/ 0 h 6857999"/>
              <a:gd name="connsiteX204" fmla="*/ 8124824 w 8124824"/>
              <a:gd name="connsiteY204" fmla="*/ 6857999 h 6857999"/>
              <a:gd name="connsiteX205" fmla="*/ 0 w 8124824"/>
              <a:gd name="connsiteY20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Lst>
            <a:rect l="l" t="t" r="r" b="b"/>
            <a:pathLst>
              <a:path w="8124824" h="6857999">
                <a:moveTo>
                  <a:pt x="3500648" y="1154291"/>
                </a:moveTo>
                <a:lnTo>
                  <a:pt x="3500648" y="1224425"/>
                </a:lnTo>
                <a:lnTo>
                  <a:pt x="3519525" y="1224425"/>
                </a:lnTo>
                <a:cubicBezTo>
                  <a:pt x="3560353" y="1224425"/>
                  <a:pt x="3593568" y="1257224"/>
                  <a:pt x="3593568" y="1297478"/>
                </a:cubicBezTo>
                <a:cubicBezTo>
                  <a:pt x="3593568" y="1337734"/>
                  <a:pt x="3560353" y="1370533"/>
                  <a:pt x="3519525" y="1370533"/>
                </a:cubicBezTo>
                <a:cubicBezTo>
                  <a:pt x="3478694" y="1370533"/>
                  <a:pt x="3445479" y="1337734"/>
                  <a:pt x="3445479" y="1297478"/>
                </a:cubicBezTo>
                <a:lnTo>
                  <a:pt x="3407727" y="1297478"/>
                </a:lnTo>
                <a:cubicBezTo>
                  <a:pt x="3407727" y="1358331"/>
                  <a:pt x="3457890" y="1407816"/>
                  <a:pt x="3519525" y="1407816"/>
                </a:cubicBezTo>
                <a:lnTo>
                  <a:pt x="3519525" y="1407868"/>
                </a:lnTo>
                <a:cubicBezTo>
                  <a:pt x="3581159" y="1407868"/>
                  <a:pt x="3631321" y="1358331"/>
                  <a:pt x="3631321" y="1297531"/>
                </a:cubicBezTo>
                <a:cubicBezTo>
                  <a:pt x="3631321" y="1243040"/>
                  <a:pt x="3591066" y="1197623"/>
                  <a:pt x="3538401" y="1188759"/>
                </a:cubicBezTo>
                <a:lnTo>
                  <a:pt x="3538401" y="1154291"/>
                </a:lnTo>
                <a:close/>
                <a:moveTo>
                  <a:pt x="1479209" y="1074105"/>
                </a:moveTo>
                <a:cubicBezTo>
                  <a:pt x="1464558" y="1081666"/>
                  <a:pt x="1417524" y="1105966"/>
                  <a:pt x="1408607" y="1110605"/>
                </a:cubicBezTo>
                <a:lnTo>
                  <a:pt x="1408554" y="1110658"/>
                </a:lnTo>
                <a:cubicBezTo>
                  <a:pt x="1408554" y="1111076"/>
                  <a:pt x="1408658" y="1112013"/>
                  <a:pt x="1408658" y="1112535"/>
                </a:cubicBezTo>
                <a:cubicBezTo>
                  <a:pt x="1408658" y="1112535"/>
                  <a:pt x="1408554" y="1112535"/>
                  <a:pt x="1408554" y="1112587"/>
                </a:cubicBezTo>
                <a:cubicBezTo>
                  <a:pt x="1410066" y="1137042"/>
                  <a:pt x="1416793" y="1250665"/>
                  <a:pt x="1418827" y="1286331"/>
                </a:cubicBezTo>
                <a:cubicBezTo>
                  <a:pt x="1420391" y="1285392"/>
                  <a:pt x="1421956" y="1284507"/>
                  <a:pt x="1423676" y="1283620"/>
                </a:cubicBezTo>
                <a:cubicBezTo>
                  <a:pt x="1442291" y="1273973"/>
                  <a:pt x="1450582" y="1259947"/>
                  <a:pt x="1454389" y="1231945"/>
                </a:cubicBezTo>
                <a:cubicBezTo>
                  <a:pt x="1461846" y="1175890"/>
                  <a:pt x="1470241" y="1127032"/>
                  <a:pt x="1479209" y="1076087"/>
                </a:cubicBezTo>
                <a:cubicBezTo>
                  <a:pt x="1479105" y="1076087"/>
                  <a:pt x="1478949" y="1076244"/>
                  <a:pt x="1478845" y="1076244"/>
                </a:cubicBezTo>
                <a:cubicBezTo>
                  <a:pt x="1479002" y="1075566"/>
                  <a:pt x="1479105" y="1074835"/>
                  <a:pt x="1479209" y="1074105"/>
                </a:cubicBezTo>
                <a:close/>
                <a:moveTo>
                  <a:pt x="6746854" y="1051836"/>
                </a:moveTo>
                <a:lnTo>
                  <a:pt x="6477373" y="1080255"/>
                </a:lnTo>
                <a:lnTo>
                  <a:pt x="6472315" y="1080777"/>
                </a:lnTo>
                <a:cubicBezTo>
                  <a:pt x="6467205" y="1081402"/>
                  <a:pt x="6464494" y="1086981"/>
                  <a:pt x="6466996" y="1091309"/>
                </a:cubicBezTo>
                <a:lnTo>
                  <a:pt x="6567060" y="1296184"/>
                </a:lnTo>
                <a:lnTo>
                  <a:pt x="6932017" y="1296184"/>
                </a:lnTo>
                <a:lnTo>
                  <a:pt x="7031978" y="1091309"/>
                </a:lnTo>
                <a:cubicBezTo>
                  <a:pt x="7034533" y="1086929"/>
                  <a:pt x="7031665" y="1081349"/>
                  <a:pt x="7026607" y="1080777"/>
                </a:cubicBezTo>
                <a:lnTo>
                  <a:pt x="7024261" y="1080568"/>
                </a:lnTo>
                <a:lnTo>
                  <a:pt x="6748053" y="1051992"/>
                </a:lnTo>
                <a:close/>
                <a:moveTo>
                  <a:pt x="5673793" y="1044602"/>
                </a:moveTo>
                <a:cubicBezTo>
                  <a:pt x="5660548" y="1044602"/>
                  <a:pt x="5648764" y="1050598"/>
                  <a:pt x="5640838" y="1059984"/>
                </a:cubicBezTo>
                <a:cubicBezTo>
                  <a:pt x="5637396" y="1064051"/>
                  <a:pt x="5634738" y="1068639"/>
                  <a:pt x="5633017" y="1073698"/>
                </a:cubicBezTo>
                <a:cubicBezTo>
                  <a:pt x="5631453" y="1078026"/>
                  <a:pt x="5630670" y="1082614"/>
                  <a:pt x="5630670" y="1087412"/>
                </a:cubicBezTo>
                <a:lnTo>
                  <a:pt x="5630670" y="1087620"/>
                </a:lnTo>
                <a:cubicBezTo>
                  <a:pt x="5630670" y="1100916"/>
                  <a:pt x="5636615" y="1113171"/>
                  <a:pt x="5647043" y="1121410"/>
                </a:cubicBezTo>
                <a:lnTo>
                  <a:pt x="5653040" y="1126154"/>
                </a:lnTo>
                <a:lnTo>
                  <a:pt x="5646626" y="1181323"/>
                </a:lnTo>
                <a:lnTo>
                  <a:pt x="5700804" y="1181323"/>
                </a:lnTo>
                <a:lnTo>
                  <a:pt x="5694286" y="1126154"/>
                </a:lnTo>
                <a:lnTo>
                  <a:pt x="5700386" y="1121410"/>
                </a:lnTo>
                <a:cubicBezTo>
                  <a:pt x="5710764" y="1113171"/>
                  <a:pt x="5716760" y="1100916"/>
                  <a:pt x="5716760" y="1087620"/>
                </a:cubicBezTo>
                <a:lnTo>
                  <a:pt x="5716760" y="1087412"/>
                </a:lnTo>
                <a:lnTo>
                  <a:pt x="5716864" y="1087412"/>
                </a:lnTo>
                <a:cubicBezTo>
                  <a:pt x="5716864" y="1082614"/>
                  <a:pt x="5716030" y="1078026"/>
                  <a:pt x="5714518" y="1073698"/>
                </a:cubicBezTo>
                <a:cubicBezTo>
                  <a:pt x="5712797" y="1068639"/>
                  <a:pt x="5710137" y="1064051"/>
                  <a:pt x="5706695" y="1059984"/>
                </a:cubicBezTo>
                <a:cubicBezTo>
                  <a:pt x="5698822" y="1050598"/>
                  <a:pt x="5687038" y="1044602"/>
                  <a:pt x="5673793" y="1044602"/>
                </a:cubicBezTo>
                <a:close/>
                <a:moveTo>
                  <a:pt x="2527354" y="1033943"/>
                </a:moveTo>
                <a:lnTo>
                  <a:pt x="2684568" y="1033943"/>
                </a:lnTo>
                <a:lnTo>
                  <a:pt x="2684568" y="1227450"/>
                </a:lnTo>
                <a:lnTo>
                  <a:pt x="2463270" y="1227450"/>
                </a:lnTo>
                <a:close/>
                <a:moveTo>
                  <a:pt x="2717993" y="1033890"/>
                </a:moveTo>
                <a:lnTo>
                  <a:pt x="2782077" y="1227397"/>
                </a:lnTo>
                <a:lnTo>
                  <a:pt x="2717993" y="1227397"/>
                </a:lnTo>
                <a:close/>
                <a:moveTo>
                  <a:pt x="2359137" y="1032743"/>
                </a:moveTo>
                <a:lnTo>
                  <a:pt x="2423223" y="1226145"/>
                </a:lnTo>
                <a:lnTo>
                  <a:pt x="2359137" y="1226145"/>
                </a:lnTo>
                <a:close/>
                <a:moveTo>
                  <a:pt x="2168499" y="1032743"/>
                </a:moveTo>
                <a:lnTo>
                  <a:pt x="2325713" y="1032743"/>
                </a:lnTo>
                <a:lnTo>
                  <a:pt x="2325713" y="1226145"/>
                </a:lnTo>
                <a:lnTo>
                  <a:pt x="2104414" y="1226145"/>
                </a:lnTo>
                <a:close/>
                <a:moveTo>
                  <a:pt x="5673793" y="1017173"/>
                </a:moveTo>
                <a:cubicBezTo>
                  <a:pt x="5702889" y="1017173"/>
                  <a:pt x="5727866" y="1034799"/>
                  <a:pt x="5738607" y="1059984"/>
                </a:cubicBezTo>
                <a:cubicBezTo>
                  <a:pt x="5740537" y="1064312"/>
                  <a:pt x="5741998" y="1069004"/>
                  <a:pt x="5742936" y="1073698"/>
                </a:cubicBezTo>
                <a:cubicBezTo>
                  <a:pt x="5743822" y="1078130"/>
                  <a:pt x="5744291" y="1082771"/>
                  <a:pt x="5744291" y="1087412"/>
                </a:cubicBezTo>
                <a:lnTo>
                  <a:pt x="5744291" y="1087620"/>
                </a:lnTo>
                <a:cubicBezTo>
                  <a:pt x="5744291" y="1106705"/>
                  <a:pt x="5736730" y="1124486"/>
                  <a:pt x="5723382" y="1137678"/>
                </a:cubicBezTo>
                <a:lnTo>
                  <a:pt x="5731726" y="1208803"/>
                </a:lnTo>
                <a:lnTo>
                  <a:pt x="5615860" y="1208803"/>
                </a:lnTo>
                <a:lnTo>
                  <a:pt x="5624152" y="1137678"/>
                </a:lnTo>
                <a:cubicBezTo>
                  <a:pt x="5610803" y="1124486"/>
                  <a:pt x="5603242" y="1106653"/>
                  <a:pt x="5603242" y="1087620"/>
                </a:cubicBezTo>
                <a:lnTo>
                  <a:pt x="5603242" y="1087412"/>
                </a:lnTo>
                <a:cubicBezTo>
                  <a:pt x="5603242" y="1082771"/>
                  <a:pt x="5603764" y="1078130"/>
                  <a:pt x="5604650" y="1073698"/>
                </a:cubicBezTo>
                <a:cubicBezTo>
                  <a:pt x="5605641" y="1069004"/>
                  <a:pt x="5607049" y="1064312"/>
                  <a:pt x="5608979" y="1059984"/>
                </a:cubicBezTo>
                <a:cubicBezTo>
                  <a:pt x="5619772" y="1034799"/>
                  <a:pt x="5644696" y="1017173"/>
                  <a:pt x="5673793" y="1017173"/>
                </a:cubicBezTo>
                <a:close/>
                <a:moveTo>
                  <a:pt x="6762601" y="1000370"/>
                </a:moveTo>
                <a:lnTo>
                  <a:pt x="6762601" y="1024356"/>
                </a:lnTo>
                <a:lnTo>
                  <a:pt x="6766511" y="1024774"/>
                </a:lnTo>
                <a:lnTo>
                  <a:pt x="6862874" y="1034784"/>
                </a:lnTo>
                <a:lnTo>
                  <a:pt x="6862874" y="1000370"/>
                </a:lnTo>
                <a:close/>
                <a:moveTo>
                  <a:pt x="6891866" y="1000317"/>
                </a:moveTo>
                <a:lnTo>
                  <a:pt x="6891866" y="1037704"/>
                </a:lnTo>
                <a:lnTo>
                  <a:pt x="6895048" y="1038069"/>
                </a:lnTo>
                <a:lnTo>
                  <a:pt x="6995321" y="1048447"/>
                </a:lnTo>
                <a:lnTo>
                  <a:pt x="6995321" y="1000317"/>
                </a:lnTo>
                <a:close/>
                <a:moveTo>
                  <a:pt x="6634170" y="1000317"/>
                </a:moveTo>
                <a:lnTo>
                  <a:pt x="6634170" y="1034524"/>
                </a:lnTo>
                <a:lnTo>
                  <a:pt x="6638811" y="1034106"/>
                </a:lnTo>
                <a:lnTo>
                  <a:pt x="6733662" y="1024096"/>
                </a:lnTo>
                <a:lnTo>
                  <a:pt x="6733662" y="1000317"/>
                </a:lnTo>
                <a:lnTo>
                  <a:pt x="6634222" y="1000317"/>
                </a:lnTo>
                <a:close/>
                <a:moveTo>
                  <a:pt x="6506418" y="1000317"/>
                </a:moveTo>
                <a:lnTo>
                  <a:pt x="6506418" y="1048029"/>
                </a:lnTo>
                <a:lnTo>
                  <a:pt x="6605127" y="1037653"/>
                </a:lnTo>
                <a:lnTo>
                  <a:pt x="6605127" y="1000317"/>
                </a:lnTo>
                <a:close/>
                <a:moveTo>
                  <a:pt x="4629579" y="974096"/>
                </a:moveTo>
                <a:lnTo>
                  <a:pt x="4519033" y="1398184"/>
                </a:lnTo>
                <a:lnTo>
                  <a:pt x="4802384" y="1019096"/>
                </a:lnTo>
                <a:lnTo>
                  <a:pt x="4629631" y="974096"/>
                </a:lnTo>
                <a:close/>
                <a:moveTo>
                  <a:pt x="5476897" y="961170"/>
                </a:moveTo>
                <a:lnTo>
                  <a:pt x="5476897" y="1285663"/>
                </a:lnTo>
                <a:lnTo>
                  <a:pt x="5870742" y="1285663"/>
                </a:lnTo>
                <a:lnTo>
                  <a:pt x="5870742" y="961170"/>
                </a:lnTo>
                <a:close/>
                <a:moveTo>
                  <a:pt x="3519732" y="923709"/>
                </a:moveTo>
                <a:cubicBezTo>
                  <a:pt x="3486517" y="923709"/>
                  <a:pt x="3459611" y="950667"/>
                  <a:pt x="3459611" y="983831"/>
                </a:cubicBezTo>
                <a:cubicBezTo>
                  <a:pt x="3459611" y="1016995"/>
                  <a:pt x="3486569" y="1043901"/>
                  <a:pt x="3519732" y="1043901"/>
                </a:cubicBezTo>
                <a:cubicBezTo>
                  <a:pt x="3552896" y="1043901"/>
                  <a:pt x="3579804" y="1016995"/>
                  <a:pt x="3579804" y="983831"/>
                </a:cubicBezTo>
                <a:cubicBezTo>
                  <a:pt x="3579804" y="950616"/>
                  <a:pt x="3552949" y="923709"/>
                  <a:pt x="3519732" y="923709"/>
                </a:cubicBezTo>
                <a:close/>
                <a:moveTo>
                  <a:pt x="6891866" y="916365"/>
                </a:moveTo>
                <a:lnTo>
                  <a:pt x="6891866" y="971325"/>
                </a:lnTo>
                <a:lnTo>
                  <a:pt x="6995321" y="971325"/>
                </a:lnTo>
                <a:lnTo>
                  <a:pt x="6995321" y="916365"/>
                </a:lnTo>
                <a:close/>
                <a:moveTo>
                  <a:pt x="6762601" y="916365"/>
                </a:moveTo>
                <a:lnTo>
                  <a:pt x="6762601" y="971325"/>
                </a:lnTo>
                <a:lnTo>
                  <a:pt x="6862874" y="971325"/>
                </a:lnTo>
                <a:lnTo>
                  <a:pt x="6862874" y="916365"/>
                </a:lnTo>
                <a:close/>
                <a:moveTo>
                  <a:pt x="6634170" y="916365"/>
                </a:moveTo>
                <a:lnTo>
                  <a:pt x="6634170" y="971325"/>
                </a:lnTo>
                <a:lnTo>
                  <a:pt x="6733609" y="971325"/>
                </a:lnTo>
                <a:lnTo>
                  <a:pt x="6733609" y="916365"/>
                </a:lnTo>
                <a:close/>
                <a:moveTo>
                  <a:pt x="6506469" y="916365"/>
                </a:moveTo>
                <a:lnTo>
                  <a:pt x="6506469" y="971325"/>
                </a:lnTo>
                <a:lnTo>
                  <a:pt x="6605178" y="971325"/>
                </a:lnTo>
                <a:lnTo>
                  <a:pt x="6605178" y="916365"/>
                </a:lnTo>
                <a:close/>
                <a:moveTo>
                  <a:pt x="3519732" y="886166"/>
                </a:moveTo>
                <a:cubicBezTo>
                  <a:pt x="3573702" y="886166"/>
                  <a:pt x="3617398" y="929863"/>
                  <a:pt x="3617398" y="983780"/>
                </a:cubicBezTo>
                <a:cubicBezTo>
                  <a:pt x="3617398" y="1037697"/>
                  <a:pt x="3573702" y="1081446"/>
                  <a:pt x="3519732" y="1081446"/>
                </a:cubicBezTo>
                <a:cubicBezTo>
                  <a:pt x="3465764" y="1081446"/>
                  <a:pt x="3422066" y="1037749"/>
                  <a:pt x="3422066" y="983780"/>
                </a:cubicBezTo>
                <a:cubicBezTo>
                  <a:pt x="3422066" y="929811"/>
                  <a:pt x="3465764" y="886166"/>
                  <a:pt x="3519732" y="886166"/>
                </a:cubicBezTo>
                <a:close/>
                <a:moveTo>
                  <a:pt x="3324452" y="854671"/>
                </a:moveTo>
                <a:lnTo>
                  <a:pt x="3382905" y="1116643"/>
                </a:lnTo>
                <a:lnTo>
                  <a:pt x="3656090" y="1116643"/>
                </a:lnTo>
                <a:lnTo>
                  <a:pt x="3714595" y="854671"/>
                </a:lnTo>
                <a:lnTo>
                  <a:pt x="3324505" y="854671"/>
                </a:lnTo>
                <a:close/>
                <a:moveTo>
                  <a:pt x="1116267" y="850675"/>
                </a:moveTo>
                <a:cubicBezTo>
                  <a:pt x="1106823" y="851242"/>
                  <a:pt x="1098610" y="854501"/>
                  <a:pt x="1090163" y="860785"/>
                </a:cubicBezTo>
                <a:cubicBezTo>
                  <a:pt x="1088702" y="861827"/>
                  <a:pt x="1087399" y="863027"/>
                  <a:pt x="1085782" y="864695"/>
                </a:cubicBezTo>
                <a:cubicBezTo>
                  <a:pt x="1085782" y="864695"/>
                  <a:pt x="1255981" y="964863"/>
                  <a:pt x="1294150" y="986346"/>
                </a:cubicBezTo>
                <a:lnTo>
                  <a:pt x="1294150" y="986295"/>
                </a:lnTo>
                <a:lnTo>
                  <a:pt x="1396144" y="932117"/>
                </a:lnTo>
                <a:cubicBezTo>
                  <a:pt x="1375391" y="925911"/>
                  <a:pt x="1172551" y="864330"/>
                  <a:pt x="1149764" y="856716"/>
                </a:cubicBezTo>
                <a:cubicBezTo>
                  <a:pt x="1136389" y="852232"/>
                  <a:pt x="1125712" y="850108"/>
                  <a:pt x="1116267" y="850675"/>
                </a:cubicBezTo>
                <a:close/>
                <a:moveTo>
                  <a:pt x="1645683" y="847722"/>
                </a:moveTo>
                <a:cubicBezTo>
                  <a:pt x="1639644" y="848188"/>
                  <a:pt x="1633595" y="849847"/>
                  <a:pt x="1627872" y="852806"/>
                </a:cubicBezTo>
                <a:cubicBezTo>
                  <a:pt x="1626881" y="853327"/>
                  <a:pt x="1211190" y="1068161"/>
                  <a:pt x="1175522" y="1086568"/>
                </a:cubicBezTo>
                <a:cubicBezTo>
                  <a:pt x="1164677" y="1092147"/>
                  <a:pt x="1152632" y="1089123"/>
                  <a:pt x="1149243" y="1088184"/>
                </a:cubicBezTo>
                <a:cubicBezTo>
                  <a:pt x="1132921" y="1083334"/>
                  <a:pt x="1049335" y="1058514"/>
                  <a:pt x="1049335" y="1058514"/>
                </a:cubicBezTo>
                <a:cubicBezTo>
                  <a:pt x="1040416" y="1063155"/>
                  <a:pt x="1033273" y="1066805"/>
                  <a:pt x="1024878" y="1071185"/>
                </a:cubicBezTo>
                <a:cubicBezTo>
                  <a:pt x="1024878" y="1071185"/>
                  <a:pt x="1131095" y="1143091"/>
                  <a:pt x="1173488" y="1171876"/>
                </a:cubicBezTo>
                <a:cubicBezTo>
                  <a:pt x="1185952" y="1180322"/>
                  <a:pt x="1196068" y="1180792"/>
                  <a:pt x="1211867" y="1172710"/>
                </a:cubicBezTo>
                <a:cubicBezTo>
                  <a:pt x="1243153" y="1156649"/>
                  <a:pt x="1653424" y="944475"/>
                  <a:pt x="1670683" y="935611"/>
                </a:cubicBezTo>
                <a:cubicBezTo>
                  <a:pt x="1693522" y="923878"/>
                  <a:pt x="1702491" y="895668"/>
                  <a:pt x="1690706" y="872830"/>
                </a:cubicBezTo>
                <a:cubicBezTo>
                  <a:pt x="1681828" y="855661"/>
                  <a:pt x="1663800" y="846324"/>
                  <a:pt x="1645683" y="847722"/>
                </a:cubicBezTo>
                <a:close/>
                <a:moveTo>
                  <a:pt x="2536897" y="803727"/>
                </a:moveTo>
                <a:lnTo>
                  <a:pt x="2600981" y="997128"/>
                </a:lnTo>
                <a:lnTo>
                  <a:pt x="2536897" y="997128"/>
                </a:lnTo>
                <a:close/>
                <a:moveTo>
                  <a:pt x="2346205" y="803727"/>
                </a:moveTo>
                <a:lnTo>
                  <a:pt x="2503421" y="803727"/>
                </a:lnTo>
                <a:lnTo>
                  <a:pt x="2503472" y="803727"/>
                </a:lnTo>
                <a:lnTo>
                  <a:pt x="2503472" y="997128"/>
                </a:lnTo>
                <a:lnTo>
                  <a:pt x="2282172" y="997128"/>
                </a:lnTo>
                <a:lnTo>
                  <a:pt x="2325766" y="865465"/>
                </a:lnTo>
                <a:lnTo>
                  <a:pt x="2332335" y="845494"/>
                </a:lnTo>
                <a:close/>
                <a:moveTo>
                  <a:pt x="6612948" y="788508"/>
                </a:moveTo>
                <a:lnTo>
                  <a:pt x="6612948" y="831997"/>
                </a:lnTo>
                <a:lnTo>
                  <a:pt x="6670932" y="831997"/>
                </a:lnTo>
                <a:lnTo>
                  <a:pt x="6670932" y="887373"/>
                </a:lnTo>
                <a:lnTo>
                  <a:pt x="6830388" y="887373"/>
                </a:lnTo>
                <a:lnTo>
                  <a:pt x="6830388" y="831997"/>
                </a:lnTo>
                <a:lnTo>
                  <a:pt x="6888374" y="831997"/>
                </a:lnTo>
                <a:lnTo>
                  <a:pt x="6888374" y="788508"/>
                </a:lnTo>
                <a:close/>
                <a:moveTo>
                  <a:pt x="5673793" y="779448"/>
                </a:moveTo>
                <a:cubicBezTo>
                  <a:pt x="5588902" y="779448"/>
                  <a:pt x="5519812" y="848591"/>
                  <a:pt x="5519812" y="933482"/>
                </a:cubicBezTo>
                <a:lnTo>
                  <a:pt x="5519812" y="933742"/>
                </a:lnTo>
                <a:lnTo>
                  <a:pt x="5547239" y="933742"/>
                </a:lnTo>
                <a:lnTo>
                  <a:pt x="5547239" y="933482"/>
                </a:lnTo>
                <a:cubicBezTo>
                  <a:pt x="5547239" y="863660"/>
                  <a:pt x="5603972" y="806876"/>
                  <a:pt x="5673793" y="806876"/>
                </a:cubicBezTo>
                <a:cubicBezTo>
                  <a:pt x="5743613" y="806876"/>
                  <a:pt x="5800398" y="863660"/>
                  <a:pt x="5800398" y="933482"/>
                </a:cubicBezTo>
                <a:lnTo>
                  <a:pt x="5800398" y="933742"/>
                </a:lnTo>
                <a:lnTo>
                  <a:pt x="5827827" y="933742"/>
                </a:lnTo>
                <a:lnTo>
                  <a:pt x="5827827" y="933482"/>
                </a:lnTo>
                <a:cubicBezTo>
                  <a:pt x="5827827" y="848591"/>
                  <a:pt x="5758683" y="779448"/>
                  <a:pt x="5673793" y="779448"/>
                </a:cubicBezTo>
                <a:close/>
                <a:moveTo>
                  <a:pt x="3593568" y="701471"/>
                </a:moveTo>
                <a:lnTo>
                  <a:pt x="3593568" y="817336"/>
                </a:lnTo>
                <a:cubicBezTo>
                  <a:pt x="3593568" y="817336"/>
                  <a:pt x="3631321" y="817336"/>
                  <a:pt x="3631321" y="817336"/>
                </a:cubicBezTo>
                <a:lnTo>
                  <a:pt x="3631321" y="701471"/>
                </a:lnTo>
                <a:close/>
                <a:moveTo>
                  <a:pt x="3407727" y="701471"/>
                </a:moveTo>
                <a:lnTo>
                  <a:pt x="3407727" y="817336"/>
                </a:lnTo>
                <a:lnTo>
                  <a:pt x="3445532" y="817336"/>
                </a:lnTo>
                <a:lnTo>
                  <a:pt x="3445532" y="701471"/>
                </a:lnTo>
                <a:close/>
                <a:moveTo>
                  <a:pt x="4658414" y="701330"/>
                </a:moveTo>
                <a:lnTo>
                  <a:pt x="4389090" y="1061593"/>
                </a:lnTo>
                <a:lnTo>
                  <a:pt x="4553344" y="1104351"/>
                </a:lnTo>
                <a:lnTo>
                  <a:pt x="4658414" y="701383"/>
                </a:lnTo>
                <a:close/>
                <a:moveTo>
                  <a:pt x="2443298" y="591083"/>
                </a:moveTo>
                <a:cubicBezTo>
                  <a:pt x="2192694" y="591083"/>
                  <a:pt x="1989540" y="794237"/>
                  <a:pt x="1989540" y="1044841"/>
                </a:cubicBezTo>
                <a:cubicBezTo>
                  <a:pt x="1989540" y="1295446"/>
                  <a:pt x="2192694" y="1498600"/>
                  <a:pt x="2443298" y="1498600"/>
                </a:cubicBezTo>
                <a:cubicBezTo>
                  <a:pt x="2693902" y="1498600"/>
                  <a:pt x="2897056" y="1295446"/>
                  <a:pt x="2897056" y="1044841"/>
                </a:cubicBezTo>
                <a:cubicBezTo>
                  <a:pt x="2897056" y="794237"/>
                  <a:pt x="2693902" y="591083"/>
                  <a:pt x="2443298" y="591083"/>
                </a:cubicBezTo>
                <a:close/>
                <a:moveTo>
                  <a:pt x="0" y="0"/>
                </a:moveTo>
                <a:lnTo>
                  <a:pt x="8124824" y="0"/>
                </a:lnTo>
                <a:lnTo>
                  <a:pt x="8124824" y="6857999"/>
                </a:lnTo>
                <a:lnTo>
                  <a:pt x="0" y="6857999"/>
                </a:lnTo>
                <a:close/>
              </a:path>
            </a:pathLst>
          </a:custGeom>
          <a:solidFill>
            <a:schemeClr val="tx1"/>
          </a:solidFill>
        </p:spPr>
        <p:txBody>
          <a:bodyPr vert="horz" wrap="square" lIns="0" tIns="45720" rIns="0" bIns="45720" rtlCol="0" anchor="ctr">
            <a:noAutofit/>
          </a:bodyPr>
          <a:lstStyle>
            <a:lvl1pPr algn="ctr">
              <a:defRPr lang="en-GB" sz="2800" b="0" dirty="0">
                <a:solidFill>
                  <a:schemeClr val="bg1"/>
                </a:solidFill>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US" dirty="0"/>
              <a:t>ADD RELATED IMAGE </a:t>
            </a:r>
            <a:br>
              <a:rPr lang="en-US" dirty="0"/>
            </a:br>
            <a:r>
              <a:rPr lang="en-US" dirty="0"/>
              <a:t>FROM HFW IMAGE LIBRARY</a:t>
            </a:r>
            <a:endParaRPr lang="en-GB" dirty="0"/>
          </a:p>
        </p:txBody>
      </p:sp>
      <p:sp>
        <p:nvSpPr>
          <p:cNvPr id="9" name="Rectangle 8">
            <a:extLst>
              <a:ext uri="{FF2B5EF4-FFF2-40B4-BE49-F238E27FC236}">
                <a16:creationId xmlns:a16="http://schemas.microsoft.com/office/drawing/2014/main" id="{708FD88D-9C74-4D94-62A5-47E768F9DCD7}"/>
              </a:ext>
            </a:extLst>
          </p:cNvPr>
          <p:cNvSpPr/>
          <p:nvPr userDrawn="1"/>
        </p:nvSpPr>
        <p:spPr>
          <a:xfrm>
            <a:off x="0" y="0"/>
            <a:ext cx="406717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Text Placeholder 12">
            <a:extLst>
              <a:ext uri="{FF2B5EF4-FFF2-40B4-BE49-F238E27FC236}">
                <a16:creationId xmlns:a16="http://schemas.microsoft.com/office/drawing/2014/main" id="{BBA3AA40-3440-5851-3972-390D3DEB2219}"/>
              </a:ext>
            </a:extLst>
          </p:cNvPr>
          <p:cNvSpPr>
            <a:spLocks noGrp="1"/>
          </p:cNvSpPr>
          <p:nvPr>
            <p:ph type="body" sz="quarter" idx="14" hasCustomPrompt="1"/>
          </p:nvPr>
        </p:nvSpPr>
        <p:spPr>
          <a:xfrm>
            <a:off x="508939" y="5989638"/>
            <a:ext cx="3387140" cy="230187"/>
          </a:xfrm>
        </p:spPr>
        <p:txBody>
          <a:bodyPr tIns="0" bIns="0">
            <a:noAutofit/>
          </a:bodyPr>
          <a:lstStyle>
            <a:lvl1pPr>
              <a:defRPr sz="1400">
                <a:solidFill>
                  <a:schemeClr val="accent2"/>
                </a:solidFill>
                <a:latin typeface="+mj-lt"/>
              </a:defRPr>
            </a:lvl1pPr>
            <a:lvl2pPr>
              <a:defRPr>
                <a:solidFill>
                  <a:schemeClr val="bg1"/>
                </a:solidFill>
                <a:latin typeface="+mn-lt"/>
              </a:defRPr>
            </a:lvl2pPr>
            <a:lvl3pPr>
              <a:defRPr>
                <a:solidFill>
                  <a:schemeClr val="bg1"/>
                </a:solidFill>
                <a:latin typeface="+mn-lt"/>
              </a:defRPr>
            </a:lvl3pPr>
            <a:lvl4pPr>
              <a:defRPr>
                <a:solidFill>
                  <a:schemeClr val="bg1"/>
                </a:solidFill>
                <a:latin typeface="+mn-lt"/>
              </a:defRPr>
            </a:lvl4pPr>
            <a:lvl5pPr>
              <a:defRPr>
                <a:solidFill>
                  <a:schemeClr val="bg1"/>
                </a:solidFill>
                <a:latin typeface="+mn-lt"/>
              </a:defRPr>
            </a:lvl5pPr>
          </a:lstStyle>
          <a:p>
            <a:pPr lvl="0"/>
            <a:r>
              <a:rPr lang="en-US" dirty="0"/>
              <a:t>DAY MONTH YEAR</a:t>
            </a:r>
            <a:endParaRPr lang="en-GB" dirty="0"/>
          </a:p>
        </p:txBody>
      </p:sp>
      <p:sp>
        <p:nvSpPr>
          <p:cNvPr id="4" name="TextBox 4">
            <a:extLst>
              <a:ext uri="{FF2B5EF4-FFF2-40B4-BE49-F238E27FC236}">
                <a16:creationId xmlns:a16="http://schemas.microsoft.com/office/drawing/2014/main" id="{265B2CA7-EDCD-E4A1-AC81-AB1BF0FA5D17}"/>
              </a:ext>
            </a:extLst>
          </p:cNvPr>
          <p:cNvSpPr txBox="1"/>
          <p:nvPr userDrawn="1"/>
        </p:nvSpPr>
        <p:spPr>
          <a:xfrm>
            <a:off x="12346713" y="109538"/>
            <a:ext cx="1934437" cy="31700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INSERTING IMAGES:</a:t>
            </a:r>
          </a:p>
          <a:p>
            <a:pPr marL="179388" indent="-179388">
              <a:spcBef>
                <a:spcPts val="200"/>
              </a:spcBef>
              <a:spcAft>
                <a:spcPts val="200"/>
              </a:spcAft>
              <a:buFont typeface="+mj-lt"/>
              <a:buAutoNum type="arabicPeriod"/>
            </a:pPr>
            <a:r>
              <a:rPr lang="en-US" sz="900" dirty="0">
                <a:solidFill>
                  <a:schemeClr val="tx1"/>
                </a:solidFill>
                <a:latin typeface="+mn-lt"/>
              </a:rPr>
              <a:t>Simply click the image placeholder and select your image.</a:t>
            </a:r>
          </a:p>
          <a:p>
            <a:pPr marL="179388" indent="-179388">
              <a:spcBef>
                <a:spcPts val="200"/>
              </a:spcBef>
              <a:spcAft>
                <a:spcPts val="200"/>
              </a:spcAft>
              <a:buFont typeface="+mj-lt"/>
              <a:buAutoNum type="arabicPeriod"/>
            </a:pPr>
            <a:r>
              <a:rPr lang="en-US" sz="900" dirty="0">
                <a:solidFill>
                  <a:schemeClr val="tx1"/>
                </a:solidFill>
                <a:latin typeface="+mn-lt"/>
              </a:rPr>
              <a:t>Once your image is inserted into the shape it may be distorted. (Stretched or Squashed)</a:t>
            </a:r>
          </a:p>
          <a:p>
            <a:pPr marL="179388" indent="-179388">
              <a:spcBef>
                <a:spcPts val="200"/>
              </a:spcBef>
              <a:spcAft>
                <a:spcPts val="200"/>
              </a:spcAft>
              <a:buFont typeface="+mj-lt"/>
              <a:buAutoNum type="arabicPeriod"/>
            </a:pPr>
            <a:endParaRPr lang="en-US" sz="900" dirty="0">
              <a:solidFill>
                <a:schemeClr val="tx1"/>
              </a:solidFill>
              <a:latin typeface="+mn-lt"/>
            </a:endParaRPr>
          </a:p>
          <a:p>
            <a:pPr>
              <a:spcBef>
                <a:spcPts val="200"/>
              </a:spcBef>
              <a:spcAft>
                <a:spcPts val="200"/>
              </a:spcAft>
            </a:pPr>
            <a:r>
              <a:rPr lang="en-US" sz="900" b="1" dirty="0">
                <a:solidFill>
                  <a:schemeClr val="tx1"/>
                </a:solidFill>
                <a:latin typeface="+mn-lt"/>
              </a:rPr>
              <a:t>To fix this:</a:t>
            </a:r>
          </a:p>
          <a:p>
            <a:pPr marL="179388" indent="-179388">
              <a:spcBef>
                <a:spcPts val="200"/>
              </a:spcBef>
              <a:spcAft>
                <a:spcPts val="200"/>
              </a:spcAft>
              <a:buFont typeface="+mj-lt"/>
              <a:buAutoNum type="arabicPeriod"/>
            </a:pPr>
            <a:r>
              <a:rPr lang="en-US" sz="900" dirty="0">
                <a:solidFill>
                  <a:schemeClr val="tx1"/>
                </a:solidFill>
                <a:latin typeface="+mn-lt"/>
              </a:rPr>
              <a:t>Click on the image and from the top menu under </a:t>
            </a:r>
            <a:r>
              <a:rPr lang="en-US" sz="900" b="1" dirty="0">
                <a:solidFill>
                  <a:schemeClr val="tx1"/>
                </a:solidFill>
                <a:latin typeface="+mn-lt"/>
              </a:rPr>
              <a:t>PICTURE FORMAT </a:t>
            </a:r>
            <a:r>
              <a:rPr lang="en-US" sz="900" dirty="0">
                <a:solidFill>
                  <a:schemeClr val="tx1"/>
                </a:solidFill>
                <a:latin typeface="+mn-lt"/>
              </a:rPr>
              <a:t>select the </a:t>
            </a:r>
            <a:r>
              <a:rPr lang="en-US" sz="900" b="1" dirty="0">
                <a:solidFill>
                  <a:schemeClr val="tx1"/>
                </a:solidFill>
                <a:latin typeface="+mn-lt"/>
              </a:rPr>
              <a:t>CROP</a:t>
            </a:r>
            <a:r>
              <a:rPr lang="en-US" sz="900" dirty="0">
                <a:solidFill>
                  <a:schemeClr val="tx1"/>
                </a:solidFill>
                <a:latin typeface="+mn-lt"/>
              </a:rPr>
              <a:t> on the right and from the drop down menu select </a:t>
            </a:r>
            <a:r>
              <a:rPr lang="en-US" sz="900" b="1" kern="1200" dirty="0">
                <a:solidFill>
                  <a:schemeClr val="tx1"/>
                </a:solidFill>
                <a:latin typeface="+mn-lt"/>
                <a:ea typeface="+mn-ea"/>
                <a:cs typeface="+mn-cs"/>
              </a:rPr>
              <a:t>FILL</a:t>
            </a:r>
          </a:p>
          <a:p>
            <a:pPr marL="179388" indent="-179388">
              <a:spcBef>
                <a:spcPts val="200"/>
              </a:spcBef>
              <a:spcAft>
                <a:spcPts val="200"/>
              </a:spcAft>
              <a:buFont typeface="+mj-lt"/>
              <a:buAutoNum type="arabicPeriod"/>
            </a:pPr>
            <a:r>
              <a:rPr lang="en-US" sz="900" b="0" kern="1200" dirty="0">
                <a:solidFill>
                  <a:schemeClr val="tx1"/>
                </a:solidFill>
                <a:latin typeface="+mn-lt"/>
                <a:ea typeface="+mn-ea"/>
                <a:cs typeface="+mn-cs"/>
              </a:rPr>
              <a:t>From here you can move the image within the shape for best visual appearance</a:t>
            </a:r>
          </a:p>
        </p:txBody>
      </p:sp>
      <p:sp>
        <p:nvSpPr>
          <p:cNvPr id="10" name="Title 1">
            <a:extLst>
              <a:ext uri="{FF2B5EF4-FFF2-40B4-BE49-F238E27FC236}">
                <a16:creationId xmlns:a16="http://schemas.microsoft.com/office/drawing/2014/main" id="{1D9960C9-AE88-FF64-7340-9EC8DF655E87}"/>
              </a:ext>
            </a:extLst>
          </p:cNvPr>
          <p:cNvSpPr>
            <a:spLocks noGrp="1"/>
          </p:cNvSpPr>
          <p:nvPr>
            <p:ph type="ctrTitle" hasCustomPrompt="1"/>
          </p:nvPr>
        </p:nvSpPr>
        <p:spPr>
          <a:xfrm>
            <a:off x="508939" y="2430692"/>
            <a:ext cx="2792526" cy="2387600"/>
          </a:xfrm>
        </p:spPr>
        <p:txBody>
          <a:bodyPr vert="horz" lIns="0" tIns="0" rIns="0" bIns="0" rtlCol="0" anchor="t" anchorCtr="0">
            <a:noAutofit/>
          </a:bodyPr>
          <a:lstStyle>
            <a:lvl1pPr>
              <a:lnSpc>
                <a:spcPct val="100000"/>
              </a:lnSpc>
              <a:defRPr lang="en-US" sz="3300" dirty="0">
                <a:solidFill>
                  <a:schemeClr val="bg1"/>
                </a:solidFill>
              </a:defRPr>
            </a:lvl1pPr>
          </a:lstStyle>
          <a:p>
            <a:pPr lvl="0"/>
            <a:r>
              <a:rPr lang="en-US" dirty="0"/>
              <a:t>PROPOSAL TO [CLIENT] FOR LEGAL SERVICES</a:t>
            </a:r>
          </a:p>
        </p:txBody>
      </p:sp>
      <p:sp>
        <p:nvSpPr>
          <p:cNvPr id="2" name="Graphic 13">
            <a:extLst>
              <a:ext uri="{FF2B5EF4-FFF2-40B4-BE49-F238E27FC236}">
                <a16:creationId xmlns:a16="http://schemas.microsoft.com/office/drawing/2014/main" id="{EE1C1B2A-85BE-ABC3-AD6A-C9C22BCACF33}"/>
              </a:ext>
            </a:extLst>
          </p:cNvPr>
          <p:cNvSpPr>
            <a:spLocks noGrp="1" noRot="1" noMove="1" noResize="1" noEditPoints="1" noAdjustHandles="1" noChangeArrowheads="1" noChangeShapeType="1"/>
          </p:cNvSpPr>
          <p:nvPr userDrawn="1"/>
        </p:nvSpPr>
        <p:spPr>
          <a:xfrm>
            <a:off x="585463" y="588011"/>
            <a:ext cx="1522695" cy="922576"/>
          </a:xfrm>
          <a:custGeom>
            <a:avLst/>
            <a:gdLst>
              <a:gd name="connsiteX0" fmla="*/ 618149 w 1522695"/>
              <a:gd name="connsiteY0" fmla="*/ 39943 h 922576"/>
              <a:gd name="connsiteX1" fmla="*/ 421345 w 1522695"/>
              <a:gd name="connsiteY1" fmla="*/ 876531 h 922576"/>
              <a:gd name="connsiteX2" fmla="*/ 388753 w 1522695"/>
              <a:gd name="connsiteY2" fmla="*/ 915365 h 922576"/>
              <a:gd name="connsiteX3" fmla="*/ 349364 w 1522695"/>
              <a:gd name="connsiteY3" fmla="*/ 922577 h 922576"/>
              <a:gd name="connsiteX4" fmla="*/ 328006 w 1522695"/>
              <a:gd name="connsiteY4" fmla="*/ 897196 h 922576"/>
              <a:gd name="connsiteX5" fmla="*/ 431608 w 1522695"/>
              <a:gd name="connsiteY5" fmla="*/ 465033 h 922576"/>
              <a:gd name="connsiteX6" fmla="*/ 224958 w 1522695"/>
              <a:gd name="connsiteY6" fmla="*/ 504838 h 922576"/>
              <a:gd name="connsiteX7" fmla="*/ 185292 w 1522695"/>
              <a:gd name="connsiteY7" fmla="*/ 702473 h 922576"/>
              <a:gd name="connsiteX8" fmla="*/ 159634 w 1522695"/>
              <a:gd name="connsiteY8" fmla="*/ 738117 h 922576"/>
              <a:gd name="connsiteX9" fmla="*/ 102771 w 1522695"/>
              <a:gd name="connsiteY9" fmla="*/ 719671 h 922576"/>
              <a:gd name="connsiteX10" fmla="*/ 150203 w 1522695"/>
              <a:gd name="connsiteY10" fmla="*/ 519816 h 922576"/>
              <a:gd name="connsiteX11" fmla="*/ 62411 w 1522695"/>
              <a:gd name="connsiteY11" fmla="*/ 533547 h 922576"/>
              <a:gd name="connsiteX12" fmla="*/ 0 w 1522695"/>
              <a:gd name="connsiteY12" fmla="*/ 507750 h 922576"/>
              <a:gd name="connsiteX13" fmla="*/ 163795 w 1522695"/>
              <a:gd name="connsiteY13" fmla="*/ 465588 h 922576"/>
              <a:gd name="connsiteX14" fmla="*/ 234805 w 1522695"/>
              <a:gd name="connsiteY14" fmla="*/ 162547 h 922576"/>
              <a:gd name="connsiteX15" fmla="*/ 258244 w 1522695"/>
              <a:gd name="connsiteY15" fmla="*/ 135502 h 922576"/>
              <a:gd name="connsiteX16" fmla="*/ 300961 w 1522695"/>
              <a:gd name="connsiteY16" fmla="*/ 126625 h 922576"/>
              <a:gd name="connsiteX17" fmla="*/ 316772 w 1522695"/>
              <a:gd name="connsiteY17" fmla="*/ 149232 h 922576"/>
              <a:gd name="connsiteX18" fmla="*/ 239104 w 1522695"/>
              <a:gd name="connsiteY18" fmla="*/ 449084 h 922576"/>
              <a:gd name="connsiteX19" fmla="*/ 447697 w 1522695"/>
              <a:gd name="connsiteY19" fmla="*/ 404564 h 922576"/>
              <a:gd name="connsiteX20" fmla="*/ 542839 w 1522695"/>
              <a:gd name="connsiteY20" fmla="*/ 34950 h 922576"/>
              <a:gd name="connsiteX21" fmla="*/ 557402 w 1522695"/>
              <a:gd name="connsiteY21" fmla="*/ 6935 h 922576"/>
              <a:gd name="connsiteX22" fmla="*/ 592907 w 1522695"/>
              <a:gd name="connsiteY22" fmla="*/ 0 h 922576"/>
              <a:gd name="connsiteX23" fmla="*/ 620506 w 1522695"/>
              <a:gd name="connsiteY23" fmla="*/ 25381 h 922576"/>
              <a:gd name="connsiteX24" fmla="*/ 618426 w 1522695"/>
              <a:gd name="connsiteY24" fmla="*/ 40359 h 922576"/>
              <a:gd name="connsiteX25" fmla="*/ 845048 w 1522695"/>
              <a:gd name="connsiteY25" fmla="*/ 445755 h 922576"/>
              <a:gd name="connsiteX26" fmla="*/ 684582 w 1522695"/>
              <a:gd name="connsiteY26" fmla="*/ 476544 h 922576"/>
              <a:gd name="connsiteX27" fmla="*/ 729241 w 1522695"/>
              <a:gd name="connsiteY27" fmla="*/ 311918 h 922576"/>
              <a:gd name="connsiteX28" fmla="*/ 1087204 w 1522695"/>
              <a:gd name="connsiteY28" fmla="*/ 231060 h 922576"/>
              <a:gd name="connsiteX29" fmla="*/ 1110643 w 1522695"/>
              <a:gd name="connsiteY29" fmla="*/ 218994 h 922576"/>
              <a:gd name="connsiteX30" fmla="*/ 1053363 w 1522695"/>
              <a:gd name="connsiteY30" fmla="*/ 185708 h 922576"/>
              <a:gd name="connsiteX31" fmla="*/ 1029785 w 1522695"/>
              <a:gd name="connsiteY31" fmla="*/ 187927 h 922576"/>
              <a:gd name="connsiteX32" fmla="*/ 636872 w 1522695"/>
              <a:gd name="connsiteY32" fmla="*/ 267536 h 922576"/>
              <a:gd name="connsiteX33" fmla="*/ 610798 w 1522695"/>
              <a:gd name="connsiteY33" fmla="*/ 284595 h 922576"/>
              <a:gd name="connsiteX34" fmla="*/ 652683 w 1522695"/>
              <a:gd name="connsiteY34" fmla="*/ 321210 h 922576"/>
              <a:gd name="connsiteX35" fmla="*/ 524948 w 1522695"/>
              <a:gd name="connsiteY35" fmla="*/ 802192 h 922576"/>
              <a:gd name="connsiteX36" fmla="*/ 537569 w 1522695"/>
              <a:gd name="connsiteY36" fmla="*/ 815646 h 922576"/>
              <a:gd name="connsiteX37" fmla="*/ 595542 w 1522695"/>
              <a:gd name="connsiteY37" fmla="*/ 802886 h 922576"/>
              <a:gd name="connsiteX38" fmla="*/ 616762 w 1522695"/>
              <a:gd name="connsiteY38" fmla="*/ 763914 h 922576"/>
              <a:gd name="connsiteX39" fmla="*/ 669603 w 1522695"/>
              <a:gd name="connsiteY39" fmla="*/ 537430 h 922576"/>
              <a:gd name="connsiteX40" fmla="*/ 808988 w 1522695"/>
              <a:gd name="connsiteY40" fmla="*/ 509276 h 922576"/>
              <a:gd name="connsiteX41" fmla="*/ 859611 w 1522695"/>
              <a:gd name="connsiteY41" fmla="*/ 477238 h 922576"/>
              <a:gd name="connsiteX42" fmla="*/ 872232 w 1522695"/>
              <a:gd name="connsiteY42" fmla="*/ 451996 h 922576"/>
              <a:gd name="connsiteX43" fmla="*/ 845187 w 1522695"/>
              <a:gd name="connsiteY43" fmla="*/ 445755 h 922576"/>
              <a:gd name="connsiteX44" fmla="*/ 1479701 w 1522695"/>
              <a:gd name="connsiteY44" fmla="*/ 159218 h 922576"/>
              <a:gd name="connsiteX45" fmla="*/ 1409801 w 1522695"/>
              <a:gd name="connsiteY45" fmla="*/ 217052 h 922576"/>
              <a:gd name="connsiteX46" fmla="*/ 1212442 w 1522695"/>
              <a:gd name="connsiteY46" fmla="*/ 666691 h 922576"/>
              <a:gd name="connsiteX47" fmla="*/ 1231721 w 1522695"/>
              <a:gd name="connsiteY47" fmla="*/ 323845 h 922576"/>
              <a:gd name="connsiteX48" fmla="*/ 1206895 w 1522695"/>
              <a:gd name="connsiteY48" fmla="*/ 300683 h 922576"/>
              <a:gd name="connsiteX49" fmla="*/ 1151002 w 1522695"/>
              <a:gd name="connsiteY49" fmla="*/ 324677 h 922576"/>
              <a:gd name="connsiteX50" fmla="*/ 1137549 w 1522695"/>
              <a:gd name="connsiteY50" fmla="*/ 353525 h 922576"/>
              <a:gd name="connsiteX51" fmla="*/ 980689 w 1522695"/>
              <a:gd name="connsiteY51" fmla="*/ 605528 h 922576"/>
              <a:gd name="connsiteX52" fmla="*/ 1041574 w 1522695"/>
              <a:gd name="connsiteY52" fmla="*/ 331196 h 922576"/>
              <a:gd name="connsiteX53" fmla="*/ 1029369 w 1522695"/>
              <a:gd name="connsiteY53" fmla="*/ 319962 h 922576"/>
              <a:gd name="connsiteX54" fmla="*/ 988871 w 1522695"/>
              <a:gd name="connsiteY54" fmla="*/ 327728 h 922576"/>
              <a:gd name="connsiteX55" fmla="*/ 954892 w 1522695"/>
              <a:gd name="connsiteY55" fmla="*/ 369752 h 922576"/>
              <a:gd name="connsiteX56" fmla="*/ 880553 w 1522695"/>
              <a:gd name="connsiteY56" fmla="*/ 711766 h 922576"/>
              <a:gd name="connsiteX57" fmla="*/ 902328 w 1522695"/>
              <a:gd name="connsiteY57" fmla="*/ 741862 h 922576"/>
              <a:gd name="connsiteX58" fmla="*/ 960024 w 1522695"/>
              <a:gd name="connsiteY58" fmla="*/ 718423 h 922576"/>
              <a:gd name="connsiteX59" fmla="*/ 1144483 w 1522695"/>
              <a:gd name="connsiteY59" fmla="*/ 419542 h 922576"/>
              <a:gd name="connsiteX60" fmla="*/ 1128950 w 1522695"/>
              <a:gd name="connsiteY60" fmla="*/ 709546 h 922576"/>
              <a:gd name="connsiteX61" fmla="*/ 1162375 w 1522695"/>
              <a:gd name="connsiteY61" fmla="*/ 786798 h 922576"/>
              <a:gd name="connsiteX62" fmla="*/ 1235049 w 1522695"/>
              <a:gd name="connsiteY62" fmla="*/ 740891 h 922576"/>
              <a:gd name="connsiteX63" fmla="*/ 1512016 w 1522695"/>
              <a:gd name="connsiteY63" fmla="*/ 203322 h 922576"/>
              <a:gd name="connsiteX64" fmla="*/ 1522696 w 1522695"/>
              <a:gd name="connsiteY64" fmla="*/ 183766 h 922576"/>
              <a:gd name="connsiteX65" fmla="*/ 1479840 w 1522695"/>
              <a:gd name="connsiteY65" fmla="*/ 159357 h 922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522695" h="922576">
                <a:moveTo>
                  <a:pt x="618149" y="39943"/>
                </a:moveTo>
                <a:cubicBezTo>
                  <a:pt x="568774" y="240214"/>
                  <a:pt x="450887" y="614404"/>
                  <a:pt x="421345" y="876531"/>
                </a:cubicBezTo>
                <a:cubicBezTo>
                  <a:pt x="418849" y="898167"/>
                  <a:pt x="420374" y="906627"/>
                  <a:pt x="388753" y="915365"/>
                </a:cubicBezTo>
                <a:cubicBezTo>
                  <a:pt x="373497" y="919526"/>
                  <a:pt x="359350" y="922577"/>
                  <a:pt x="349364" y="922577"/>
                </a:cubicBezTo>
                <a:cubicBezTo>
                  <a:pt x="333831" y="922577"/>
                  <a:pt x="328006" y="913978"/>
                  <a:pt x="328006" y="897196"/>
                </a:cubicBezTo>
                <a:cubicBezTo>
                  <a:pt x="328006" y="851567"/>
                  <a:pt x="390972" y="623280"/>
                  <a:pt x="431608" y="465033"/>
                </a:cubicBezTo>
                <a:cubicBezTo>
                  <a:pt x="377380" y="475296"/>
                  <a:pt x="300961" y="489998"/>
                  <a:pt x="224958" y="504838"/>
                </a:cubicBezTo>
                <a:cubicBezTo>
                  <a:pt x="206512" y="579870"/>
                  <a:pt x="193336" y="642697"/>
                  <a:pt x="185292" y="702473"/>
                </a:cubicBezTo>
                <a:cubicBezTo>
                  <a:pt x="183350" y="716897"/>
                  <a:pt x="185292" y="730489"/>
                  <a:pt x="159634" y="738117"/>
                </a:cubicBezTo>
                <a:cubicBezTo>
                  <a:pt x="116362" y="751015"/>
                  <a:pt x="100968" y="743803"/>
                  <a:pt x="102771" y="719671"/>
                </a:cubicBezTo>
                <a:cubicBezTo>
                  <a:pt x="105683" y="679589"/>
                  <a:pt x="118443" y="648661"/>
                  <a:pt x="150203" y="519816"/>
                </a:cubicBezTo>
                <a:cubicBezTo>
                  <a:pt x="110676" y="527722"/>
                  <a:pt x="79748" y="533547"/>
                  <a:pt x="62411" y="533547"/>
                </a:cubicBezTo>
                <a:cubicBezTo>
                  <a:pt x="38972" y="533547"/>
                  <a:pt x="0" y="517459"/>
                  <a:pt x="0" y="507750"/>
                </a:cubicBezTo>
                <a:cubicBezTo>
                  <a:pt x="0" y="496239"/>
                  <a:pt x="27184" y="496377"/>
                  <a:pt x="163795" y="465588"/>
                </a:cubicBezTo>
                <a:cubicBezTo>
                  <a:pt x="190146" y="360876"/>
                  <a:pt x="227038" y="219133"/>
                  <a:pt x="234805" y="162547"/>
                </a:cubicBezTo>
                <a:cubicBezTo>
                  <a:pt x="236192" y="152145"/>
                  <a:pt x="239798" y="140633"/>
                  <a:pt x="258244" y="135502"/>
                </a:cubicBezTo>
                <a:cubicBezTo>
                  <a:pt x="269339" y="132451"/>
                  <a:pt x="290004" y="126625"/>
                  <a:pt x="300961" y="126625"/>
                </a:cubicBezTo>
                <a:cubicBezTo>
                  <a:pt x="313304" y="126625"/>
                  <a:pt x="316772" y="137721"/>
                  <a:pt x="316772" y="149232"/>
                </a:cubicBezTo>
                <a:cubicBezTo>
                  <a:pt x="316772" y="170036"/>
                  <a:pt x="273916" y="298048"/>
                  <a:pt x="239104" y="449084"/>
                </a:cubicBezTo>
                <a:cubicBezTo>
                  <a:pt x="309837" y="433689"/>
                  <a:pt x="385424" y="417739"/>
                  <a:pt x="447697" y="404564"/>
                </a:cubicBezTo>
                <a:cubicBezTo>
                  <a:pt x="485421" y="261434"/>
                  <a:pt x="522313" y="121910"/>
                  <a:pt x="542839" y="34950"/>
                </a:cubicBezTo>
                <a:cubicBezTo>
                  <a:pt x="547277" y="16227"/>
                  <a:pt x="546445" y="10679"/>
                  <a:pt x="557402" y="6935"/>
                </a:cubicBezTo>
                <a:cubicBezTo>
                  <a:pt x="562533" y="5132"/>
                  <a:pt x="578205" y="0"/>
                  <a:pt x="592907" y="0"/>
                </a:cubicBezTo>
                <a:cubicBezTo>
                  <a:pt x="607608" y="0"/>
                  <a:pt x="620506" y="5548"/>
                  <a:pt x="620506" y="25381"/>
                </a:cubicBezTo>
                <a:cubicBezTo>
                  <a:pt x="620506" y="29680"/>
                  <a:pt x="619813" y="34673"/>
                  <a:pt x="618426" y="40359"/>
                </a:cubicBezTo>
                <a:close/>
                <a:moveTo>
                  <a:pt x="845048" y="445755"/>
                </a:moveTo>
                <a:cubicBezTo>
                  <a:pt x="796922" y="454076"/>
                  <a:pt x="739920" y="465865"/>
                  <a:pt x="684582" y="476544"/>
                </a:cubicBezTo>
                <a:cubicBezTo>
                  <a:pt x="700670" y="412608"/>
                  <a:pt x="716620" y="352970"/>
                  <a:pt x="729241" y="311918"/>
                </a:cubicBezTo>
                <a:cubicBezTo>
                  <a:pt x="838946" y="287092"/>
                  <a:pt x="1056276" y="236053"/>
                  <a:pt x="1087204" y="231060"/>
                </a:cubicBezTo>
                <a:cubicBezTo>
                  <a:pt x="1104679" y="228148"/>
                  <a:pt x="1110643" y="223155"/>
                  <a:pt x="1110643" y="218994"/>
                </a:cubicBezTo>
                <a:cubicBezTo>
                  <a:pt x="1110643" y="211089"/>
                  <a:pt x="1084985" y="185708"/>
                  <a:pt x="1053363" y="185708"/>
                </a:cubicBezTo>
                <a:cubicBezTo>
                  <a:pt x="1046428" y="185708"/>
                  <a:pt x="1038662" y="186402"/>
                  <a:pt x="1029785" y="187927"/>
                </a:cubicBezTo>
                <a:cubicBezTo>
                  <a:pt x="966542" y="199023"/>
                  <a:pt x="709269" y="252974"/>
                  <a:pt x="636872" y="267536"/>
                </a:cubicBezTo>
                <a:cubicBezTo>
                  <a:pt x="618842" y="271142"/>
                  <a:pt x="610798" y="277661"/>
                  <a:pt x="610798" y="284595"/>
                </a:cubicBezTo>
                <a:cubicBezTo>
                  <a:pt x="610798" y="295136"/>
                  <a:pt x="636317" y="316217"/>
                  <a:pt x="652683" y="321210"/>
                </a:cubicBezTo>
                <a:cubicBezTo>
                  <a:pt x="616623" y="461427"/>
                  <a:pt x="524948" y="770571"/>
                  <a:pt x="524948" y="802192"/>
                </a:cubicBezTo>
                <a:cubicBezTo>
                  <a:pt x="524948" y="809959"/>
                  <a:pt x="527583" y="815646"/>
                  <a:pt x="537569" y="815646"/>
                </a:cubicBezTo>
                <a:cubicBezTo>
                  <a:pt x="551299" y="815646"/>
                  <a:pt x="579176" y="809682"/>
                  <a:pt x="595542" y="802886"/>
                </a:cubicBezTo>
                <a:cubicBezTo>
                  <a:pt x="611908" y="795951"/>
                  <a:pt x="611630" y="787907"/>
                  <a:pt x="616762" y="763914"/>
                </a:cubicBezTo>
                <a:cubicBezTo>
                  <a:pt x="627996" y="712043"/>
                  <a:pt x="648106" y="624945"/>
                  <a:pt x="669603" y="537430"/>
                </a:cubicBezTo>
                <a:cubicBezTo>
                  <a:pt x="735620" y="523422"/>
                  <a:pt x="777505" y="516488"/>
                  <a:pt x="808988" y="509276"/>
                </a:cubicBezTo>
                <a:cubicBezTo>
                  <a:pt x="843661" y="501370"/>
                  <a:pt x="850180" y="491107"/>
                  <a:pt x="859611" y="477238"/>
                </a:cubicBezTo>
                <a:cubicBezTo>
                  <a:pt x="865852" y="468223"/>
                  <a:pt x="872232" y="456850"/>
                  <a:pt x="872232" y="451996"/>
                </a:cubicBezTo>
                <a:cubicBezTo>
                  <a:pt x="872232" y="444368"/>
                  <a:pt x="864742" y="442288"/>
                  <a:pt x="845187" y="445755"/>
                </a:cubicBezTo>
                <a:close/>
                <a:moveTo>
                  <a:pt x="1479701" y="159218"/>
                </a:moveTo>
                <a:cubicBezTo>
                  <a:pt x="1459452" y="159218"/>
                  <a:pt x="1437955" y="171978"/>
                  <a:pt x="1409801" y="217052"/>
                </a:cubicBezTo>
                <a:cubicBezTo>
                  <a:pt x="1369857" y="281128"/>
                  <a:pt x="1274854" y="509553"/>
                  <a:pt x="1212442" y="666691"/>
                </a:cubicBezTo>
                <a:cubicBezTo>
                  <a:pt x="1210639" y="502202"/>
                  <a:pt x="1231721" y="360598"/>
                  <a:pt x="1231721" y="323845"/>
                </a:cubicBezTo>
                <a:cubicBezTo>
                  <a:pt x="1231721" y="305399"/>
                  <a:pt x="1220348" y="300683"/>
                  <a:pt x="1206895" y="300683"/>
                </a:cubicBezTo>
                <a:cubicBezTo>
                  <a:pt x="1188310" y="300683"/>
                  <a:pt x="1160988" y="301516"/>
                  <a:pt x="1151002" y="324677"/>
                </a:cubicBezTo>
                <a:cubicBezTo>
                  <a:pt x="1144483" y="339795"/>
                  <a:pt x="1143374" y="343262"/>
                  <a:pt x="1137549" y="353525"/>
                </a:cubicBezTo>
                <a:cubicBezTo>
                  <a:pt x="1125205" y="375577"/>
                  <a:pt x="1053502" y="501786"/>
                  <a:pt x="980689" y="605528"/>
                </a:cubicBezTo>
                <a:cubicBezTo>
                  <a:pt x="1012588" y="432995"/>
                  <a:pt x="1041574" y="349087"/>
                  <a:pt x="1041574" y="331196"/>
                </a:cubicBezTo>
                <a:cubicBezTo>
                  <a:pt x="1041574" y="322874"/>
                  <a:pt x="1036165" y="319962"/>
                  <a:pt x="1029369" y="319962"/>
                </a:cubicBezTo>
                <a:cubicBezTo>
                  <a:pt x="1021325" y="319962"/>
                  <a:pt x="1000799" y="324816"/>
                  <a:pt x="988871" y="327728"/>
                </a:cubicBezTo>
                <a:cubicBezTo>
                  <a:pt x="974864" y="331196"/>
                  <a:pt x="963768" y="335772"/>
                  <a:pt x="954892" y="369752"/>
                </a:cubicBezTo>
                <a:cubicBezTo>
                  <a:pt x="925905" y="479734"/>
                  <a:pt x="880553" y="665720"/>
                  <a:pt x="880553" y="711766"/>
                </a:cubicBezTo>
                <a:cubicBezTo>
                  <a:pt x="880553" y="731876"/>
                  <a:pt x="884575" y="741862"/>
                  <a:pt x="902328" y="741862"/>
                </a:cubicBezTo>
                <a:cubicBezTo>
                  <a:pt x="921051" y="741862"/>
                  <a:pt x="947541" y="736591"/>
                  <a:pt x="960024" y="718423"/>
                </a:cubicBezTo>
                <a:cubicBezTo>
                  <a:pt x="1022851" y="626609"/>
                  <a:pt x="1086372" y="516349"/>
                  <a:pt x="1144483" y="419542"/>
                </a:cubicBezTo>
                <a:cubicBezTo>
                  <a:pt x="1135191" y="510801"/>
                  <a:pt x="1128950" y="628967"/>
                  <a:pt x="1128950" y="709546"/>
                </a:cubicBezTo>
                <a:cubicBezTo>
                  <a:pt x="1128950" y="765023"/>
                  <a:pt x="1130614" y="786798"/>
                  <a:pt x="1162375" y="786798"/>
                </a:cubicBezTo>
                <a:cubicBezTo>
                  <a:pt x="1191223" y="786798"/>
                  <a:pt x="1217019" y="781666"/>
                  <a:pt x="1235049" y="740891"/>
                </a:cubicBezTo>
                <a:cubicBezTo>
                  <a:pt x="1297599" y="599148"/>
                  <a:pt x="1429911" y="303735"/>
                  <a:pt x="1512016" y="203322"/>
                </a:cubicBezTo>
                <a:cubicBezTo>
                  <a:pt x="1517425" y="196803"/>
                  <a:pt x="1522696" y="191256"/>
                  <a:pt x="1522696" y="183766"/>
                </a:cubicBezTo>
                <a:cubicBezTo>
                  <a:pt x="1522696" y="173365"/>
                  <a:pt x="1498563" y="159357"/>
                  <a:pt x="1479840" y="159357"/>
                </a:cubicBezTo>
                <a:close/>
              </a:path>
            </a:pathLst>
          </a:custGeom>
          <a:solidFill>
            <a:schemeClr val="bg1"/>
          </a:solidFill>
          <a:ln w="13855" cap="flat">
            <a:noFill/>
            <a:prstDash val="solid"/>
            <a:miter/>
          </a:ln>
        </p:spPr>
        <p:txBody>
          <a:bodyPr rtlCol="0" anchor="ctr"/>
          <a:lstStyle/>
          <a:p>
            <a:endParaRPr lang="en-GB"/>
          </a:p>
        </p:txBody>
      </p:sp>
    </p:spTree>
    <p:extLst>
      <p:ext uri="{BB962C8B-B14F-4D97-AF65-F5344CB8AC3E}">
        <p14:creationId xmlns:p14="http://schemas.microsoft.com/office/powerpoint/2010/main" val="3801752326"/>
      </p:ext>
    </p:extLst>
  </p:cSld>
  <p:clrMapOvr>
    <a:masterClrMapping/>
  </p:clrMapOvr>
  <p:transition spd="med">
    <p:fade/>
  </p:transition>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Our clients 12">
    <p:spTree>
      <p:nvGrpSpPr>
        <p:cNvPr id="1" name=""/>
        <p:cNvGrpSpPr/>
        <p:nvPr/>
      </p:nvGrpSpPr>
      <p:grpSpPr>
        <a:xfrm>
          <a:off x="0" y="0"/>
          <a:ext cx="0" cy="0"/>
          <a:chOff x="0" y="0"/>
          <a:chExt cx="0" cy="0"/>
        </a:xfrm>
      </p:grpSpPr>
      <p:sp>
        <p:nvSpPr>
          <p:cNvPr id="62" name="Rectangle 61">
            <a:extLst>
              <a:ext uri="{FF2B5EF4-FFF2-40B4-BE49-F238E27FC236}">
                <a16:creationId xmlns:a16="http://schemas.microsoft.com/office/drawing/2014/main" id="{50C47AE2-387B-61AE-D3A3-60D0C52C1A62}"/>
              </a:ext>
            </a:extLst>
          </p:cNvPr>
          <p:cNvSpPr/>
          <p:nvPr userDrawn="1"/>
        </p:nvSpPr>
        <p:spPr>
          <a:xfrm>
            <a:off x="12352867" y="0"/>
            <a:ext cx="1947333" cy="201506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b="1" i="0" dirty="0">
                <a:solidFill>
                  <a:schemeClr val="bg1"/>
                </a:solidFill>
                <a:effectLst/>
                <a:latin typeface="+mn-lt"/>
                <a:ea typeface="Calibri" panose="020F0502020204030204" pitchFamily="34" charset="0"/>
              </a:rPr>
              <a:t>NOTE:</a:t>
            </a:r>
          </a:p>
          <a:p>
            <a:r>
              <a:rPr lang="en-GB" sz="1200" i="1" dirty="0">
                <a:solidFill>
                  <a:schemeClr val="bg1"/>
                </a:solidFill>
                <a:effectLst/>
                <a:latin typeface="+mn-lt"/>
                <a:ea typeface="Calibri" panose="020F0502020204030204" pitchFamily="34" charset="0"/>
              </a:rPr>
              <a:t>You may only include a client logo if the client has provided express written permission to use it, and has shared a logo file (jpeg or </a:t>
            </a:r>
            <a:r>
              <a:rPr lang="en-GB" sz="1200" i="1" dirty="0" err="1">
                <a:solidFill>
                  <a:schemeClr val="bg1"/>
                </a:solidFill>
                <a:effectLst/>
                <a:latin typeface="+mn-lt"/>
                <a:ea typeface="Calibri" panose="020F0502020204030204" pitchFamily="34" charset="0"/>
              </a:rPr>
              <a:t>png</a:t>
            </a:r>
            <a:r>
              <a:rPr lang="en-GB" sz="1200" i="1" dirty="0">
                <a:solidFill>
                  <a:schemeClr val="bg1"/>
                </a:solidFill>
                <a:effectLst/>
                <a:latin typeface="+mn-lt"/>
                <a:ea typeface="Calibri" panose="020F0502020204030204" pitchFamily="34" charset="0"/>
              </a:rPr>
              <a:t>) for your use.</a:t>
            </a:r>
            <a:endParaRPr lang="en-GB" sz="1200" dirty="0">
              <a:solidFill>
                <a:schemeClr val="bg1"/>
              </a:solidFill>
              <a:effectLst/>
              <a:latin typeface="+mn-lt"/>
              <a:ea typeface="Calibri" panose="020F0502020204030204" pitchFamily="34" charset="0"/>
            </a:endParaRPr>
          </a:p>
        </p:txBody>
      </p:sp>
      <p:sp>
        <p:nvSpPr>
          <p:cNvPr id="63" name="TextBox 4">
            <a:extLst>
              <a:ext uri="{FF2B5EF4-FFF2-40B4-BE49-F238E27FC236}">
                <a16:creationId xmlns:a16="http://schemas.microsoft.com/office/drawing/2014/main" id="{8998C1AB-2423-5EDD-45B3-D10355DDC98F}"/>
              </a:ext>
            </a:extLst>
          </p:cNvPr>
          <p:cNvSpPr txBox="1"/>
          <p:nvPr userDrawn="1"/>
        </p:nvSpPr>
        <p:spPr>
          <a:xfrm>
            <a:off x="12346713" y="2175601"/>
            <a:ext cx="1934437" cy="31700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INSERTING IMAGES:</a:t>
            </a:r>
          </a:p>
          <a:p>
            <a:pPr marL="179388" indent="-179388">
              <a:spcBef>
                <a:spcPts val="200"/>
              </a:spcBef>
              <a:spcAft>
                <a:spcPts val="200"/>
              </a:spcAft>
              <a:buFont typeface="+mj-lt"/>
              <a:buAutoNum type="arabicPeriod"/>
            </a:pPr>
            <a:r>
              <a:rPr lang="en-US" sz="900" dirty="0">
                <a:solidFill>
                  <a:schemeClr val="tx1"/>
                </a:solidFill>
                <a:latin typeface="+mn-lt"/>
              </a:rPr>
              <a:t>Simply click the image placeholder and select your image.</a:t>
            </a:r>
          </a:p>
          <a:p>
            <a:pPr marL="179388" indent="-179388">
              <a:spcBef>
                <a:spcPts val="200"/>
              </a:spcBef>
              <a:spcAft>
                <a:spcPts val="200"/>
              </a:spcAft>
              <a:buFont typeface="+mj-lt"/>
              <a:buAutoNum type="arabicPeriod"/>
            </a:pPr>
            <a:r>
              <a:rPr lang="en-US" sz="900" dirty="0">
                <a:solidFill>
                  <a:schemeClr val="tx1"/>
                </a:solidFill>
                <a:latin typeface="+mn-lt"/>
              </a:rPr>
              <a:t>Once your image is inserted into the shape it may be distorted. (Stretched or Squashed)</a:t>
            </a:r>
          </a:p>
          <a:p>
            <a:pPr marL="179388" indent="-179388">
              <a:spcBef>
                <a:spcPts val="200"/>
              </a:spcBef>
              <a:spcAft>
                <a:spcPts val="200"/>
              </a:spcAft>
              <a:buFont typeface="+mj-lt"/>
              <a:buAutoNum type="arabicPeriod"/>
            </a:pPr>
            <a:endParaRPr lang="en-US" sz="900" dirty="0">
              <a:solidFill>
                <a:schemeClr val="tx1"/>
              </a:solidFill>
              <a:latin typeface="+mn-lt"/>
            </a:endParaRPr>
          </a:p>
          <a:p>
            <a:pPr>
              <a:spcBef>
                <a:spcPts val="200"/>
              </a:spcBef>
              <a:spcAft>
                <a:spcPts val="200"/>
              </a:spcAft>
            </a:pPr>
            <a:r>
              <a:rPr lang="en-US" sz="900" b="1" dirty="0">
                <a:solidFill>
                  <a:schemeClr val="tx1"/>
                </a:solidFill>
                <a:latin typeface="+mn-lt"/>
              </a:rPr>
              <a:t>To fix this:</a:t>
            </a:r>
          </a:p>
          <a:p>
            <a:pPr marL="179388" indent="-179388">
              <a:spcBef>
                <a:spcPts val="200"/>
              </a:spcBef>
              <a:spcAft>
                <a:spcPts val="200"/>
              </a:spcAft>
              <a:buFont typeface="+mj-lt"/>
              <a:buAutoNum type="arabicPeriod"/>
            </a:pPr>
            <a:r>
              <a:rPr lang="en-US" sz="900" dirty="0">
                <a:solidFill>
                  <a:schemeClr val="tx1"/>
                </a:solidFill>
                <a:latin typeface="+mn-lt"/>
              </a:rPr>
              <a:t>Click on the image and from the top menu under </a:t>
            </a:r>
            <a:r>
              <a:rPr lang="en-US" sz="900" b="1" dirty="0">
                <a:solidFill>
                  <a:schemeClr val="tx1"/>
                </a:solidFill>
                <a:latin typeface="+mn-lt"/>
              </a:rPr>
              <a:t>PICTURE FORMAT </a:t>
            </a:r>
            <a:r>
              <a:rPr lang="en-US" sz="900" dirty="0">
                <a:solidFill>
                  <a:schemeClr val="tx1"/>
                </a:solidFill>
                <a:latin typeface="+mn-lt"/>
              </a:rPr>
              <a:t>select the </a:t>
            </a:r>
            <a:r>
              <a:rPr lang="en-US" sz="900" b="1" dirty="0">
                <a:solidFill>
                  <a:schemeClr val="tx1"/>
                </a:solidFill>
                <a:latin typeface="+mn-lt"/>
              </a:rPr>
              <a:t>CROP</a:t>
            </a:r>
            <a:r>
              <a:rPr lang="en-US" sz="900" dirty="0">
                <a:solidFill>
                  <a:schemeClr val="tx1"/>
                </a:solidFill>
                <a:latin typeface="+mn-lt"/>
              </a:rPr>
              <a:t> on the right and from the drop down menu select </a:t>
            </a:r>
            <a:r>
              <a:rPr lang="en-US" sz="900" b="1" kern="1200" dirty="0">
                <a:solidFill>
                  <a:schemeClr val="tx1"/>
                </a:solidFill>
                <a:latin typeface="+mn-lt"/>
                <a:ea typeface="+mn-ea"/>
                <a:cs typeface="+mn-cs"/>
              </a:rPr>
              <a:t>FILL</a:t>
            </a:r>
          </a:p>
          <a:p>
            <a:pPr marL="179388" indent="-179388">
              <a:spcBef>
                <a:spcPts val="200"/>
              </a:spcBef>
              <a:spcAft>
                <a:spcPts val="200"/>
              </a:spcAft>
              <a:buFont typeface="+mj-lt"/>
              <a:buAutoNum type="arabicPeriod"/>
            </a:pPr>
            <a:r>
              <a:rPr lang="en-US" sz="900" b="0" kern="1200" dirty="0">
                <a:solidFill>
                  <a:schemeClr val="tx1"/>
                </a:solidFill>
                <a:latin typeface="+mn-lt"/>
                <a:ea typeface="+mn-ea"/>
                <a:cs typeface="+mn-cs"/>
              </a:rPr>
              <a:t>From here you can move the image within the shape for best visual appearance</a:t>
            </a:r>
          </a:p>
        </p:txBody>
      </p:sp>
      <p:sp>
        <p:nvSpPr>
          <p:cNvPr id="8" name="Footer Placeholder 7">
            <a:extLst>
              <a:ext uri="{FF2B5EF4-FFF2-40B4-BE49-F238E27FC236}">
                <a16:creationId xmlns:a16="http://schemas.microsoft.com/office/drawing/2014/main" id="{5F2C014C-2E86-9EBE-83B3-07B621469C1B}"/>
              </a:ext>
            </a:extLst>
          </p:cNvPr>
          <p:cNvSpPr>
            <a:spLocks noGrp="1"/>
          </p:cNvSpPr>
          <p:nvPr>
            <p:ph type="ftr" sz="quarter" idx="131"/>
          </p:nvPr>
        </p:nvSpPr>
        <p:spPr/>
        <p:txBody>
          <a:bodyPr/>
          <a:lstStyle/>
          <a:p>
            <a:r>
              <a:rPr lang="en-GB"/>
              <a:t>INSERT FOOTER HERE</a:t>
            </a:r>
            <a:endParaRPr lang="en-GB" dirty="0"/>
          </a:p>
        </p:txBody>
      </p:sp>
      <p:sp>
        <p:nvSpPr>
          <p:cNvPr id="9" name="Slide Number Placeholder 8">
            <a:extLst>
              <a:ext uri="{FF2B5EF4-FFF2-40B4-BE49-F238E27FC236}">
                <a16:creationId xmlns:a16="http://schemas.microsoft.com/office/drawing/2014/main" id="{E288C039-9693-AAFE-89A8-74C7AB4BF41D}"/>
              </a:ext>
            </a:extLst>
          </p:cNvPr>
          <p:cNvSpPr>
            <a:spLocks noGrp="1"/>
          </p:cNvSpPr>
          <p:nvPr>
            <p:ph type="sldNum" sz="quarter" idx="132"/>
          </p:nvPr>
        </p:nvSpPr>
        <p:spPr/>
        <p:txBody>
          <a:bodyPr/>
          <a:lstStyle/>
          <a:p>
            <a:fld id="{8CFE0557-AA98-4E6C-B0C3-581794696B68}" type="slidenum">
              <a:rPr lang="en-GB" smtClean="0"/>
              <a:pPr/>
              <a:t>‹#›</a:t>
            </a:fld>
            <a:endParaRPr lang="en-GB" dirty="0"/>
          </a:p>
        </p:txBody>
      </p:sp>
      <p:sp>
        <p:nvSpPr>
          <p:cNvPr id="10" name="Title 9">
            <a:extLst>
              <a:ext uri="{FF2B5EF4-FFF2-40B4-BE49-F238E27FC236}">
                <a16:creationId xmlns:a16="http://schemas.microsoft.com/office/drawing/2014/main" id="{19D430C3-1416-1FA5-14BA-386BBA8CF454}"/>
              </a:ext>
            </a:extLst>
          </p:cNvPr>
          <p:cNvSpPr>
            <a:spLocks noGrp="1"/>
          </p:cNvSpPr>
          <p:nvPr>
            <p:ph type="title" hasCustomPrompt="1"/>
          </p:nvPr>
        </p:nvSpPr>
        <p:spPr>
          <a:xfrm>
            <a:off x="508000" y="454013"/>
            <a:ext cx="11174413" cy="805609"/>
          </a:xfrm>
        </p:spPr>
        <p:txBody>
          <a:bodyPr/>
          <a:lstStyle/>
          <a:p>
            <a:r>
              <a:rPr lang="en-US" dirty="0"/>
              <a:t>TITLE: subtitle</a:t>
            </a:r>
            <a:endParaRPr lang="en-GB" dirty="0"/>
          </a:p>
        </p:txBody>
      </p:sp>
      <p:sp>
        <p:nvSpPr>
          <p:cNvPr id="20" name="Rectangle 19">
            <a:extLst>
              <a:ext uri="{FF2B5EF4-FFF2-40B4-BE49-F238E27FC236}">
                <a16:creationId xmlns:a16="http://schemas.microsoft.com/office/drawing/2014/main" id="{41285D44-678B-8C0A-A98B-957CBF904A16}"/>
              </a:ext>
            </a:extLst>
          </p:cNvPr>
          <p:cNvSpPr/>
          <p:nvPr userDrawn="1"/>
        </p:nvSpPr>
        <p:spPr>
          <a:xfrm>
            <a:off x="507999" y="1353458"/>
            <a:ext cx="2480731" cy="131889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Rectangle 20">
            <a:extLst>
              <a:ext uri="{FF2B5EF4-FFF2-40B4-BE49-F238E27FC236}">
                <a16:creationId xmlns:a16="http://schemas.microsoft.com/office/drawing/2014/main" id="{AD298F5A-4BB9-10B2-7261-5D3C5BF3CEC0}"/>
              </a:ext>
            </a:extLst>
          </p:cNvPr>
          <p:cNvSpPr/>
          <p:nvPr userDrawn="1"/>
        </p:nvSpPr>
        <p:spPr>
          <a:xfrm>
            <a:off x="3411013" y="1353458"/>
            <a:ext cx="2480731" cy="131889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extLst>
              <a:ext uri="{FF2B5EF4-FFF2-40B4-BE49-F238E27FC236}">
                <a16:creationId xmlns:a16="http://schemas.microsoft.com/office/drawing/2014/main" id="{D9F345D4-5273-210A-2FD6-9CD63C9C5688}"/>
              </a:ext>
            </a:extLst>
          </p:cNvPr>
          <p:cNvSpPr/>
          <p:nvPr userDrawn="1"/>
        </p:nvSpPr>
        <p:spPr>
          <a:xfrm>
            <a:off x="6314027" y="1353458"/>
            <a:ext cx="2480731" cy="131889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Rectangle 22">
            <a:extLst>
              <a:ext uri="{FF2B5EF4-FFF2-40B4-BE49-F238E27FC236}">
                <a16:creationId xmlns:a16="http://schemas.microsoft.com/office/drawing/2014/main" id="{45998C67-56C5-A99E-849B-A72D26753FDF}"/>
              </a:ext>
            </a:extLst>
          </p:cNvPr>
          <p:cNvSpPr/>
          <p:nvPr userDrawn="1"/>
        </p:nvSpPr>
        <p:spPr>
          <a:xfrm>
            <a:off x="9197003" y="1353458"/>
            <a:ext cx="2480731" cy="131889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Content Placeholder 2">
            <a:extLst>
              <a:ext uri="{FF2B5EF4-FFF2-40B4-BE49-F238E27FC236}">
                <a16:creationId xmlns:a16="http://schemas.microsoft.com/office/drawing/2014/main" id="{A2978767-DCBE-B1BF-9A16-BA2711F95213}"/>
              </a:ext>
            </a:extLst>
          </p:cNvPr>
          <p:cNvSpPr>
            <a:spLocks noGrp="1"/>
          </p:cNvSpPr>
          <p:nvPr>
            <p:ph sz="quarter" idx="148" hasCustomPrompt="1"/>
          </p:nvPr>
        </p:nvSpPr>
        <p:spPr>
          <a:xfrm>
            <a:off x="507469" y="1353458"/>
            <a:ext cx="2481263" cy="1318896"/>
          </a:xfrm>
          <a:noFill/>
          <a:ln>
            <a:noFill/>
          </a:ln>
        </p:spPr>
        <p:txBody>
          <a:bodyPr vert="horz" lIns="0" tIns="45720" rIns="0" bIns="45720" rtlCol="0" anchor="ctr">
            <a:noAutofit/>
          </a:bodyPr>
          <a:lstStyle>
            <a:lvl1pPr algn="ctr">
              <a:defRPr lang="en-US" sz="1200" smtClean="0">
                <a:solidFill>
                  <a:schemeClr val="tx1"/>
                </a:solidFill>
                <a:latin typeface="+mn-lt"/>
              </a:defRPr>
            </a:lvl1pPr>
            <a:lvl2pPr>
              <a:defRPr lang="en-US" smtClean="0"/>
            </a:lvl2pPr>
            <a:lvl3pPr>
              <a:defRPr lang="en-US" smtClean="0"/>
            </a:lvl3pPr>
            <a:lvl4pPr>
              <a:defRPr lang="en-US" smtClean="0"/>
            </a:lvl4pPr>
            <a:lvl5pPr>
              <a:defRPr lang="en-GB"/>
            </a:lvl5pPr>
          </a:lstStyle>
          <a:p>
            <a:r>
              <a:rPr lang="en-GB" dirty="0"/>
              <a:t>Client logo/name here</a:t>
            </a:r>
          </a:p>
        </p:txBody>
      </p:sp>
      <p:sp>
        <p:nvSpPr>
          <p:cNvPr id="25" name="Content Placeholder 2">
            <a:extLst>
              <a:ext uri="{FF2B5EF4-FFF2-40B4-BE49-F238E27FC236}">
                <a16:creationId xmlns:a16="http://schemas.microsoft.com/office/drawing/2014/main" id="{BE25EAA3-E79D-6982-477C-1704D2649968}"/>
              </a:ext>
            </a:extLst>
          </p:cNvPr>
          <p:cNvSpPr>
            <a:spLocks noGrp="1"/>
          </p:cNvSpPr>
          <p:nvPr>
            <p:ph sz="quarter" idx="149" hasCustomPrompt="1"/>
          </p:nvPr>
        </p:nvSpPr>
        <p:spPr>
          <a:xfrm>
            <a:off x="3405539" y="1353458"/>
            <a:ext cx="2481263" cy="1318896"/>
          </a:xfrm>
          <a:noFill/>
          <a:ln>
            <a:noFill/>
          </a:ln>
        </p:spPr>
        <p:txBody>
          <a:bodyPr vert="horz" lIns="0" tIns="45720" rIns="0" bIns="45720" rtlCol="0" anchor="ctr">
            <a:normAutofit/>
          </a:bodyPr>
          <a:lstStyle>
            <a:lvl1pPr algn="ctr">
              <a:defRPr lang="en-US" sz="1200" smtClean="0">
                <a:solidFill>
                  <a:schemeClr val="tx1"/>
                </a:solidFill>
                <a:latin typeface="+mn-lt"/>
              </a:defRPr>
            </a:lvl1pPr>
            <a:lvl2pPr>
              <a:defRPr lang="en-US" smtClean="0"/>
            </a:lvl2pPr>
            <a:lvl3pPr>
              <a:defRPr lang="en-US" smtClean="0"/>
            </a:lvl3pPr>
            <a:lvl4pPr>
              <a:defRPr lang="en-US" smtClean="0"/>
            </a:lvl4pPr>
            <a:lvl5pPr>
              <a:defRPr lang="en-GB"/>
            </a:lvl5pPr>
          </a:lstStyle>
          <a:p>
            <a:r>
              <a:rPr lang="en-GB" dirty="0"/>
              <a:t>Client logo/name here</a:t>
            </a:r>
          </a:p>
        </p:txBody>
      </p:sp>
      <p:sp>
        <p:nvSpPr>
          <p:cNvPr id="26" name="Content Placeholder 2">
            <a:extLst>
              <a:ext uri="{FF2B5EF4-FFF2-40B4-BE49-F238E27FC236}">
                <a16:creationId xmlns:a16="http://schemas.microsoft.com/office/drawing/2014/main" id="{E747F742-D17B-14C6-9B24-65E802CA8A17}"/>
              </a:ext>
            </a:extLst>
          </p:cNvPr>
          <p:cNvSpPr>
            <a:spLocks noGrp="1"/>
          </p:cNvSpPr>
          <p:nvPr>
            <p:ph sz="quarter" idx="150" hasCustomPrompt="1"/>
          </p:nvPr>
        </p:nvSpPr>
        <p:spPr>
          <a:xfrm>
            <a:off x="6303609" y="1353458"/>
            <a:ext cx="2481263" cy="1318896"/>
          </a:xfrm>
          <a:noFill/>
          <a:ln>
            <a:noFill/>
          </a:ln>
        </p:spPr>
        <p:txBody>
          <a:bodyPr vert="horz" lIns="0" tIns="45720" rIns="0" bIns="45720" rtlCol="0" anchor="ctr">
            <a:normAutofit/>
          </a:bodyPr>
          <a:lstStyle>
            <a:lvl1pPr algn="ctr">
              <a:defRPr lang="en-US" sz="1200" smtClean="0">
                <a:solidFill>
                  <a:schemeClr val="tx1"/>
                </a:solidFill>
                <a:latin typeface="+mn-lt"/>
              </a:defRPr>
            </a:lvl1pPr>
            <a:lvl2pPr>
              <a:defRPr lang="en-US" smtClean="0"/>
            </a:lvl2pPr>
            <a:lvl3pPr>
              <a:defRPr lang="en-US" smtClean="0"/>
            </a:lvl3pPr>
            <a:lvl4pPr>
              <a:defRPr lang="en-US" smtClean="0"/>
            </a:lvl4pPr>
            <a:lvl5pPr>
              <a:defRPr lang="en-GB"/>
            </a:lvl5pPr>
          </a:lstStyle>
          <a:p>
            <a:r>
              <a:rPr lang="en-GB" dirty="0"/>
              <a:t>Client logo/name here</a:t>
            </a:r>
          </a:p>
        </p:txBody>
      </p:sp>
      <p:sp>
        <p:nvSpPr>
          <p:cNvPr id="27" name="Content Placeholder 2">
            <a:extLst>
              <a:ext uri="{FF2B5EF4-FFF2-40B4-BE49-F238E27FC236}">
                <a16:creationId xmlns:a16="http://schemas.microsoft.com/office/drawing/2014/main" id="{703BF9B8-5B91-9C20-83D6-52669EF8C11E}"/>
              </a:ext>
            </a:extLst>
          </p:cNvPr>
          <p:cNvSpPr>
            <a:spLocks noGrp="1"/>
          </p:cNvSpPr>
          <p:nvPr>
            <p:ph sz="quarter" idx="151" hasCustomPrompt="1"/>
          </p:nvPr>
        </p:nvSpPr>
        <p:spPr>
          <a:xfrm>
            <a:off x="9201150" y="1353458"/>
            <a:ext cx="2481263" cy="1318896"/>
          </a:xfrm>
          <a:noFill/>
          <a:ln>
            <a:noFill/>
          </a:ln>
        </p:spPr>
        <p:txBody>
          <a:bodyPr vert="horz" lIns="0" tIns="45720" rIns="0" bIns="45720" rtlCol="0" anchor="ctr">
            <a:normAutofit/>
          </a:bodyPr>
          <a:lstStyle>
            <a:lvl1pPr algn="ctr">
              <a:defRPr lang="en-US" sz="1200" smtClean="0">
                <a:solidFill>
                  <a:schemeClr val="tx1"/>
                </a:solidFill>
                <a:latin typeface="+mn-lt"/>
              </a:defRPr>
            </a:lvl1pPr>
            <a:lvl2pPr>
              <a:defRPr lang="en-US" smtClean="0"/>
            </a:lvl2pPr>
            <a:lvl3pPr>
              <a:defRPr lang="en-US" smtClean="0"/>
            </a:lvl3pPr>
            <a:lvl4pPr>
              <a:defRPr lang="en-US" smtClean="0"/>
            </a:lvl4pPr>
            <a:lvl5pPr>
              <a:defRPr lang="en-GB"/>
            </a:lvl5pPr>
          </a:lstStyle>
          <a:p>
            <a:r>
              <a:rPr lang="en-GB" dirty="0"/>
              <a:t>Client logo/name here</a:t>
            </a:r>
          </a:p>
        </p:txBody>
      </p:sp>
      <p:sp>
        <p:nvSpPr>
          <p:cNvPr id="28" name="Rectangle 27">
            <a:extLst>
              <a:ext uri="{FF2B5EF4-FFF2-40B4-BE49-F238E27FC236}">
                <a16:creationId xmlns:a16="http://schemas.microsoft.com/office/drawing/2014/main" id="{0B3F4111-B97B-E000-72B9-6FF327DDD226}"/>
              </a:ext>
            </a:extLst>
          </p:cNvPr>
          <p:cNvSpPr/>
          <p:nvPr userDrawn="1"/>
        </p:nvSpPr>
        <p:spPr>
          <a:xfrm>
            <a:off x="507999" y="3127194"/>
            <a:ext cx="2480731" cy="131889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 name="Rectangle 28">
            <a:extLst>
              <a:ext uri="{FF2B5EF4-FFF2-40B4-BE49-F238E27FC236}">
                <a16:creationId xmlns:a16="http://schemas.microsoft.com/office/drawing/2014/main" id="{21B90D66-8DFF-611B-BDA6-8D4334B3105F}"/>
              </a:ext>
            </a:extLst>
          </p:cNvPr>
          <p:cNvSpPr/>
          <p:nvPr userDrawn="1"/>
        </p:nvSpPr>
        <p:spPr>
          <a:xfrm>
            <a:off x="3411013" y="3127194"/>
            <a:ext cx="2480731" cy="131889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Rectangle 29">
            <a:extLst>
              <a:ext uri="{FF2B5EF4-FFF2-40B4-BE49-F238E27FC236}">
                <a16:creationId xmlns:a16="http://schemas.microsoft.com/office/drawing/2014/main" id="{8E49AD91-A992-501B-6574-FE32D5594C98}"/>
              </a:ext>
            </a:extLst>
          </p:cNvPr>
          <p:cNvSpPr/>
          <p:nvPr userDrawn="1"/>
        </p:nvSpPr>
        <p:spPr>
          <a:xfrm>
            <a:off x="6314027" y="3127194"/>
            <a:ext cx="2480731" cy="131889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Rectangle 30">
            <a:extLst>
              <a:ext uri="{FF2B5EF4-FFF2-40B4-BE49-F238E27FC236}">
                <a16:creationId xmlns:a16="http://schemas.microsoft.com/office/drawing/2014/main" id="{EDCCCB51-8C8D-D6BD-1F54-BDF93B6CA103}"/>
              </a:ext>
            </a:extLst>
          </p:cNvPr>
          <p:cNvSpPr/>
          <p:nvPr userDrawn="1"/>
        </p:nvSpPr>
        <p:spPr>
          <a:xfrm>
            <a:off x="9197003" y="3127194"/>
            <a:ext cx="2480731" cy="131889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2" name="Content Placeholder 2">
            <a:extLst>
              <a:ext uri="{FF2B5EF4-FFF2-40B4-BE49-F238E27FC236}">
                <a16:creationId xmlns:a16="http://schemas.microsoft.com/office/drawing/2014/main" id="{B46915FA-F603-1837-A8D8-E84E3CD08836}"/>
              </a:ext>
            </a:extLst>
          </p:cNvPr>
          <p:cNvSpPr>
            <a:spLocks noGrp="1"/>
          </p:cNvSpPr>
          <p:nvPr>
            <p:ph sz="quarter" idx="152" hasCustomPrompt="1"/>
          </p:nvPr>
        </p:nvSpPr>
        <p:spPr>
          <a:xfrm>
            <a:off x="507469" y="3127194"/>
            <a:ext cx="2481263" cy="1318896"/>
          </a:xfrm>
          <a:noFill/>
          <a:ln>
            <a:noFill/>
          </a:ln>
        </p:spPr>
        <p:txBody>
          <a:bodyPr vert="horz" lIns="0" tIns="45720" rIns="0" bIns="45720" rtlCol="0" anchor="ctr">
            <a:noAutofit/>
          </a:bodyPr>
          <a:lstStyle>
            <a:lvl1pPr algn="ctr">
              <a:defRPr lang="en-US" sz="1200" smtClean="0">
                <a:solidFill>
                  <a:schemeClr val="tx1"/>
                </a:solidFill>
                <a:latin typeface="+mn-lt"/>
              </a:defRPr>
            </a:lvl1pPr>
            <a:lvl2pPr>
              <a:defRPr lang="en-US" smtClean="0"/>
            </a:lvl2pPr>
            <a:lvl3pPr>
              <a:defRPr lang="en-US" smtClean="0"/>
            </a:lvl3pPr>
            <a:lvl4pPr>
              <a:defRPr lang="en-US" smtClean="0"/>
            </a:lvl4pPr>
            <a:lvl5pPr>
              <a:defRPr lang="en-GB"/>
            </a:lvl5pPr>
          </a:lstStyle>
          <a:p>
            <a:r>
              <a:rPr lang="en-GB" dirty="0"/>
              <a:t>Client logo/name here</a:t>
            </a:r>
          </a:p>
        </p:txBody>
      </p:sp>
      <p:sp>
        <p:nvSpPr>
          <p:cNvPr id="33" name="Content Placeholder 2">
            <a:extLst>
              <a:ext uri="{FF2B5EF4-FFF2-40B4-BE49-F238E27FC236}">
                <a16:creationId xmlns:a16="http://schemas.microsoft.com/office/drawing/2014/main" id="{BC127DDB-3BF7-7B42-4BE6-7FEE088892D3}"/>
              </a:ext>
            </a:extLst>
          </p:cNvPr>
          <p:cNvSpPr>
            <a:spLocks noGrp="1"/>
          </p:cNvSpPr>
          <p:nvPr>
            <p:ph sz="quarter" idx="153" hasCustomPrompt="1"/>
          </p:nvPr>
        </p:nvSpPr>
        <p:spPr>
          <a:xfrm>
            <a:off x="3405539" y="3127194"/>
            <a:ext cx="2481263" cy="1318896"/>
          </a:xfrm>
          <a:noFill/>
          <a:ln>
            <a:noFill/>
          </a:ln>
        </p:spPr>
        <p:txBody>
          <a:bodyPr vert="horz" lIns="0" tIns="45720" rIns="0" bIns="45720" rtlCol="0" anchor="ctr">
            <a:normAutofit/>
          </a:bodyPr>
          <a:lstStyle>
            <a:lvl1pPr algn="ctr">
              <a:defRPr lang="en-US" sz="1200" smtClean="0">
                <a:solidFill>
                  <a:schemeClr val="tx1"/>
                </a:solidFill>
                <a:latin typeface="+mn-lt"/>
              </a:defRPr>
            </a:lvl1pPr>
            <a:lvl2pPr>
              <a:defRPr lang="en-US" smtClean="0"/>
            </a:lvl2pPr>
            <a:lvl3pPr>
              <a:defRPr lang="en-US" smtClean="0"/>
            </a:lvl3pPr>
            <a:lvl4pPr>
              <a:defRPr lang="en-US" smtClean="0"/>
            </a:lvl4pPr>
            <a:lvl5pPr>
              <a:defRPr lang="en-GB"/>
            </a:lvl5pPr>
          </a:lstStyle>
          <a:p>
            <a:r>
              <a:rPr lang="en-GB" dirty="0"/>
              <a:t>Client logo/name here</a:t>
            </a:r>
          </a:p>
        </p:txBody>
      </p:sp>
      <p:sp>
        <p:nvSpPr>
          <p:cNvPr id="34" name="Content Placeholder 2">
            <a:extLst>
              <a:ext uri="{FF2B5EF4-FFF2-40B4-BE49-F238E27FC236}">
                <a16:creationId xmlns:a16="http://schemas.microsoft.com/office/drawing/2014/main" id="{AED8C94F-BEF3-AA61-D244-E430C70BB662}"/>
              </a:ext>
            </a:extLst>
          </p:cNvPr>
          <p:cNvSpPr>
            <a:spLocks noGrp="1"/>
          </p:cNvSpPr>
          <p:nvPr>
            <p:ph sz="quarter" idx="154" hasCustomPrompt="1"/>
          </p:nvPr>
        </p:nvSpPr>
        <p:spPr>
          <a:xfrm>
            <a:off x="6303609" y="3127194"/>
            <a:ext cx="2481263" cy="1318896"/>
          </a:xfrm>
          <a:noFill/>
          <a:ln>
            <a:noFill/>
          </a:ln>
        </p:spPr>
        <p:txBody>
          <a:bodyPr vert="horz" lIns="0" tIns="45720" rIns="0" bIns="45720" rtlCol="0" anchor="ctr">
            <a:normAutofit/>
          </a:bodyPr>
          <a:lstStyle>
            <a:lvl1pPr algn="ctr">
              <a:defRPr lang="en-US" sz="1200" smtClean="0">
                <a:solidFill>
                  <a:schemeClr val="tx1"/>
                </a:solidFill>
                <a:latin typeface="+mn-lt"/>
              </a:defRPr>
            </a:lvl1pPr>
            <a:lvl2pPr>
              <a:defRPr lang="en-US" smtClean="0"/>
            </a:lvl2pPr>
            <a:lvl3pPr>
              <a:defRPr lang="en-US" smtClean="0"/>
            </a:lvl3pPr>
            <a:lvl4pPr>
              <a:defRPr lang="en-US" smtClean="0"/>
            </a:lvl4pPr>
            <a:lvl5pPr>
              <a:defRPr lang="en-GB"/>
            </a:lvl5pPr>
          </a:lstStyle>
          <a:p>
            <a:r>
              <a:rPr lang="en-GB" dirty="0"/>
              <a:t>Client logo/name here</a:t>
            </a:r>
          </a:p>
        </p:txBody>
      </p:sp>
      <p:sp>
        <p:nvSpPr>
          <p:cNvPr id="35" name="Content Placeholder 2">
            <a:extLst>
              <a:ext uri="{FF2B5EF4-FFF2-40B4-BE49-F238E27FC236}">
                <a16:creationId xmlns:a16="http://schemas.microsoft.com/office/drawing/2014/main" id="{46DC8A01-E674-E600-1511-A7A59861735C}"/>
              </a:ext>
            </a:extLst>
          </p:cNvPr>
          <p:cNvSpPr>
            <a:spLocks noGrp="1"/>
          </p:cNvSpPr>
          <p:nvPr>
            <p:ph sz="quarter" idx="155" hasCustomPrompt="1"/>
          </p:nvPr>
        </p:nvSpPr>
        <p:spPr>
          <a:xfrm>
            <a:off x="9201150" y="3127194"/>
            <a:ext cx="2481263" cy="1318896"/>
          </a:xfrm>
          <a:noFill/>
          <a:ln>
            <a:noFill/>
          </a:ln>
        </p:spPr>
        <p:txBody>
          <a:bodyPr vert="horz" lIns="0" tIns="45720" rIns="0" bIns="45720" rtlCol="0" anchor="ctr">
            <a:normAutofit/>
          </a:bodyPr>
          <a:lstStyle>
            <a:lvl1pPr algn="ctr">
              <a:defRPr lang="en-US" sz="1200" smtClean="0">
                <a:solidFill>
                  <a:schemeClr val="tx1"/>
                </a:solidFill>
                <a:latin typeface="+mn-lt"/>
              </a:defRPr>
            </a:lvl1pPr>
            <a:lvl2pPr>
              <a:defRPr lang="en-US" smtClean="0"/>
            </a:lvl2pPr>
            <a:lvl3pPr>
              <a:defRPr lang="en-US" smtClean="0"/>
            </a:lvl3pPr>
            <a:lvl4pPr>
              <a:defRPr lang="en-US" smtClean="0"/>
            </a:lvl4pPr>
            <a:lvl5pPr>
              <a:defRPr lang="en-GB"/>
            </a:lvl5pPr>
          </a:lstStyle>
          <a:p>
            <a:r>
              <a:rPr lang="en-GB" dirty="0"/>
              <a:t>Client logo/name here</a:t>
            </a:r>
          </a:p>
        </p:txBody>
      </p:sp>
      <p:sp>
        <p:nvSpPr>
          <p:cNvPr id="36" name="Rectangle 35">
            <a:extLst>
              <a:ext uri="{FF2B5EF4-FFF2-40B4-BE49-F238E27FC236}">
                <a16:creationId xmlns:a16="http://schemas.microsoft.com/office/drawing/2014/main" id="{350A2034-EA9F-9FFA-74E1-314EA9D8ECF0}"/>
              </a:ext>
            </a:extLst>
          </p:cNvPr>
          <p:cNvSpPr/>
          <p:nvPr userDrawn="1"/>
        </p:nvSpPr>
        <p:spPr>
          <a:xfrm>
            <a:off x="507999" y="4900929"/>
            <a:ext cx="2480731" cy="131889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 name="Rectangle 36">
            <a:extLst>
              <a:ext uri="{FF2B5EF4-FFF2-40B4-BE49-F238E27FC236}">
                <a16:creationId xmlns:a16="http://schemas.microsoft.com/office/drawing/2014/main" id="{C58E7443-AE7D-273E-EA31-49A492736D4E}"/>
              </a:ext>
            </a:extLst>
          </p:cNvPr>
          <p:cNvSpPr/>
          <p:nvPr userDrawn="1"/>
        </p:nvSpPr>
        <p:spPr>
          <a:xfrm>
            <a:off x="3411013" y="4900929"/>
            <a:ext cx="2480731" cy="131889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8" name="Rectangle 37">
            <a:extLst>
              <a:ext uri="{FF2B5EF4-FFF2-40B4-BE49-F238E27FC236}">
                <a16:creationId xmlns:a16="http://schemas.microsoft.com/office/drawing/2014/main" id="{332753F6-5382-B038-302A-DE9DC3B08ABA}"/>
              </a:ext>
            </a:extLst>
          </p:cNvPr>
          <p:cNvSpPr/>
          <p:nvPr userDrawn="1"/>
        </p:nvSpPr>
        <p:spPr>
          <a:xfrm>
            <a:off x="6314027" y="4900929"/>
            <a:ext cx="2480731" cy="131889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9" name="Rectangle 38">
            <a:extLst>
              <a:ext uri="{FF2B5EF4-FFF2-40B4-BE49-F238E27FC236}">
                <a16:creationId xmlns:a16="http://schemas.microsoft.com/office/drawing/2014/main" id="{844BC1AC-B887-78C8-EB7A-37B17E9E88D7}"/>
              </a:ext>
            </a:extLst>
          </p:cNvPr>
          <p:cNvSpPr/>
          <p:nvPr userDrawn="1"/>
        </p:nvSpPr>
        <p:spPr>
          <a:xfrm>
            <a:off x="9197003" y="4900929"/>
            <a:ext cx="2480731" cy="131889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0" name="Content Placeholder 2">
            <a:extLst>
              <a:ext uri="{FF2B5EF4-FFF2-40B4-BE49-F238E27FC236}">
                <a16:creationId xmlns:a16="http://schemas.microsoft.com/office/drawing/2014/main" id="{49E39342-940F-1D64-1F3B-BCC25AE87897}"/>
              </a:ext>
            </a:extLst>
          </p:cNvPr>
          <p:cNvSpPr>
            <a:spLocks noGrp="1"/>
          </p:cNvSpPr>
          <p:nvPr>
            <p:ph sz="quarter" idx="156" hasCustomPrompt="1"/>
          </p:nvPr>
        </p:nvSpPr>
        <p:spPr>
          <a:xfrm>
            <a:off x="507469" y="4900929"/>
            <a:ext cx="2481263" cy="1318896"/>
          </a:xfrm>
          <a:noFill/>
          <a:ln>
            <a:noFill/>
          </a:ln>
        </p:spPr>
        <p:txBody>
          <a:bodyPr vert="horz" lIns="0" tIns="45720" rIns="0" bIns="45720" rtlCol="0" anchor="ctr">
            <a:noAutofit/>
          </a:bodyPr>
          <a:lstStyle>
            <a:lvl1pPr algn="ctr">
              <a:defRPr lang="en-US" sz="1200" smtClean="0">
                <a:solidFill>
                  <a:schemeClr val="tx1"/>
                </a:solidFill>
                <a:latin typeface="+mn-lt"/>
              </a:defRPr>
            </a:lvl1pPr>
            <a:lvl2pPr>
              <a:defRPr lang="en-US" smtClean="0"/>
            </a:lvl2pPr>
            <a:lvl3pPr>
              <a:defRPr lang="en-US" smtClean="0"/>
            </a:lvl3pPr>
            <a:lvl4pPr>
              <a:defRPr lang="en-US" smtClean="0"/>
            </a:lvl4pPr>
            <a:lvl5pPr>
              <a:defRPr lang="en-GB"/>
            </a:lvl5pPr>
          </a:lstStyle>
          <a:p>
            <a:r>
              <a:rPr lang="en-GB" dirty="0"/>
              <a:t>Client logo/name here</a:t>
            </a:r>
          </a:p>
        </p:txBody>
      </p:sp>
      <p:sp>
        <p:nvSpPr>
          <p:cNvPr id="41" name="Content Placeholder 2">
            <a:extLst>
              <a:ext uri="{FF2B5EF4-FFF2-40B4-BE49-F238E27FC236}">
                <a16:creationId xmlns:a16="http://schemas.microsoft.com/office/drawing/2014/main" id="{75EF3357-7349-9E28-1290-00F8400E7192}"/>
              </a:ext>
            </a:extLst>
          </p:cNvPr>
          <p:cNvSpPr>
            <a:spLocks noGrp="1"/>
          </p:cNvSpPr>
          <p:nvPr>
            <p:ph sz="quarter" idx="157" hasCustomPrompt="1"/>
          </p:nvPr>
        </p:nvSpPr>
        <p:spPr>
          <a:xfrm>
            <a:off x="3405539" y="4900929"/>
            <a:ext cx="2481263" cy="1318896"/>
          </a:xfrm>
          <a:noFill/>
          <a:ln>
            <a:noFill/>
          </a:ln>
        </p:spPr>
        <p:txBody>
          <a:bodyPr vert="horz" lIns="0" tIns="45720" rIns="0" bIns="45720" rtlCol="0" anchor="ctr">
            <a:normAutofit/>
          </a:bodyPr>
          <a:lstStyle>
            <a:lvl1pPr algn="ctr">
              <a:defRPr lang="en-US" sz="1200" smtClean="0">
                <a:solidFill>
                  <a:schemeClr val="tx1"/>
                </a:solidFill>
                <a:latin typeface="+mn-lt"/>
              </a:defRPr>
            </a:lvl1pPr>
            <a:lvl2pPr>
              <a:defRPr lang="en-US" smtClean="0"/>
            </a:lvl2pPr>
            <a:lvl3pPr>
              <a:defRPr lang="en-US" smtClean="0"/>
            </a:lvl3pPr>
            <a:lvl4pPr>
              <a:defRPr lang="en-US" smtClean="0"/>
            </a:lvl4pPr>
            <a:lvl5pPr>
              <a:defRPr lang="en-GB"/>
            </a:lvl5pPr>
          </a:lstStyle>
          <a:p>
            <a:r>
              <a:rPr lang="en-GB" dirty="0"/>
              <a:t>Client logo/name here</a:t>
            </a:r>
          </a:p>
        </p:txBody>
      </p:sp>
      <p:sp>
        <p:nvSpPr>
          <p:cNvPr id="42" name="Content Placeholder 2">
            <a:extLst>
              <a:ext uri="{FF2B5EF4-FFF2-40B4-BE49-F238E27FC236}">
                <a16:creationId xmlns:a16="http://schemas.microsoft.com/office/drawing/2014/main" id="{17E4DFA4-6C98-ED59-592C-64BF536F0FC1}"/>
              </a:ext>
            </a:extLst>
          </p:cNvPr>
          <p:cNvSpPr>
            <a:spLocks noGrp="1"/>
          </p:cNvSpPr>
          <p:nvPr>
            <p:ph sz="quarter" idx="158" hasCustomPrompt="1"/>
          </p:nvPr>
        </p:nvSpPr>
        <p:spPr>
          <a:xfrm>
            <a:off x="6303609" y="4900929"/>
            <a:ext cx="2481263" cy="1318896"/>
          </a:xfrm>
          <a:noFill/>
          <a:ln>
            <a:noFill/>
          </a:ln>
        </p:spPr>
        <p:txBody>
          <a:bodyPr vert="horz" lIns="0" tIns="45720" rIns="0" bIns="45720" rtlCol="0" anchor="ctr">
            <a:normAutofit/>
          </a:bodyPr>
          <a:lstStyle>
            <a:lvl1pPr algn="ctr">
              <a:defRPr lang="en-US" sz="1200" smtClean="0">
                <a:solidFill>
                  <a:schemeClr val="tx1"/>
                </a:solidFill>
                <a:latin typeface="+mn-lt"/>
              </a:defRPr>
            </a:lvl1pPr>
            <a:lvl2pPr>
              <a:defRPr lang="en-US" smtClean="0"/>
            </a:lvl2pPr>
            <a:lvl3pPr>
              <a:defRPr lang="en-US" smtClean="0"/>
            </a:lvl3pPr>
            <a:lvl4pPr>
              <a:defRPr lang="en-US" smtClean="0"/>
            </a:lvl4pPr>
            <a:lvl5pPr>
              <a:defRPr lang="en-GB"/>
            </a:lvl5pPr>
          </a:lstStyle>
          <a:p>
            <a:r>
              <a:rPr lang="en-GB" dirty="0"/>
              <a:t>Client logo/name here</a:t>
            </a:r>
          </a:p>
        </p:txBody>
      </p:sp>
      <p:sp>
        <p:nvSpPr>
          <p:cNvPr id="43" name="Content Placeholder 2">
            <a:extLst>
              <a:ext uri="{FF2B5EF4-FFF2-40B4-BE49-F238E27FC236}">
                <a16:creationId xmlns:a16="http://schemas.microsoft.com/office/drawing/2014/main" id="{05F7C078-0A01-C064-5F15-6C6E3E824215}"/>
              </a:ext>
            </a:extLst>
          </p:cNvPr>
          <p:cNvSpPr>
            <a:spLocks noGrp="1"/>
          </p:cNvSpPr>
          <p:nvPr>
            <p:ph sz="quarter" idx="159" hasCustomPrompt="1"/>
          </p:nvPr>
        </p:nvSpPr>
        <p:spPr>
          <a:xfrm>
            <a:off x="9201150" y="4900929"/>
            <a:ext cx="2481263" cy="1318896"/>
          </a:xfrm>
          <a:noFill/>
          <a:ln>
            <a:noFill/>
          </a:ln>
        </p:spPr>
        <p:txBody>
          <a:bodyPr vert="horz" lIns="0" tIns="45720" rIns="0" bIns="45720" rtlCol="0" anchor="ctr">
            <a:normAutofit/>
          </a:bodyPr>
          <a:lstStyle>
            <a:lvl1pPr algn="ctr">
              <a:defRPr lang="en-US" sz="1200" smtClean="0">
                <a:solidFill>
                  <a:schemeClr val="tx1"/>
                </a:solidFill>
                <a:latin typeface="+mn-lt"/>
              </a:defRPr>
            </a:lvl1pPr>
            <a:lvl2pPr>
              <a:defRPr lang="en-US" smtClean="0"/>
            </a:lvl2pPr>
            <a:lvl3pPr>
              <a:defRPr lang="en-US" smtClean="0"/>
            </a:lvl3pPr>
            <a:lvl4pPr>
              <a:defRPr lang="en-US" smtClean="0"/>
            </a:lvl4pPr>
            <a:lvl5pPr>
              <a:defRPr lang="en-GB"/>
            </a:lvl5pPr>
          </a:lstStyle>
          <a:p>
            <a:r>
              <a:rPr lang="en-GB" dirty="0"/>
              <a:t>Client logo/name here</a:t>
            </a:r>
          </a:p>
        </p:txBody>
      </p:sp>
    </p:spTree>
    <p:extLst>
      <p:ext uri="{BB962C8B-B14F-4D97-AF65-F5344CB8AC3E}">
        <p14:creationId xmlns:p14="http://schemas.microsoft.com/office/powerpoint/2010/main" val="2155131805"/>
      </p:ext>
    </p:extLst>
  </p:cSld>
  <p:clrMapOvr>
    <a:masterClrMapping/>
  </p:clrMapOvr>
  <p:transition spd="med">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9 Boxes">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507999" y="1735006"/>
            <a:ext cx="3400425" cy="1114520"/>
          </a:xfrm>
          <a:solidFill>
            <a:schemeClr val="bg2"/>
          </a:solidFill>
        </p:spPr>
        <p:txBody>
          <a:bodyPr vert="horz" lIns="108000" tIns="72000" rIns="72000" bIns="36000" numCol="1" spcCol="288000" rtlCol="0">
            <a:noAutofit/>
          </a:bodyPr>
          <a:lstStyle>
            <a:lvl1pPr>
              <a:lnSpc>
                <a:spcPct val="130000"/>
              </a:lnSpc>
              <a:spcBef>
                <a:spcPts val="200"/>
              </a:spcBef>
              <a:spcAft>
                <a:spcPts val="200"/>
              </a:spcAft>
              <a:defRPr lang="en-US" sz="1100" dirty="0" smtClean="0">
                <a:solidFill>
                  <a:schemeClr val="tx1"/>
                </a:solidFill>
                <a:latin typeface="+mn-lt"/>
              </a:defRPr>
            </a:lvl1pPr>
            <a:lvl2pPr marL="171450" indent="-171450">
              <a:lnSpc>
                <a:spcPct val="130000"/>
              </a:lnSpc>
              <a:spcBef>
                <a:spcPts val="200"/>
              </a:spcBef>
              <a:spcAft>
                <a:spcPts val="200"/>
              </a:spcAft>
              <a:buFont typeface="Arial" panose="020B0604020202020204" pitchFamily="34" charset="0"/>
              <a:buChar char="•"/>
              <a:defRPr lang="en-US" sz="1000" dirty="0"/>
            </a:lvl2pPr>
            <a:lvl3pPr marL="360363" indent="-182563">
              <a:lnSpc>
                <a:spcPct val="130000"/>
              </a:lnSpc>
              <a:spcBef>
                <a:spcPts val="200"/>
              </a:spcBef>
              <a:spcAft>
                <a:spcPts val="200"/>
              </a:spcAft>
              <a:defRPr lang="en-US" sz="1000" dirty="0"/>
            </a:lvl3pPr>
            <a:lvl4pPr>
              <a:defRPr lang="en-US" sz="1000" dirty="0"/>
            </a:lvl4pPr>
            <a:lvl5pPr>
              <a:defRPr lang="en-US" sz="1000" dirty="0"/>
            </a:lvl5pPr>
          </a:lstStyle>
          <a:p>
            <a:pPr lvl="0"/>
            <a:r>
              <a:rPr lang="en-US" dirty="0"/>
              <a:t>Click to edit master text styles</a:t>
            </a:r>
          </a:p>
          <a:p>
            <a:pPr lvl="1"/>
            <a:r>
              <a:rPr lang="en-US" dirty="0"/>
              <a:t>Second level</a:t>
            </a:r>
          </a:p>
          <a:p>
            <a:pPr lvl="2"/>
            <a:r>
              <a:rPr lang="en-US" dirty="0"/>
              <a:t>Third level</a:t>
            </a:r>
          </a:p>
        </p:txBody>
      </p:sp>
      <p:sp>
        <p:nvSpPr>
          <p:cNvPr id="5" name="Footer Placeholder 4"/>
          <p:cNvSpPr>
            <a:spLocks noGrp="1"/>
          </p:cNvSpPr>
          <p:nvPr>
            <p:ph type="ftr" sz="quarter" idx="11"/>
          </p:nvPr>
        </p:nvSpPr>
        <p:spPr/>
        <p:txBody>
          <a:bodyPr/>
          <a:lstStyle/>
          <a:p>
            <a:r>
              <a:rPr lang="en-GB"/>
              <a:t>INSERT FOOTER HERE</a:t>
            </a:r>
          </a:p>
        </p:txBody>
      </p:sp>
      <p:sp>
        <p:nvSpPr>
          <p:cNvPr id="6" name="Slide Number Placeholder 5"/>
          <p:cNvSpPr>
            <a:spLocks noGrp="1"/>
          </p:cNvSpPr>
          <p:nvPr>
            <p:ph type="sldNum" sz="quarter" idx="12"/>
          </p:nvPr>
        </p:nvSpPr>
        <p:spPr/>
        <p:txBody>
          <a:bodyPr/>
          <a:lstStyle/>
          <a:p>
            <a:fld id="{8CFE0557-AA98-4E6C-B0C3-581794696B68}" type="slidenum">
              <a:rPr lang="en-GB" smtClean="0"/>
              <a:t>‹#›</a:t>
            </a:fld>
            <a:endParaRPr lang="en-GB"/>
          </a:p>
        </p:txBody>
      </p:sp>
      <p:sp>
        <p:nvSpPr>
          <p:cNvPr id="7" name="Content Placeholder 2">
            <a:extLst>
              <a:ext uri="{FF2B5EF4-FFF2-40B4-BE49-F238E27FC236}">
                <a16:creationId xmlns:a16="http://schemas.microsoft.com/office/drawing/2014/main" id="{B0B00756-BEE2-1E4F-AA11-656D1916E332}"/>
              </a:ext>
            </a:extLst>
          </p:cNvPr>
          <p:cNvSpPr>
            <a:spLocks noGrp="1"/>
          </p:cNvSpPr>
          <p:nvPr>
            <p:ph idx="14" hasCustomPrompt="1"/>
          </p:nvPr>
        </p:nvSpPr>
        <p:spPr>
          <a:xfrm>
            <a:off x="507999" y="1411005"/>
            <a:ext cx="3400425" cy="324000"/>
          </a:xfrm>
          <a:solidFill>
            <a:schemeClr val="accent2"/>
          </a:solidFill>
        </p:spPr>
        <p:txBody>
          <a:bodyPr vert="horz" lIns="108000" tIns="45720" rIns="72000" bIns="45720" numCol="1" spcCol="216000" rtlCol="0" anchor="ctr" anchorCtr="0">
            <a:noAutofit/>
          </a:bodyPr>
          <a:lstStyle>
            <a:lvl1pPr>
              <a:defRPr lang="en-US" sz="1400" cap="all" baseline="0" dirty="0">
                <a:solidFill>
                  <a:schemeClr val="tx2"/>
                </a:solidFill>
              </a:defRPr>
            </a:lvl1pPr>
            <a:lvl2pPr>
              <a:defRPr lang="en-US" sz="900" dirty="0">
                <a:solidFill>
                  <a:schemeClr val="tx1"/>
                </a:solidFill>
              </a:defRPr>
            </a:lvl2pPr>
            <a:lvl3pPr>
              <a:defRPr lang="en-US" sz="800" dirty="0">
                <a:solidFill>
                  <a:schemeClr val="tx1"/>
                </a:solidFill>
              </a:defRPr>
            </a:lvl3pPr>
            <a:lvl4pPr>
              <a:defRPr lang="en-US" sz="700" dirty="0">
                <a:solidFill>
                  <a:schemeClr val="tx1"/>
                </a:solidFill>
              </a:defRPr>
            </a:lvl4pPr>
            <a:lvl5pPr>
              <a:defRPr lang="en-US" sz="700" dirty="0">
                <a:solidFill>
                  <a:schemeClr val="tx1"/>
                </a:solidFill>
              </a:defRPr>
            </a:lvl5pPr>
          </a:lstStyle>
          <a:p>
            <a:pPr lvl="0"/>
            <a:r>
              <a:rPr lang="en-US" dirty="0"/>
              <a:t>SUBHEAD</a:t>
            </a:r>
          </a:p>
        </p:txBody>
      </p:sp>
      <p:sp>
        <p:nvSpPr>
          <p:cNvPr id="4" name="Title 3">
            <a:extLst>
              <a:ext uri="{FF2B5EF4-FFF2-40B4-BE49-F238E27FC236}">
                <a16:creationId xmlns:a16="http://schemas.microsoft.com/office/drawing/2014/main" id="{6729F04B-D5C0-88EC-FA0F-B39A9EACF533}"/>
              </a:ext>
            </a:extLst>
          </p:cNvPr>
          <p:cNvSpPr>
            <a:spLocks noGrp="1"/>
          </p:cNvSpPr>
          <p:nvPr>
            <p:ph type="title" hasCustomPrompt="1"/>
          </p:nvPr>
        </p:nvSpPr>
        <p:spPr>
          <a:xfrm>
            <a:off x="508000" y="454014"/>
            <a:ext cx="11174413" cy="814806"/>
          </a:xfrm>
        </p:spPr>
        <p:txBody>
          <a:bodyPr/>
          <a:lstStyle/>
          <a:p>
            <a:r>
              <a:rPr lang="en-US" dirty="0"/>
              <a:t>TITLE: subtitle</a:t>
            </a:r>
            <a:endParaRPr lang="en-GB" dirty="0"/>
          </a:p>
        </p:txBody>
      </p:sp>
      <p:sp>
        <p:nvSpPr>
          <p:cNvPr id="11" name="Content Placeholder 2">
            <a:extLst>
              <a:ext uri="{FF2B5EF4-FFF2-40B4-BE49-F238E27FC236}">
                <a16:creationId xmlns:a16="http://schemas.microsoft.com/office/drawing/2014/main" id="{0CE1D013-BC17-F297-93DF-A3CE5AC5F6C5}"/>
              </a:ext>
            </a:extLst>
          </p:cNvPr>
          <p:cNvSpPr>
            <a:spLocks noGrp="1"/>
          </p:cNvSpPr>
          <p:nvPr>
            <p:ph idx="15" hasCustomPrompt="1"/>
          </p:nvPr>
        </p:nvSpPr>
        <p:spPr>
          <a:xfrm>
            <a:off x="4395788" y="1735006"/>
            <a:ext cx="3400425" cy="1114520"/>
          </a:xfrm>
          <a:solidFill>
            <a:schemeClr val="bg2"/>
          </a:solidFill>
        </p:spPr>
        <p:txBody>
          <a:bodyPr vert="horz" lIns="108000" tIns="72000" rIns="72000" bIns="36000" numCol="1" spcCol="288000" rtlCol="0">
            <a:noAutofit/>
          </a:bodyPr>
          <a:lstStyle>
            <a:lvl1pPr>
              <a:lnSpc>
                <a:spcPct val="130000"/>
              </a:lnSpc>
              <a:spcBef>
                <a:spcPts val="200"/>
              </a:spcBef>
              <a:spcAft>
                <a:spcPts val="200"/>
              </a:spcAft>
              <a:defRPr lang="en-US" sz="1100" dirty="0" smtClean="0">
                <a:solidFill>
                  <a:schemeClr val="tx1"/>
                </a:solidFill>
                <a:latin typeface="+mn-lt"/>
              </a:defRPr>
            </a:lvl1pPr>
            <a:lvl2pPr marL="171450" indent="-171450">
              <a:lnSpc>
                <a:spcPct val="130000"/>
              </a:lnSpc>
              <a:spcBef>
                <a:spcPts val="200"/>
              </a:spcBef>
              <a:spcAft>
                <a:spcPts val="200"/>
              </a:spcAft>
              <a:buFont typeface="Arial" panose="020B0604020202020204" pitchFamily="34" charset="0"/>
              <a:buChar char="•"/>
              <a:defRPr lang="en-US" sz="1000" dirty="0"/>
            </a:lvl2pPr>
            <a:lvl3pPr marL="360363" indent="-182563">
              <a:lnSpc>
                <a:spcPct val="130000"/>
              </a:lnSpc>
              <a:spcBef>
                <a:spcPts val="200"/>
              </a:spcBef>
              <a:spcAft>
                <a:spcPts val="200"/>
              </a:spcAft>
              <a:defRPr lang="en-US" sz="1000" dirty="0"/>
            </a:lvl3pPr>
            <a:lvl4pPr>
              <a:defRPr lang="en-US" sz="1000" dirty="0"/>
            </a:lvl4pPr>
            <a:lvl5pPr>
              <a:defRPr lang="en-US" sz="1000" dirty="0"/>
            </a:lvl5pPr>
          </a:lstStyle>
          <a:p>
            <a:pPr lvl="0"/>
            <a:r>
              <a:rPr lang="en-US" dirty="0"/>
              <a:t>Click to edit master text styles</a:t>
            </a:r>
          </a:p>
          <a:p>
            <a:pPr lvl="1"/>
            <a:r>
              <a:rPr lang="en-US" dirty="0"/>
              <a:t>Second level</a:t>
            </a:r>
          </a:p>
          <a:p>
            <a:pPr lvl="2"/>
            <a:r>
              <a:rPr lang="en-US" dirty="0"/>
              <a:t>Third level</a:t>
            </a:r>
          </a:p>
        </p:txBody>
      </p:sp>
      <p:sp>
        <p:nvSpPr>
          <p:cNvPr id="12" name="Content Placeholder 2">
            <a:extLst>
              <a:ext uri="{FF2B5EF4-FFF2-40B4-BE49-F238E27FC236}">
                <a16:creationId xmlns:a16="http://schemas.microsoft.com/office/drawing/2014/main" id="{044BC189-C8AB-468D-9AA3-F616D7D61B1C}"/>
              </a:ext>
            </a:extLst>
          </p:cNvPr>
          <p:cNvSpPr>
            <a:spLocks noGrp="1"/>
          </p:cNvSpPr>
          <p:nvPr>
            <p:ph idx="16" hasCustomPrompt="1"/>
          </p:nvPr>
        </p:nvSpPr>
        <p:spPr>
          <a:xfrm>
            <a:off x="4395788" y="1411005"/>
            <a:ext cx="3400425" cy="324000"/>
          </a:xfrm>
          <a:solidFill>
            <a:schemeClr val="accent2"/>
          </a:solidFill>
        </p:spPr>
        <p:txBody>
          <a:bodyPr vert="horz" lIns="108000" tIns="45720" rIns="72000" bIns="45720" numCol="1" spcCol="216000" rtlCol="0" anchor="ctr" anchorCtr="0">
            <a:noAutofit/>
          </a:bodyPr>
          <a:lstStyle>
            <a:lvl1pPr>
              <a:defRPr lang="en-US" sz="1400" cap="all" baseline="0" dirty="0">
                <a:solidFill>
                  <a:schemeClr val="tx2"/>
                </a:solidFill>
              </a:defRPr>
            </a:lvl1pPr>
            <a:lvl2pPr>
              <a:defRPr lang="en-US" sz="900" dirty="0">
                <a:solidFill>
                  <a:schemeClr val="tx1"/>
                </a:solidFill>
              </a:defRPr>
            </a:lvl2pPr>
            <a:lvl3pPr>
              <a:defRPr lang="en-US" sz="800" dirty="0">
                <a:solidFill>
                  <a:schemeClr val="tx1"/>
                </a:solidFill>
              </a:defRPr>
            </a:lvl3pPr>
            <a:lvl4pPr>
              <a:defRPr lang="en-US" sz="700" dirty="0">
                <a:solidFill>
                  <a:schemeClr val="tx1"/>
                </a:solidFill>
              </a:defRPr>
            </a:lvl4pPr>
            <a:lvl5pPr>
              <a:defRPr lang="en-US" sz="700" dirty="0">
                <a:solidFill>
                  <a:schemeClr val="tx1"/>
                </a:solidFill>
              </a:defRPr>
            </a:lvl5pPr>
          </a:lstStyle>
          <a:p>
            <a:pPr lvl="0"/>
            <a:r>
              <a:rPr lang="en-US" dirty="0"/>
              <a:t>SUBHEAD</a:t>
            </a:r>
          </a:p>
        </p:txBody>
      </p:sp>
      <p:sp>
        <p:nvSpPr>
          <p:cNvPr id="13" name="Content Placeholder 2">
            <a:extLst>
              <a:ext uri="{FF2B5EF4-FFF2-40B4-BE49-F238E27FC236}">
                <a16:creationId xmlns:a16="http://schemas.microsoft.com/office/drawing/2014/main" id="{A1200981-A11D-D18C-AFA5-249D970A9391}"/>
              </a:ext>
            </a:extLst>
          </p:cNvPr>
          <p:cNvSpPr>
            <a:spLocks noGrp="1"/>
          </p:cNvSpPr>
          <p:nvPr>
            <p:ph idx="17" hasCustomPrompt="1"/>
          </p:nvPr>
        </p:nvSpPr>
        <p:spPr>
          <a:xfrm>
            <a:off x="8281988" y="1735006"/>
            <a:ext cx="3400425" cy="1114520"/>
          </a:xfrm>
          <a:solidFill>
            <a:schemeClr val="bg2"/>
          </a:solidFill>
        </p:spPr>
        <p:txBody>
          <a:bodyPr vert="horz" lIns="108000" tIns="72000" rIns="72000" bIns="36000" numCol="1" spcCol="288000" rtlCol="0">
            <a:noAutofit/>
          </a:bodyPr>
          <a:lstStyle>
            <a:lvl1pPr>
              <a:lnSpc>
                <a:spcPct val="130000"/>
              </a:lnSpc>
              <a:spcBef>
                <a:spcPts val="200"/>
              </a:spcBef>
              <a:spcAft>
                <a:spcPts val="200"/>
              </a:spcAft>
              <a:defRPr lang="en-US" sz="1100" dirty="0" smtClean="0">
                <a:solidFill>
                  <a:schemeClr val="tx1"/>
                </a:solidFill>
                <a:latin typeface="+mn-lt"/>
              </a:defRPr>
            </a:lvl1pPr>
            <a:lvl2pPr marL="171450" indent="-171450">
              <a:lnSpc>
                <a:spcPct val="130000"/>
              </a:lnSpc>
              <a:spcBef>
                <a:spcPts val="200"/>
              </a:spcBef>
              <a:spcAft>
                <a:spcPts val="200"/>
              </a:spcAft>
              <a:buFont typeface="Arial" panose="020B0604020202020204" pitchFamily="34" charset="0"/>
              <a:buChar char="•"/>
              <a:defRPr lang="en-US" sz="1000" dirty="0"/>
            </a:lvl2pPr>
            <a:lvl3pPr marL="360363" indent="-182563">
              <a:lnSpc>
                <a:spcPct val="130000"/>
              </a:lnSpc>
              <a:spcBef>
                <a:spcPts val="200"/>
              </a:spcBef>
              <a:spcAft>
                <a:spcPts val="200"/>
              </a:spcAft>
              <a:defRPr lang="en-US" sz="1000" dirty="0"/>
            </a:lvl3pPr>
            <a:lvl4pPr>
              <a:defRPr lang="en-US" sz="1000" dirty="0"/>
            </a:lvl4pPr>
            <a:lvl5pPr>
              <a:defRPr lang="en-US" sz="1000" dirty="0"/>
            </a:lvl5pPr>
          </a:lstStyle>
          <a:p>
            <a:pPr lvl="0"/>
            <a:r>
              <a:rPr lang="en-US" dirty="0"/>
              <a:t>Click to edit master text styles</a:t>
            </a:r>
          </a:p>
          <a:p>
            <a:pPr lvl="1"/>
            <a:r>
              <a:rPr lang="en-US" dirty="0"/>
              <a:t>Second level</a:t>
            </a:r>
          </a:p>
          <a:p>
            <a:pPr lvl="2"/>
            <a:r>
              <a:rPr lang="en-US" dirty="0"/>
              <a:t>Third level</a:t>
            </a:r>
          </a:p>
        </p:txBody>
      </p:sp>
      <p:sp>
        <p:nvSpPr>
          <p:cNvPr id="14" name="Content Placeholder 2">
            <a:extLst>
              <a:ext uri="{FF2B5EF4-FFF2-40B4-BE49-F238E27FC236}">
                <a16:creationId xmlns:a16="http://schemas.microsoft.com/office/drawing/2014/main" id="{0023FB33-9B75-C810-5177-310B98EC4C2E}"/>
              </a:ext>
            </a:extLst>
          </p:cNvPr>
          <p:cNvSpPr>
            <a:spLocks noGrp="1"/>
          </p:cNvSpPr>
          <p:nvPr>
            <p:ph idx="18" hasCustomPrompt="1"/>
          </p:nvPr>
        </p:nvSpPr>
        <p:spPr>
          <a:xfrm>
            <a:off x="8281988" y="1411005"/>
            <a:ext cx="3400425" cy="324000"/>
          </a:xfrm>
          <a:solidFill>
            <a:schemeClr val="accent2"/>
          </a:solidFill>
        </p:spPr>
        <p:txBody>
          <a:bodyPr vert="horz" lIns="108000" tIns="45720" rIns="72000" bIns="45720" numCol="1" spcCol="216000" rtlCol="0" anchor="ctr" anchorCtr="0">
            <a:noAutofit/>
          </a:bodyPr>
          <a:lstStyle>
            <a:lvl1pPr>
              <a:defRPr lang="en-US" sz="1400" cap="all" baseline="0" dirty="0">
                <a:solidFill>
                  <a:schemeClr val="tx2"/>
                </a:solidFill>
              </a:defRPr>
            </a:lvl1pPr>
            <a:lvl2pPr>
              <a:defRPr lang="en-US" sz="900" dirty="0">
                <a:solidFill>
                  <a:schemeClr val="tx1"/>
                </a:solidFill>
              </a:defRPr>
            </a:lvl2pPr>
            <a:lvl3pPr>
              <a:defRPr lang="en-US" sz="800" dirty="0">
                <a:solidFill>
                  <a:schemeClr val="tx1"/>
                </a:solidFill>
              </a:defRPr>
            </a:lvl3pPr>
            <a:lvl4pPr>
              <a:defRPr lang="en-US" sz="700" dirty="0">
                <a:solidFill>
                  <a:schemeClr val="tx1"/>
                </a:solidFill>
              </a:defRPr>
            </a:lvl4pPr>
            <a:lvl5pPr>
              <a:defRPr lang="en-US" sz="700" dirty="0">
                <a:solidFill>
                  <a:schemeClr val="tx1"/>
                </a:solidFill>
              </a:defRPr>
            </a:lvl5pPr>
          </a:lstStyle>
          <a:p>
            <a:pPr lvl="0"/>
            <a:r>
              <a:rPr lang="en-US" dirty="0"/>
              <a:t>SUBHEAD</a:t>
            </a:r>
          </a:p>
        </p:txBody>
      </p:sp>
      <p:sp>
        <p:nvSpPr>
          <p:cNvPr id="15" name="Content Placeholder 2">
            <a:extLst>
              <a:ext uri="{FF2B5EF4-FFF2-40B4-BE49-F238E27FC236}">
                <a16:creationId xmlns:a16="http://schemas.microsoft.com/office/drawing/2014/main" id="{0DBEF8F2-E7A8-CB2A-D6C6-185F68EA57BB}"/>
              </a:ext>
            </a:extLst>
          </p:cNvPr>
          <p:cNvSpPr>
            <a:spLocks noGrp="1"/>
          </p:cNvSpPr>
          <p:nvPr>
            <p:ph idx="19" hasCustomPrompt="1"/>
          </p:nvPr>
        </p:nvSpPr>
        <p:spPr>
          <a:xfrm>
            <a:off x="507999" y="3429129"/>
            <a:ext cx="3400425" cy="1114520"/>
          </a:xfrm>
          <a:solidFill>
            <a:schemeClr val="bg2"/>
          </a:solidFill>
        </p:spPr>
        <p:txBody>
          <a:bodyPr vert="horz" lIns="108000" tIns="72000" rIns="72000" bIns="36000" numCol="1" spcCol="288000" rtlCol="0">
            <a:noAutofit/>
          </a:bodyPr>
          <a:lstStyle>
            <a:lvl1pPr>
              <a:lnSpc>
                <a:spcPct val="130000"/>
              </a:lnSpc>
              <a:spcBef>
                <a:spcPts val="200"/>
              </a:spcBef>
              <a:spcAft>
                <a:spcPts val="200"/>
              </a:spcAft>
              <a:defRPr lang="en-US" sz="1100" dirty="0" smtClean="0">
                <a:solidFill>
                  <a:schemeClr val="tx1"/>
                </a:solidFill>
                <a:latin typeface="+mn-lt"/>
              </a:defRPr>
            </a:lvl1pPr>
            <a:lvl2pPr marL="171450" indent="-171450">
              <a:lnSpc>
                <a:spcPct val="130000"/>
              </a:lnSpc>
              <a:spcBef>
                <a:spcPts val="200"/>
              </a:spcBef>
              <a:spcAft>
                <a:spcPts val="200"/>
              </a:spcAft>
              <a:buFont typeface="Arial" panose="020B0604020202020204" pitchFamily="34" charset="0"/>
              <a:buChar char="•"/>
              <a:defRPr lang="en-US" sz="1000" dirty="0"/>
            </a:lvl2pPr>
            <a:lvl3pPr marL="360363" indent="-182563">
              <a:lnSpc>
                <a:spcPct val="130000"/>
              </a:lnSpc>
              <a:spcBef>
                <a:spcPts val="200"/>
              </a:spcBef>
              <a:spcAft>
                <a:spcPts val="200"/>
              </a:spcAft>
              <a:defRPr lang="en-US" sz="1000" dirty="0"/>
            </a:lvl3pPr>
            <a:lvl4pPr>
              <a:defRPr lang="en-US" sz="1000" dirty="0"/>
            </a:lvl4pPr>
            <a:lvl5pPr>
              <a:defRPr lang="en-US" sz="1000" dirty="0"/>
            </a:lvl5pPr>
          </a:lstStyle>
          <a:p>
            <a:pPr lvl="0"/>
            <a:r>
              <a:rPr lang="en-US" dirty="0"/>
              <a:t>Click to edit master text styles</a:t>
            </a:r>
          </a:p>
          <a:p>
            <a:pPr lvl="1"/>
            <a:r>
              <a:rPr lang="en-US" dirty="0"/>
              <a:t>Second level</a:t>
            </a:r>
          </a:p>
          <a:p>
            <a:pPr lvl="2"/>
            <a:r>
              <a:rPr lang="en-US" dirty="0"/>
              <a:t>Third level</a:t>
            </a:r>
          </a:p>
        </p:txBody>
      </p:sp>
      <p:sp>
        <p:nvSpPr>
          <p:cNvPr id="16" name="Content Placeholder 2">
            <a:extLst>
              <a:ext uri="{FF2B5EF4-FFF2-40B4-BE49-F238E27FC236}">
                <a16:creationId xmlns:a16="http://schemas.microsoft.com/office/drawing/2014/main" id="{62C1633C-AF8C-5672-C8E9-59BF8E705D38}"/>
              </a:ext>
            </a:extLst>
          </p:cNvPr>
          <p:cNvSpPr>
            <a:spLocks noGrp="1"/>
          </p:cNvSpPr>
          <p:nvPr>
            <p:ph idx="20" hasCustomPrompt="1"/>
          </p:nvPr>
        </p:nvSpPr>
        <p:spPr>
          <a:xfrm>
            <a:off x="507999" y="3105128"/>
            <a:ext cx="3400425" cy="324000"/>
          </a:xfrm>
          <a:solidFill>
            <a:schemeClr val="accent2"/>
          </a:solidFill>
        </p:spPr>
        <p:txBody>
          <a:bodyPr vert="horz" lIns="108000" tIns="45720" rIns="72000" bIns="45720" numCol="1" spcCol="216000" rtlCol="0" anchor="ctr" anchorCtr="0">
            <a:noAutofit/>
          </a:bodyPr>
          <a:lstStyle>
            <a:lvl1pPr>
              <a:defRPr lang="en-US" sz="1400" cap="all" baseline="0" dirty="0">
                <a:solidFill>
                  <a:schemeClr val="tx2"/>
                </a:solidFill>
              </a:defRPr>
            </a:lvl1pPr>
            <a:lvl2pPr>
              <a:defRPr lang="en-US" sz="900" dirty="0">
                <a:solidFill>
                  <a:schemeClr val="tx1"/>
                </a:solidFill>
              </a:defRPr>
            </a:lvl2pPr>
            <a:lvl3pPr>
              <a:defRPr lang="en-US" sz="800" dirty="0">
                <a:solidFill>
                  <a:schemeClr val="tx1"/>
                </a:solidFill>
              </a:defRPr>
            </a:lvl3pPr>
            <a:lvl4pPr>
              <a:defRPr lang="en-US" sz="700" dirty="0">
                <a:solidFill>
                  <a:schemeClr val="tx1"/>
                </a:solidFill>
              </a:defRPr>
            </a:lvl4pPr>
            <a:lvl5pPr>
              <a:defRPr lang="en-US" sz="700" dirty="0">
                <a:solidFill>
                  <a:schemeClr val="tx1"/>
                </a:solidFill>
              </a:defRPr>
            </a:lvl5pPr>
          </a:lstStyle>
          <a:p>
            <a:pPr lvl="0"/>
            <a:r>
              <a:rPr lang="en-US" dirty="0"/>
              <a:t>SUBHEAD</a:t>
            </a:r>
          </a:p>
        </p:txBody>
      </p:sp>
      <p:sp>
        <p:nvSpPr>
          <p:cNvPr id="17" name="Content Placeholder 2">
            <a:extLst>
              <a:ext uri="{FF2B5EF4-FFF2-40B4-BE49-F238E27FC236}">
                <a16:creationId xmlns:a16="http://schemas.microsoft.com/office/drawing/2014/main" id="{03927300-C246-F5F7-919E-B25446AA46DA}"/>
              </a:ext>
            </a:extLst>
          </p:cNvPr>
          <p:cNvSpPr>
            <a:spLocks noGrp="1"/>
          </p:cNvSpPr>
          <p:nvPr>
            <p:ph idx="21" hasCustomPrompt="1"/>
          </p:nvPr>
        </p:nvSpPr>
        <p:spPr>
          <a:xfrm>
            <a:off x="4395788" y="3429129"/>
            <a:ext cx="3400425" cy="1114520"/>
          </a:xfrm>
          <a:solidFill>
            <a:schemeClr val="bg2"/>
          </a:solidFill>
        </p:spPr>
        <p:txBody>
          <a:bodyPr vert="horz" lIns="108000" tIns="72000" rIns="72000" bIns="36000" numCol="1" spcCol="288000" rtlCol="0">
            <a:noAutofit/>
          </a:bodyPr>
          <a:lstStyle>
            <a:lvl1pPr>
              <a:lnSpc>
                <a:spcPct val="130000"/>
              </a:lnSpc>
              <a:spcBef>
                <a:spcPts val="200"/>
              </a:spcBef>
              <a:spcAft>
                <a:spcPts val="200"/>
              </a:spcAft>
              <a:defRPr lang="en-US" sz="1100" dirty="0" smtClean="0">
                <a:solidFill>
                  <a:schemeClr val="tx1"/>
                </a:solidFill>
                <a:latin typeface="+mn-lt"/>
              </a:defRPr>
            </a:lvl1pPr>
            <a:lvl2pPr marL="171450" indent="-171450">
              <a:lnSpc>
                <a:spcPct val="130000"/>
              </a:lnSpc>
              <a:spcBef>
                <a:spcPts val="200"/>
              </a:spcBef>
              <a:spcAft>
                <a:spcPts val="200"/>
              </a:spcAft>
              <a:buFont typeface="Arial" panose="020B0604020202020204" pitchFamily="34" charset="0"/>
              <a:buChar char="•"/>
              <a:defRPr lang="en-US" sz="1000" dirty="0"/>
            </a:lvl2pPr>
            <a:lvl3pPr marL="360363" indent="-182563">
              <a:lnSpc>
                <a:spcPct val="130000"/>
              </a:lnSpc>
              <a:spcBef>
                <a:spcPts val="200"/>
              </a:spcBef>
              <a:spcAft>
                <a:spcPts val="200"/>
              </a:spcAft>
              <a:defRPr lang="en-US" sz="1000" dirty="0"/>
            </a:lvl3pPr>
            <a:lvl4pPr>
              <a:defRPr lang="en-US" sz="1000" dirty="0"/>
            </a:lvl4pPr>
            <a:lvl5pPr>
              <a:defRPr lang="en-US" sz="1000" dirty="0"/>
            </a:lvl5pPr>
          </a:lstStyle>
          <a:p>
            <a:pPr lvl="0"/>
            <a:r>
              <a:rPr lang="en-US" dirty="0"/>
              <a:t>Click to edit master text styles</a:t>
            </a:r>
          </a:p>
          <a:p>
            <a:pPr lvl="1"/>
            <a:r>
              <a:rPr lang="en-US" dirty="0"/>
              <a:t>Second level</a:t>
            </a:r>
          </a:p>
          <a:p>
            <a:pPr lvl="2"/>
            <a:r>
              <a:rPr lang="en-US" dirty="0"/>
              <a:t>Third level</a:t>
            </a:r>
          </a:p>
        </p:txBody>
      </p:sp>
      <p:sp>
        <p:nvSpPr>
          <p:cNvPr id="18" name="Content Placeholder 2">
            <a:extLst>
              <a:ext uri="{FF2B5EF4-FFF2-40B4-BE49-F238E27FC236}">
                <a16:creationId xmlns:a16="http://schemas.microsoft.com/office/drawing/2014/main" id="{376ABD33-7DE6-932D-F04B-E72ED7FB6DE7}"/>
              </a:ext>
            </a:extLst>
          </p:cNvPr>
          <p:cNvSpPr>
            <a:spLocks noGrp="1"/>
          </p:cNvSpPr>
          <p:nvPr>
            <p:ph idx="22" hasCustomPrompt="1"/>
          </p:nvPr>
        </p:nvSpPr>
        <p:spPr>
          <a:xfrm>
            <a:off x="4395788" y="3105128"/>
            <a:ext cx="3400425" cy="324000"/>
          </a:xfrm>
          <a:solidFill>
            <a:schemeClr val="accent2"/>
          </a:solidFill>
        </p:spPr>
        <p:txBody>
          <a:bodyPr vert="horz" lIns="108000" tIns="45720" rIns="72000" bIns="45720" numCol="1" spcCol="216000" rtlCol="0" anchor="ctr" anchorCtr="0">
            <a:noAutofit/>
          </a:bodyPr>
          <a:lstStyle>
            <a:lvl1pPr>
              <a:defRPr lang="en-US" sz="1400" cap="all" baseline="0" dirty="0">
                <a:solidFill>
                  <a:schemeClr val="tx2"/>
                </a:solidFill>
              </a:defRPr>
            </a:lvl1pPr>
            <a:lvl2pPr>
              <a:defRPr lang="en-US" sz="900" dirty="0">
                <a:solidFill>
                  <a:schemeClr val="tx1"/>
                </a:solidFill>
              </a:defRPr>
            </a:lvl2pPr>
            <a:lvl3pPr>
              <a:defRPr lang="en-US" sz="800" dirty="0">
                <a:solidFill>
                  <a:schemeClr val="tx1"/>
                </a:solidFill>
              </a:defRPr>
            </a:lvl3pPr>
            <a:lvl4pPr>
              <a:defRPr lang="en-US" sz="700" dirty="0">
                <a:solidFill>
                  <a:schemeClr val="tx1"/>
                </a:solidFill>
              </a:defRPr>
            </a:lvl4pPr>
            <a:lvl5pPr>
              <a:defRPr lang="en-US" sz="700" dirty="0">
                <a:solidFill>
                  <a:schemeClr val="tx1"/>
                </a:solidFill>
              </a:defRPr>
            </a:lvl5pPr>
          </a:lstStyle>
          <a:p>
            <a:pPr lvl="0"/>
            <a:r>
              <a:rPr lang="en-US" dirty="0"/>
              <a:t>SUBHEAD</a:t>
            </a:r>
          </a:p>
        </p:txBody>
      </p:sp>
      <p:sp>
        <p:nvSpPr>
          <p:cNvPr id="19" name="Content Placeholder 2">
            <a:extLst>
              <a:ext uri="{FF2B5EF4-FFF2-40B4-BE49-F238E27FC236}">
                <a16:creationId xmlns:a16="http://schemas.microsoft.com/office/drawing/2014/main" id="{0BCADF55-58AA-A5E6-A601-D3EFC46B0CB8}"/>
              </a:ext>
            </a:extLst>
          </p:cNvPr>
          <p:cNvSpPr>
            <a:spLocks noGrp="1"/>
          </p:cNvSpPr>
          <p:nvPr>
            <p:ph idx="23" hasCustomPrompt="1"/>
          </p:nvPr>
        </p:nvSpPr>
        <p:spPr>
          <a:xfrm>
            <a:off x="8281988" y="3429129"/>
            <a:ext cx="3400425" cy="1114520"/>
          </a:xfrm>
          <a:solidFill>
            <a:schemeClr val="bg2"/>
          </a:solidFill>
        </p:spPr>
        <p:txBody>
          <a:bodyPr vert="horz" lIns="108000" tIns="72000" rIns="72000" bIns="36000" numCol="1" spcCol="288000" rtlCol="0">
            <a:noAutofit/>
          </a:bodyPr>
          <a:lstStyle>
            <a:lvl1pPr>
              <a:lnSpc>
                <a:spcPct val="130000"/>
              </a:lnSpc>
              <a:spcBef>
                <a:spcPts val="200"/>
              </a:spcBef>
              <a:spcAft>
                <a:spcPts val="200"/>
              </a:spcAft>
              <a:defRPr lang="en-US" sz="1100" dirty="0" smtClean="0">
                <a:solidFill>
                  <a:schemeClr val="tx1"/>
                </a:solidFill>
                <a:latin typeface="+mn-lt"/>
              </a:defRPr>
            </a:lvl1pPr>
            <a:lvl2pPr marL="171450" indent="-171450">
              <a:lnSpc>
                <a:spcPct val="130000"/>
              </a:lnSpc>
              <a:spcBef>
                <a:spcPts val="200"/>
              </a:spcBef>
              <a:spcAft>
                <a:spcPts val="200"/>
              </a:spcAft>
              <a:buFont typeface="Arial" panose="020B0604020202020204" pitchFamily="34" charset="0"/>
              <a:buChar char="•"/>
              <a:defRPr lang="en-US" sz="1000" dirty="0"/>
            </a:lvl2pPr>
            <a:lvl3pPr marL="360363" indent="-182563">
              <a:lnSpc>
                <a:spcPct val="130000"/>
              </a:lnSpc>
              <a:spcBef>
                <a:spcPts val="200"/>
              </a:spcBef>
              <a:spcAft>
                <a:spcPts val="200"/>
              </a:spcAft>
              <a:defRPr lang="en-US" sz="1000" dirty="0"/>
            </a:lvl3pPr>
            <a:lvl4pPr>
              <a:defRPr lang="en-US" sz="1000" dirty="0"/>
            </a:lvl4pPr>
            <a:lvl5pPr>
              <a:defRPr lang="en-US" sz="1000" dirty="0"/>
            </a:lvl5pPr>
          </a:lstStyle>
          <a:p>
            <a:pPr lvl="0"/>
            <a:r>
              <a:rPr lang="en-US" dirty="0"/>
              <a:t>Click to edit master text styles</a:t>
            </a:r>
          </a:p>
          <a:p>
            <a:pPr lvl="1"/>
            <a:r>
              <a:rPr lang="en-US" dirty="0"/>
              <a:t>Second level</a:t>
            </a:r>
          </a:p>
          <a:p>
            <a:pPr lvl="2"/>
            <a:r>
              <a:rPr lang="en-US" dirty="0"/>
              <a:t>Third level</a:t>
            </a:r>
          </a:p>
        </p:txBody>
      </p:sp>
      <p:sp>
        <p:nvSpPr>
          <p:cNvPr id="20" name="Content Placeholder 2">
            <a:extLst>
              <a:ext uri="{FF2B5EF4-FFF2-40B4-BE49-F238E27FC236}">
                <a16:creationId xmlns:a16="http://schemas.microsoft.com/office/drawing/2014/main" id="{7880F858-592C-B5F5-F9D6-A561AF380DE8}"/>
              </a:ext>
            </a:extLst>
          </p:cNvPr>
          <p:cNvSpPr>
            <a:spLocks noGrp="1"/>
          </p:cNvSpPr>
          <p:nvPr>
            <p:ph idx="24" hasCustomPrompt="1"/>
          </p:nvPr>
        </p:nvSpPr>
        <p:spPr>
          <a:xfrm>
            <a:off x="8281988" y="3105128"/>
            <a:ext cx="3400425" cy="324000"/>
          </a:xfrm>
          <a:solidFill>
            <a:schemeClr val="accent2"/>
          </a:solidFill>
        </p:spPr>
        <p:txBody>
          <a:bodyPr vert="horz" lIns="108000" tIns="45720" rIns="72000" bIns="45720" numCol="1" spcCol="216000" rtlCol="0" anchor="ctr" anchorCtr="0">
            <a:noAutofit/>
          </a:bodyPr>
          <a:lstStyle>
            <a:lvl1pPr>
              <a:defRPr lang="en-US" sz="1400" cap="all" baseline="0" dirty="0">
                <a:solidFill>
                  <a:schemeClr val="tx2"/>
                </a:solidFill>
              </a:defRPr>
            </a:lvl1pPr>
            <a:lvl2pPr>
              <a:defRPr lang="en-US" sz="900" dirty="0">
                <a:solidFill>
                  <a:schemeClr val="tx1"/>
                </a:solidFill>
              </a:defRPr>
            </a:lvl2pPr>
            <a:lvl3pPr>
              <a:defRPr lang="en-US" sz="800" dirty="0">
                <a:solidFill>
                  <a:schemeClr val="tx1"/>
                </a:solidFill>
              </a:defRPr>
            </a:lvl3pPr>
            <a:lvl4pPr>
              <a:defRPr lang="en-US" sz="700" dirty="0">
                <a:solidFill>
                  <a:schemeClr val="tx1"/>
                </a:solidFill>
              </a:defRPr>
            </a:lvl4pPr>
            <a:lvl5pPr>
              <a:defRPr lang="en-US" sz="700" dirty="0">
                <a:solidFill>
                  <a:schemeClr val="tx1"/>
                </a:solidFill>
              </a:defRPr>
            </a:lvl5pPr>
          </a:lstStyle>
          <a:p>
            <a:pPr lvl="0"/>
            <a:r>
              <a:rPr lang="en-US" dirty="0"/>
              <a:t>SUBHEAD</a:t>
            </a:r>
          </a:p>
        </p:txBody>
      </p:sp>
      <p:sp>
        <p:nvSpPr>
          <p:cNvPr id="21" name="Content Placeholder 2">
            <a:extLst>
              <a:ext uri="{FF2B5EF4-FFF2-40B4-BE49-F238E27FC236}">
                <a16:creationId xmlns:a16="http://schemas.microsoft.com/office/drawing/2014/main" id="{B8365A59-2337-7B5E-B124-66D8436B5263}"/>
              </a:ext>
            </a:extLst>
          </p:cNvPr>
          <p:cNvSpPr>
            <a:spLocks noGrp="1"/>
          </p:cNvSpPr>
          <p:nvPr>
            <p:ph idx="25" hasCustomPrompt="1"/>
          </p:nvPr>
        </p:nvSpPr>
        <p:spPr>
          <a:xfrm>
            <a:off x="507999" y="5101983"/>
            <a:ext cx="3400425" cy="1114520"/>
          </a:xfrm>
          <a:solidFill>
            <a:schemeClr val="bg2"/>
          </a:solidFill>
        </p:spPr>
        <p:txBody>
          <a:bodyPr vert="horz" lIns="108000" tIns="72000" rIns="72000" bIns="36000" numCol="1" spcCol="288000" rtlCol="0">
            <a:noAutofit/>
          </a:bodyPr>
          <a:lstStyle>
            <a:lvl1pPr>
              <a:lnSpc>
                <a:spcPct val="130000"/>
              </a:lnSpc>
              <a:spcBef>
                <a:spcPts val="200"/>
              </a:spcBef>
              <a:spcAft>
                <a:spcPts val="200"/>
              </a:spcAft>
              <a:defRPr lang="en-US" sz="1100" dirty="0" smtClean="0">
                <a:solidFill>
                  <a:schemeClr val="tx1"/>
                </a:solidFill>
                <a:latin typeface="+mn-lt"/>
              </a:defRPr>
            </a:lvl1pPr>
            <a:lvl2pPr marL="171450" indent="-171450">
              <a:lnSpc>
                <a:spcPct val="130000"/>
              </a:lnSpc>
              <a:spcBef>
                <a:spcPts val="200"/>
              </a:spcBef>
              <a:spcAft>
                <a:spcPts val="200"/>
              </a:spcAft>
              <a:buFont typeface="Arial" panose="020B0604020202020204" pitchFamily="34" charset="0"/>
              <a:buChar char="•"/>
              <a:defRPr lang="en-US" sz="1000" dirty="0"/>
            </a:lvl2pPr>
            <a:lvl3pPr marL="360363" indent="-182563">
              <a:lnSpc>
                <a:spcPct val="130000"/>
              </a:lnSpc>
              <a:spcBef>
                <a:spcPts val="200"/>
              </a:spcBef>
              <a:spcAft>
                <a:spcPts val="200"/>
              </a:spcAft>
              <a:defRPr lang="en-US" sz="1000" dirty="0"/>
            </a:lvl3pPr>
            <a:lvl4pPr>
              <a:defRPr lang="en-US" sz="1000" dirty="0"/>
            </a:lvl4pPr>
            <a:lvl5pPr>
              <a:defRPr lang="en-US" sz="1000" dirty="0"/>
            </a:lvl5pPr>
          </a:lstStyle>
          <a:p>
            <a:pPr lvl="0"/>
            <a:r>
              <a:rPr lang="en-US" dirty="0"/>
              <a:t>Click to edit master text styles</a:t>
            </a:r>
          </a:p>
          <a:p>
            <a:pPr lvl="1"/>
            <a:r>
              <a:rPr lang="en-US" dirty="0"/>
              <a:t>Second level</a:t>
            </a:r>
          </a:p>
          <a:p>
            <a:pPr lvl="2"/>
            <a:r>
              <a:rPr lang="en-US" dirty="0"/>
              <a:t>Third level</a:t>
            </a:r>
          </a:p>
        </p:txBody>
      </p:sp>
      <p:sp>
        <p:nvSpPr>
          <p:cNvPr id="22" name="Content Placeholder 2">
            <a:extLst>
              <a:ext uri="{FF2B5EF4-FFF2-40B4-BE49-F238E27FC236}">
                <a16:creationId xmlns:a16="http://schemas.microsoft.com/office/drawing/2014/main" id="{74EDE4A7-B395-2B29-E429-599F2CF2BC66}"/>
              </a:ext>
            </a:extLst>
          </p:cNvPr>
          <p:cNvSpPr>
            <a:spLocks noGrp="1"/>
          </p:cNvSpPr>
          <p:nvPr>
            <p:ph idx="26" hasCustomPrompt="1"/>
          </p:nvPr>
        </p:nvSpPr>
        <p:spPr>
          <a:xfrm>
            <a:off x="507999" y="4777982"/>
            <a:ext cx="3400425" cy="324000"/>
          </a:xfrm>
          <a:solidFill>
            <a:schemeClr val="accent2"/>
          </a:solidFill>
        </p:spPr>
        <p:txBody>
          <a:bodyPr vert="horz" lIns="108000" tIns="45720" rIns="72000" bIns="45720" numCol="1" spcCol="216000" rtlCol="0" anchor="ctr" anchorCtr="0">
            <a:noAutofit/>
          </a:bodyPr>
          <a:lstStyle>
            <a:lvl1pPr>
              <a:defRPr lang="en-US" sz="1400" cap="all" baseline="0" dirty="0">
                <a:solidFill>
                  <a:schemeClr val="tx2"/>
                </a:solidFill>
              </a:defRPr>
            </a:lvl1pPr>
            <a:lvl2pPr>
              <a:defRPr lang="en-US" sz="900" dirty="0">
                <a:solidFill>
                  <a:schemeClr val="tx1"/>
                </a:solidFill>
              </a:defRPr>
            </a:lvl2pPr>
            <a:lvl3pPr>
              <a:defRPr lang="en-US" sz="800" dirty="0">
                <a:solidFill>
                  <a:schemeClr val="tx1"/>
                </a:solidFill>
              </a:defRPr>
            </a:lvl3pPr>
            <a:lvl4pPr>
              <a:defRPr lang="en-US" sz="700" dirty="0">
                <a:solidFill>
                  <a:schemeClr val="tx1"/>
                </a:solidFill>
              </a:defRPr>
            </a:lvl4pPr>
            <a:lvl5pPr>
              <a:defRPr lang="en-US" sz="700" dirty="0">
                <a:solidFill>
                  <a:schemeClr val="tx1"/>
                </a:solidFill>
              </a:defRPr>
            </a:lvl5pPr>
          </a:lstStyle>
          <a:p>
            <a:pPr lvl="0"/>
            <a:r>
              <a:rPr lang="en-US" dirty="0"/>
              <a:t>SUBHEAD</a:t>
            </a:r>
          </a:p>
        </p:txBody>
      </p:sp>
      <p:sp>
        <p:nvSpPr>
          <p:cNvPr id="23" name="Content Placeholder 2">
            <a:extLst>
              <a:ext uri="{FF2B5EF4-FFF2-40B4-BE49-F238E27FC236}">
                <a16:creationId xmlns:a16="http://schemas.microsoft.com/office/drawing/2014/main" id="{CF99ABED-044C-C28A-86DC-D97A636A68EE}"/>
              </a:ext>
            </a:extLst>
          </p:cNvPr>
          <p:cNvSpPr>
            <a:spLocks noGrp="1"/>
          </p:cNvSpPr>
          <p:nvPr>
            <p:ph idx="27" hasCustomPrompt="1"/>
          </p:nvPr>
        </p:nvSpPr>
        <p:spPr>
          <a:xfrm>
            <a:off x="4395788" y="5101983"/>
            <a:ext cx="3400425" cy="1114520"/>
          </a:xfrm>
          <a:solidFill>
            <a:schemeClr val="bg2"/>
          </a:solidFill>
        </p:spPr>
        <p:txBody>
          <a:bodyPr vert="horz" lIns="108000" tIns="72000" rIns="72000" bIns="36000" numCol="1" spcCol="288000" rtlCol="0">
            <a:noAutofit/>
          </a:bodyPr>
          <a:lstStyle>
            <a:lvl1pPr>
              <a:lnSpc>
                <a:spcPct val="130000"/>
              </a:lnSpc>
              <a:spcBef>
                <a:spcPts val="200"/>
              </a:spcBef>
              <a:spcAft>
                <a:spcPts val="200"/>
              </a:spcAft>
              <a:defRPr lang="en-US" sz="1100" dirty="0" smtClean="0">
                <a:solidFill>
                  <a:schemeClr val="tx1"/>
                </a:solidFill>
                <a:latin typeface="+mn-lt"/>
              </a:defRPr>
            </a:lvl1pPr>
            <a:lvl2pPr marL="171450" indent="-171450">
              <a:lnSpc>
                <a:spcPct val="130000"/>
              </a:lnSpc>
              <a:spcBef>
                <a:spcPts val="200"/>
              </a:spcBef>
              <a:spcAft>
                <a:spcPts val="200"/>
              </a:spcAft>
              <a:buFont typeface="Arial" panose="020B0604020202020204" pitchFamily="34" charset="0"/>
              <a:buChar char="•"/>
              <a:defRPr lang="en-US" sz="1000" dirty="0"/>
            </a:lvl2pPr>
            <a:lvl3pPr marL="360363" indent="-182563">
              <a:lnSpc>
                <a:spcPct val="130000"/>
              </a:lnSpc>
              <a:spcBef>
                <a:spcPts val="200"/>
              </a:spcBef>
              <a:spcAft>
                <a:spcPts val="200"/>
              </a:spcAft>
              <a:defRPr lang="en-US" sz="1000" dirty="0"/>
            </a:lvl3pPr>
            <a:lvl4pPr>
              <a:defRPr lang="en-US" sz="1000" dirty="0"/>
            </a:lvl4pPr>
            <a:lvl5pPr>
              <a:defRPr lang="en-US" sz="1000" dirty="0"/>
            </a:lvl5pPr>
          </a:lstStyle>
          <a:p>
            <a:pPr lvl="0"/>
            <a:r>
              <a:rPr lang="en-US" dirty="0"/>
              <a:t>Click to edit master text styles</a:t>
            </a:r>
          </a:p>
          <a:p>
            <a:pPr lvl="1"/>
            <a:r>
              <a:rPr lang="en-US" dirty="0"/>
              <a:t>Second level</a:t>
            </a:r>
          </a:p>
          <a:p>
            <a:pPr lvl="2"/>
            <a:r>
              <a:rPr lang="en-US" dirty="0"/>
              <a:t>Third level</a:t>
            </a:r>
          </a:p>
        </p:txBody>
      </p:sp>
      <p:sp>
        <p:nvSpPr>
          <p:cNvPr id="24" name="Content Placeholder 2">
            <a:extLst>
              <a:ext uri="{FF2B5EF4-FFF2-40B4-BE49-F238E27FC236}">
                <a16:creationId xmlns:a16="http://schemas.microsoft.com/office/drawing/2014/main" id="{59C2FBAA-C8E8-1022-B792-35D5DDB21932}"/>
              </a:ext>
            </a:extLst>
          </p:cNvPr>
          <p:cNvSpPr>
            <a:spLocks noGrp="1"/>
          </p:cNvSpPr>
          <p:nvPr>
            <p:ph idx="28" hasCustomPrompt="1"/>
          </p:nvPr>
        </p:nvSpPr>
        <p:spPr>
          <a:xfrm>
            <a:off x="4395788" y="4777982"/>
            <a:ext cx="3400425" cy="324000"/>
          </a:xfrm>
          <a:solidFill>
            <a:schemeClr val="accent2"/>
          </a:solidFill>
        </p:spPr>
        <p:txBody>
          <a:bodyPr vert="horz" lIns="108000" tIns="45720" rIns="72000" bIns="45720" numCol="1" spcCol="216000" rtlCol="0" anchor="ctr" anchorCtr="0">
            <a:noAutofit/>
          </a:bodyPr>
          <a:lstStyle>
            <a:lvl1pPr>
              <a:defRPr lang="en-US" sz="1400" cap="all" baseline="0" dirty="0">
                <a:solidFill>
                  <a:schemeClr val="tx2"/>
                </a:solidFill>
              </a:defRPr>
            </a:lvl1pPr>
            <a:lvl2pPr>
              <a:defRPr lang="en-US" sz="900" dirty="0">
                <a:solidFill>
                  <a:schemeClr val="tx1"/>
                </a:solidFill>
              </a:defRPr>
            </a:lvl2pPr>
            <a:lvl3pPr>
              <a:defRPr lang="en-US" sz="800" dirty="0">
                <a:solidFill>
                  <a:schemeClr val="tx1"/>
                </a:solidFill>
              </a:defRPr>
            </a:lvl3pPr>
            <a:lvl4pPr>
              <a:defRPr lang="en-US" sz="700" dirty="0">
                <a:solidFill>
                  <a:schemeClr val="tx1"/>
                </a:solidFill>
              </a:defRPr>
            </a:lvl4pPr>
            <a:lvl5pPr>
              <a:defRPr lang="en-US" sz="700" dirty="0">
                <a:solidFill>
                  <a:schemeClr val="tx1"/>
                </a:solidFill>
              </a:defRPr>
            </a:lvl5pPr>
          </a:lstStyle>
          <a:p>
            <a:pPr lvl="0"/>
            <a:r>
              <a:rPr lang="en-US" dirty="0"/>
              <a:t>SUBHEAD</a:t>
            </a:r>
          </a:p>
        </p:txBody>
      </p:sp>
      <p:sp>
        <p:nvSpPr>
          <p:cNvPr id="25" name="Content Placeholder 2">
            <a:extLst>
              <a:ext uri="{FF2B5EF4-FFF2-40B4-BE49-F238E27FC236}">
                <a16:creationId xmlns:a16="http://schemas.microsoft.com/office/drawing/2014/main" id="{584D9391-3CD0-8610-CCD4-AC86F2BD9D8B}"/>
              </a:ext>
            </a:extLst>
          </p:cNvPr>
          <p:cNvSpPr>
            <a:spLocks noGrp="1"/>
          </p:cNvSpPr>
          <p:nvPr>
            <p:ph idx="29" hasCustomPrompt="1"/>
          </p:nvPr>
        </p:nvSpPr>
        <p:spPr>
          <a:xfrm>
            <a:off x="8281988" y="5101983"/>
            <a:ext cx="3400425" cy="1114520"/>
          </a:xfrm>
          <a:solidFill>
            <a:schemeClr val="bg2"/>
          </a:solidFill>
        </p:spPr>
        <p:txBody>
          <a:bodyPr vert="horz" lIns="108000" tIns="72000" rIns="72000" bIns="36000" numCol="1" spcCol="288000" rtlCol="0">
            <a:noAutofit/>
          </a:bodyPr>
          <a:lstStyle>
            <a:lvl1pPr>
              <a:lnSpc>
                <a:spcPct val="130000"/>
              </a:lnSpc>
              <a:spcBef>
                <a:spcPts val="200"/>
              </a:spcBef>
              <a:spcAft>
                <a:spcPts val="200"/>
              </a:spcAft>
              <a:defRPr lang="en-US" sz="1100" dirty="0" smtClean="0">
                <a:solidFill>
                  <a:schemeClr val="tx1"/>
                </a:solidFill>
                <a:latin typeface="+mn-lt"/>
              </a:defRPr>
            </a:lvl1pPr>
            <a:lvl2pPr marL="171450" indent="-171450">
              <a:lnSpc>
                <a:spcPct val="130000"/>
              </a:lnSpc>
              <a:spcBef>
                <a:spcPts val="200"/>
              </a:spcBef>
              <a:spcAft>
                <a:spcPts val="200"/>
              </a:spcAft>
              <a:buFont typeface="Arial" panose="020B0604020202020204" pitchFamily="34" charset="0"/>
              <a:buChar char="•"/>
              <a:defRPr lang="en-US" sz="1000" dirty="0"/>
            </a:lvl2pPr>
            <a:lvl3pPr marL="360363" indent="-182563">
              <a:lnSpc>
                <a:spcPct val="130000"/>
              </a:lnSpc>
              <a:spcBef>
                <a:spcPts val="200"/>
              </a:spcBef>
              <a:spcAft>
                <a:spcPts val="200"/>
              </a:spcAft>
              <a:defRPr lang="en-US" sz="1000" dirty="0"/>
            </a:lvl3pPr>
            <a:lvl4pPr>
              <a:defRPr lang="en-US" sz="1000" dirty="0"/>
            </a:lvl4pPr>
            <a:lvl5pPr>
              <a:defRPr lang="en-US" sz="1000" dirty="0"/>
            </a:lvl5pPr>
          </a:lstStyle>
          <a:p>
            <a:pPr lvl="0"/>
            <a:r>
              <a:rPr lang="en-US" dirty="0"/>
              <a:t>Click to edit master text styles</a:t>
            </a:r>
          </a:p>
          <a:p>
            <a:pPr lvl="1"/>
            <a:r>
              <a:rPr lang="en-US" dirty="0"/>
              <a:t>Second level</a:t>
            </a:r>
          </a:p>
          <a:p>
            <a:pPr lvl="2"/>
            <a:r>
              <a:rPr lang="en-US" dirty="0"/>
              <a:t>Third level</a:t>
            </a:r>
          </a:p>
        </p:txBody>
      </p:sp>
      <p:sp>
        <p:nvSpPr>
          <p:cNvPr id="26" name="Content Placeholder 2">
            <a:extLst>
              <a:ext uri="{FF2B5EF4-FFF2-40B4-BE49-F238E27FC236}">
                <a16:creationId xmlns:a16="http://schemas.microsoft.com/office/drawing/2014/main" id="{D1FCAE6E-5DF6-60E1-AD14-3339349B5AF0}"/>
              </a:ext>
            </a:extLst>
          </p:cNvPr>
          <p:cNvSpPr>
            <a:spLocks noGrp="1"/>
          </p:cNvSpPr>
          <p:nvPr>
            <p:ph idx="30" hasCustomPrompt="1"/>
          </p:nvPr>
        </p:nvSpPr>
        <p:spPr>
          <a:xfrm>
            <a:off x="8281988" y="4777982"/>
            <a:ext cx="3400425" cy="324000"/>
          </a:xfrm>
          <a:solidFill>
            <a:schemeClr val="accent2"/>
          </a:solidFill>
        </p:spPr>
        <p:txBody>
          <a:bodyPr vert="horz" lIns="108000" tIns="45720" rIns="72000" bIns="45720" numCol="1" spcCol="216000" rtlCol="0" anchor="ctr" anchorCtr="0">
            <a:noAutofit/>
          </a:bodyPr>
          <a:lstStyle>
            <a:lvl1pPr>
              <a:defRPr lang="en-US" sz="1400" cap="all" baseline="0" dirty="0">
                <a:solidFill>
                  <a:schemeClr val="tx2"/>
                </a:solidFill>
              </a:defRPr>
            </a:lvl1pPr>
            <a:lvl2pPr>
              <a:defRPr lang="en-US" sz="900" dirty="0">
                <a:solidFill>
                  <a:schemeClr val="tx1"/>
                </a:solidFill>
              </a:defRPr>
            </a:lvl2pPr>
            <a:lvl3pPr>
              <a:defRPr lang="en-US" sz="800" dirty="0">
                <a:solidFill>
                  <a:schemeClr val="tx1"/>
                </a:solidFill>
              </a:defRPr>
            </a:lvl3pPr>
            <a:lvl4pPr>
              <a:defRPr lang="en-US" sz="700" dirty="0">
                <a:solidFill>
                  <a:schemeClr val="tx1"/>
                </a:solidFill>
              </a:defRPr>
            </a:lvl4pPr>
            <a:lvl5pPr>
              <a:defRPr lang="en-US" sz="700" dirty="0">
                <a:solidFill>
                  <a:schemeClr val="tx1"/>
                </a:solidFill>
              </a:defRPr>
            </a:lvl5pPr>
          </a:lstStyle>
          <a:p>
            <a:pPr lvl="0"/>
            <a:r>
              <a:rPr lang="en-US" dirty="0"/>
              <a:t>SUBHEAD</a:t>
            </a:r>
          </a:p>
        </p:txBody>
      </p:sp>
    </p:spTree>
    <p:extLst>
      <p:ext uri="{BB962C8B-B14F-4D97-AF65-F5344CB8AC3E}">
        <p14:creationId xmlns:p14="http://schemas.microsoft.com/office/powerpoint/2010/main" val="112970875"/>
      </p:ext>
    </p:extLst>
  </p:cSld>
  <p:clrMapOvr>
    <a:masterClrMapping/>
  </p:clrMapOvr>
  <p:transition spd="med">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6 Boxes &amp; Image">
    <p:spTree>
      <p:nvGrpSpPr>
        <p:cNvPr id="1" name=""/>
        <p:cNvGrpSpPr/>
        <p:nvPr/>
      </p:nvGrpSpPr>
      <p:grpSpPr>
        <a:xfrm>
          <a:off x="0" y="0"/>
          <a:ext cx="0" cy="0"/>
          <a:chOff x="0" y="0"/>
          <a:chExt cx="0" cy="0"/>
        </a:xfrm>
      </p:grpSpPr>
      <p:sp>
        <p:nvSpPr>
          <p:cNvPr id="2" name="Picture Placeholder 10">
            <a:extLst>
              <a:ext uri="{FF2B5EF4-FFF2-40B4-BE49-F238E27FC236}">
                <a16:creationId xmlns:a16="http://schemas.microsoft.com/office/drawing/2014/main" id="{6B49C9AF-CB11-15A0-88E9-D799C8E8E6EB}"/>
              </a:ext>
            </a:extLst>
          </p:cNvPr>
          <p:cNvSpPr>
            <a:spLocks noGrp="1"/>
          </p:cNvSpPr>
          <p:nvPr>
            <p:ph type="pic" sz="quarter" idx="13" hasCustomPrompt="1"/>
          </p:nvPr>
        </p:nvSpPr>
        <p:spPr>
          <a:xfrm>
            <a:off x="8126412" y="0"/>
            <a:ext cx="4065587" cy="6858000"/>
          </a:xfrm>
          <a:solidFill>
            <a:schemeClr val="tx1"/>
          </a:solidFill>
        </p:spPr>
        <p:txBody>
          <a:bodyPr vert="horz" lIns="0" tIns="45720" rIns="0" bIns="45720" rtlCol="0" anchor="ctr">
            <a:normAutofit/>
          </a:bodyPr>
          <a:lstStyle>
            <a:lvl1pPr algn="ctr">
              <a:defRPr lang="en-GB" sz="2800" b="0" dirty="0">
                <a:solidFill>
                  <a:schemeClr val="bg1"/>
                </a:solidFill>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US" dirty="0"/>
              <a:t>ADD RELATED </a:t>
            </a:r>
            <a:br>
              <a:rPr lang="en-US" dirty="0"/>
            </a:br>
            <a:r>
              <a:rPr lang="en-US" dirty="0"/>
              <a:t>IMAGE </a:t>
            </a:r>
            <a:br>
              <a:rPr lang="en-US" dirty="0"/>
            </a:br>
            <a:r>
              <a:rPr lang="en-US" dirty="0"/>
              <a:t>FROM HFW </a:t>
            </a:r>
            <a:br>
              <a:rPr lang="en-US" dirty="0"/>
            </a:br>
            <a:r>
              <a:rPr lang="en-US" dirty="0"/>
              <a:t>IMAGE LIBRARY</a:t>
            </a:r>
          </a:p>
        </p:txBody>
      </p:sp>
      <p:sp>
        <p:nvSpPr>
          <p:cNvPr id="3" name="Content Placeholder 2"/>
          <p:cNvSpPr>
            <a:spLocks noGrp="1"/>
          </p:cNvSpPr>
          <p:nvPr>
            <p:ph idx="1" hasCustomPrompt="1"/>
          </p:nvPr>
        </p:nvSpPr>
        <p:spPr>
          <a:xfrm>
            <a:off x="507999" y="1735006"/>
            <a:ext cx="3400425" cy="1114520"/>
          </a:xfrm>
          <a:solidFill>
            <a:schemeClr val="bg2"/>
          </a:solidFill>
        </p:spPr>
        <p:txBody>
          <a:bodyPr vert="horz" lIns="108000" tIns="72000" rIns="72000" bIns="36000" numCol="1" spcCol="288000" rtlCol="0">
            <a:noAutofit/>
          </a:bodyPr>
          <a:lstStyle>
            <a:lvl1pPr>
              <a:lnSpc>
                <a:spcPct val="130000"/>
              </a:lnSpc>
              <a:spcBef>
                <a:spcPts val="200"/>
              </a:spcBef>
              <a:spcAft>
                <a:spcPts val="200"/>
              </a:spcAft>
              <a:defRPr lang="en-US" sz="1100" dirty="0" smtClean="0">
                <a:solidFill>
                  <a:schemeClr val="tx1"/>
                </a:solidFill>
                <a:latin typeface="+mn-lt"/>
              </a:defRPr>
            </a:lvl1pPr>
            <a:lvl2pPr marL="171450" indent="-171450">
              <a:lnSpc>
                <a:spcPct val="130000"/>
              </a:lnSpc>
              <a:spcBef>
                <a:spcPts val="200"/>
              </a:spcBef>
              <a:spcAft>
                <a:spcPts val="200"/>
              </a:spcAft>
              <a:buFont typeface="Arial" panose="020B0604020202020204" pitchFamily="34" charset="0"/>
              <a:buChar char="•"/>
              <a:defRPr lang="en-US" sz="1000" dirty="0"/>
            </a:lvl2pPr>
            <a:lvl3pPr marL="360363" indent="-182563">
              <a:lnSpc>
                <a:spcPct val="130000"/>
              </a:lnSpc>
              <a:spcBef>
                <a:spcPts val="200"/>
              </a:spcBef>
              <a:spcAft>
                <a:spcPts val="200"/>
              </a:spcAft>
              <a:defRPr lang="en-US" sz="1000" dirty="0"/>
            </a:lvl3pPr>
            <a:lvl4pPr>
              <a:defRPr lang="en-US" sz="1000" dirty="0"/>
            </a:lvl4pPr>
            <a:lvl5pPr>
              <a:defRPr lang="en-US" sz="1000" dirty="0"/>
            </a:lvl5pPr>
          </a:lstStyle>
          <a:p>
            <a:pPr lvl="0"/>
            <a:r>
              <a:rPr lang="en-US" dirty="0"/>
              <a:t>Click to edit master text styles</a:t>
            </a:r>
          </a:p>
          <a:p>
            <a:pPr lvl="1"/>
            <a:r>
              <a:rPr lang="en-US" dirty="0"/>
              <a:t>Second level</a:t>
            </a:r>
          </a:p>
          <a:p>
            <a:pPr lvl="2"/>
            <a:r>
              <a:rPr lang="en-US" dirty="0"/>
              <a:t>Third level</a:t>
            </a:r>
          </a:p>
        </p:txBody>
      </p:sp>
      <p:sp>
        <p:nvSpPr>
          <p:cNvPr id="5" name="Footer Placeholder 4"/>
          <p:cNvSpPr>
            <a:spLocks noGrp="1"/>
          </p:cNvSpPr>
          <p:nvPr>
            <p:ph type="ftr" sz="quarter" idx="11"/>
          </p:nvPr>
        </p:nvSpPr>
        <p:spPr/>
        <p:txBody>
          <a:bodyPr/>
          <a:lstStyle/>
          <a:p>
            <a:r>
              <a:rPr lang="en-GB"/>
              <a:t>INSERT FOOTER HER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8CFE0557-AA98-4E6C-B0C3-581794696B68}" type="slidenum">
              <a:rPr lang="en-GB" smtClean="0"/>
              <a:pPr/>
              <a:t>‹#›</a:t>
            </a:fld>
            <a:endParaRPr lang="en-GB"/>
          </a:p>
        </p:txBody>
      </p:sp>
      <p:sp>
        <p:nvSpPr>
          <p:cNvPr id="7" name="Content Placeholder 2">
            <a:extLst>
              <a:ext uri="{FF2B5EF4-FFF2-40B4-BE49-F238E27FC236}">
                <a16:creationId xmlns:a16="http://schemas.microsoft.com/office/drawing/2014/main" id="{B0B00756-BEE2-1E4F-AA11-656D1916E332}"/>
              </a:ext>
            </a:extLst>
          </p:cNvPr>
          <p:cNvSpPr>
            <a:spLocks noGrp="1"/>
          </p:cNvSpPr>
          <p:nvPr>
            <p:ph idx="14" hasCustomPrompt="1"/>
          </p:nvPr>
        </p:nvSpPr>
        <p:spPr>
          <a:xfrm>
            <a:off x="507999" y="1411005"/>
            <a:ext cx="3400425" cy="324000"/>
          </a:xfrm>
          <a:solidFill>
            <a:schemeClr val="accent2"/>
          </a:solidFill>
        </p:spPr>
        <p:txBody>
          <a:bodyPr vert="horz" lIns="108000" tIns="45720" rIns="72000" bIns="45720" numCol="1" spcCol="216000" rtlCol="0" anchor="ctr" anchorCtr="0">
            <a:noAutofit/>
          </a:bodyPr>
          <a:lstStyle>
            <a:lvl1pPr>
              <a:defRPr lang="en-US" sz="1400" cap="all" baseline="0" dirty="0">
                <a:solidFill>
                  <a:schemeClr val="tx2"/>
                </a:solidFill>
              </a:defRPr>
            </a:lvl1pPr>
            <a:lvl2pPr>
              <a:defRPr lang="en-US" sz="900" dirty="0">
                <a:solidFill>
                  <a:schemeClr val="tx1"/>
                </a:solidFill>
              </a:defRPr>
            </a:lvl2pPr>
            <a:lvl3pPr>
              <a:defRPr lang="en-US" sz="800" dirty="0">
                <a:solidFill>
                  <a:schemeClr val="tx1"/>
                </a:solidFill>
              </a:defRPr>
            </a:lvl3pPr>
            <a:lvl4pPr>
              <a:defRPr lang="en-US" sz="700" dirty="0">
                <a:solidFill>
                  <a:schemeClr val="tx1"/>
                </a:solidFill>
              </a:defRPr>
            </a:lvl4pPr>
            <a:lvl5pPr>
              <a:defRPr lang="en-US" sz="700" dirty="0">
                <a:solidFill>
                  <a:schemeClr val="tx1"/>
                </a:solidFill>
              </a:defRPr>
            </a:lvl5pPr>
          </a:lstStyle>
          <a:p>
            <a:pPr lvl="0"/>
            <a:r>
              <a:rPr lang="en-US" dirty="0"/>
              <a:t>SUBHEAD</a:t>
            </a:r>
          </a:p>
        </p:txBody>
      </p:sp>
      <p:sp>
        <p:nvSpPr>
          <p:cNvPr id="4" name="Title 3">
            <a:extLst>
              <a:ext uri="{FF2B5EF4-FFF2-40B4-BE49-F238E27FC236}">
                <a16:creationId xmlns:a16="http://schemas.microsoft.com/office/drawing/2014/main" id="{6729F04B-D5C0-88EC-FA0F-B39A9EACF533}"/>
              </a:ext>
            </a:extLst>
          </p:cNvPr>
          <p:cNvSpPr>
            <a:spLocks noGrp="1"/>
          </p:cNvSpPr>
          <p:nvPr>
            <p:ph type="title" hasCustomPrompt="1"/>
          </p:nvPr>
        </p:nvSpPr>
        <p:spPr>
          <a:xfrm>
            <a:off x="508001" y="454014"/>
            <a:ext cx="7118350" cy="814806"/>
          </a:xfrm>
        </p:spPr>
        <p:txBody>
          <a:bodyPr/>
          <a:lstStyle/>
          <a:p>
            <a:r>
              <a:rPr lang="en-US" dirty="0"/>
              <a:t>TITLE: subtitle</a:t>
            </a:r>
            <a:endParaRPr lang="en-GB" dirty="0"/>
          </a:p>
        </p:txBody>
      </p:sp>
      <p:sp>
        <p:nvSpPr>
          <p:cNvPr id="11" name="Content Placeholder 2">
            <a:extLst>
              <a:ext uri="{FF2B5EF4-FFF2-40B4-BE49-F238E27FC236}">
                <a16:creationId xmlns:a16="http://schemas.microsoft.com/office/drawing/2014/main" id="{0CE1D013-BC17-F297-93DF-A3CE5AC5F6C5}"/>
              </a:ext>
            </a:extLst>
          </p:cNvPr>
          <p:cNvSpPr>
            <a:spLocks noGrp="1"/>
          </p:cNvSpPr>
          <p:nvPr>
            <p:ph idx="15" hasCustomPrompt="1"/>
          </p:nvPr>
        </p:nvSpPr>
        <p:spPr>
          <a:xfrm>
            <a:off x="4225925" y="1735006"/>
            <a:ext cx="3400425" cy="1114520"/>
          </a:xfrm>
          <a:solidFill>
            <a:schemeClr val="bg2"/>
          </a:solidFill>
        </p:spPr>
        <p:txBody>
          <a:bodyPr vert="horz" lIns="108000" tIns="72000" rIns="72000" bIns="36000" numCol="1" spcCol="288000" rtlCol="0">
            <a:noAutofit/>
          </a:bodyPr>
          <a:lstStyle>
            <a:lvl1pPr>
              <a:lnSpc>
                <a:spcPct val="130000"/>
              </a:lnSpc>
              <a:spcBef>
                <a:spcPts val="200"/>
              </a:spcBef>
              <a:spcAft>
                <a:spcPts val="200"/>
              </a:spcAft>
              <a:defRPr lang="en-US" sz="1100" dirty="0" smtClean="0">
                <a:solidFill>
                  <a:schemeClr val="tx1"/>
                </a:solidFill>
                <a:latin typeface="+mn-lt"/>
              </a:defRPr>
            </a:lvl1pPr>
            <a:lvl2pPr marL="171450" indent="-171450">
              <a:lnSpc>
                <a:spcPct val="130000"/>
              </a:lnSpc>
              <a:spcBef>
                <a:spcPts val="200"/>
              </a:spcBef>
              <a:spcAft>
                <a:spcPts val="200"/>
              </a:spcAft>
              <a:buFont typeface="Arial" panose="020B0604020202020204" pitchFamily="34" charset="0"/>
              <a:buChar char="•"/>
              <a:defRPr lang="en-US" sz="1000" dirty="0"/>
            </a:lvl2pPr>
            <a:lvl3pPr marL="360363" indent="-182563">
              <a:lnSpc>
                <a:spcPct val="130000"/>
              </a:lnSpc>
              <a:spcBef>
                <a:spcPts val="200"/>
              </a:spcBef>
              <a:spcAft>
                <a:spcPts val="200"/>
              </a:spcAft>
              <a:defRPr lang="en-US" sz="1000" dirty="0"/>
            </a:lvl3pPr>
            <a:lvl4pPr>
              <a:defRPr lang="en-US" sz="1000" dirty="0"/>
            </a:lvl4pPr>
            <a:lvl5pPr>
              <a:defRPr lang="en-US" sz="1000" dirty="0"/>
            </a:lvl5pPr>
          </a:lstStyle>
          <a:p>
            <a:pPr lvl="0"/>
            <a:r>
              <a:rPr lang="en-US" dirty="0"/>
              <a:t>Click to edit master text styles</a:t>
            </a:r>
          </a:p>
          <a:p>
            <a:pPr lvl="1"/>
            <a:r>
              <a:rPr lang="en-US" dirty="0"/>
              <a:t>Second level</a:t>
            </a:r>
          </a:p>
          <a:p>
            <a:pPr lvl="2"/>
            <a:r>
              <a:rPr lang="en-US" dirty="0"/>
              <a:t>Third level</a:t>
            </a:r>
          </a:p>
        </p:txBody>
      </p:sp>
      <p:sp>
        <p:nvSpPr>
          <p:cNvPr id="12" name="Content Placeholder 2">
            <a:extLst>
              <a:ext uri="{FF2B5EF4-FFF2-40B4-BE49-F238E27FC236}">
                <a16:creationId xmlns:a16="http://schemas.microsoft.com/office/drawing/2014/main" id="{044BC189-C8AB-468D-9AA3-F616D7D61B1C}"/>
              </a:ext>
            </a:extLst>
          </p:cNvPr>
          <p:cNvSpPr>
            <a:spLocks noGrp="1"/>
          </p:cNvSpPr>
          <p:nvPr>
            <p:ph idx="16" hasCustomPrompt="1"/>
          </p:nvPr>
        </p:nvSpPr>
        <p:spPr>
          <a:xfrm>
            <a:off x="4225925" y="1411005"/>
            <a:ext cx="3400425" cy="324000"/>
          </a:xfrm>
          <a:solidFill>
            <a:schemeClr val="accent2"/>
          </a:solidFill>
        </p:spPr>
        <p:txBody>
          <a:bodyPr vert="horz" lIns="108000" tIns="45720" rIns="72000" bIns="45720" numCol="1" spcCol="216000" rtlCol="0" anchor="ctr" anchorCtr="0">
            <a:noAutofit/>
          </a:bodyPr>
          <a:lstStyle>
            <a:lvl1pPr>
              <a:defRPr lang="en-US" sz="1400" cap="all" baseline="0" dirty="0">
                <a:solidFill>
                  <a:schemeClr val="tx2"/>
                </a:solidFill>
              </a:defRPr>
            </a:lvl1pPr>
            <a:lvl2pPr>
              <a:defRPr lang="en-US" sz="900" dirty="0">
                <a:solidFill>
                  <a:schemeClr val="tx1"/>
                </a:solidFill>
              </a:defRPr>
            </a:lvl2pPr>
            <a:lvl3pPr>
              <a:defRPr lang="en-US" sz="800" dirty="0">
                <a:solidFill>
                  <a:schemeClr val="tx1"/>
                </a:solidFill>
              </a:defRPr>
            </a:lvl3pPr>
            <a:lvl4pPr>
              <a:defRPr lang="en-US" sz="700" dirty="0">
                <a:solidFill>
                  <a:schemeClr val="tx1"/>
                </a:solidFill>
              </a:defRPr>
            </a:lvl4pPr>
            <a:lvl5pPr>
              <a:defRPr lang="en-US" sz="700" dirty="0">
                <a:solidFill>
                  <a:schemeClr val="tx1"/>
                </a:solidFill>
              </a:defRPr>
            </a:lvl5pPr>
          </a:lstStyle>
          <a:p>
            <a:pPr lvl="0"/>
            <a:r>
              <a:rPr lang="en-US" dirty="0"/>
              <a:t>SUBHEAD</a:t>
            </a:r>
          </a:p>
        </p:txBody>
      </p:sp>
      <p:sp>
        <p:nvSpPr>
          <p:cNvPr id="15" name="Content Placeholder 2">
            <a:extLst>
              <a:ext uri="{FF2B5EF4-FFF2-40B4-BE49-F238E27FC236}">
                <a16:creationId xmlns:a16="http://schemas.microsoft.com/office/drawing/2014/main" id="{0DBEF8F2-E7A8-CB2A-D6C6-185F68EA57BB}"/>
              </a:ext>
            </a:extLst>
          </p:cNvPr>
          <p:cNvSpPr>
            <a:spLocks noGrp="1"/>
          </p:cNvSpPr>
          <p:nvPr>
            <p:ph idx="19" hasCustomPrompt="1"/>
          </p:nvPr>
        </p:nvSpPr>
        <p:spPr>
          <a:xfrm>
            <a:off x="507999" y="3429129"/>
            <a:ext cx="3400425" cy="1114520"/>
          </a:xfrm>
          <a:solidFill>
            <a:schemeClr val="bg2"/>
          </a:solidFill>
        </p:spPr>
        <p:txBody>
          <a:bodyPr vert="horz" lIns="108000" tIns="72000" rIns="72000" bIns="36000" numCol="1" spcCol="288000" rtlCol="0">
            <a:noAutofit/>
          </a:bodyPr>
          <a:lstStyle>
            <a:lvl1pPr>
              <a:lnSpc>
                <a:spcPct val="130000"/>
              </a:lnSpc>
              <a:spcBef>
                <a:spcPts val="200"/>
              </a:spcBef>
              <a:spcAft>
                <a:spcPts val="200"/>
              </a:spcAft>
              <a:defRPr lang="en-US" sz="1100" dirty="0" smtClean="0">
                <a:solidFill>
                  <a:schemeClr val="tx1"/>
                </a:solidFill>
                <a:latin typeface="+mn-lt"/>
              </a:defRPr>
            </a:lvl1pPr>
            <a:lvl2pPr marL="171450" indent="-171450">
              <a:lnSpc>
                <a:spcPct val="130000"/>
              </a:lnSpc>
              <a:spcBef>
                <a:spcPts val="200"/>
              </a:spcBef>
              <a:spcAft>
                <a:spcPts val="200"/>
              </a:spcAft>
              <a:buFont typeface="Arial" panose="020B0604020202020204" pitchFamily="34" charset="0"/>
              <a:buChar char="•"/>
              <a:defRPr lang="en-US" sz="1000" dirty="0"/>
            </a:lvl2pPr>
            <a:lvl3pPr marL="360363" indent="-182563">
              <a:lnSpc>
                <a:spcPct val="130000"/>
              </a:lnSpc>
              <a:spcBef>
                <a:spcPts val="200"/>
              </a:spcBef>
              <a:spcAft>
                <a:spcPts val="200"/>
              </a:spcAft>
              <a:defRPr lang="en-US" sz="1000" dirty="0"/>
            </a:lvl3pPr>
            <a:lvl4pPr>
              <a:defRPr lang="en-US" sz="1000" dirty="0"/>
            </a:lvl4pPr>
            <a:lvl5pPr>
              <a:defRPr lang="en-US" sz="1000" dirty="0"/>
            </a:lvl5pPr>
          </a:lstStyle>
          <a:p>
            <a:pPr lvl="0"/>
            <a:r>
              <a:rPr lang="en-US" dirty="0"/>
              <a:t>Click to edit master text styles</a:t>
            </a:r>
          </a:p>
          <a:p>
            <a:pPr lvl="1"/>
            <a:r>
              <a:rPr lang="en-US" dirty="0"/>
              <a:t>Second level</a:t>
            </a:r>
          </a:p>
          <a:p>
            <a:pPr lvl="2"/>
            <a:r>
              <a:rPr lang="en-US" dirty="0"/>
              <a:t>Third level</a:t>
            </a:r>
          </a:p>
        </p:txBody>
      </p:sp>
      <p:sp>
        <p:nvSpPr>
          <p:cNvPr id="16" name="Content Placeholder 2">
            <a:extLst>
              <a:ext uri="{FF2B5EF4-FFF2-40B4-BE49-F238E27FC236}">
                <a16:creationId xmlns:a16="http://schemas.microsoft.com/office/drawing/2014/main" id="{62C1633C-AF8C-5672-C8E9-59BF8E705D38}"/>
              </a:ext>
            </a:extLst>
          </p:cNvPr>
          <p:cNvSpPr>
            <a:spLocks noGrp="1"/>
          </p:cNvSpPr>
          <p:nvPr>
            <p:ph idx="20" hasCustomPrompt="1"/>
          </p:nvPr>
        </p:nvSpPr>
        <p:spPr>
          <a:xfrm>
            <a:off x="507999" y="3105128"/>
            <a:ext cx="3400425" cy="324000"/>
          </a:xfrm>
          <a:solidFill>
            <a:schemeClr val="accent2"/>
          </a:solidFill>
        </p:spPr>
        <p:txBody>
          <a:bodyPr vert="horz" lIns="108000" tIns="45720" rIns="72000" bIns="45720" numCol="1" spcCol="216000" rtlCol="0" anchor="ctr" anchorCtr="0">
            <a:noAutofit/>
          </a:bodyPr>
          <a:lstStyle>
            <a:lvl1pPr>
              <a:defRPr lang="en-US" sz="1400" cap="all" baseline="0" dirty="0">
                <a:solidFill>
                  <a:schemeClr val="tx2"/>
                </a:solidFill>
              </a:defRPr>
            </a:lvl1pPr>
            <a:lvl2pPr>
              <a:defRPr lang="en-US" sz="900" dirty="0">
                <a:solidFill>
                  <a:schemeClr val="tx1"/>
                </a:solidFill>
              </a:defRPr>
            </a:lvl2pPr>
            <a:lvl3pPr>
              <a:defRPr lang="en-US" sz="800" dirty="0">
                <a:solidFill>
                  <a:schemeClr val="tx1"/>
                </a:solidFill>
              </a:defRPr>
            </a:lvl3pPr>
            <a:lvl4pPr>
              <a:defRPr lang="en-US" sz="700" dirty="0">
                <a:solidFill>
                  <a:schemeClr val="tx1"/>
                </a:solidFill>
              </a:defRPr>
            </a:lvl4pPr>
            <a:lvl5pPr>
              <a:defRPr lang="en-US" sz="700" dirty="0">
                <a:solidFill>
                  <a:schemeClr val="tx1"/>
                </a:solidFill>
              </a:defRPr>
            </a:lvl5pPr>
          </a:lstStyle>
          <a:p>
            <a:pPr lvl="0"/>
            <a:r>
              <a:rPr lang="en-US" dirty="0"/>
              <a:t>SUBHEAD</a:t>
            </a:r>
          </a:p>
        </p:txBody>
      </p:sp>
      <p:sp>
        <p:nvSpPr>
          <p:cNvPr id="17" name="Content Placeholder 2">
            <a:extLst>
              <a:ext uri="{FF2B5EF4-FFF2-40B4-BE49-F238E27FC236}">
                <a16:creationId xmlns:a16="http://schemas.microsoft.com/office/drawing/2014/main" id="{03927300-C246-F5F7-919E-B25446AA46DA}"/>
              </a:ext>
            </a:extLst>
          </p:cNvPr>
          <p:cNvSpPr>
            <a:spLocks noGrp="1"/>
          </p:cNvSpPr>
          <p:nvPr>
            <p:ph idx="21" hasCustomPrompt="1"/>
          </p:nvPr>
        </p:nvSpPr>
        <p:spPr>
          <a:xfrm>
            <a:off x="4225925" y="3429129"/>
            <a:ext cx="3400425" cy="1114520"/>
          </a:xfrm>
          <a:solidFill>
            <a:schemeClr val="bg2"/>
          </a:solidFill>
        </p:spPr>
        <p:txBody>
          <a:bodyPr vert="horz" lIns="108000" tIns="72000" rIns="72000" bIns="36000" numCol="1" spcCol="288000" rtlCol="0">
            <a:noAutofit/>
          </a:bodyPr>
          <a:lstStyle>
            <a:lvl1pPr>
              <a:lnSpc>
                <a:spcPct val="130000"/>
              </a:lnSpc>
              <a:spcBef>
                <a:spcPts val="200"/>
              </a:spcBef>
              <a:spcAft>
                <a:spcPts val="200"/>
              </a:spcAft>
              <a:defRPr lang="en-US" sz="1100" dirty="0" smtClean="0">
                <a:solidFill>
                  <a:schemeClr val="tx1"/>
                </a:solidFill>
                <a:latin typeface="+mn-lt"/>
              </a:defRPr>
            </a:lvl1pPr>
            <a:lvl2pPr marL="171450" indent="-171450">
              <a:lnSpc>
                <a:spcPct val="130000"/>
              </a:lnSpc>
              <a:spcBef>
                <a:spcPts val="200"/>
              </a:spcBef>
              <a:spcAft>
                <a:spcPts val="200"/>
              </a:spcAft>
              <a:buFont typeface="Arial" panose="020B0604020202020204" pitchFamily="34" charset="0"/>
              <a:buChar char="•"/>
              <a:defRPr lang="en-US" sz="1000" dirty="0"/>
            </a:lvl2pPr>
            <a:lvl3pPr marL="360363" indent="-182563">
              <a:lnSpc>
                <a:spcPct val="130000"/>
              </a:lnSpc>
              <a:spcBef>
                <a:spcPts val="200"/>
              </a:spcBef>
              <a:spcAft>
                <a:spcPts val="200"/>
              </a:spcAft>
              <a:defRPr lang="en-US" sz="1000" dirty="0"/>
            </a:lvl3pPr>
            <a:lvl4pPr>
              <a:defRPr lang="en-US" sz="1000" dirty="0"/>
            </a:lvl4pPr>
            <a:lvl5pPr>
              <a:defRPr lang="en-US" sz="1000" dirty="0"/>
            </a:lvl5pPr>
          </a:lstStyle>
          <a:p>
            <a:pPr lvl="0"/>
            <a:r>
              <a:rPr lang="en-US" dirty="0"/>
              <a:t>Click to edit master text styles</a:t>
            </a:r>
          </a:p>
          <a:p>
            <a:pPr lvl="1"/>
            <a:r>
              <a:rPr lang="en-US" dirty="0"/>
              <a:t>Second level</a:t>
            </a:r>
          </a:p>
          <a:p>
            <a:pPr lvl="2"/>
            <a:r>
              <a:rPr lang="en-US" dirty="0"/>
              <a:t>Third level</a:t>
            </a:r>
          </a:p>
        </p:txBody>
      </p:sp>
      <p:sp>
        <p:nvSpPr>
          <p:cNvPr id="18" name="Content Placeholder 2">
            <a:extLst>
              <a:ext uri="{FF2B5EF4-FFF2-40B4-BE49-F238E27FC236}">
                <a16:creationId xmlns:a16="http://schemas.microsoft.com/office/drawing/2014/main" id="{376ABD33-7DE6-932D-F04B-E72ED7FB6DE7}"/>
              </a:ext>
            </a:extLst>
          </p:cNvPr>
          <p:cNvSpPr>
            <a:spLocks noGrp="1"/>
          </p:cNvSpPr>
          <p:nvPr>
            <p:ph idx="22" hasCustomPrompt="1"/>
          </p:nvPr>
        </p:nvSpPr>
        <p:spPr>
          <a:xfrm>
            <a:off x="4225925" y="3105128"/>
            <a:ext cx="3400425" cy="324000"/>
          </a:xfrm>
          <a:solidFill>
            <a:schemeClr val="accent2"/>
          </a:solidFill>
        </p:spPr>
        <p:txBody>
          <a:bodyPr vert="horz" lIns="108000" tIns="45720" rIns="72000" bIns="45720" numCol="1" spcCol="216000" rtlCol="0" anchor="ctr" anchorCtr="0">
            <a:noAutofit/>
          </a:bodyPr>
          <a:lstStyle>
            <a:lvl1pPr>
              <a:defRPr lang="en-US" sz="1400" cap="all" baseline="0" dirty="0">
                <a:solidFill>
                  <a:schemeClr val="tx2"/>
                </a:solidFill>
              </a:defRPr>
            </a:lvl1pPr>
            <a:lvl2pPr>
              <a:defRPr lang="en-US" sz="900" dirty="0">
                <a:solidFill>
                  <a:schemeClr val="tx1"/>
                </a:solidFill>
              </a:defRPr>
            </a:lvl2pPr>
            <a:lvl3pPr>
              <a:defRPr lang="en-US" sz="800" dirty="0">
                <a:solidFill>
                  <a:schemeClr val="tx1"/>
                </a:solidFill>
              </a:defRPr>
            </a:lvl3pPr>
            <a:lvl4pPr>
              <a:defRPr lang="en-US" sz="700" dirty="0">
                <a:solidFill>
                  <a:schemeClr val="tx1"/>
                </a:solidFill>
              </a:defRPr>
            </a:lvl4pPr>
            <a:lvl5pPr>
              <a:defRPr lang="en-US" sz="700" dirty="0">
                <a:solidFill>
                  <a:schemeClr val="tx1"/>
                </a:solidFill>
              </a:defRPr>
            </a:lvl5pPr>
          </a:lstStyle>
          <a:p>
            <a:pPr lvl="0"/>
            <a:r>
              <a:rPr lang="en-US" dirty="0"/>
              <a:t>SUBHEAD</a:t>
            </a:r>
          </a:p>
        </p:txBody>
      </p:sp>
      <p:sp>
        <p:nvSpPr>
          <p:cNvPr id="21" name="Content Placeholder 2">
            <a:extLst>
              <a:ext uri="{FF2B5EF4-FFF2-40B4-BE49-F238E27FC236}">
                <a16:creationId xmlns:a16="http://schemas.microsoft.com/office/drawing/2014/main" id="{B8365A59-2337-7B5E-B124-66D8436B5263}"/>
              </a:ext>
            </a:extLst>
          </p:cNvPr>
          <p:cNvSpPr>
            <a:spLocks noGrp="1"/>
          </p:cNvSpPr>
          <p:nvPr>
            <p:ph idx="25" hasCustomPrompt="1"/>
          </p:nvPr>
        </p:nvSpPr>
        <p:spPr>
          <a:xfrm>
            <a:off x="507999" y="5101983"/>
            <a:ext cx="3400425" cy="1114520"/>
          </a:xfrm>
          <a:solidFill>
            <a:schemeClr val="bg2"/>
          </a:solidFill>
        </p:spPr>
        <p:txBody>
          <a:bodyPr vert="horz" lIns="108000" tIns="72000" rIns="72000" bIns="36000" numCol="1" spcCol="288000" rtlCol="0">
            <a:noAutofit/>
          </a:bodyPr>
          <a:lstStyle>
            <a:lvl1pPr>
              <a:lnSpc>
                <a:spcPct val="130000"/>
              </a:lnSpc>
              <a:spcBef>
                <a:spcPts val="200"/>
              </a:spcBef>
              <a:spcAft>
                <a:spcPts val="200"/>
              </a:spcAft>
              <a:defRPr lang="en-US" sz="1100" dirty="0" smtClean="0">
                <a:solidFill>
                  <a:schemeClr val="tx1"/>
                </a:solidFill>
                <a:latin typeface="+mn-lt"/>
              </a:defRPr>
            </a:lvl1pPr>
            <a:lvl2pPr marL="171450" indent="-171450">
              <a:lnSpc>
                <a:spcPct val="130000"/>
              </a:lnSpc>
              <a:spcBef>
                <a:spcPts val="200"/>
              </a:spcBef>
              <a:spcAft>
                <a:spcPts val="200"/>
              </a:spcAft>
              <a:buFont typeface="Arial" panose="020B0604020202020204" pitchFamily="34" charset="0"/>
              <a:buChar char="•"/>
              <a:defRPr lang="en-US" sz="1000" dirty="0"/>
            </a:lvl2pPr>
            <a:lvl3pPr marL="360363" indent="-182563">
              <a:lnSpc>
                <a:spcPct val="130000"/>
              </a:lnSpc>
              <a:spcBef>
                <a:spcPts val="200"/>
              </a:spcBef>
              <a:spcAft>
                <a:spcPts val="200"/>
              </a:spcAft>
              <a:defRPr lang="en-US" sz="1000" dirty="0"/>
            </a:lvl3pPr>
            <a:lvl4pPr>
              <a:defRPr lang="en-US" sz="1000" dirty="0"/>
            </a:lvl4pPr>
            <a:lvl5pPr>
              <a:defRPr lang="en-US" sz="1000" dirty="0"/>
            </a:lvl5pPr>
          </a:lstStyle>
          <a:p>
            <a:pPr lvl="0"/>
            <a:r>
              <a:rPr lang="en-US" dirty="0"/>
              <a:t>Click to edit master text styles</a:t>
            </a:r>
          </a:p>
          <a:p>
            <a:pPr lvl="1"/>
            <a:r>
              <a:rPr lang="en-US" dirty="0"/>
              <a:t>Second level</a:t>
            </a:r>
          </a:p>
          <a:p>
            <a:pPr lvl="2"/>
            <a:r>
              <a:rPr lang="en-US" dirty="0"/>
              <a:t>Third level</a:t>
            </a:r>
          </a:p>
        </p:txBody>
      </p:sp>
      <p:sp>
        <p:nvSpPr>
          <p:cNvPr id="22" name="Content Placeholder 2">
            <a:extLst>
              <a:ext uri="{FF2B5EF4-FFF2-40B4-BE49-F238E27FC236}">
                <a16:creationId xmlns:a16="http://schemas.microsoft.com/office/drawing/2014/main" id="{74EDE4A7-B395-2B29-E429-599F2CF2BC66}"/>
              </a:ext>
            </a:extLst>
          </p:cNvPr>
          <p:cNvSpPr>
            <a:spLocks noGrp="1"/>
          </p:cNvSpPr>
          <p:nvPr>
            <p:ph idx="26" hasCustomPrompt="1"/>
          </p:nvPr>
        </p:nvSpPr>
        <p:spPr>
          <a:xfrm>
            <a:off x="507999" y="4777982"/>
            <a:ext cx="3400425" cy="324000"/>
          </a:xfrm>
          <a:solidFill>
            <a:schemeClr val="accent2"/>
          </a:solidFill>
        </p:spPr>
        <p:txBody>
          <a:bodyPr vert="horz" lIns="108000" tIns="45720" rIns="72000" bIns="45720" numCol="1" spcCol="216000" rtlCol="0" anchor="ctr" anchorCtr="0">
            <a:noAutofit/>
          </a:bodyPr>
          <a:lstStyle>
            <a:lvl1pPr>
              <a:defRPr lang="en-US" sz="1400" cap="all" baseline="0" dirty="0">
                <a:solidFill>
                  <a:schemeClr val="tx2"/>
                </a:solidFill>
              </a:defRPr>
            </a:lvl1pPr>
            <a:lvl2pPr>
              <a:defRPr lang="en-US" sz="900" dirty="0">
                <a:solidFill>
                  <a:schemeClr val="tx1"/>
                </a:solidFill>
              </a:defRPr>
            </a:lvl2pPr>
            <a:lvl3pPr>
              <a:defRPr lang="en-US" sz="800" dirty="0">
                <a:solidFill>
                  <a:schemeClr val="tx1"/>
                </a:solidFill>
              </a:defRPr>
            </a:lvl3pPr>
            <a:lvl4pPr>
              <a:defRPr lang="en-US" sz="700" dirty="0">
                <a:solidFill>
                  <a:schemeClr val="tx1"/>
                </a:solidFill>
              </a:defRPr>
            </a:lvl4pPr>
            <a:lvl5pPr>
              <a:defRPr lang="en-US" sz="700" dirty="0">
                <a:solidFill>
                  <a:schemeClr val="tx1"/>
                </a:solidFill>
              </a:defRPr>
            </a:lvl5pPr>
          </a:lstStyle>
          <a:p>
            <a:pPr lvl="0"/>
            <a:r>
              <a:rPr lang="en-US" dirty="0"/>
              <a:t>SUBHEAD</a:t>
            </a:r>
          </a:p>
        </p:txBody>
      </p:sp>
      <p:sp>
        <p:nvSpPr>
          <p:cNvPr id="23" name="Content Placeholder 2">
            <a:extLst>
              <a:ext uri="{FF2B5EF4-FFF2-40B4-BE49-F238E27FC236}">
                <a16:creationId xmlns:a16="http://schemas.microsoft.com/office/drawing/2014/main" id="{CF99ABED-044C-C28A-86DC-D97A636A68EE}"/>
              </a:ext>
            </a:extLst>
          </p:cNvPr>
          <p:cNvSpPr>
            <a:spLocks noGrp="1"/>
          </p:cNvSpPr>
          <p:nvPr>
            <p:ph idx="27" hasCustomPrompt="1"/>
          </p:nvPr>
        </p:nvSpPr>
        <p:spPr>
          <a:xfrm>
            <a:off x="4225925" y="5101983"/>
            <a:ext cx="3400425" cy="1114520"/>
          </a:xfrm>
          <a:solidFill>
            <a:schemeClr val="bg2"/>
          </a:solidFill>
        </p:spPr>
        <p:txBody>
          <a:bodyPr vert="horz" lIns="108000" tIns="72000" rIns="72000" bIns="36000" numCol="1" spcCol="288000" rtlCol="0">
            <a:noAutofit/>
          </a:bodyPr>
          <a:lstStyle>
            <a:lvl1pPr>
              <a:lnSpc>
                <a:spcPct val="130000"/>
              </a:lnSpc>
              <a:spcBef>
                <a:spcPts val="200"/>
              </a:spcBef>
              <a:spcAft>
                <a:spcPts val="200"/>
              </a:spcAft>
              <a:defRPr lang="en-US" sz="1100" dirty="0" smtClean="0">
                <a:solidFill>
                  <a:schemeClr val="tx1"/>
                </a:solidFill>
                <a:latin typeface="+mn-lt"/>
              </a:defRPr>
            </a:lvl1pPr>
            <a:lvl2pPr marL="171450" indent="-171450">
              <a:lnSpc>
                <a:spcPct val="130000"/>
              </a:lnSpc>
              <a:spcBef>
                <a:spcPts val="200"/>
              </a:spcBef>
              <a:spcAft>
                <a:spcPts val="200"/>
              </a:spcAft>
              <a:buFont typeface="Arial" panose="020B0604020202020204" pitchFamily="34" charset="0"/>
              <a:buChar char="•"/>
              <a:defRPr lang="en-US" sz="1000" dirty="0"/>
            </a:lvl2pPr>
            <a:lvl3pPr marL="360363" indent="-182563">
              <a:lnSpc>
                <a:spcPct val="130000"/>
              </a:lnSpc>
              <a:spcBef>
                <a:spcPts val="200"/>
              </a:spcBef>
              <a:spcAft>
                <a:spcPts val="200"/>
              </a:spcAft>
              <a:defRPr lang="en-US" sz="1000" dirty="0"/>
            </a:lvl3pPr>
            <a:lvl4pPr>
              <a:defRPr lang="en-US" sz="1000" dirty="0"/>
            </a:lvl4pPr>
            <a:lvl5pPr>
              <a:defRPr lang="en-US" sz="1000" dirty="0"/>
            </a:lvl5pPr>
          </a:lstStyle>
          <a:p>
            <a:pPr lvl="0"/>
            <a:r>
              <a:rPr lang="en-US" dirty="0"/>
              <a:t>Click to edit master text styles</a:t>
            </a:r>
          </a:p>
          <a:p>
            <a:pPr lvl="1"/>
            <a:r>
              <a:rPr lang="en-US" dirty="0"/>
              <a:t>Second level</a:t>
            </a:r>
          </a:p>
          <a:p>
            <a:pPr lvl="2"/>
            <a:r>
              <a:rPr lang="en-US" dirty="0"/>
              <a:t>Third level</a:t>
            </a:r>
          </a:p>
        </p:txBody>
      </p:sp>
      <p:sp>
        <p:nvSpPr>
          <p:cNvPr id="24" name="Content Placeholder 2">
            <a:extLst>
              <a:ext uri="{FF2B5EF4-FFF2-40B4-BE49-F238E27FC236}">
                <a16:creationId xmlns:a16="http://schemas.microsoft.com/office/drawing/2014/main" id="{59C2FBAA-C8E8-1022-B792-35D5DDB21932}"/>
              </a:ext>
            </a:extLst>
          </p:cNvPr>
          <p:cNvSpPr>
            <a:spLocks noGrp="1"/>
          </p:cNvSpPr>
          <p:nvPr>
            <p:ph idx="28" hasCustomPrompt="1"/>
          </p:nvPr>
        </p:nvSpPr>
        <p:spPr>
          <a:xfrm>
            <a:off x="4225925" y="4777982"/>
            <a:ext cx="3400425" cy="324000"/>
          </a:xfrm>
          <a:solidFill>
            <a:schemeClr val="accent2"/>
          </a:solidFill>
        </p:spPr>
        <p:txBody>
          <a:bodyPr vert="horz" lIns="108000" tIns="45720" rIns="72000" bIns="45720" numCol="1" spcCol="216000" rtlCol="0" anchor="ctr" anchorCtr="0">
            <a:noAutofit/>
          </a:bodyPr>
          <a:lstStyle>
            <a:lvl1pPr>
              <a:defRPr lang="en-US" sz="1400" cap="all" baseline="0" dirty="0">
                <a:solidFill>
                  <a:schemeClr val="tx2"/>
                </a:solidFill>
              </a:defRPr>
            </a:lvl1pPr>
            <a:lvl2pPr>
              <a:defRPr lang="en-US" sz="900" dirty="0">
                <a:solidFill>
                  <a:schemeClr val="tx1"/>
                </a:solidFill>
              </a:defRPr>
            </a:lvl2pPr>
            <a:lvl3pPr>
              <a:defRPr lang="en-US" sz="800" dirty="0">
                <a:solidFill>
                  <a:schemeClr val="tx1"/>
                </a:solidFill>
              </a:defRPr>
            </a:lvl3pPr>
            <a:lvl4pPr>
              <a:defRPr lang="en-US" sz="700" dirty="0">
                <a:solidFill>
                  <a:schemeClr val="tx1"/>
                </a:solidFill>
              </a:defRPr>
            </a:lvl4pPr>
            <a:lvl5pPr>
              <a:defRPr lang="en-US" sz="700" dirty="0">
                <a:solidFill>
                  <a:schemeClr val="tx1"/>
                </a:solidFill>
              </a:defRPr>
            </a:lvl5pPr>
          </a:lstStyle>
          <a:p>
            <a:pPr lvl="0"/>
            <a:r>
              <a:rPr lang="en-US" dirty="0"/>
              <a:t>SUBHEAD</a:t>
            </a:r>
          </a:p>
        </p:txBody>
      </p:sp>
      <p:sp>
        <p:nvSpPr>
          <p:cNvPr id="8" name="TextBox 4">
            <a:extLst>
              <a:ext uri="{FF2B5EF4-FFF2-40B4-BE49-F238E27FC236}">
                <a16:creationId xmlns:a16="http://schemas.microsoft.com/office/drawing/2014/main" id="{2731D0D2-8DF1-D95A-3252-21A62CF3AB1B}"/>
              </a:ext>
            </a:extLst>
          </p:cNvPr>
          <p:cNvSpPr txBox="1"/>
          <p:nvPr userDrawn="1"/>
        </p:nvSpPr>
        <p:spPr>
          <a:xfrm>
            <a:off x="12346713" y="109538"/>
            <a:ext cx="1934437" cy="31700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INSERTING IMAGES:</a:t>
            </a:r>
          </a:p>
          <a:p>
            <a:pPr marL="179388" indent="-179388">
              <a:spcBef>
                <a:spcPts val="200"/>
              </a:spcBef>
              <a:spcAft>
                <a:spcPts val="200"/>
              </a:spcAft>
              <a:buFont typeface="+mj-lt"/>
              <a:buAutoNum type="arabicPeriod"/>
            </a:pPr>
            <a:r>
              <a:rPr lang="en-US" sz="900" dirty="0">
                <a:solidFill>
                  <a:schemeClr val="tx1"/>
                </a:solidFill>
                <a:latin typeface="+mn-lt"/>
              </a:rPr>
              <a:t>Simply click the image placeholder and select your image.</a:t>
            </a:r>
          </a:p>
          <a:p>
            <a:pPr marL="179388" indent="-179388">
              <a:spcBef>
                <a:spcPts val="200"/>
              </a:spcBef>
              <a:spcAft>
                <a:spcPts val="200"/>
              </a:spcAft>
              <a:buFont typeface="+mj-lt"/>
              <a:buAutoNum type="arabicPeriod"/>
            </a:pPr>
            <a:r>
              <a:rPr lang="en-US" sz="900" dirty="0">
                <a:solidFill>
                  <a:schemeClr val="tx1"/>
                </a:solidFill>
                <a:latin typeface="+mn-lt"/>
              </a:rPr>
              <a:t>Once your image is inserted into the shape it may be distorted. (Stretched or Squashed)</a:t>
            </a:r>
          </a:p>
          <a:p>
            <a:pPr marL="179388" indent="-179388">
              <a:spcBef>
                <a:spcPts val="200"/>
              </a:spcBef>
              <a:spcAft>
                <a:spcPts val="200"/>
              </a:spcAft>
              <a:buFont typeface="+mj-lt"/>
              <a:buAutoNum type="arabicPeriod"/>
            </a:pPr>
            <a:endParaRPr lang="en-US" sz="900" dirty="0">
              <a:solidFill>
                <a:schemeClr val="tx1"/>
              </a:solidFill>
              <a:latin typeface="+mn-lt"/>
            </a:endParaRPr>
          </a:p>
          <a:p>
            <a:pPr>
              <a:spcBef>
                <a:spcPts val="200"/>
              </a:spcBef>
              <a:spcAft>
                <a:spcPts val="200"/>
              </a:spcAft>
            </a:pPr>
            <a:r>
              <a:rPr lang="en-US" sz="900" b="1" dirty="0">
                <a:solidFill>
                  <a:schemeClr val="tx1"/>
                </a:solidFill>
                <a:latin typeface="+mn-lt"/>
              </a:rPr>
              <a:t>To fix this:</a:t>
            </a:r>
          </a:p>
          <a:p>
            <a:pPr marL="179388" indent="-179388">
              <a:spcBef>
                <a:spcPts val="200"/>
              </a:spcBef>
              <a:spcAft>
                <a:spcPts val="200"/>
              </a:spcAft>
              <a:buFont typeface="+mj-lt"/>
              <a:buAutoNum type="arabicPeriod"/>
            </a:pPr>
            <a:r>
              <a:rPr lang="en-US" sz="900" dirty="0">
                <a:solidFill>
                  <a:schemeClr val="tx1"/>
                </a:solidFill>
                <a:latin typeface="+mn-lt"/>
              </a:rPr>
              <a:t>Click on the image and from the top menu under </a:t>
            </a:r>
            <a:r>
              <a:rPr lang="en-US" sz="900" b="1" dirty="0">
                <a:solidFill>
                  <a:schemeClr val="tx1"/>
                </a:solidFill>
                <a:latin typeface="+mn-lt"/>
              </a:rPr>
              <a:t>PICTURE FORMAT </a:t>
            </a:r>
            <a:r>
              <a:rPr lang="en-US" sz="900" dirty="0">
                <a:solidFill>
                  <a:schemeClr val="tx1"/>
                </a:solidFill>
                <a:latin typeface="+mn-lt"/>
              </a:rPr>
              <a:t>select the </a:t>
            </a:r>
            <a:r>
              <a:rPr lang="en-US" sz="900" b="1" dirty="0">
                <a:solidFill>
                  <a:schemeClr val="tx1"/>
                </a:solidFill>
                <a:latin typeface="+mn-lt"/>
              </a:rPr>
              <a:t>CROP</a:t>
            </a:r>
            <a:r>
              <a:rPr lang="en-US" sz="900" dirty="0">
                <a:solidFill>
                  <a:schemeClr val="tx1"/>
                </a:solidFill>
                <a:latin typeface="+mn-lt"/>
              </a:rPr>
              <a:t> on the right and from the drop down menu select </a:t>
            </a:r>
            <a:r>
              <a:rPr lang="en-US" sz="900" b="1" kern="1200" dirty="0">
                <a:solidFill>
                  <a:schemeClr val="tx1"/>
                </a:solidFill>
                <a:latin typeface="+mn-lt"/>
                <a:ea typeface="+mn-ea"/>
                <a:cs typeface="+mn-cs"/>
              </a:rPr>
              <a:t>FILL</a:t>
            </a:r>
          </a:p>
          <a:p>
            <a:pPr marL="179388" indent="-179388">
              <a:spcBef>
                <a:spcPts val="200"/>
              </a:spcBef>
              <a:spcAft>
                <a:spcPts val="200"/>
              </a:spcAft>
              <a:buFont typeface="+mj-lt"/>
              <a:buAutoNum type="arabicPeriod"/>
            </a:pPr>
            <a:r>
              <a:rPr lang="en-US" sz="900" b="0" kern="1200" dirty="0">
                <a:solidFill>
                  <a:schemeClr val="tx1"/>
                </a:solidFill>
                <a:latin typeface="+mn-lt"/>
                <a:ea typeface="+mn-ea"/>
                <a:cs typeface="+mn-cs"/>
              </a:rPr>
              <a:t>From here you can move the image within the shape for best visual appearance</a:t>
            </a:r>
          </a:p>
        </p:txBody>
      </p:sp>
    </p:spTree>
    <p:extLst>
      <p:ext uri="{BB962C8B-B14F-4D97-AF65-F5344CB8AC3E}">
        <p14:creationId xmlns:p14="http://schemas.microsoft.com/office/powerpoint/2010/main" val="258446763"/>
      </p:ext>
    </p:extLst>
  </p:cSld>
  <p:clrMapOvr>
    <a:masterClrMapping/>
  </p:clrMapOvr>
  <p:transition spd="med">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6 Boxes Pull-out &amp; Image">
    <p:spTree>
      <p:nvGrpSpPr>
        <p:cNvPr id="1" name=""/>
        <p:cNvGrpSpPr/>
        <p:nvPr/>
      </p:nvGrpSpPr>
      <p:grpSpPr>
        <a:xfrm>
          <a:off x="0" y="0"/>
          <a:ext cx="0" cy="0"/>
          <a:chOff x="0" y="0"/>
          <a:chExt cx="0" cy="0"/>
        </a:xfrm>
      </p:grpSpPr>
      <p:sp>
        <p:nvSpPr>
          <p:cNvPr id="2" name="Picture Placeholder 10">
            <a:extLst>
              <a:ext uri="{FF2B5EF4-FFF2-40B4-BE49-F238E27FC236}">
                <a16:creationId xmlns:a16="http://schemas.microsoft.com/office/drawing/2014/main" id="{6B49C9AF-CB11-15A0-88E9-D799C8E8E6EB}"/>
              </a:ext>
            </a:extLst>
          </p:cNvPr>
          <p:cNvSpPr>
            <a:spLocks noGrp="1"/>
          </p:cNvSpPr>
          <p:nvPr>
            <p:ph type="pic" sz="quarter" idx="13" hasCustomPrompt="1"/>
          </p:nvPr>
        </p:nvSpPr>
        <p:spPr>
          <a:xfrm>
            <a:off x="8126412" y="0"/>
            <a:ext cx="4065587" cy="6858000"/>
          </a:xfrm>
          <a:solidFill>
            <a:schemeClr val="tx1"/>
          </a:solidFill>
        </p:spPr>
        <p:txBody>
          <a:bodyPr vert="horz" lIns="0" tIns="45720" rIns="0" bIns="45720" rtlCol="0" anchor="ctr">
            <a:normAutofit/>
          </a:bodyPr>
          <a:lstStyle>
            <a:lvl1pPr algn="ctr">
              <a:defRPr lang="en-GB" sz="2800" b="0" dirty="0">
                <a:solidFill>
                  <a:schemeClr val="bg1"/>
                </a:solidFill>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US" dirty="0"/>
              <a:t>ADD RELATED </a:t>
            </a:r>
            <a:br>
              <a:rPr lang="en-US" dirty="0"/>
            </a:br>
            <a:r>
              <a:rPr lang="en-US" dirty="0"/>
              <a:t>IMAGE </a:t>
            </a:r>
            <a:br>
              <a:rPr lang="en-US" dirty="0"/>
            </a:br>
            <a:r>
              <a:rPr lang="en-US" dirty="0"/>
              <a:t>FROM HFW </a:t>
            </a:r>
            <a:br>
              <a:rPr lang="en-US" dirty="0"/>
            </a:br>
            <a:r>
              <a:rPr lang="en-US" dirty="0"/>
              <a:t>IMAGE LIBRARY</a:t>
            </a:r>
          </a:p>
        </p:txBody>
      </p:sp>
      <p:sp>
        <p:nvSpPr>
          <p:cNvPr id="3" name="Content Placeholder 2"/>
          <p:cNvSpPr>
            <a:spLocks noGrp="1"/>
          </p:cNvSpPr>
          <p:nvPr>
            <p:ph idx="1" hasCustomPrompt="1"/>
          </p:nvPr>
        </p:nvSpPr>
        <p:spPr>
          <a:xfrm>
            <a:off x="507999" y="1735006"/>
            <a:ext cx="3400425" cy="1114520"/>
          </a:xfrm>
          <a:solidFill>
            <a:schemeClr val="bg2"/>
          </a:solidFill>
        </p:spPr>
        <p:txBody>
          <a:bodyPr vert="horz" lIns="108000" tIns="72000" rIns="72000" bIns="36000" numCol="1" spcCol="288000" rtlCol="0">
            <a:noAutofit/>
          </a:bodyPr>
          <a:lstStyle>
            <a:lvl1pPr>
              <a:lnSpc>
                <a:spcPct val="130000"/>
              </a:lnSpc>
              <a:spcBef>
                <a:spcPts val="200"/>
              </a:spcBef>
              <a:spcAft>
                <a:spcPts val="200"/>
              </a:spcAft>
              <a:defRPr lang="en-US" sz="1100" dirty="0" smtClean="0">
                <a:solidFill>
                  <a:schemeClr val="tx1"/>
                </a:solidFill>
                <a:latin typeface="+mn-lt"/>
              </a:defRPr>
            </a:lvl1pPr>
            <a:lvl2pPr marL="171450" indent="-171450">
              <a:lnSpc>
                <a:spcPct val="130000"/>
              </a:lnSpc>
              <a:spcBef>
                <a:spcPts val="200"/>
              </a:spcBef>
              <a:spcAft>
                <a:spcPts val="200"/>
              </a:spcAft>
              <a:buFont typeface="Arial" panose="020B0604020202020204" pitchFamily="34" charset="0"/>
              <a:buChar char="•"/>
              <a:defRPr lang="en-US" sz="1000" dirty="0"/>
            </a:lvl2pPr>
            <a:lvl3pPr marL="360363" indent="-182563">
              <a:lnSpc>
                <a:spcPct val="130000"/>
              </a:lnSpc>
              <a:spcBef>
                <a:spcPts val="200"/>
              </a:spcBef>
              <a:spcAft>
                <a:spcPts val="200"/>
              </a:spcAft>
              <a:defRPr lang="en-US" sz="1000" dirty="0"/>
            </a:lvl3pPr>
            <a:lvl4pPr>
              <a:defRPr lang="en-US" sz="1000" dirty="0"/>
            </a:lvl4pPr>
            <a:lvl5pPr>
              <a:defRPr lang="en-US" sz="1000" dirty="0"/>
            </a:lvl5pPr>
          </a:lstStyle>
          <a:p>
            <a:pPr lvl="0"/>
            <a:r>
              <a:rPr lang="en-US" dirty="0"/>
              <a:t>Click to edit master text styles</a:t>
            </a:r>
          </a:p>
          <a:p>
            <a:pPr lvl="1"/>
            <a:r>
              <a:rPr lang="en-US" dirty="0"/>
              <a:t>Second level</a:t>
            </a:r>
          </a:p>
          <a:p>
            <a:pPr lvl="2"/>
            <a:r>
              <a:rPr lang="en-US" dirty="0"/>
              <a:t>Third level</a:t>
            </a:r>
          </a:p>
        </p:txBody>
      </p:sp>
      <p:sp>
        <p:nvSpPr>
          <p:cNvPr id="5" name="Footer Placeholder 4"/>
          <p:cNvSpPr>
            <a:spLocks noGrp="1"/>
          </p:cNvSpPr>
          <p:nvPr>
            <p:ph type="ftr" sz="quarter" idx="11"/>
          </p:nvPr>
        </p:nvSpPr>
        <p:spPr/>
        <p:txBody>
          <a:bodyPr/>
          <a:lstStyle/>
          <a:p>
            <a:r>
              <a:rPr lang="en-GB"/>
              <a:t>INSERT FOOTER HER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8CFE0557-AA98-4E6C-B0C3-581794696B68}" type="slidenum">
              <a:rPr lang="en-GB" smtClean="0"/>
              <a:pPr/>
              <a:t>‹#›</a:t>
            </a:fld>
            <a:endParaRPr lang="en-GB"/>
          </a:p>
        </p:txBody>
      </p:sp>
      <p:sp>
        <p:nvSpPr>
          <p:cNvPr id="7" name="Content Placeholder 2">
            <a:extLst>
              <a:ext uri="{FF2B5EF4-FFF2-40B4-BE49-F238E27FC236}">
                <a16:creationId xmlns:a16="http://schemas.microsoft.com/office/drawing/2014/main" id="{B0B00756-BEE2-1E4F-AA11-656D1916E332}"/>
              </a:ext>
            </a:extLst>
          </p:cNvPr>
          <p:cNvSpPr>
            <a:spLocks noGrp="1"/>
          </p:cNvSpPr>
          <p:nvPr>
            <p:ph idx="14" hasCustomPrompt="1"/>
          </p:nvPr>
        </p:nvSpPr>
        <p:spPr>
          <a:xfrm>
            <a:off x="507999" y="1411005"/>
            <a:ext cx="3400425" cy="324000"/>
          </a:xfrm>
          <a:solidFill>
            <a:schemeClr val="tx2"/>
          </a:solidFill>
        </p:spPr>
        <p:txBody>
          <a:bodyPr vert="horz" lIns="108000" tIns="45720" rIns="72000" bIns="45720" numCol="1" spcCol="216000" rtlCol="0" anchor="ctr" anchorCtr="0">
            <a:noAutofit/>
          </a:bodyPr>
          <a:lstStyle>
            <a:lvl1pPr>
              <a:defRPr lang="en-US" sz="1400" cap="all" baseline="0" dirty="0">
                <a:solidFill>
                  <a:schemeClr val="accent2"/>
                </a:solidFill>
              </a:defRPr>
            </a:lvl1pPr>
            <a:lvl2pPr>
              <a:defRPr lang="en-US" sz="900" dirty="0">
                <a:solidFill>
                  <a:schemeClr val="tx1"/>
                </a:solidFill>
              </a:defRPr>
            </a:lvl2pPr>
            <a:lvl3pPr>
              <a:defRPr lang="en-US" sz="800" dirty="0">
                <a:solidFill>
                  <a:schemeClr val="tx1"/>
                </a:solidFill>
              </a:defRPr>
            </a:lvl3pPr>
            <a:lvl4pPr>
              <a:defRPr lang="en-US" sz="700" dirty="0">
                <a:solidFill>
                  <a:schemeClr val="tx1"/>
                </a:solidFill>
              </a:defRPr>
            </a:lvl4pPr>
            <a:lvl5pPr>
              <a:defRPr lang="en-US" sz="700" dirty="0">
                <a:solidFill>
                  <a:schemeClr val="tx1"/>
                </a:solidFill>
              </a:defRPr>
            </a:lvl5pPr>
          </a:lstStyle>
          <a:p>
            <a:pPr lvl="0"/>
            <a:r>
              <a:rPr lang="en-US" dirty="0"/>
              <a:t>SUBHEAD</a:t>
            </a:r>
          </a:p>
        </p:txBody>
      </p:sp>
      <p:sp>
        <p:nvSpPr>
          <p:cNvPr id="4" name="Title 3">
            <a:extLst>
              <a:ext uri="{FF2B5EF4-FFF2-40B4-BE49-F238E27FC236}">
                <a16:creationId xmlns:a16="http://schemas.microsoft.com/office/drawing/2014/main" id="{6729F04B-D5C0-88EC-FA0F-B39A9EACF533}"/>
              </a:ext>
            </a:extLst>
          </p:cNvPr>
          <p:cNvSpPr>
            <a:spLocks noGrp="1"/>
          </p:cNvSpPr>
          <p:nvPr>
            <p:ph type="title" hasCustomPrompt="1"/>
          </p:nvPr>
        </p:nvSpPr>
        <p:spPr>
          <a:xfrm>
            <a:off x="508001" y="454014"/>
            <a:ext cx="7118350" cy="814806"/>
          </a:xfrm>
        </p:spPr>
        <p:txBody>
          <a:bodyPr/>
          <a:lstStyle/>
          <a:p>
            <a:r>
              <a:rPr lang="en-US" dirty="0"/>
              <a:t>TITLE: subtitle</a:t>
            </a:r>
            <a:endParaRPr lang="en-GB" dirty="0"/>
          </a:p>
        </p:txBody>
      </p:sp>
      <p:sp>
        <p:nvSpPr>
          <p:cNvPr id="11" name="Content Placeholder 2">
            <a:extLst>
              <a:ext uri="{FF2B5EF4-FFF2-40B4-BE49-F238E27FC236}">
                <a16:creationId xmlns:a16="http://schemas.microsoft.com/office/drawing/2014/main" id="{0CE1D013-BC17-F297-93DF-A3CE5AC5F6C5}"/>
              </a:ext>
            </a:extLst>
          </p:cNvPr>
          <p:cNvSpPr>
            <a:spLocks noGrp="1"/>
          </p:cNvSpPr>
          <p:nvPr>
            <p:ph idx="15" hasCustomPrompt="1"/>
          </p:nvPr>
        </p:nvSpPr>
        <p:spPr>
          <a:xfrm>
            <a:off x="4225925" y="1735006"/>
            <a:ext cx="3400425" cy="1114520"/>
          </a:xfrm>
          <a:solidFill>
            <a:schemeClr val="bg2"/>
          </a:solidFill>
        </p:spPr>
        <p:txBody>
          <a:bodyPr vert="horz" lIns="108000" tIns="72000" rIns="72000" bIns="36000" numCol="1" spcCol="288000" rtlCol="0">
            <a:noAutofit/>
          </a:bodyPr>
          <a:lstStyle>
            <a:lvl1pPr>
              <a:lnSpc>
                <a:spcPct val="130000"/>
              </a:lnSpc>
              <a:spcBef>
                <a:spcPts val="200"/>
              </a:spcBef>
              <a:spcAft>
                <a:spcPts val="200"/>
              </a:spcAft>
              <a:defRPr lang="en-US" sz="1100" dirty="0" smtClean="0">
                <a:solidFill>
                  <a:schemeClr val="tx1"/>
                </a:solidFill>
                <a:latin typeface="+mn-lt"/>
              </a:defRPr>
            </a:lvl1pPr>
            <a:lvl2pPr marL="171450" indent="-171450">
              <a:lnSpc>
                <a:spcPct val="130000"/>
              </a:lnSpc>
              <a:spcBef>
                <a:spcPts val="200"/>
              </a:spcBef>
              <a:spcAft>
                <a:spcPts val="200"/>
              </a:spcAft>
              <a:buFont typeface="Arial" panose="020B0604020202020204" pitchFamily="34" charset="0"/>
              <a:buChar char="•"/>
              <a:defRPr lang="en-US" sz="1000" dirty="0"/>
            </a:lvl2pPr>
            <a:lvl3pPr marL="360363" indent="-182563">
              <a:lnSpc>
                <a:spcPct val="130000"/>
              </a:lnSpc>
              <a:spcBef>
                <a:spcPts val="200"/>
              </a:spcBef>
              <a:spcAft>
                <a:spcPts val="200"/>
              </a:spcAft>
              <a:defRPr lang="en-US" sz="1000" dirty="0"/>
            </a:lvl3pPr>
            <a:lvl4pPr>
              <a:defRPr lang="en-US" sz="1000" dirty="0"/>
            </a:lvl4pPr>
            <a:lvl5pPr>
              <a:defRPr lang="en-US" sz="1000" dirty="0"/>
            </a:lvl5pPr>
          </a:lstStyle>
          <a:p>
            <a:pPr lvl="0"/>
            <a:r>
              <a:rPr lang="en-US" dirty="0"/>
              <a:t>Click to edit master text styles</a:t>
            </a:r>
          </a:p>
          <a:p>
            <a:pPr lvl="1"/>
            <a:r>
              <a:rPr lang="en-US" dirty="0"/>
              <a:t>Second level</a:t>
            </a:r>
          </a:p>
          <a:p>
            <a:pPr lvl="2"/>
            <a:r>
              <a:rPr lang="en-US" dirty="0"/>
              <a:t>Third level</a:t>
            </a:r>
          </a:p>
        </p:txBody>
      </p:sp>
      <p:sp>
        <p:nvSpPr>
          <p:cNvPr id="12" name="Content Placeholder 2">
            <a:extLst>
              <a:ext uri="{FF2B5EF4-FFF2-40B4-BE49-F238E27FC236}">
                <a16:creationId xmlns:a16="http://schemas.microsoft.com/office/drawing/2014/main" id="{044BC189-C8AB-468D-9AA3-F616D7D61B1C}"/>
              </a:ext>
            </a:extLst>
          </p:cNvPr>
          <p:cNvSpPr>
            <a:spLocks noGrp="1"/>
          </p:cNvSpPr>
          <p:nvPr>
            <p:ph idx="16" hasCustomPrompt="1"/>
          </p:nvPr>
        </p:nvSpPr>
        <p:spPr>
          <a:xfrm>
            <a:off x="4225925" y="1411005"/>
            <a:ext cx="3400425" cy="324000"/>
          </a:xfrm>
          <a:solidFill>
            <a:schemeClr val="tx2"/>
          </a:solidFill>
        </p:spPr>
        <p:txBody>
          <a:bodyPr vert="horz" lIns="108000" tIns="45720" rIns="72000" bIns="45720" numCol="1" spcCol="216000" rtlCol="0" anchor="ctr" anchorCtr="0">
            <a:noAutofit/>
          </a:bodyPr>
          <a:lstStyle>
            <a:lvl1pPr>
              <a:defRPr lang="en-US" sz="1400" cap="all" baseline="0" dirty="0">
                <a:solidFill>
                  <a:schemeClr val="accent2"/>
                </a:solidFill>
              </a:defRPr>
            </a:lvl1pPr>
            <a:lvl2pPr>
              <a:defRPr lang="en-US" sz="900" dirty="0">
                <a:solidFill>
                  <a:schemeClr val="tx1"/>
                </a:solidFill>
              </a:defRPr>
            </a:lvl2pPr>
            <a:lvl3pPr>
              <a:defRPr lang="en-US" sz="800" dirty="0">
                <a:solidFill>
                  <a:schemeClr val="tx1"/>
                </a:solidFill>
              </a:defRPr>
            </a:lvl3pPr>
            <a:lvl4pPr>
              <a:defRPr lang="en-US" sz="700" dirty="0">
                <a:solidFill>
                  <a:schemeClr val="tx1"/>
                </a:solidFill>
              </a:defRPr>
            </a:lvl4pPr>
            <a:lvl5pPr>
              <a:defRPr lang="en-US" sz="700" dirty="0">
                <a:solidFill>
                  <a:schemeClr val="tx1"/>
                </a:solidFill>
              </a:defRPr>
            </a:lvl5pPr>
          </a:lstStyle>
          <a:p>
            <a:pPr lvl="0"/>
            <a:r>
              <a:rPr lang="en-US" dirty="0"/>
              <a:t>SUBHEAD</a:t>
            </a:r>
          </a:p>
        </p:txBody>
      </p:sp>
      <p:sp>
        <p:nvSpPr>
          <p:cNvPr id="15" name="Content Placeholder 2">
            <a:extLst>
              <a:ext uri="{FF2B5EF4-FFF2-40B4-BE49-F238E27FC236}">
                <a16:creationId xmlns:a16="http://schemas.microsoft.com/office/drawing/2014/main" id="{0DBEF8F2-E7A8-CB2A-D6C6-185F68EA57BB}"/>
              </a:ext>
            </a:extLst>
          </p:cNvPr>
          <p:cNvSpPr>
            <a:spLocks noGrp="1"/>
          </p:cNvSpPr>
          <p:nvPr>
            <p:ph idx="19" hasCustomPrompt="1"/>
          </p:nvPr>
        </p:nvSpPr>
        <p:spPr>
          <a:xfrm>
            <a:off x="507999" y="3429129"/>
            <a:ext cx="3400425" cy="1114520"/>
          </a:xfrm>
          <a:solidFill>
            <a:schemeClr val="bg2"/>
          </a:solidFill>
        </p:spPr>
        <p:txBody>
          <a:bodyPr vert="horz" lIns="108000" tIns="72000" rIns="72000" bIns="36000" numCol="1" spcCol="288000" rtlCol="0">
            <a:noAutofit/>
          </a:bodyPr>
          <a:lstStyle>
            <a:lvl1pPr>
              <a:lnSpc>
                <a:spcPct val="130000"/>
              </a:lnSpc>
              <a:spcBef>
                <a:spcPts val="200"/>
              </a:spcBef>
              <a:spcAft>
                <a:spcPts val="200"/>
              </a:spcAft>
              <a:defRPr lang="en-US" sz="1100" dirty="0" smtClean="0">
                <a:solidFill>
                  <a:schemeClr val="tx1"/>
                </a:solidFill>
                <a:latin typeface="+mn-lt"/>
              </a:defRPr>
            </a:lvl1pPr>
            <a:lvl2pPr marL="171450" indent="-171450">
              <a:lnSpc>
                <a:spcPct val="130000"/>
              </a:lnSpc>
              <a:spcBef>
                <a:spcPts val="200"/>
              </a:spcBef>
              <a:spcAft>
                <a:spcPts val="200"/>
              </a:spcAft>
              <a:buFont typeface="Arial" panose="020B0604020202020204" pitchFamily="34" charset="0"/>
              <a:buChar char="•"/>
              <a:defRPr lang="en-US" sz="1000" dirty="0"/>
            </a:lvl2pPr>
            <a:lvl3pPr marL="360363" indent="-182563">
              <a:lnSpc>
                <a:spcPct val="130000"/>
              </a:lnSpc>
              <a:spcBef>
                <a:spcPts val="200"/>
              </a:spcBef>
              <a:spcAft>
                <a:spcPts val="200"/>
              </a:spcAft>
              <a:defRPr lang="en-US" sz="1000" dirty="0"/>
            </a:lvl3pPr>
            <a:lvl4pPr>
              <a:defRPr lang="en-US" sz="1000" dirty="0"/>
            </a:lvl4pPr>
            <a:lvl5pPr>
              <a:defRPr lang="en-US" sz="1000" dirty="0"/>
            </a:lvl5pPr>
          </a:lstStyle>
          <a:p>
            <a:pPr lvl="0"/>
            <a:r>
              <a:rPr lang="en-US" dirty="0"/>
              <a:t>Click to edit master text styles</a:t>
            </a:r>
          </a:p>
          <a:p>
            <a:pPr lvl="1"/>
            <a:r>
              <a:rPr lang="en-US" dirty="0"/>
              <a:t>Second level</a:t>
            </a:r>
          </a:p>
          <a:p>
            <a:pPr lvl="2"/>
            <a:r>
              <a:rPr lang="en-US" dirty="0"/>
              <a:t>Third level</a:t>
            </a:r>
          </a:p>
        </p:txBody>
      </p:sp>
      <p:sp>
        <p:nvSpPr>
          <p:cNvPr id="16" name="Content Placeholder 2">
            <a:extLst>
              <a:ext uri="{FF2B5EF4-FFF2-40B4-BE49-F238E27FC236}">
                <a16:creationId xmlns:a16="http://schemas.microsoft.com/office/drawing/2014/main" id="{62C1633C-AF8C-5672-C8E9-59BF8E705D38}"/>
              </a:ext>
            </a:extLst>
          </p:cNvPr>
          <p:cNvSpPr>
            <a:spLocks noGrp="1"/>
          </p:cNvSpPr>
          <p:nvPr>
            <p:ph idx="20" hasCustomPrompt="1"/>
          </p:nvPr>
        </p:nvSpPr>
        <p:spPr>
          <a:xfrm>
            <a:off x="507999" y="3105128"/>
            <a:ext cx="3400425" cy="324000"/>
          </a:xfrm>
          <a:solidFill>
            <a:schemeClr val="tx2"/>
          </a:solidFill>
        </p:spPr>
        <p:txBody>
          <a:bodyPr vert="horz" lIns="108000" tIns="45720" rIns="72000" bIns="45720" numCol="1" spcCol="216000" rtlCol="0" anchor="ctr" anchorCtr="0">
            <a:noAutofit/>
          </a:bodyPr>
          <a:lstStyle>
            <a:lvl1pPr>
              <a:defRPr lang="en-US" sz="1400" cap="all" baseline="0" dirty="0">
                <a:solidFill>
                  <a:schemeClr val="accent2"/>
                </a:solidFill>
              </a:defRPr>
            </a:lvl1pPr>
            <a:lvl2pPr>
              <a:defRPr lang="en-US" sz="900" dirty="0">
                <a:solidFill>
                  <a:schemeClr val="tx1"/>
                </a:solidFill>
              </a:defRPr>
            </a:lvl2pPr>
            <a:lvl3pPr>
              <a:defRPr lang="en-US" sz="800" dirty="0">
                <a:solidFill>
                  <a:schemeClr val="tx1"/>
                </a:solidFill>
              </a:defRPr>
            </a:lvl3pPr>
            <a:lvl4pPr>
              <a:defRPr lang="en-US" sz="700" dirty="0">
                <a:solidFill>
                  <a:schemeClr val="tx1"/>
                </a:solidFill>
              </a:defRPr>
            </a:lvl4pPr>
            <a:lvl5pPr>
              <a:defRPr lang="en-US" sz="700" dirty="0">
                <a:solidFill>
                  <a:schemeClr val="tx1"/>
                </a:solidFill>
              </a:defRPr>
            </a:lvl5pPr>
          </a:lstStyle>
          <a:p>
            <a:pPr lvl="0"/>
            <a:r>
              <a:rPr lang="en-US" dirty="0"/>
              <a:t>SUBHEAD</a:t>
            </a:r>
          </a:p>
        </p:txBody>
      </p:sp>
      <p:sp>
        <p:nvSpPr>
          <p:cNvPr id="17" name="Content Placeholder 2">
            <a:extLst>
              <a:ext uri="{FF2B5EF4-FFF2-40B4-BE49-F238E27FC236}">
                <a16:creationId xmlns:a16="http://schemas.microsoft.com/office/drawing/2014/main" id="{03927300-C246-F5F7-919E-B25446AA46DA}"/>
              </a:ext>
            </a:extLst>
          </p:cNvPr>
          <p:cNvSpPr>
            <a:spLocks noGrp="1"/>
          </p:cNvSpPr>
          <p:nvPr>
            <p:ph idx="21" hasCustomPrompt="1"/>
          </p:nvPr>
        </p:nvSpPr>
        <p:spPr>
          <a:xfrm>
            <a:off x="4225925" y="3429129"/>
            <a:ext cx="3400425" cy="1114520"/>
          </a:xfrm>
          <a:solidFill>
            <a:schemeClr val="bg2"/>
          </a:solidFill>
        </p:spPr>
        <p:txBody>
          <a:bodyPr vert="horz" lIns="108000" tIns="72000" rIns="72000" bIns="36000" numCol="1" spcCol="288000" rtlCol="0">
            <a:noAutofit/>
          </a:bodyPr>
          <a:lstStyle>
            <a:lvl1pPr>
              <a:lnSpc>
                <a:spcPct val="130000"/>
              </a:lnSpc>
              <a:spcBef>
                <a:spcPts val="200"/>
              </a:spcBef>
              <a:spcAft>
                <a:spcPts val="200"/>
              </a:spcAft>
              <a:defRPr lang="en-US" sz="1100" dirty="0" smtClean="0">
                <a:solidFill>
                  <a:schemeClr val="tx1"/>
                </a:solidFill>
                <a:latin typeface="+mn-lt"/>
              </a:defRPr>
            </a:lvl1pPr>
            <a:lvl2pPr marL="171450" indent="-171450">
              <a:lnSpc>
                <a:spcPct val="130000"/>
              </a:lnSpc>
              <a:spcBef>
                <a:spcPts val="200"/>
              </a:spcBef>
              <a:spcAft>
                <a:spcPts val="200"/>
              </a:spcAft>
              <a:buFont typeface="Arial" panose="020B0604020202020204" pitchFamily="34" charset="0"/>
              <a:buChar char="•"/>
              <a:defRPr lang="en-US" sz="1000" dirty="0"/>
            </a:lvl2pPr>
            <a:lvl3pPr marL="360363" indent="-182563">
              <a:lnSpc>
                <a:spcPct val="130000"/>
              </a:lnSpc>
              <a:spcBef>
                <a:spcPts val="200"/>
              </a:spcBef>
              <a:spcAft>
                <a:spcPts val="200"/>
              </a:spcAft>
              <a:defRPr lang="en-US" sz="1000" dirty="0"/>
            </a:lvl3pPr>
            <a:lvl4pPr>
              <a:defRPr lang="en-US" sz="1000" dirty="0"/>
            </a:lvl4pPr>
            <a:lvl5pPr>
              <a:defRPr lang="en-US" sz="1000" dirty="0"/>
            </a:lvl5pPr>
          </a:lstStyle>
          <a:p>
            <a:pPr lvl="0"/>
            <a:r>
              <a:rPr lang="en-US" dirty="0"/>
              <a:t>Click to edit master text styles</a:t>
            </a:r>
          </a:p>
          <a:p>
            <a:pPr lvl="1"/>
            <a:r>
              <a:rPr lang="en-US" dirty="0"/>
              <a:t>Second level</a:t>
            </a:r>
          </a:p>
          <a:p>
            <a:pPr lvl="2"/>
            <a:r>
              <a:rPr lang="en-US" dirty="0"/>
              <a:t>Third level</a:t>
            </a:r>
          </a:p>
        </p:txBody>
      </p:sp>
      <p:sp>
        <p:nvSpPr>
          <p:cNvPr id="18" name="Content Placeholder 2">
            <a:extLst>
              <a:ext uri="{FF2B5EF4-FFF2-40B4-BE49-F238E27FC236}">
                <a16:creationId xmlns:a16="http://schemas.microsoft.com/office/drawing/2014/main" id="{376ABD33-7DE6-932D-F04B-E72ED7FB6DE7}"/>
              </a:ext>
            </a:extLst>
          </p:cNvPr>
          <p:cNvSpPr>
            <a:spLocks noGrp="1"/>
          </p:cNvSpPr>
          <p:nvPr>
            <p:ph idx="22" hasCustomPrompt="1"/>
          </p:nvPr>
        </p:nvSpPr>
        <p:spPr>
          <a:xfrm>
            <a:off x="4225925" y="3105128"/>
            <a:ext cx="3400425" cy="324000"/>
          </a:xfrm>
          <a:solidFill>
            <a:schemeClr val="tx2"/>
          </a:solidFill>
        </p:spPr>
        <p:txBody>
          <a:bodyPr vert="horz" lIns="108000" tIns="45720" rIns="72000" bIns="45720" numCol="1" spcCol="216000" rtlCol="0" anchor="ctr" anchorCtr="0">
            <a:noAutofit/>
          </a:bodyPr>
          <a:lstStyle>
            <a:lvl1pPr>
              <a:defRPr lang="en-US" sz="1400" cap="all" baseline="0" dirty="0">
                <a:solidFill>
                  <a:schemeClr val="accent2"/>
                </a:solidFill>
              </a:defRPr>
            </a:lvl1pPr>
            <a:lvl2pPr>
              <a:defRPr lang="en-US" sz="900" dirty="0">
                <a:solidFill>
                  <a:schemeClr val="tx1"/>
                </a:solidFill>
              </a:defRPr>
            </a:lvl2pPr>
            <a:lvl3pPr>
              <a:defRPr lang="en-US" sz="800" dirty="0">
                <a:solidFill>
                  <a:schemeClr val="tx1"/>
                </a:solidFill>
              </a:defRPr>
            </a:lvl3pPr>
            <a:lvl4pPr>
              <a:defRPr lang="en-US" sz="700" dirty="0">
                <a:solidFill>
                  <a:schemeClr val="tx1"/>
                </a:solidFill>
              </a:defRPr>
            </a:lvl4pPr>
            <a:lvl5pPr>
              <a:defRPr lang="en-US" sz="700" dirty="0">
                <a:solidFill>
                  <a:schemeClr val="tx1"/>
                </a:solidFill>
              </a:defRPr>
            </a:lvl5pPr>
          </a:lstStyle>
          <a:p>
            <a:pPr lvl="0"/>
            <a:r>
              <a:rPr lang="en-US" dirty="0"/>
              <a:t>SUBHEAD</a:t>
            </a:r>
          </a:p>
        </p:txBody>
      </p:sp>
      <p:sp>
        <p:nvSpPr>
          <p:cNvPr id="21" name="Content Placeholder 2">
            <a:extLst>
              <a:ext uri="{FF2B5EF4-FFF2-40B4-BE49-F238E27FC236}">
                <a16:creationId xmlns:a16="http://schemas.microsoft.com/office/drawing/2014/main" id="{B8365A59-2337-7B5E-B124-66D8436B5263}"/>
              </a:ext>
            </a:extLst>
          </p:cNvPr>
          <p:cNvSpPr>
            <a:spLocks noGrp="1"/>
          </p:cNvSpPr>
          <p:nvPr>
            <p:ph idx="25" hasCustomPrompt="1"/>
          </p:nvPr>
        </p:nvSpPr>
        <p:spPr>
          <a:xfrm>
            <a:off x="507999" y="5101983"/>
            <a:ext cx="3400425" cy="1114520"/>
          </a:xfrm>
          <a:solidFill>
            <a:schemeClr val="bg2"/>
          </a:solidFill>
        </p:spPr>
        <p:txBody>
          <a:bodyPr vert="horz" lIns="108000" tIns="72000" rIns="72000" bIns="36000" numCol="1" spcCol="288000" rtlCol="0">
            <a:noAutofit/>
          </a:bodyPr>
          <a:lstStyle>
            <a:lvl1pPr>
              <a:lnSpc>
                <a:spcPct val="130000"/>
              </a:lnSpc>
              <a:spcBef>
                <a:spcPts val="200"/>
              </a:spcBef>
              <a:spcAft>
                <a:spcPts val="200"/>
              </a:spcAft>
              <a:defRPr lang="en-US" sz="1100" dirty="0" smtClean="0">
                <a:solidFill>
                  <a:schemeClr val="tx1"/>
                </a:solidFill>
                <a:latin typeface="+mn-lt"/>
              </a:defRPr>
            </a:lvl1pPr>
            <a:lvl2pPr marL="171450" indent="-171450">
              <a:lnSpc>
                <a:spcPct val="130000"/>
              </a:lnSpc>
              <a:spcBef>
                <a:spcPts val="200"/>
              </a:spcBef>
              <a:spcAft>
                <a:spcPts val="200"/>
              </a:spcAft>
              <a:buFont typeface="Arial" panose="020B0604020202020204" pitchFamily="34" charset="0"/>
              <a:buChar char="•"/>
              <a:defRPr lang="en-US" sz="1000" dirty="0"/>
            </a:lvl2pPr>
            <a:lvl3pPr marL="360363" indent="-182563">
              <a:lnSpc>
                <a:spcPct val="130000"/>
              </a:lnSpc>
              <a:spcBef>
                <a:spcPts val="200"/>
              </a:spcBef>
              <a:spcAft>
                <a:spcPts val="200"/>
              </a:spcAft>
              <a:defRPr lang="en-US" sz="1000" dirty="0"/>
            </a:lvl3pPr>
            <a:lvl4pPr>
              <a:defRPr lang="en-US" sz="1000" dirty="0"/>
            </a:lvl4pPr>
            <a:lvl5pPr>
              <a:defRPr lang="en-US" sz="1000" dirty="0"/>
            </a:lvl5pPr>
          </a:lstStyle>
          <a:p>
            <a:pPr lvl="0"/>
            <a:r>
              <a:rPr lang="en-US" dirty="0"/>
              <a:t>Click to edit master text styles</a:t>
            </a:r>
          </a:p>
          <a:p>
            <a:pPr lvl="1"/>
            <a:r>
              <a:rPr lang="en-US" dirty="0"/>
              <a:t>Second level</a:t>
            </a:r>
          </a:p>
          <a:p>
            <a:pPr lvl="2"/>
            <a:r>
              <a:rPr lang="en-US" dirty="0"/>
              <a:t>Third level</a:t>
            </a:r>
          </a:p>
        </p:txBody>
      </p:sp>
      <p:sp>
        <p:nvSpPr>
          <p:cNvPr id="22" name="Content Placeholder 2">
            <a:extLst>
              <a:ext uri="{FF2B5EF4-FFF2-40B4-BE49-F238E27FC236}">
                <a16:creationId xmlns:a16="http://schemas.microsoft.com/office/drawing/2014/main" id="{74EDE4A7-B395-2B29-E429-599F2CF2BC66}"/>
              </a:ext>
            </a:extLst>
          </p:cNvPr>
          <p:cNvSpPr>
            <a:spLocks noGrp="1"/>
          </p:cNvSpPr>
          <p:nvPr>
            <p:ph idx="26" hasCustomPrompt="1"/>
          </p:nvPr>
        </p:nvSpPr>
        <p:spPr>
          <a:xfrm>
            <a:off x="507999" y="4777982"/>
            <a:ext cx="3400425" cy="324000"/>
          </a:xfrm>
          <a:solidFill>
            <a:schemeClr val="tx2"/>
          </a:solidFill>
        </p:spPr>
        <p:txBody>
          <a:bodyPr vert="horz" lIns="108000" tIns="45720" rIns="72000" bIns="45720" numCol="1" spcCol="216000" rtlCol="0" anchor="ctr" anchorCtr="0">
            <a:noAutofit/>
          </a:bodyPr>
          <a:lstStyle>
            <a:lvl1pPr>
              <a:defRPr lang="en-US" sz="1400" cap="all" baseline="0" dirty="0">
                <a:solidFill>
                  <a:schemeClr val="accent2"/>
                </a:solidFill>
              </a:defRPr>
            </a:lvl1pPr>
            <a:lvl2pPr>
              <a:defRPr lang="en-US" sz="900" dirty="0">
                <a:solidFill>
                  <a:schemeClr val="tx1"/>
                </a:solidFill>
              </a:defRPr>
            </a:lvl2pPr>
            <a:lvl3pPr>
              <a:defRPr lang="en-US" sz="800" dirty="0">
                <a:solidFill>
                  <a:schemeClr val="tx1"/>
                </a:solidFill>
              </a:defRPr>
            </a:lvl3pPr>
            <a:lvl4pPr>
              <a:defRPr lang="en-US" sz="700" dirty="0">
                <a:solidFill>
                  <a:schemeClr val="tx1"/>
                </a:solidFill>
              </a:defRPr>
            </a:lvl4pPr>
            <a:lvl5pPr>
              <a:defRPr lang="en-US" sz="700" dirty="0">
                <a:solidFill>
                  <a:schemeClr val="tx1"/>
                </a:solidFill>
              </a:defRPr>
            </a:lvl5pPr>
          </a:lstStyle>
          <a:p>
            <a:pPr lvl="0"/>
            <a:r>
              <a:rPr lang="en-US" dirty="0"/>
              <a:t>SUBHEAD</a:t>
            </a:r>
          </a:p>
        </p:txBody>
      </p:sp>
      <p:sp>
        <p:nvSpPr>
          <p:cNvPr id="23" name="Content Placeholder 2">
            <a:extLst>
              <a:ext uri="{FF2B5EF4-FFF2-40B4-BE49-F238E27FC236}">
                <a16:creationId xmlns:a16="http://schemas.microsoft.com/office/drawing/2014/main" id="{CF99ABED-044C-C28A-86DC-D97A636A68EE}"/>
              </a:ext>
            </a:extLst>
          </p:cNvPr>
          <p:cNvSpPr>
            <a:spLocks noGrp="1"/>
          </p:cNvSpPr>
          <p:nvPr>
            <p:ph idx="27" hasCustomPrompt="1"/>
          </p:nvPr>
        </p:nvSpPr>
        <p:spPr>
          <a:xfrm>
            <a:off x="4225925" y="5101983"/>
            <a:ext cx="3400425" cy="1114520"/>
          </a:xfrm>
          <a:solidFill>
            <a:schemeClr val="bg2"/>
          </a:solidFill>
        </p:spPr>
        <p:txBody>
          <a:bodyPr vert="horz" lIns="108000" tIns="72000" rIns="72000" bIns="36000" numCol="1" spcCol="288000" rtlCol="0">
            <a:noAutofit/>
          </a:bodyPr>
          <a:lstStyle>
            <a:lvl1pPr>
              <a:lnSpc>
                <a:spcPct val="130000"/>
              </a:lnSpc>
              <a:spcBef>
                <a:spcPts val="200"/>
              </a:spcBef>
              <a:spcAft>
                <a:spcPts val="200"/>
              </a:spcAft>
              <a:defRPr lang="en-US" sz="1100" dirty="0" smtClean="0">
                <a:solidFill>
                  <a:schemeClr val="tx1"/>
                </a:solidFill>
                <a:latin typeface="+mn-lt"/>
              </a:defRPr>
            </a:lvl1pPr>
            <a:lvl2pPr marL="171450" indent="-171450">
              <a:lnSpc>
                <a:spcPct val="130000"/>
              </a:lnSpc>
              <a:spcBef>
                <a:spcPts val="200"/>
              </a:spcBef>
              <a:spcAft>
                <a:spcPts val="200"/>
              </a:spcAft>
              <a:buFont typeface="Arial" panose="020B0604020202020204" pitchFamily="34" charset="0"/>
              <a:buChar char="•"/>
              <a:defRPr lang="en-US" sz="1000" dirty="0"/>
            </a:lvl2pPr>
            <a:lvl3pPr marL="360363" indent="-182563">
              <a:lnSpc>
                <a:spcPct val="130000"/>
              </a:lnSpc>
              <a:spcBef>
                <a:spcPts val="200"/>
              </a:spcBef>
              <a:spcAft>
                <a:spcPts val="200"/>
              </a:spcAft>
              <a:defRPr lang="en-US" sz="1000" dirty="0"/>
            </a:lvl3pPr>
            <a:lvl4pPr>
              <a:defRPr lang="en-US" sz="1000" dirty="0"/>
            </a:lvl4pPr>
            <a:lvl5pPr>
              <a:defRPr lang="en-US" sz="1000" dirty="0"/>
            </a:lvl5pPr>
          </a:lstStyle>
          <a:p>
            <a:pPr lvl="0"/>
            <a:r>
              <a:rPr lang="en-US" dirty="0"/>
              <a:t>Click to edit master text styles</a:t>
            </a:r>
          </a:p>
          <a:p>
            <a:pPr lvl="1"/>
            <a:r>
              <a:rPr lang="en-US" dirty="0"/>
              <a:t>Second level</a:t>
            </a:r>
          </a:p>
          <a:p>
            <a:pPr lvl="2"/>
            <a:r>
              <a:rPr lang="en-US" dirty="0"/>
              <a:t>Third level</a:t>
            </a:r>
          </a:p>
        </p:txBody>
      </p:sp>
      <p:sp>
        <p:nvSpPr>
          <p:cNvPr id="24" name="Content Placeholder 2">
            <a:extLst>
              <a:ext uri="{FF2B5EF4-FFF2-40B4-BE49-F238E27FC236}">
                <a16:creationId xmlns:a16="http://schemas.microsoft.com/office/drawing/2014/main" id="{59C2FBAA-C8E8-1022-B792-35D5DDB21932}"/>
              </a:ext>
            </a:extLst>
          </p:cNvPr>
          <p:cNvSpPr>
            <a:spLocks noGrp="1"/>
          </p:cNvSpPr>
          <p:nvPr>
            <p:ph idx="28" hasCustomPrompt="1"/>
          </p:nvPr>
        </p:nvSpPr>
        <p:spPr>
          <a:xfrm>
            <a:off x="4225925" y="4777982"/>
            <a:ext cx="3400425" cy="324000"/>
          </a:xfrm>
          <a:solidFill>
            <a:schemeClr val="tx2"/>
          </a:solidFill>
        </p:spPr>
        <p:txBody>
          <a:bodyPr vert="horz" lIns="108000" tIns="45720" rIns="72000" bIns="45720" numCol="1" spcCol="216000" rtlCol="0" anchor="ctr" anchorCtr="0">
            <a:noAutofit/>
          </a:bodyPr>
          <a:lstStyle>
            <a:lvl1pPr>
              <a:defRPr lang="en-US" sz="1400" cap="all" baseline="0" dirty="0">
                <a:solidFill>
                  <a:schemeClr val="accent2"/>
                </a:solidFill>
              </a:defRPr>
            </a:lvl1pPr>
            <a:lvl2pPr>
              <a:defRPr lang="en-US" sz="900" dirty="0">
                <a:solidFill>
                  <a:schemeClr val="tx1"/>
                </a:solidFill>
              </a:defRPr>
            </a:lvl2pPr>
            <a:lvl3pPr>
              <a:defRPr lang="en-US" sz="800" dirty="0">
                <a:solidFill>
                  <a:schemeClr val="tx1"/>
                </a:solidFill>
              </a:defRPr>
            </a:lvl3pPr>
            <a:lvl4pPr>
              <a:defRPr lang="en-US" sz="700" dirty="0">
                <a:solidFill>
                  <a:schemeClr val="tx1"/>
                </a:solidFill>
              </a:defRPr>
            </a:lvl4pPr>
            <a:lvl5pPr>
              <a:defRPr lang="en-US" sz="700" dirty="0">
                <a:solidFill>
                  <a:schemeClr val="tx1"/>
                </a:solidFill>
              </a:defRPr>
            </a:lvl5pPr>
          </a:lstStyle>
          <a:p>
            <a:pPr lvl="0"/>
            <a:r>
              <a:rPr lang="en-US" dirty="0"/>
              <a:t>SUBHEAD</a:t>
            </a:r>
          </a:p>
        </p:txBody>
      </p:sp>
      <p:sp>
        <p:nvSpPr>
          <p:cNvPr id="8" name="TextBox 4">
            <a:extLst>
              <a:ext uri="{FF2B5EF4-FFF2-40B4-BE49-F238E27FC236}">
                <a16:creationId xmlns:a16="http://schemas.microsoft.com/office/drawing/2014/main" id="{2731D0D2-8DF1-D95A-3252-21A62CF3AB1B}"/>
              </a:ext>
            </a:extLst>
          </p:cNvPr>
          <p:cNvSpPr txBox="1"/>
          <p:nvPr userDrawn="1"/>
        </p:nvSpPr>
        <p:spPr>
          <a:xfrm>
            <a:off x="12346713" y="109538"/>
            <a:ext cx="1934437" cy="31700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INSERTING IMAGES:</a:t>
            </a:r>
          </a:p>
          <a:p>
            <a:pPr marL="179388" indent="-179388">
              <a:spcBef>
                <a:spcPts val="200"/>
              </a:spcBef>
              <a:spcAft>
                <a:spcPts val="200"/>
              </a:spcAft>
              <a:buFont typeface="+mj-lt"/>
              <a:buAutoNum type="arabicPeriod"/>
            </a:pPr>
            <a:r>
              <a:rPr lang="en-US" sz="900" dirty="0">
                <a:solidFill>
                  <a:schemeClr val="tx1"/>
                </a:solidFill>
                <a:latin typeface="+mn-lt"/>
              </a:rPr>
              <a:t>Simply click the image placeholder and select your image.</a:t>
            </a:r>
          </a:p>
          <a:p>
            <a:pPr marL="179388" indent="-179388">
              <a:spcBef>
                <a:spcPts val="200"/>
              </a:spcBef>
              <a:spcAft>
                <a:spcPts val="200"/>
              </a:spcAft>
              <a:buFont typeface="+mj-lt"/>
              <a:buAutoNum type="arabicPeriod"/>
            </a:pPr>
            <a:r>
              <a:rPr lang="en-US" sz="900" dirty="0">
                <a:solidFill>
                  <a:schemeClr val="tx1"/>
                </a:solidFill>
                <a:latin typeface="+mn-lt"/>
              </a:rPr>
              <a:t>Once your image is inserted into the shape it may be distorted. (Stretched or Squashed)</a:t>
            </a:r>
          </a:p>
          <a:p>
            <a:pPr marL="179388" indent="-179388">
              <a:spcBef>
                <a:spcPts val="200"/>
              </a:spcBef>
              <a:spcAft>
                <a:spcPts val="200"/>
              </a:spcAft>
              <a:buFont typeface="+mj-lt"/>
              <a:buAutoNum type="arabicPeriod"/>
            </a:pPr>
            <a:endParaRPr lang="en-US" sz="900" dirty="0">
              <a:solidFill>
                <a:schemeClr val="tx1"/>
              </a:solidFill>
              <a:latin typeface="+mn-lt"/>
            </a:endParaRPr>
          </a:p>
          <a:p>
            <a:pPr>
              <a:spcBef>
                <a:spcPts val="200"/>
              </a:spcBef>
              <a:spcAft>
                <a:spcPts val="200"/>
              </a:spcAft>
            </a:pPr>
            <a:r>
              <a:rPr lang="en-US" sz="900" b="1" dirty="0">
                <a:solidFill>
                  <a:schemeClr val="tx1"/>
                </a:solidFill>
                <a:latin typeface="+mn-lt"/>
              </a:rPr>
              <a:t>To fix this:</a:t>
            </a:r>
          </a:p>
          <a:p>
            <a:pPr marL="179388" indent="-179388">
              <a:spcBef>
                <a:spcPts val="200"/>
              </a:spcBef>
              <a:spcAft>
                <a:spcPts val="200"/>
              </a:spcAft>
              <a:buFont typeface="+mj-lt"/>
              <a:buAutoNum type="arabicPeriod"/>
            </a:pPr>
            <a:r>
              <a:rPr lang="en-US" sz="900" dirty="0">
                <a:solidFill>
                  <a:schemeClr val="tx1"/>
                </a:solidFill>
                <a:latin typeface="+mn-lt"/>
              </a:rPr>
              <a:t>Click on the image and from the top menu under </a:t>
            </a:r>
            <a:r>
              <a:rPr lang="en-US" sz="900" b="1" dirty="0">
                <a:solidFill>
                  <a:schemeClr val="tx1"/>
                </a:solidFill>
                <a:latin typeface="+mn-lt"/>
              </a:rPr>
              <a:t>PICTURE FORMAT </a:t>
            </a:r>
            <a:r>
              <a:rPr lang="en-US" sz="900" dirty="0">
                <a:solidFill>
                  <a:schemeClr val="tx1"/>
                </a:solidFill>
                <a:latin typeface="+mn-lt"/>
              </a:rPr>
              <a:t>select the </a:t>
            </a:r>
            <a:r>
              <a:rPr lang="en-US" sz="900" b="1" dirty="0">
                <a:solidFill>
                  <a:schemeClr val="tx1"/>
                </a:solidFill>
                <a:latin typeface="+mn-lt"/>
              </a:rPr>
              <a:t>CROP</a:t>
            </a:r>
            <a:r>
              <a:rPr lang="en-US" sz="900" dirty="0">
                <a:solidFill>
                  <a:schemeClr val="tx1"/>
                </a:solidFill>
                <a:latin typeface="+mn-lt"/>
              </a:rPr>
              <a:t> on the right and from the drop down menu select </a:t>
            </a:r>
            <a:r>
              <a:rPr lang="en-US" sz="900" b="1" kern="1200" dirty="0">
                <a:solidFill>
                  <a:schemeClr val="tx1"/>
                </a:solidFill>
                <a:latin typeface="+mn-lt"/>
                <a:ea typeface="+mn-ea"/>
                <a:cs typeface="+mn-cs"/>
              </a:rPr>
              <a:t>FILL</a:t>
            </a:r>
          </a:p>
          <a:p>
            <a:pPr marL="179388" indent="-179388">
              <a:spcBef>
                <a:spcPts val="200"/>
              </a:spcBef>
              <a:spcAft>
                <a:spcPts val="200"/>
              </a:spcAft>
              <a:buFont typeface="+mj-lt"/>
              <a:buAutoNum type="arabicPeriod"/>
            </a:pPr>
            <a:r>
              <a:rPr lang="en-US" sz="900" b="0" kern="1200" dirty="0">
                <a:solidFill>
                  <a:schemeClr val="tx1"/>
                </a:solidFill>
                <a:latin typeface="+mn-lt"/>
                <a:ea typeface="+mn-ea"/>
                <a:cs typeface="+mn-cs"/>
              </a:rPr>
              <a:t>From here you can move the image within the shape for best visual appearance</a:t>
            </a:r>
          </a:p>
        </p:txBody>
      </p:sp>
    </p:spTree>
    <p:extLst>
      <p:ext uri="{BB962C8B-B14F-4D97-AF65-F5344CB8AC3E}">
        <p14:creationId xmlns:p14="http://schemas.microsoft.com/office/powerpoint/2010/main" val="313471545"/>
      </p:ext>
    </p:extLst>
  </p:cSld>
  <p:clrMapOvr>
    <a:masterClrMapping/>
  </p:clrMapOvr>
  <p:transition spd="med">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6 Boxes &amp; Pull-out Tex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CE16555-276D-66C1-09B7-7038F8B3336C}"/>
              </a:ext>
            </a:extLst>
          </p:cNvPr>
          <p:cNvSpPr/>
          <p:nvPr userDrawn="1"/>
        </p:nvSpPr>
        <p:spPr>
          <a:xfrm>
            <a:off x="8126413" y="0"/>
            <a:ext cx="40655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p:ph idx="1" hasCustomPrompt="1"/>
          </p:nvPr>
        </p:nvSpPr>
        <p:spPr>
          <a:xfrm>
            <a:off x="507999" y="1735006"/>
            <a:ext cx="3400425" cy="1114520"/>
          </a:xfrm>
          <a:solidFill>
            <a:schemeClr val="bg2"/>
          </a:solidFill>
        </p:spPr>
        <p:txBody>
          <a:bodyPr vert="horz" lIns="108000" tIns="72000" rIns="72000" bIns="36000" numCol="1" spcCol="288000" rtlCol="0">
            <a:noAutofit/>
          </a:bodyPr>
          <a:lstStyle>
            <a:lvl1pPr>
              <a:lnSpc>
                <a:spcPct val="130000"/>
              </a:lnSpc>
              <a:spcBef>
                <a:spcPts val="200"/>
              </a:spcBef>
              <a:spcAft>
                <a:spcPts val="200"/>
              </a:spcAft>
              <a:defRPr lang="en-US" sz="1100" dirty="0" smtClean="0">
                <a:solidFill>
                  <a:schemeClr val="tx1"/>
                </a:solidFill>
                <a:latin typeface="+mn-lt"/>
              </a:defRPr>
            </a:lvl1pPr>
            <a:lvl2pPr marL="171450" indent="-171450">
              <a:lnSpc>
                <a:spcPct val="130000"/>
              </a:lnSpc>
              <a:spcBef>
                <a:spcPts val="200"/>
              </a:spcBef>
              <a:spcAft>
                <a:spcPts val="200"/>
              </a:spcAft>
              <a:buFont typeface="Arial" panose="020B0604020202020204" pitchFamily="34" charset="0"/>
              <a:buChar char="•"/>
              <a:defRPr lang="en-US" sz="1000" dirty="0"/>
            </a:lvl2pPr>
            <a:lvl3pPr marL="360363" indent="-182563">
              <a:lnSpc>
                <a:spcPct val="130000"/>
              </a:lnSpc>
              <a:spcBef>
                <a:spcPts val="200"/>
              </a:spcBef>
              <a:spcAft>
                <a:spcPts val="200"/>
              </a:spcAft>
              <a:defRPr lang="en-US" sz="1000" dirty="0"/>
            </a:lvl3pPr>
            <a:lvl4pPr>
              <a:defRPr lang="en-US" sz="1000" dirty="0"/>
            </a:lvl4pPr>
            <a:lvl5pPr>
              <a:defRPr lang="en-US" sz="1000" dirty="0"/>
            </a:lvl5pPr>
          </a:lstStyle>
          <a:p>
            <a:pPr lvl="0"/>
            <a:r>
              <a:rPr lang="en-US" dirty="0"/>
              <a:t>Click to edit master text styles</a:t>
            </a:r>
          </a:p>
          <a:p>
            <a:pPr lvl="1"/>
            <a:r>
              <a:rPr lang="en-US" dirty="0"/>
              <a:t>Second level</a:t>
            </a:r>
          </a:p>
          <a:p>
            <a:pPr lvl="2"/>
            <a:r>
              <a:rPr lang="en-US" dirty="0"/>
              <a:t>Third level</a:t>
            </a:r>
          </a:p>
        </p:txBody>
      </p:sp>
      <p:sp>
        <p:nvSpPr>
          <p:cNvPr id="5" name="Footer Placeholder 4"/>
          <p:cNvSpPr>
            <a:spLocks noGrp="1"/>
          </p:cNvSpPr>
          <p:nvPr>
            <p:ph type="ftr" sz="quarter" idx="11"/>
          </p:nvPr>
        </p:nvSpPr>
        <p:spPr/>
        <p:txBody>
          <a:bodyPr/>
          <a:lstStyle/>
          <a:p>
            <a:r>
              <a:rPr lang="en-GB"/>
              <a:t>INSERT FOOTER HER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8CFE0557-AA98-4E6C-B0C3-581794696B68}" type="slidenum">
              <a:rPr lang="en-GB" smtClean="0"/>
              <a:pPr/>
              <a:t>‹#›</a:t>
            </a:fld>
            <a:endParaRPr lang="en-GB"/>
          </a:p>
        </p:txBody>
      </p:sp>
      <p:sp>
        <p:nvSpPr>
          <p:cNvPr id="7" name="Content Placeholder 2">
            <a:extLst>
              <a:ext uri="{FF2B5EF4-FFF2-40B4-BE49-F238E27FC236}">
                <a16:creationId xmlns:a16="http://schemas.microsoft.com/office/drawing/2014/main" id="{B0B00756-BEE2-1E4F-AA11-656D1916E332}"/>
              </a:ext>
            </a:extLst>
          </p:cNvPr>
          <p:cNvSpPr>
            <a:spLocks noGrp="1"/>
          </p:cNvSpPr>
          <p:nvPr>
            <p:ph idx="14" hasCustomPrompt="1"/>
          </p:nvPr>
        </p:nvSpPr>
        <p:spPr>
          <a:xfrm>
            <a:off x="507999" y="1411005"/>
            <a:ext cx="3400425" cy="324000"/>
          </a:xfrm>
          <a:solidFill>
            <a:schemeClr val="accent2"/>
          </a:solidFill>
        </p:spPr>
        <p:txBody>
          <a:bodyPr vert="horz" lIns="108000" tIns="45720" rIns="72000" bIns="45720" numCol="1" spcCol="216000" rtlCol="0" anchor="ctr" anchorCtr="0">
            <a:noAutofit/>
          </a:bodyPr>
          <a:lstStyle>
            <a:lvl1pPr>
              <a:defRPr lang="en-US" sz="1400" cap="all" baseline="0" dirty="0">
                <a:solidFill>
                  <a:schemeClr val="tx2"/>
                </a:solidFill>
              </a:defRPr>
            </a:lvl1pPr>
            <a:lvl2pPr>
              <a:defRPr lang="en-US" sz="900" dirty="0">
                <a:solidFill>
                  <a:schemeClr val="tx1"/>
                </a:solidFill>
              </a:defRPr>
            </a:lvl2pPr>
            <a:lvl3pPr>
              <a:defRPr lang="en-US" sz="800" dirty="0">
                <a:solidFill>
                  <a:schemeClr val="tx1"/>
                </a:solidFill>
              </a:defRPr>
            </a:lvl3pPr>
            <a:lvl4pPr>
              <a:defRPr lang="en-US" sz="700" dirty="0">
                <a:solidFill>
                  <a:schemeClr val="tx1"/>
                </a:solidFill>
              </a:defRPr>
            </a:lvl4pPr>
            <a:lvl5pPr>
              <a:defRPr lang="en-US" sz="700" dirty="0">
                <a:solidFill>
                  <a:schemeClr val="tx1"/>
                </a:solidFill>
              </a:defRPr>
            </a:lvl5pPr>
          </a:lstStyle>
          <a:p>
            <a:pPr lvl="0"/>
            <a:r>
              <a:rPr lang="en-US" dirty="0"/>
              <a:t>SUBHEAD</a:t>
            </a:r>
          </a:p>
        </p:txBody>
      </p:sp>
      <p:sp>
        <p:nvSpPr>
          <p:cNvPr id="4" name="Title 3">
            <a:extLst>
              <a:ext uri="{FF2B5EF4-FFF2-40B4-BE49-F238E27FC236}">
                <a16:creationId xmlns:a16="http://schemas.microsoft.com/office/drawing/2014/main" id="{6729F04B-D5C0-88EC-FA0F-B39A9EACF533}"/>
              </a:ext>
            </a:extLst>
          </p:cNvPr>
          <p:cNvSpPr>
            <a:spLocks noGrp="1"/>
          </p:cNvSpPr>
          <p:nvPr>
            <p:ph type="title" hasCustomPrompt="1"/>
          </p:nvPr>
        </p:nvSpPr>
        <p:spPr>
          <a:xfrm>
            <a:off x="508001" y="454014"/>
            <a:ext cx="7118350" cy="814806"/>
          </a:xfrm>
        </p:spPr>
        <p:txBody>
          <a:bodyPr/>
          <a:lstStyle/>
          <a:p>
            <a:r>
              <a:rPr lang="en-US" dirty="0"/>
              <a:t>TITLE: subtitle</a:t>
            </a:r>
            <a:endParaRPr lang="en-GB" dirty="0"/>
          </a:p>
        </p:txBody>
      </p:sp>
      <p:sp>
        <p:nvSpPr>
          <p:cNvPr id="11" name="Content Placeholder 2">
            <a:extLst>
              <a:ext uri="{FF2B5EF4-FFF2-40B4-BE49-F238E27FC236}">
                <a16:creationId xmlns:a16="http://schemas.microsoft.com/office/drawing/2014/main" id="{0CE1D013-BC17-F297-93DF-A3CE5AC5F6C5}"/>
              </a:ext>
            </a:extLst>
          </p:cNvPr>
          <p:cNvSpPr>
            <a:spLocks noGrp="1"/>
          </p:cNvSpPr>
          <p:nvPr>
            <p:ph idx="15" hasCustomPrompt="1"/>
          </p:nvPr>
        </p:nvSpPr>
        <p:spPr>
          <a:xfrm>
            <a:off x="4225925" y="1735006"/>
            <a:ext cx="3400425" cy="1114520"/>
          </a:xfrm>
          <a:solidFill>
            <a:schemeClr val="bg2"/>
          </a:solidFill>
        </p:spPr>
        <p:txBody>
          <a:bodyPr vert="horz" lIns="108000" tIns="72000" rIns="72000" bIns="36000" numCol="1" spcCol="288000" rtlCol="0">
            <a:noAutofit/>
          </a:bodyPr>
          <a:lstStyle>
            <a:lvl1pPr>
              <a:lnSpc>
                <a:spcPct val="130000"/>
              </a:lnSpc>
              <a:spcBef>
                <a:spcPts val="200"/>
              </a:spcBef>
              <a:spcAft>
                <a:spcPts val="200"/>
              </a:spcAft>
              <a:defRPr lang="en-US" sz="1100" dirty="0" smtClean="0">
                <a:solidFill>
                  <a:schemeClr val="tx1"/>
                </a:solidFill>
                <a:latin typeface="+mn-lt"/>
              </a:defRPr>
            </a:lvl1pPr>
            <a:lvl2pPr marL="171450" indent="-171450">
              <a:lnSpc>
                <a:spcPct val="130000"/>
              </a:lnSpc>
              <a:spcBef>
                <a:spcPts val="200"/>
              </a:spcBef>
              <a:spcAft>
                <a:spcPts val="200"/>
              </a:spcAft>
              <a:buFont typeface="Arial" panose="020B0604020202020204" pitchFamily="34" charset="0"/>
              <a:buChar char="•"/>
              <a:defRPr lang="en-US" sz="1000" dirty="0"/>
            </a:lvl2pPr>
            <a:lvl3pPr marL="360363" indent="-182563">
              <a:lnSpc>
                <a:spcPct val="130000"/>
              </a:lnSpc>
              <a:spcBef>
                <a:spcPts val="200"/>
              </a:spcBef>
              <a:spcAft>
                <a:spcPts val="200"/>
              </a:spcAft>
              <a:defRPr lang="en-US" sz="1000" dirty="0"/>
            </a:lvl3pPr>
            <a:lvl4pPr>
              <a:defRPr lang="en-US" sz="1000" dirty="0"/>
            </a:lvl4pPr>
            <a:lvl5pPr>
              <a:defRPr lang="en-US" sz="1000" dirty="0"/>
            </a:lvl5pPr>
          </a:lstStyle>
          <a:p>
            <a:pPr lvl="0"/>
            <a:r>
              <a:rPr lang="en-US" dirty="0"/>
              <a:t>Click to edit master text styles</a:t>
            </a:r>
          </a:p>
          <a:p>
            <a:pPr lvl="1"/>
            <a:r>
              <a:rPr lang="en-US" dirty="0"/>
              <a:t>Second level</a:t>
            </a:r>
          </a:p>
          <a:p>
            <a:pPr lvl="2"/>
            <a:r>
              <a:rPr lang="en-US" dirty="0"/>
              <a:t>Third level</a:t>
            </a:r>
          </a:p>
        </p:txBody>
      </p:sp>
      <p:sp>
        <p:nvSpPr>
          <p:cNvPr id="12" name="Content Placeholder 2">
            <a:extLst>
              <a:ext uri="{FF2B5EF4-FFF2-40B4-BE49-F238E27FC236}">
                <a16:creationId xmlns:a16="http://schemas.microsoft.com/office/drawing/2014/main" id="{044BC189-C8AB-468D-9AA3-F616D7D61B1C}"/>
              </a:ext>
            </a:extLst>
          </p:cNvPr>
          <p:cNvSpPr>
            <a:spLocks noGrp="1"/>
          </p:cNvSpPr>
          <p:nvPr>
            <p:ph idx="16" hasCustomPrompt="1"/>
          </p:nvPr>
        </p:nvSpPr>
        <p:spPr>
          <a:xfrm>
            <a:off x="4225925" y="1411005"/>
            <a:ext cx="3400425" cy="324000"/>
          </a:xfrm>
          <a:solidFill>
            <a:schemeClr val="accent2"/>
          </a:solidFill>
        </p:spPr>
        <p:txBody>
          <a:bodyPr vert="horz" lIns="108000" tIns="45720" rIns="72000" bIns="45720" numCol="1" spcCol="216000" rtlCol="0" anchor="ctr" anchorCtr="0">
            <a:noAutofit/>
          </a:bodyPr>
          <a:lstStyle>
            <a:lvl1pPr>
              <a:defRPr lang="en-US" sz="1400" cap="all" baseline="0" dirty="0">
                <a:solidFill>
                  <a:schemeClr val="tx2"/>
                </a:solidFill>
              </a:defRPr>
            </a:lvl1pPr>
            <a:lvl2pPr>
              <a:defRPr lang="en-US" sz="900" dirty="0">
                <a:solidFill>
                  <a:schemeClr val="tx1"/>
                </a:solidFill>
              </a:defRPr>
            </a:lvl2pPr>
            <a:lvl3pPr>
              <a:defRPr lang="en-US" sz="800" dirty="0">
                <a:solidFill>
                  <a:schemeClr val="tx1"/>
                </a:solidFill>
              </a:defRPr>
            </a:lvl3pPr>
            <a:lvl4pPr>
              <a:defRPr lang="en-US" sz="700" dirty="0">
                <a:solidFill>
                  <a:schemeClr val="tx1"/>
                </a:solidFill>
              </a:defRPr>
            </a:lvl4pPr>
            <a:lvl5pPr>
              <a:defRPr lang="en-US" sz="700" dirty="0">
                <a:solidFill>
                  <a:schemeClr val="tx1"/>
                </a:solidFill>
              </a:defRPr>
            </a:lvl5pPr>
          </a:lstStyle>
          <a:p>
            <a:pPr lvl="0"/>
            <a:r>
              <a:rPr lang="en-US" dirty="0"/>
              <a:t>SUBHEAD</a:t>
            </a:r>
          </a:p>
        </p:txBody>
      </p:sp>
      <p:sp>
        <p:nvSpPr>
          <p:cNvPr id="15" name="Content Placeholder 2">
            <a:extLst>
              <a:ext uri="{FF2B5EF4-FFF2-40B4-BE49-F238E27FC236}">
                <a16:creationId xmlns:a16="http://schemas.microsoft.com/office/drawing/2014/main" id="{0DBEF8F2-E7A8-CB2A-D6C6-185F68EA57BB}"/>
              </a:ext>
            </a:extLst>
          </p:cNvPr>
          <p:cNvSpPr>
            <a:spLocks noGrp="1"/>
          </p:cNvSpPr>
          <p:nvPr>
            <p:ph idx="19" hasCustomPrompt="1"/>
          </p:nvPr>
        </p:nvSpPr>
        <p:spPr>
          <a:xfrm>
            <a:off x="507999" y="3429129"/>
            <a:ext cx="3400425" cy="1114520"/>
          </a:xfrm>
          <a:solidFill>
            <a:schemeClr val="bg2"/>
          </a:solidFill>
        </p:spPr>
        <p:txBody>
          <a:bodyPr vert="horz" lIns="108000" tIns="72000" rIns="72000" bIns="36000" numCol="1" spcCol="288000" rtlCol="0">
            <a:noAutofit/>
          </a:bodyPr>
          <a:lstStyle>
            <a:lvl1pPr>
              <a:lnSpc>
                <a:spcPct val="130000"/>
              </a:lnSpc>
              <a:spcBef>
                <a:spcPts val="200"/>
              </a:spcBef>
              <a:spcAft>
                <a:spcPts val="200"/>
              </a:spcAft>
              <a:defRPr lang="en-US" sz="1100" dirty="0" smtClean="0">
                <a:solidFill>
                  <a:schemeClr val="tx1"/>
                </a:solidFill>
                <a:latin typeface="+mn-lt"/>
              </a:defRPr>
            </a:lvl1pPr>
            <a:lvl2pPr marL="171450" indent="-171450">
              <a:lnSpc>
                <a:spcPct val="130000"/>
              </a:lnSpc>
              <a:spcBef>
                <a:spcPts val="200"/>
              </a:spcBef>
              <a:spcAft>
                <a:spcPts val="200"/>
              </a:spcAft>
              <a:buFont typeface="Arial" panose="020B0604020202020204" pitchFamily="34" charset="0"/>
              <a:buChar char="•"/>
              <a:defRPr lang="en-US" sz="1000" dirty="0"/>
            </a:lvl2pPr>
            <a:lvl3pPr marL="360363" indent="-182563">
              <a:lnSpc>
                <a:spcPct val="130000"/>
              </a:lnSpc>
              <a:spcBef>
                <a:spcPts val="200"/>
              </a:spcBef>
              <a:spcAft>
                <a:spcPts val="200"/>
              </a:spcAft>
              <a:defRPr lang="en-US" sz="1000" dirty="0"/>
            </a:lvl3pPr>
            <a:lvl4pPr>
              <a:defRPr lang="en-US" sz="1000" dirty="0"/>
            </a:lvl4pPr>
            <a:lvl5pPr>
              <a:defRPr lang="en-US" sz="1000" dirty="0"/>
            </a:lvl5pPr>
          </a:lstStyle>
          <a:p>
            <a:pPr lvl="0"/>
            <a:r>
              <a:rPr lang="en-US" dirty="0"/>
              <a:t>Click to edit master text styles</a:t>
            </a:r>
          </a:p>
          <a:p>
            <a:pPr lvl="1"/>
            <a:r>
              <a:rPr lang="en-US" dirty="0"/>
              <a:t>Second level</a:t>
            </a:r>
          </a:p>
          <a:p>
            <a:pPr lvl="2"/>
            <a:r>
              <a:rPr lang="en-US" dirty="0"/>
              <a:t>Third level</a:t>
            </a:r>
          </a:p>
        </p:txBody>
      </p:sp>
      <p:sp>
        <p:nvSpPr>
          <p:cNvPr id="16" name="Content Placeholder 2">
            <a:extLst>
              <a:ext uri="{FF2B5EF4-FFF2-40B4-BE49-F238E27FC236}">
                <a16:creationId xmlns:a16="http://schemas.microsoft.com/office/drawing/2014/main" id="{62C1633C-AF8C-5672-C8E9-59BF8E705D38}"/>
              </a:ext>
            </a:extLst>
          </p:cNvPr>
          <p:cNvSpPr>
            <a:spLocks noGrp="1"/>
          </p:cNvSpPr>
          <p:nvPr>
            <p:ph idx="20" hasCustomPrompt="1"/>
          </p:nvPr>
        </p:nvSpPr>
        <p:spPr>
          <a:xfrm>
            <a:off x="507999" y="3105128"/>
            <a:ext cx="3400425" cy="324000"/>
          </a:xfrm>
          <a:solidFill>
            <a:schemeClr val="accent2"/>
          </a:solidFill>
        </p:spPr>
        <p:txBody>
          <a:bodyPr vert="horz" lIns="108000" tIns="45720" rIns="72000" bIns="45720" numCol="1" spcCol="216000" rtlCol="0" anchor="ctr" anchorCtr="0">
            <a:noAutofit/>
          </a:bodyPr>
          <a:lstStyle>
            <a:lvl1pPr>
              <a:defRPr lang="en-US" sz="1400" cap="all" baseline="0" dirty="0">
                <a:solidFill>
                  <a:schemeClr val="tx2"/>
                </a:solidFill>
              </a:defRPr>
            </a:lvl1pPr>
            <a:lvl2pPr>
              <a:defRPr lang="en-US" sz="900" dirty="0">
                <a:solidFill>
                  <a:schemeClr val="tx1"/>
                </a:solidFill>
              </a:defRPr>
            </a:lvl2pPr>
            <a:lvl3pPr>
              <a:defRPr lang="en-US" sz="800" dirty="0">
                <a:solidFill>
                  <a:schemeClr val="tx1"/>
                </a:solidFill>
              </a:defRPr>
            </a:lvl3pPr>
            <a:lvl4pPr>
              <a:defRPr lang="en-US" sz="700" dirty="0">
                <a:solidFill>
                  <a:schemeClr val="tx1"/>
                </a:solidFill>
              </a:defRPr>
            </a:lvl4pPr>
            <a:lvl5pPr>
              <a:defRPr lang="en-US" sz="700" dirty="0">
                <a:solidFill>
                  <a:schemeClr val="tx1"/>
                </a:solidFill>
              </a:defRPr>
            </a:lvl5pPr>
          </a:lstStyle>
          <a:p>
            <a:pPr lvl="0"/>
            <a:r>
              <a:rPr lang="en-US" dirty="0"/>
              <a:t>SUBHEAD</a:t>
            </a:r>
          </a:p>
        </p:txBody>
      </p:sp>
      <p:sp>
        <p:nvSpPr>
          <p:cNvPr id="17" name="Content Placeholder 2">
            <a:extLst>
              <a:ext uri="{FF2B5EF4-FFF2-40B4-BE49-F238E27FC236}">
                <a16:creationId xmlns:a16="http://schemas.microsoft.com/office/drawing/2014/main" id="{03927300-C246-F5F7-919E-B25446AA46DA}"/>
              </a:ext>
            </a:extLst>
          </p:cNvPr>
          <p:cNvSpPr>
            <a:spLocks noGrp="1"/>
          </p:cNvSpPr>
          <p:nvPr>
            <p:ph idx="21" hasCustomPrompt="1"/>
          </p:nvPr>
        </p:nvSpPr>
        <p:spPr>
          <a:xfrm>
            <a:off x="4225925" y="3429129"/>
            <a:ext cx="3400425" cy="1114520"/>
          </a:xfrm>
          <a:solidFill>
            <a:schemeClr val="bg2"/>
          </a:solidFill>
        </p:spPr>
        <p:txBody>
          <a:bodyPr vert="horz" lIns="108000" tIns="72000" rIns="72000" bIns="36000" numCol="1" spcCol="288000" rtlCol="0">
            <a:noAutofit/>
          </a:bodyPr>
          <a:lstStyle>
            <a:lvl1pPr>
              <a:lnSpc>
                <a:spcPct val="130000"/>
              </a:lnSpc>
              <a:spcBef>
                <a:spcPts val="200"/>
              </a:spcBef>
              <a:spcAft>
                <a:spcPts val="200"/>
              </a:spcAft>
              <a:defRPr lang="en-US" sz="1100" dirty="0" smtClean="0">
                <a:solidFill>
                  <a:schemeClr val="tx1"/>
                </a:solidFill>
                <a:latin typeface="+mn-lt"/>
              </a:defRPr>
            </a:lvl1pPr>
            <a:lvl2pPr marL="171450" indent="-171450">
              <a:lnSpc>
                <a:spcPct val="130000"/>
              </a:lnSpc>
              <a:spcBef>
                <a:spcPts val="200"/>
              </a:spcBef>
              <a:spcAft>
                <a:spcPts val="200"/>
              </a:spcAft>
              <a:buFont typeface="Arial" panose="020B0604020202020204" pitchFamily="34" charset="0"/>
              <a:buChar char="•"/>
              <a:defRPr lang="en-US" sz="1000" dirty="0"/>
            </a:lvl2pPr>
            <a:lvl3pPr marL="360363" indent="-182563">
              <a:lnSpc>
                <a:spcPct val="130000"/>
              </a:lnSpc>
              <a:spcBef>
                <a:spcPts val="200"/>
              </a:spcBef>
              <a:spcAft>
                <a:spcPts val="200"/>
              </a:spcAft>
              <a:defRPr lang="en-US" sz="1000" dirty="0"/>
            </a:lvl3pPr>
            <a:lvl4pPr>
              <a:defRPr lang="en-US" sz="1000" dirty="0"/>
            </a:lvl4pPr>
            <a:lvl5pPr>
              <a:defRPr lang="en-US" sz="1000" dirty="0"/>
            </a:lvl5pPr>
          </a:lstStyle>
          <a:p>
            <a:pPr lvl="0"/>
            <a:r>
              <a:rPr lang="en-US" dirty="0"/>
              <a:t>Click to edit master text styles</a:t>
            </a:r>
          </a:p>
          <a:p>
            <a:pPr lvl="1"/>
            <a:r>
              <a:rPr lang="en-US" dirty="0"/>
              <a:t>Second level</a:t>
            </a:r>
          </a:p>
          <a:p>
            <a:pPr lvl="2"/>
            <a:r>
              <a:rPr lang="en-US" dirty="0"/>
              <a:t>Third level</a:t>
            </a:r>
          </a:p>
        </p:txBody>
      </p:sp>
      <p:sp>
        <p:nvSpPr>
          <p:cNvPr id="18" name="Content Placeholder 2">
            <a:extLst>
              <a:ext uri="{FF2B5EF4-FFF2-40B4-BE49-F238E27FC236}">
                <a16:creationId xmlns:a16="http://schemas.microsoft.com/office/drawing/2014/main" id="{376ABD33-7DE6-932D-F04B-E72ED7FB6DE7}"/>
              </a:ext>
            </a:extLst>
          </p:cNvPr>
          <p:cNvSpPr>
            <a:spLocks noGrp="1"/>
          </p:cNvSpPr>
          <p:nvPr>
            <p:ph idx="22" hasCustomPrompt="1"/>
          </p:nvPr>
        </p:nvSpPr>
        <p:spPr>
          <a:xfrm>
            <a:off x="4225925" y="3105128"/>
            <a:ext cx="3400425" cy="324000"/>
          </a:xfrm>
          <a:solidFill>
            <a:schemeClr val="accent2"/>
          </a:solidFill>
        </p:spPr>
        <p:txBody>
          <a:bodyPr vert="horz" lIns="108000" tIns="45720" rIns="72000" bIns="45720" numCol="1" spcCol="216000" rtlCol="0" anchor="ctr" anchorCtr="0">
            <a:noAutofit/>
          </a:bodyPr>
          <a:lstStyle>
            <a:lvl1pPr>
              <a:defRPr lang="en-US" sz="1400" cap="all" baseline="0" dirty="0">
                <a:solidFill>
                  <a:schemeClr val="tx2"/>
                </a:solidFill>
              </a:defRPr>
            </a:lvl1pPr>
            <a:lvl2pPr>
              <a:defRPr lang="en-US" sz="900" dirty="0">
                <a:solidFill>
                  <a:schemeClr val="tx1"/>
                </a:solidFill>
              </a:defRPr>
            </a:lvl2pPr>
            <a:lvl3pPr>
              <a:defRPr lang="en-US" sz="800" dirty="0">
                <a:solidFill>
                  <a:schemeClr val="tx1"/>
                </a:solidFill>
              </a:defRPr>
            </a:lvl3pPr>
            <a:lvl4pPr>
              <a:defRPr lang="en-US" sz="700" dirty="0">
                <a:solidFill>
                  <a:schemeClr val="tx1"/>
                </a:solidFill>
              </a:defRPr>
            </a:lvl4pPr>
            <a:lvl5pPr>
              <a:defRPr lang="en-US" sz="700" dirty="0">
                <a:solidFill>
                  <a:schemeClr val="tx1"/>
                </a:solidFill>
              </a:defRPr>
            </a:lvl5pPr>
          </a:lstStyle>
          <a:p>
            <a:pPr lvl="0"/>
            <a:r>
              <a:rPr lang="en-US" dirty="0"/>
              <a:t>SUBHEAD</a:t>
            </a:r>
          </a:p>
        </p:txBody>
      </p:sp>
      <p:sp>
        <p:nvSpPr>
          <p:cNvPr id="21" name="Content Placeholder 2">
            <a:extLst>
              <a:ext uri="{FF2B5EF4-FFF2-40B4-BE49-F238E27FC236}">
                <a16:creationId xmlns:a16="http://schemas.microsoft.com/office/drawing/2014/main" id="{B8365A59-2337-7B5E-B124-66D8436B5263}"/>
              </a:ext>
            </a:extLst>
          </p:cNvPr>
          <p:cNvSpPr>
            <a:spLocks noGrp="1"/>
          </p:cNvSpPr>
          <p:nvPr>
            <p:ph idx="25" hasCustomPrompt="1"/>
          </p:nvPr>
        </p:nvSpPr>
        <p:spPr>
          <a:xfrm>
            <a:off x="507999" y="5101983"/>
            <a:ext cx="3400425" cy="1114520"/>
          </a:xfrm>
          <a:solidFill>
            <a:schemeClr val="bg2"/>
          </a:solidFill>
        </p:spPr>
        <p:txBody>
          <a:bodyPr vert="horz" lIns="108000" tIns="72000" rIns="72000" bIns="36000" numCol="1" spcCol="288000" rtlCol="0">
            <a:noAutofit/>
          </a:bodyPr>
          <a:lstStyle>
            <a:lvl1pPr>
              <a:lnSpc>
                <a:spcPct val="130000"/>
              </a:lnSpc>
              <a:spcBef>
                <a:spcPts val="200"/>
              </a:spcBef>
              <a:spcAft>
                <a:spcPts val="200"/>
              </a:spcAft>
              <a:defRPr lang="en-US" sz="1100" dirty="0" smtClean="0">
                <a:solidFill>
                  <a:schemeClr val="tx1"/>
                </a:solidFill>
                <a:latin typeface="+mn-lt"/>
              </a:defRPr>
            </a:lvl1pPr>
            <a:lvl2pPr marL="171450" indent="-171450">
              <a:lnSpc>
                <a:spcPct val="130000"/>
              </a:lnSpc>
              <a:spcBef>
                <a:spcPts val="200"/>
              </a:spcBef>
              <a:spcAft>
                <a:spcPts val="200"/>
              </a:spcAft>
              <a:buFont typeface="Arial" panose="020B0604020202020204" pitchFamily="34" charset="0"/>
              <a:buChar char="•"/>
              <a:defRPr lang="en-US" sz="1000" dirty="0"/>
            </a:lvl2pPr>
            <a:lvl3pPr marL="360363" indent="-182563">
              <a:lnSpc>
                <a:spcPct val="130000"/>
              </a:lnSpc>
              <a:spcBef>
                <a:spcPts val="200"/>
              </a:spcBef>
              <a:spcAft>
                <a:spcPts val="200"/>
              </a:spcAft>
              <a:defRPr lang="en-US" sz="1000" dirty="0"/>
            </a:lvl3pPr>
            <a:lvl4pPr>
              <a:defRPr lang="en-US" sz="1000" dirty="0"/>
            </a:lvl4pPr>
            <a:lvl5pPr>
              <a:defRPr lang="en-US" sz="1000" dirty="0"/>
            </a:lvl5pPr>
          </a:lstStyle>
          <a:p>
            <a:pPr lvl="0"/>
            <a:r>
              <a:rPr lang="en-US" dirty="0"/>
              <a:t>Click to edit master text styles</a:t>
            </a:r>
          </a:p>
          <a:p>
            <a:pPr lvl="1"/>
            <a:r>
              <a:rPr lang="en-US" dirty="0"/>
              <a:t>Second level</a:t>
            </a:r>
          </a:p>
          <a:p>
            <a:pPr lvl="2"/>
            <a:r>
              <a:rPr lang="en-US" dirty="0"/>
              <a:t>Third level</a:t>
            </a:r>
          </a:p>
        </p:txBody>
      </p:sp>
      <p:sp>
        <p:nvSpPr>
          <p:cNvPr id="22" name="Content Placeholder 2">
            <a:extLst>
              <a:ext uri="{FF2B5EF4-FFF2-40B4-BE49-F238E27FC236}">
                <a16:creationId xmlns:a16="http://schemas.microsoft.com/office/drawing/2014/main" id="{74EDE4A7-B395-2B29-E429-599F2CF2BC66}"/>
              </a:ext>
            </a:extLst>
          </p:cNvPr>
          <p:cNvSpPr>
            <a:spLocks noGrp="1"/>
          </p:cNvSpPr>
          <p:nvPr>
            <p:ph idx="26" hasCustomPrompt="1"/>
          </p:nvPr>
        </p:nvSpPr>
        <p:spPr>
          <a:xfrm>
            <a:off x="507999" y="4777982"/>
            <a:ext cx="3400425" cy="324000"/>
          </a:xfrm>
          <a:solidFill>
            <a:schemeClr val="accent2"/>
          </a:solidFill>
        </p:spPr>
        <p:txBody>
          <a:bodyPr vert="horz" lIns="108000" tIns="45720" rIns="72000" bIns="45720" numCol="1" spcCol="216000" rtlCol="0" anchor="ctr" anchorCtr="0">
            <a:noAutofit/>
          </a:bodyPr>
          <a:lstStyle>
            <a:lvl1pPr>
              <a:defRPr lang="en-US" sz="1400" cap="all" baseline="0" dirty="0">
                <a:solidFill>
                  <a:schemeClr val="tx2"/>
                </a:solidFill>
              </a:defRPr>
            </a:lvl1pPr>
            <a:lvl2pPr>
              <a:defRPr lang="en-US" sz="900" dirty="0">
                <a:solidFill>
                  <a:schemeClr val="tx1"/>
                </a:solidFill>
              </a:defRPr>
            </a:lvl2pPr>
            <a:lvl3pPr>
              <a:defRPr lang="en-US" sz="800" dirty="0">
                <a:solidFill>
                  <a:schemeClr val="tx1"/>
                </a:solidFill>
              </a:defRPr>
            </a:lvl3pPr>
            <a:lvl4pPr>
              <a:defRPr lang="en-US" sz="700" dirty="0">
                <a:solidFill>
                  <a:schemeClr val="tx1"/>
                </a:solidFill>
              </a:defRPr>
            </a:lvl4pPr>
            <a:lvl5pPr>
              <a:defRPr lang="en-US" sz="700" dirty="0">
                <a:solidFill>
                  <a:schemeClr val="tx1"/>
                </a:solidFill>
              </a:defRPr>
            </a:lvl5pPr>
          </a:lstStyle>
          <a:p>
            <a:pPr lvl="0"/>
            <a:r>
              <a:rPr lang="en-US" dirty="0"/>
              <a:t>SUBHEAD</a:t>
            </a:r>
          </a:p>
        </p:txBody>
      </p:sp>
      <p:sp>
        <p:nvSpPr>
          <p:cNvPr id="23" name="Content Placeholder 2">
            <a:extLst>
              <a:ext uri="{FF2B5EF4-FFF2-40B4-BE49-F238E27FC236}">
                <a16:creationId xmlns:a16="http://schemas.microsoft.com/office/drawing/2014/main" id="{CF99ABED-044C-C28A-86DC-D97A636A68EE}"/>
              </a:ext>
            </a:extLst>
          </p:cNvPr>
          <p:cNvSpPr>
            <a:spLocks noGrp="1"/>
          </p:cNvSpPr>
          <p:nvPr>
            <p:ph idx="27" hasCustomPrompt="1"/>
          </p:nvPr>
        </p:nvSpPr>
        <p:spPr>
          <a:xfrm>
            <a:off x="4225925" y="5101983"/>
            <a:ext cx="3400425" cy="1114520"/>
          </a:xfrm>
          <a:solidFill>
            <a:schemeClr val="bg2"/>
          </a:solidFill>
        </p:spPr>
        <p:txBody>
          <a:bodyPr vert="horz" lIns="108000" tIns="72000" rIns="72000" bIns="36000" numCol="1" spcCol="288000" rtlCol="0">
            <a:noAutofit/>
          </a:bodyPr>
          <a:lstStyle>
            <a:lvl1pPr>
              <a:lnSpc>
                <a:spcPct val="130000"/>
              </a:lnSpc>
              <a:spcBef>
                <a:spcPts val="200"/>
              </a:spcBef>
              <a:spcAft>
                <a:spcPts val="200"/>
              </a:spcAft>
              <a:defRPr lang="en-US" sz="1100" dirty="0" smtClean="0">
                <a:solidFill>
                  <a:schemeClr val="tx1"/>
                </a:solidFill>
                <a:latin typeface="+mn-lt"/>
              </a:defRPr>
            </a:lvl1pPr>
            <a:lvl2pPr marL="171450" indent="-171450">
              <a:lnSpc>
                <a:spcPct val="130000"/>
              </a:lnSpc>
              <a:spcBef>
                <a:spcPts val="200"/>
              </a:spcBef>
              <a:spcAft>
                <a:spcPts val="200"/>
              </a:spcAft>
              <a:buFont typeface="Arial" panose="020B0604020202020204" pitchFamily="34" charset="0"/>
              <a:buChar char="•"/>
              <a:defRPr lang="en-US" sz="1000" dirty="0"/>
            </a:lvl2pPr>
            <a:lvl3pPr marL="360363" indent="-182563">
              <a:lnSpc>
                <a:spcPct val="130000"/>
              </a:lnSpc>
              <a:spcBef>
                <a:spcPts val="200"/>
              </a:spcBef>
              <a:spcAft>
                <a:spcPts val="200"/>
              </a:spcAft>
              <a:defRPr lang="en-US" sz="1000" dirty="0"/>
            </a:lvl3pPr>
            <a:lvl4pPr>
              <a:defRPr lang="en-US" sz="1000" dirty="0"/>
            </a:lvl4pPr>
            <a:lvl5pPr>
              <a:defRPr lang="en-US" sz="1000" dirty="0"/>
            </a:lvl5pPr>
          </a:lstStyle>
          <a:p>
            <a:pPr lvl="0"/>
            <a:r>
              <a:rPr lang="en-US" dirty="0"/>
              <a:t>Click to edit master text styles</a:t>
            </a:r>
          </a:p>
          <a:p>
            <a:pPr lvl="1"/>
            <a:r>
              <a:rPr lang="en-US" dirty="0"/>
              <a:t>Second level</a:t>
            </a:r>
          </a:p>
          <a:p>
            <a:pPr lvl="2"/>
            <a:r>
              <a:rPr lang="en-US" dirty="0"/>
              <a:t>Third level</a:t>
            </a:r>
          </a:p>
        </p:txBody>
      </p:sp>
      <p:sp>
        <p:nvSpPr>
          <p:cNvPr id="24" name="Content Placeholder 2">
            <a:extLst>
              <a:ext uri="{FF2B5EF4-FFF2-40B4-BE49-F238E27FC236}">
                <a16:creationId xmlns:a16="http://schemas.microsoft.com/office/drawing/2014/main" id="{59C2FBAA-C8E8-1022-B792-35D5DDB21932}"/>
              </a:ext>
            </a:extLst>
          </p:cNvPr>
          <p:cNvSpPr>
            <a:spLocks noGrp="1"/>
          </p:cNvSpPr>
          <p:nvPr>
            <p:ph idx="28" hasCustomPrompt="1"/>
          </p:nvPr>
        </p:nvSpPr>
        <p:spPr>
          <a:xfrm>
            <a:off x="4225925" y="4777982"/>
            <a:ext cx="3400425" cy="324000"/>
          </a:xfrm>
          <a:solidFill>
            <a:schemeClr val="accent2"/>
          </a:solidFill>
        </p:spPr>
        <p:txBody>
          <a:bodyPr vert="horz" lIns="108000" tIns="45720" rIns="72000" bIns="45720" numCol="1" spcCol="216000" rtlCol="0" anchor="ctr" anchorCtr="0">
            <a:noAutofit/>
          </a:bodyPr>
          <a:lstStyle>
            <a:lvl1pPr>
              <a:defRPr lang="en-US" sz="1400" cap="all" baseline="0" dirty="0">
                <a:solidFill>
                  <a:schemeClr val="tx2"/>
                </a:solidFill>
              </a:defRPr>
            </a:lvl1pPr>
            <a:lvl2pPr>
              <a:defRPr lang="en-US" sz="900" dirty="0">
                <a:solidFill>
                  <a:schemeClr val="tx1"/>
                </a:solidFill>
              </a:defRPr>
            </a:lvl2pPr>
            <a:lvl3pPr>
              <a:defRPr lang="en-US" sz="800" dirty="0">
                <a:solidFill>
                  <a:schemeClr val="tx1"/>
                </a:solidFill>
              </a:defRPr>
            </a:lvl3pPr>
            <a:lvl4pPr>
              <a:defRPr lang="en-US" sz="700" dirty="0">
                <a:solidFill>
                  <a:schemeClr val="tx1"/>
                </a:solidFill>
              </a:defRPr>
            </a:lvl4pPr>
            <a:lvl5pPr>
              <a:defRPr lang="en-US" sz="700" dirty="0">
                <a:solidFill>
                  <a:schemeClr val="tx1"/>
                </a:solidFill>
              </a:defRPr>
            </a:lvl5pPr>
          </a:lstStyle>
          <a:p>
            <a:pPr lvl="0"/>
            <a:r>
              <a:rPr lang="en-US" dirty="0"/>
              <a:t>SUBHEAD</a:t>
            </a:r>
          </a:p>
        </p:txBody>
      </p:sp>
      <p:sp>
        <p:nvSpPr>
          <p:cNvPr id="25" name="Content Placeholder 2">
            <a:extLst>
              <a:ext uri="{FF2B5EF4-FFF2-40B4-BE49-F238E27FC236}">
                <a16:creationId xmlns:a16="http://schemas.microsoft.com/office/drawing/2014/main" id="{E497A41E-4D82-64E2-A036-639EC0DE36DF}"/>
              </a:ext>
            </a:extLst>
          </p:cNvPr>
          <p:cNvSpPr>
            <a:spLocks noGrp="1"/>
          </p:cNvSpPr>
          <p:nvPr>
            <p:ph idx="45" hasCustomPrompt="1"/>
          </p:nvPr>
        </p:nvSpPr>
        <p:spPr>
          <a:xfrm>
            <a:off x="8737600" y="1776766"/>
            <a:ext cx="2963863" cy="3957531"/>
          </a:xfrm>
        </p:spPr>
        <p:txBody>
          <a:bodyPr vert="horz" lIns="0" tIns="45720" rIns="0" bIns="45720" rtlCol="0">
            <a:normAutofit/>
          </a:bodyPr>
          <a:lstStyle>
            <a:lvl1pPr algn="l" defTabSz="914400" rtl="0" eaLnBrk="1" latinLnBrk="0" hangingPunct="1">
              <a:lnSpc>
                <a:spcPct val="130000"/>
              </a:lnSpc>
              <a:spcBef>
                <a:spcPts val="300"/>
              </a:spcBef>
              <a:spcAft>
                <a:spcPts val="300"/>
              </a:spcAft>
              <a:buFont typeface="Arial" panose="020B0604020202020204" pitchFamily="34" charset="0"/>
              <a:defRPr lang="en-US" sz="1100" kern="1200" dirty="0">
                <a:solidFill>
                  <a:schemeClr val="bg1"/>
                </a:solidFill>
                <a:latin typeface="+mn-lt"/>
                <a:ea typeface="+mn-ea"/>
                <a:cs typeface="+mn-cs"/>
              </a:defRPr>
            </a:lvl1pPr>
            <a:lvl2pPr>
              <a:buClr>
                <a:schemeClr val="bg1"/>
              </a:buClr>
              <a:defRPr lang="en-US" dirty="0">
                <a:solidFill>
                  <a:schemeClr val="bg1"/>
                </a:solidFill>
              </a:defRPr>
            </a:lvl2pPr>
            <a:lvl3pPr>
              <a:buClr>
                <a:schemeClr val="bg1"/>
              </a:buClr>
              <a:defRPr lang="en-US" dirty="0">
                <a:solidFill>
                  <a:schemeClr val="bg1"/>
                </a:solidFill>
              </a:defRPr>
            </a:lvl3pPr>
            <a:lvl4pPr>
              <a:buClr>
                <a:schemeClr val="bg1"/>
              </a:buClr>
              <a:defRPr lang="en-US" dirty="0">
                <a:solidFill>
                  <a:schemeClr val="bg1"/>
                </a:solidFill>
              </a:defRPr>
            </a:lvl4pPr>
            <a:lvl5pPr>
              <a:buClr>
                <a:schemeClr val="bg1"/>
              </a:buClr>
              <a:defRPr lang="en-US" dirty="0">
                <a:solidFill>
                  <a:schemeClr val="bg1"/>
                </a:solidFill>
              </a:defRPr>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26" name="Content Placeholder 2">
            <a:extLst>
              <a:ext uri="{FF2B5EF4-FFF2-40B4-BE49-F238E27FC236}">
                <a16:creationId xmlns:a16="http://schemas.microsoft.com/office/drawing/2014/main" id="{123D41BC-9007-2312-E1BA-E0A352CDB62C}"/>
              </a:ext>
            </a:extLst>
          </p:cNvPr>
          <p:cNvSpPr>
            <a:spLocks noGrp="1"/>
          </p:cNvSpPr>
          <p:nvPr>
            <p:ph idx="46" hasCustomPrompt="1"/>
          </p:nvPr>
        </p:nvSpPr>
        <p:spPr>
          <a:xfrm>
            <a:off x="8737600" y="1411005"/>
            <a:ext cx="2946399" cy="365761"/>
          </a:xfrm>
        </p:spPr>
        <p:txBody>
          <a:bodyPr/>
          <a:lstStyle>
            <a:lvl1pPr>
              <a:defRPr cap="all" baseline="0">
                <a:solidFill>
                  <a:schemeClr val="accent2"/>
                </a:solidFill>
              </a:defRPr>
            </a:lvl1pPr>
          </a:lstStyle>
          <a:p>
            <a:pPr lvl="0"/>
            <a:r>
              <a:rPr lang="en-US" dirty="0"/>
              <a:t>subhead</a:t>
            </a:r>
          </a:p>
        </p:txBody>
      </p:sp>
    </p:spTree>
    <p:extLst>
      <p:ext uri="{BB962C8B-B14F-4D97-AF65-F5344CB8AC3E}">
        <p14:creationId xmlns:p14="http://schemas.microsoft.com/office/powerpoint/2010/main" val="1595887259"/>
      </p:ext>
    </p:extLst>
  </p:cSld>
  <p:clrMapOvr>
    <a:masterClrMapping/>
  </p:clrMapOvr>
  <p:transition spd="med">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6 Boxes &amp; Pull-out Text v2">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CE16555-276D-66C1-09B7-7038F8B3336C}"/>
              </a:ext>
            </a:extLst>
          </p:cNvPr>
          <p:cNvSpPr/>
          <p:nvPr userDrawn="1"/>
        </p:nvSpPr>
        <p:spPr>
          <a:xfrm>
            <a:off x="8126413" y="0"/>
            <a:ext cx="4065587"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p:ph idx="1" hasCustomPrompt="1"/>
          </p:nvPr>
        </p:nvSpPr>
        <p:spPr>
          <a:xfrm>
            <a:off x="507999" y="1735006"/>
            <a:ext cx="3400425" cy="1114520"/>
          </a:xfrm>
          <a:solidFill>
            <a:schemeClr val="bg2"/>
          </a:solidFill>
        </p:spPr>
        <p:txBody>
          <a:bodyPr vert="horz" lIns="108000" tIns="72000" rIns="72000" bIns="36000" numCol="1" spcCol="288000" rtlCol="0">
            <a:noAutofit/>
          </a:bodyPr>
          <a:lstStyle>
            <a:lvl1pPr>
              <a:lnSpc>
                <a:spcPct val="130000"/>
              </a:lnSpc>
              <a:spcBef>
                <a:spcPts val="200"/>
              </a:spcBef>
              <a:spcAft>
                <a:spcPts val="200"/>
              </a:spcAft>
              <a:defRPr lang="en-US" sz="1100" dirty="0" smtClean="0">
                <a:solidFill>
                  <a:schemeClr val="tx1"/>
                </a:solidFill>
                <a:latin typeface="+mn-lt"/>
              </a:defRPr>
            </a:lvl1pPr>
            <a:lvl2pPr marL="171450" indent="-171450">
              <a:lnSpc>
                <a:spcPct val="130000"/>
              </a:lnSpc>
              <a:spcBef>
                <a:spcPts val="200"/>
              </a:spcBef>
              <a:spcAft>
                <a:spcPts val="200"/>
              </a:spcAft>
              <a:buFont typeface="Arial" panose="020B0604020202020204" pitchFamily="34" charset="0"/>
              <a:buChar char="•"/>
              <a:defRPr lang="en-US" sz="1000" dirty="0"/>
            </a:lvl2pPr>
            <a:lvl3pPr marL="360363" indent="-182563">
              <a:lnSpc>
                <a:spcPct val="130000"/>
              </a:lnSpc>
              <a:spcBef>
                <a:spcPts val="200"/>
              </a:spcBef>
              <a:spcAft>
                <a:spcPts val="200"/>
              </a:spcAft>
              <a:defRPr lang="en-US" sz="1000" dirty="0"/>
            </a:lvl3pPr>
            <a:lvl4pPr>
              <a:defRPr lang="en-US" sz="1000" dirty="0"/>
            </a:lvl4pPr>
            <a:lvl5pPr>
              <a:defRPr lang="en-US" sz="1000" dirty="0"/>
            </a:lvl5pPr>
          </a:lstStyle>
          <a:p>
            <a:pPr lvl="0"/>
            <a:r>
              <a:rPr lang="en-US" dirty="0"/>
              <a:t>Click to edit master text styles</a:t>
            </a:r>
          </a:p>
          <a:p>
            <a:pPr lvl="1"/>
            <a:r>
              <a:rPr lang="en-US" dirty="0"/>
              <a:t>Second level</a:t>
            </a:r>
          </a:p>
          <a:p>
            <a:pPr lvl="2"/>
            <a:r>
              <a:rPr lang="en-US" dirty="0"/>
              <a:t>Third level</a:t>
            </a:r>
          </a:p>
        </p:txBody>
      </p:sp>
      <p:sp>
        <p:nvSpPr>
          <p:cNvPr id="5" name="Footer Placeholder 4"/>
          <p:cNvSpPr>
            <a:spLocks noGrp="1"/>
          </p:cNvSpPr>
          <p:nvPr>
            <p:ph type="ftr" sz="quarter" idx="11"/>
          </p:nvPr>
        </p:nvSpPr>
        <p:spPr/>
        <p:txBody>
          <a:bodyPr/>
          <a:lstStyle/>
          <a:p>
            <a:r>
              <a:rPr lang="en-GB"/>
              <a:t>INSERT FOOTER HERE</a:t>
            </a:r>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8CFE0557-AA98-4E6C-B0C3-581794696B68}" type="slidenum">
              <a:rPr lang="en-GB" smtClean="0"/>
              <a:pPr/>
              <a:t>‹#›</a:t>
            </a:fld>
            <a:endParaRPr lang="en-GB"/>
          </a:p>
        </p:txBody>
      </p:sp>
      <p:sp>
        <p:nvSpPr>
          <p:cNvPr id="7" name="Content Placeholder 2">
            <a:extLst>
              <a:ext uri="{FF2B5EF4-FFF2-40B4-BE49-F238E27FC236}">
                <a16:creationId xmlns:a16="http://schemas.microsoft.com/office/drawing/2014/main" id="{B0B00756-BEE2-1E4F-AA11-656D1916E332}"/>
              </a:ext>
            </a:extLst>
          </p:cNvPr>
          <p:cNvSpPr>
            <a:spLocks noGrp="1"/>
          </p:cNvSpPr>
          <p:nvPr>
            <p:ph idx="14" hasCustomPrompt="1"/>
          </p:nvPr>
        </p:nvSpPr>
        <p:spPr>
          <a:xfrm>
            <a:off x="507999" y="1411005"/>
            <a:ext cx="3400425" cy="324000"/>
          </a:xfrm>
          <a:solidFill>
            <a:schemeClr val="tx2"/>
          </a:solidFill>
        </p:spPr>
        <p:txBody>
          <a:bodyPr vert="horz" lIns="108000" tIns="45720" rIns="72000" bIns="45720" numCol="1" spcCol="216000" rtlCol="0" anchor="ctr" anchorCtr="0">
            <a:noAutofit/>
          </a:bodyPr>
          <a:lstStyle>
            <a:lvl1pPr>
              <a:defRPr lang="en-US" cap="all" baseline="0" dirty="0">
                <a:solidFill>
                  <a:schemeClr val="accent2"/>
                </a:solidFill>
              </a:defRPr>
            </a:lvl1pPr>
          </a:lstStyle>
          <a:p>
            <a:pPr lvl="0"/>
            <a:r>
              <a:rPr lang="en-US" dirty="0"/>
              <a:t>SUBHEAD</a:t>
            </a:r>
          </a:p>
        </p:txBody>
      </p:sp>
      <p:sp>
        <p:nvSpPr>
          <p:cNvPr id="4" name="Title 3">
            <a:extLst>
              <a:ext uri="{FF2B5EF4-FFF2-40B4-BE49-F238E27FC236}">
                <a16:creationId xmlns:a16="http://schemas.microsoft.com/office/drawing/2014/main" id="{6729F04B-D5C0-88EC-FA0F-B39A9EACF533}"/>
              </a:ext>
            </a:extLst>
          </p:cNvPr>
          <p:cNvSpPr>
            <a:spLocks noGrp="1"/>
          </p:cNvSpPr>
          <p:nvPr>
            <p:ph type="title" hasCustomPrompt="1"/>
          </p:nvPr>
        </p:nvSpPr>
        <p:spPr>
          <a:xfrm>
            <a:off x="508001" y="454014"/>
            <a:ext cx="7118350" cy="814806"/>
          </a:xfrm>
        </p:spPr>
        <p:txBody>
          <a:bodyPr/>
          <a:lstStyle/>
          <a:p>
            <a:r>
              <a:rPr lang="en-US" dirty="0"/>
              <a:t>TITLE: subtitle</a:t>
            </a:r>
            <a:endParaRPr lang="en-GB" dirty="0"/>
          </a:p>
        </p:txBody>
      </p:sp>
      <p:sp>
        <p:nvSpPr>
          <p:cNvPr id="11" name="Content Placeholder 2">
            <a:extLst>
              <a:ext uri="{FF2B5EF4-FFF2-40B4-BE49-F238E27FC236}">
                <a16:creationId xmlns:a16="http://schemas.microsoft.com/office/drawing/2014/main" id="{0CE1D013-BC17-F297-93DF-A3CE5AC5F6C5}"/>
              </a:ext>
            </a:extLst>
          </p:cNvPr>
          <p:cNvSpPr>
            <a:spLocks noGrp="1"/>
          </p:cNvSpPr>
          <p:nvPr>
            <p:ph idx="15" hasCustomPrompt="1"/>
          </p:nvPr>
        </p:nvSpPr>
        <p:spPr>
          <a:xfrm>
            <a:off x="4225925" y="1735006"/>
            <a:ext cx="3400425" cy="1114520"/>
          </a:xfrm>
          <a:solidFill>
            <a:schemeClr val="bg2"/>
          </a:solidFill>
        </p:spPr>
        <p:txBody>
          <a:bodyPr vert="horz" lIns="108000" tIns="72000" rIns="72000" bIns="36000" numCol="1" spcCol="288000" rtlCol="0">
            <a:noAutofit/>
          </a:bodyPr>
          <a:lstStyle>
            <a:lvl1pPr>
              <a:lnSpc>
                <a:spcPct val="130000"/>
              </a:lnSpc>
              <a:spcBef>
                <a:spcPts val="200"/>
              </a:spcBef>
              <a:spcAft>
                <a:spcPts val="200"/>
              </a:spcAft>
              <a:defRPr lang="en-US" sz="1100" dirty="0" smtClean="0">
                <a:solidFill>
                  <a:schemeClr val="tx1"/>
                </a:solidFill>
                <a:latin typeface="+mn-lt"/>
              </a:defRPr>
            </a:lvl1pPr>
            <a:lvl2pPr marL="171450" indent="-171450">
              <a:lnSpc>
                <a:spcPct val="130000"/>
              </a:lnSpc>
              <a:spcBef>
                <a:spcPts val="200"/>
              </a:spcBef>
              <a:spcAft>
                <a:spcPts val="200"/>
              </a:spcAft>
              <a:buFont typeface="Arial" panose="020B0604020202020204" pitchFamily="34" charset="0"/>
              <a:buChar char="•"/>
              <a:defRPr lang="en-US" sz="1000" dirty="0"/>
            </a:lvl2pPr>
            <a:lvl3pPr marL="360363" indent="-182563">
              <a:lnSpc>
                <a:spcPct val="130000"/>
              </a:lnSpc>
              <a:spcBef>
                <a:spcPts val="200"/>
              </a:spcBef>
              <a:spcAft>
                <a:spcPts val="200"/>
              </a:spcAft>
              <a:defRPr lang="en-US" sz="1000" dirty="0"/>
            </a:lvl3pPr>
            <a:lvl4pPr>
              <a:defRPr lang="en-US" sz="1000" dirty="0"/>
            </a:lvl4pPr>
            <a:lvl5pPr>
              <a:defRPr lang="en-US" sz="1000" dirty="0"/>
            </a:lvl5pPr>
          </a:lstStyle>
          <a:p>
            <a:pPr lvl="0"/>
            <a:r>
              <a:rPr lang="en-US" dirty="0"/>
              <a:t>Click to edit master text styles</a:t>
            </a:r>
          </a:p>
          <a:p>
            <a:pPr lvl="1"/>
            <a:r>
              <a:rPr lang="en-US" dirty="0"/>
              <a:t>Second level</a:t>
            </a:r>
          </a:p>
          <a:p>
            <a:pPr lvl="2"/>
            <a:r>
              <a:rPr lang="en-US" dirty="0"/>
              <a:t>Third level</a:t>
            </a:r>
          </a:p>
        </p:txBody>
      </p:sp>
      <p:sp>
        <p:nvSpPr>
          <p:cNvPr id="12" name="Content Placeholder 2">
            <a:extLst>
              <a:ext uri="{FF2B5EF4-FFF2-40B4-BE49-F238E27FC236}">
                <a16:creationId xmlns:a16="http://schemas.microsoft.com/office/drawing/2014/main" id="{044BC189-C8AB-468D-9AA3-F616D7D61B1C}"/>
              </a:ext>
            </a:extLst>
          </p:cNvPr>
          <p:cNvSpPr>
            <a:spLocks noGrp="1"/>
          </p:cNvSpPr>
          <p:nvPr>
            <p:ph idx="16" hasCustomPrompt="1"/>
          </p:nvPr>
        </p:nvSpPr>
        <p:spPr>
          <a:xfrm>
            <a:off x="4225925" y="1411005"/>
            <a:ext cx="3400425" cy="324000"/>
          </a:xfrm>
          <a:solidFill>
            <a:schemeClr val="tx2"/>
          </a:solidFill>
        </p:spPr>
        <p:txBody>
          <a:bodyPr vert="horz" lIns="108000" tIns="45720" rIns="72000" bIns="45720" numCol="1" spcCol="216000" rtlCol="0" anchor="ctr" anchorCtr="0">
            <a:noAutofit/>
          </a:bodyPr>
          <a:lstStyle>
            <a:lvl1pPr>
              <a:defRPr lang="en-US" cap="all" baseline="0" dirty="0">
                <a:solidFill>
                  <a:schemeClr val="accent2"/>
                </a:solidFill>
              </a:defRPr>
            </a:lvl1pPr>
          </a:lstStyle>
          <a:p>
            <a:pPr lvl="0"/>
            <a:r>
              <a:rPr lang="en-US" dirty="0"/>
              <a:t>SUBHEAD</a:t>
            </a:r>
          </a:p>
        </p:txBody>
      </p:sp>
      <p:sp>
        <p:nvSpPr>
          <p:cNvPr id="15" name="Content Placeholder 2">
            <a:extLst>
              <a:ext uri="{FF2B5EF4-FFF2-40B4-BE49-F238E27FC236}">
                <a16:creationId xmlns:a16="http://schemas.microsoft.com/office/drawing/2014/main" id="{0DBEF8F2-E7A8-CB2A-D6C6-185F68EA57BB}"/>
              </a:ext>
            </a:extLst>
          </p:cNvPr>
          <p:cNvSpPr>
            <a:spLocks noGrp="1"/>
          </p:cNvSpPr>
          <p:nvPr>
            <p:ph idx="19" hasCustomPrompt="1"/>
          </p:nvPr>
        </p:nvSpPr>
        <p:spPr>
          <a:xfrm>
            <a:off x="507999" y="3429129"/>
            <a:ext cx="3400425" cy="1114520"/>
          </a:xfrm>
          <a:solidFill>
            <a:schemeClr val="bg2"/>
          </a:solidFill>
        </p:spPr>
        <p:txBody>
          <a:bodyPr vert="horz" lIns="108000" tIns="72000" rIns="72000" bIns="36000" numCol="1" spcCol="288000" rtlCol="0">
            <a:noAutofit/>
          </a:bodyPr>
          <a:lstStyle>
            <a:lvl1pPr>
              <a:lnSpc>
                <a:spcPct val="130000"/>
              </a:lnSpc>
              <a:spcBef>
                <a:spcPts val="200"/>
              </a:spcBef>
              <a:spcAft>
                <a:spcPts val="200"/>
              </a:spcAft>
              <a:defRPr lang="en-US" sz="1100" dirty="0" smtClean="0">
                <a:solidFill>
                  <a:schemeClr val="tx1"/>
                </a:solidFill>
                <a:latin typeface="+mn-lt"/>
              </a:defRPr>
            </a:lvl1pPr>
            <a:lvl2pPr marL="171450" indent="-171450">
              <a:lnSpc>
                <a:spcPct val="130000"/>
              </a:lnSpc>
              <a:spcBef>
                <a:spcPts val="200"/>
              </a:spcBef>
              <a:spcAft>
                <a:spcPts val="200"/>
              </a:spcAft>
              <a:buFont typeface="Arial" panose="020B0604020202020204" pitchFamily="34" charset="0"/>
              <a:buChar char="•"/>
              <a:defRPr lang="en-US" sz="1000" dirty="0"/>
            </a:lvl2pPr>
            <a:lvl3pPr marL="360363" indent="-182563">
              <a:lnSpc>
                <a:spcPct val="130000"/>
              </a:lnSpc>
              <a:spcBef>
                <a:spcPts val="200"/>
              </a:spcBef>
              <a:spcAft>
                <a:spcPts val="200"/>
              </a:spcAft>
              <a:defRPr lang="en-US" sz="1000" dirty="0"/>
            </a:lvl3pPr>
            <a:lvl4pPr>
              <a:defRPr lang="en-US" sz="1000" dirty="0"/>
            </a:lvl4pPr>
            <a:lvl5pPr>
              <a:defRPr lang="en-US" sz="1000" dirty="0"/>
            </a:lvl5pPr>
          </a:lstStyle>
          <a:p>
            <a:pPr lvl="0"/>
            <a:r>
              <a:rPr lang="en-US" dirty="0"/>
              <a:t>Click to edit master text styles</a:t>
            </a:r>
          </a:p>
          <a:p>
            <a:pPr lvl="1"/>
            <a:r>
              <a:rPr lang="en-US" dirty="0"/>
              <a:t>Second level</a:t>
            </a:r>
          </a:p>
          <a:p>
            <a:pPr lvl="2"/>
            <a:r>
              <a:rPr lang="en-US" dirty="0"/>
              <a:t>Third level</a:t>
            </a:r>
          </a:p>
        </p:txBody>
      </p:sp>
      <p:sp>
        <p:nvSpPr>
          <p:cNvPr id="16" name="Content Placeholder 2">
            <a:extLst>
              <a:ext uri="{FF2B5EF4-FFF2-40B4-BE49-F238E27FC236}">
                <a16:creationId xmlns:a16="http://schemas.microsoft.com/office/drawing/2014/main" id="{62C1633C-AF8C-5672-C8E9-59BF8E705D38}"/>
              </a:ext>
            </a:extLst>
          </p:cNvPr>
          <p:cNvSpPr>
            <a:spLocks noGrp="1"/>
          </p:cNvSpPr>
          <p:nvPr>
            <p:ph idx="20" hasCustomPrompt="1"/>
          </p:nvPr>
        </p:nvSpPr>
        <p:spPr>
          <a:xfrm>
            <a:off x="507999" y="3105128"/>
            <a:ext cx="3400425" cy="324000"/>
          </a:xfrm>
          <a:solidFill>
            <a:schemeClr val="tx2"/>
          </a:solidFill>
        </p:spPr>
        <p:txBody>
          <a:bodyPr vert="horz" lIns="108000" tIns="45720" rIns="72000" bIns="45720" numCol="1" spcCol="216000" rtlCol="0" anchor="ctr" anchorCtr="0">
            <a:noAutofit/>
          </a:bodyPr>
          <a:lstStyle>
            <a:lvl1pPr>
              <a:defRPr lang="en-US" cap="all" baseline="0" dirty="0">
                <a:solidFill>
                  <a:schemeClr val="accent2"/>
                </a:solidFill>
              </a:defRPr>
            </a:lvl1pPr>
          </a:lstStyle>
          <a:p>
            <a:pPr lvl="0"/>
            <a:r>
              <a:rPr lang="en-US" dirty="0"/>
              <a:t>SUBHEAD</a:t>
            </a:r>
          </a:p>
        </p:txBody>
      </p:sp>
      <p:sp>
        <p:nvSpPr>
          <p:cNvPr id="17" name="Content Placeholder 2">
            <a:extLst>
              <a:ext uri="{FF2B5EF4-FFF2-40B4-BE49-F238E27FC236}">
                <a16:creationId xmlns:a16="http://schemas.microsoft.com/office/drawing/2014/main" id="{03927300-C246-F5F7-919E-B25446AA46DA}"/>
              </a:ext>
            </a:extLst>
          </p:cNvPr>
          <p:cNvSpPr>
            <a:spLocks noGrp="1"/>
          </p:cNvSpPr>
          <p:nvPr>
            <p:ph idx="21" hasCustomPrompt="1"/>
          </p:nvPr>
        </p:nvSpPr>
        <p:spPr>
          <a:xfrm>
            <a:off x="4225925" y="3429129"/>
            <a:ext cx="3400425" cy="1114520"/>
          </a:xfrm>
          <a:solidFill>
            <a:schemeClr val="bg2"/>
          </a:solidFill>
        </p:spPr>
        <p:txBody>
          <a:bodyPr vert="horz" lIns="108000" tIns="72000" rIns="72000" bIns="36000" numCol="1" spcCol="288000" rtlCol="0">
            <a:noAutofit/>
          </a:bodyPr>
          <a:lstStyle>
            <a:lvl1pPr>
              <a:lnSpc>
                <a:spcPct val="130000"/>
              </a:lnSpc>
              <a:spcBef>
                <a:spcPts val="200"/>
              </a:spcBef>
              <a:spcAft>
                <a:spcPts val="200"/>
              </a:spcAft>
              <a:defRPr lang="en-US" sz="1100" dirty="0" smtClean="0">
                <a:solidFill>
                  <a:schemeClr val="tx1"/>
                </a:solidFill>
                <a:latin typeface="+mn-lt"/>
              </a:defRPr>
            </a:lvl1pPr>
            <a:lvl2pPr marL="171450" indent="-171450">
              <a:lnSpc>
                <a:spcPct val="130000"/>
              </a:lnSpc>
              <a:spcBef>
                <a:spcPts val="200"/>
              </a:spcBef>
              <a:spcAft>
                <a:spcPts val="200"/>
              </a:spcAft>
              <a:buFont typeface="Arial" panose="020B0604020202020204" pitchFamily="34" charset="0"/>
              <a:buChar char="•"/>
              <a:defRPr lang="en-US" sz="1000" dirty="0"/>
            </a:lvl2pPr>
            <a:lvl3pPr marL="360363" indent="-182563">
              <a:lnSpc>
                <a:spcPct val="130000"/>
              </a:lnSpc>
              <a:spcBef>
                <a:spcPts val="200"/>
              </a:spcBef>
              <a:spcAft>
                <a:spcPts val="200"/>
              </a:spcAft>
              <a:defRPr lang="en-US" sz="1000" dirty="0"/>
            </a:lvl3pPr>
            <a:lvl4pPr>
              <a:defRPr lang="en-US" sz="1000" dirty="0"/>
            </a:lvl4pPr>
            <a:lvl5pPr>
              <a:defRPr lang="en-US" sz="1000" dirty="0"/>
            </a:lvl5pPr>
          </a:lstStyle>
          <a:p>
            <a:pPr lvl="0"/>
            <a:r>
              <a:rPr lang="en-US" dirty="0"/>
              <a:t>Click to edit master text styles</a:t>
            </a:r>
          </a:p>
          <a:p>
            <a:pPr lvl="1"/>
            <a:r>
              <a:rPr lang="en-US" dirty="0"/>
              <a:t>Second level</a:t>
            </a:r>
          </a:p>
          <a:p>
            <a:pPr lvl="2"/>
            <a:r>
              <a:rPr lang="en-US" dirty="0"/>
              <a:t>Third level</a:t>
            </a:r>
          </a:p>
        </p:txBody>
      </p:sp>
      <p:sp>
        <p:nvSpPr>
          <p:cNvPr id="18" name="Content Placeholder 2">
            <a:extLst>
              <a:ext uri="{FF2B5EF4-FFF2-40B4-BE49-F238E27FC236}">
                <a16:creationId xmlns:a16="http://schemas.microsoft.com/office/drawing/2014/main" id="{376ABD33-7DE6-932D-F04B-E72ED7FB6DE7}"/>
              </a:ext>
            </a:extLst>
          </p:cNvPr>
          <p:cNvSpPr>
            <a:spLocks noGrp="1"/>
          </p:cNvSpPr>
          <p:nvPr>
            <p:ph idx="22" hasCustomPrompt="1"/>
          </p:nvPr>
        </p:nvSpPr>
        <p:spPr>
          <a:xfrm>
            <a:off x="4225925" y="3105128"/>
            <a:ext cx="3400425" cy="324000"/>
          </a:xfrm>
          <a:solidFill>
            <a:schemeClr val="tx2"/>
          </a:solidFill>
        </p:spPr>
        <p:txBody>
          <a:bodyPr vert="horz" lIns="108000" tIns="45720" rIns="72000" bIns="45720" numCol="1" spcCol="216000" rtlCol="0" anchor="ctr" anchorCtr="0">
            <a:noAutofit/>
          </a:bodyPr>
          <a:lstStyle>
            <a:lvl1pPr>
              <a:defRPr lang="en-US" cap="all" baseline="0" dirty="0">
                <a:solidFill>
                  <a:schemeClr val="accent2"/>
                </a:solidFill>
              </a:defRPr>
            </a:lvl1pPr>
          </a:lstStyle>
          <a:p>
            <a:pPr lvl="0"/>
            <a:r>
              <a:rPr lang="en-US" dirty="0"/>
              <a:t>SUBHEAD</a:t>
            </a:r>
          </a:p>
        </p:txBody>
      </p:sp>
      <p:sp>
        <p:nvSpPr>
          <p:cNvPr id="21" name="Content Placeholder 2">
            <a:extLst>
              <a:ext uri="{FF2B5EF4-FFF2-40B4-BE49-F238E27FC236}">
                <a16:creationId xmlns:a16="http://schemas.microsoft.com/office/drawing/2014/main" id="{B8365A59-2337-7B5E-B124-66D8436B5263}"/>
              </a:ext>
            </a:extLst>
          </p:cNvPr>
          <p:cNvSpPr>
            <a:spLocks noGrp="1"/>
          </p:cNvSpPr>
          <p:nvPr>
            <p:ph idx="25" hasCustomPrompt="1"/>
          </p:nvPr>
        </p:nvSpPr>
        <p:spPr>
          <a:xfrm>
            <a:off x="507999" y="5101983"/>
            <a:ext cx="3400425" cy="1114520"/>
          </a:xfrm>
          <a:solidFill>
            <a:schemeClr val="bg2"/>
          </a:solidFill>
        </p:spPr>
        <p:txBody>
          <a:bodyPr vert="horz" lIns="108000" tIns="72000" rIns="72000" bIns="36000" numCol="1" spcCol="288000" rtlCol="0">
            <a:noAutofit/>
          </a:bodyPr>
          <a:lstStyle>
            <a:lvl1pPr>
              <a:lnSpc>
                <a:spcPct val="130000"/>
              </a:lnSpc>
              <a:spcBef>
                <a:spcPts val="200"/>
              </a:spcBef>
              <a:spcAft>
                <a:spcPts val="200"/>
              </a:spcAft>
              <a:defRPr lang="en-US" sz="1100" dirty="0" smtClean="0">
                <a:solidFill>
                  <a:schemeClr val="tx1"/>
                </a:solidFill>
                <a:latin typeface="+mn-lt"/>
              </a:defRPr>
            </a:lvl1pPr>
            <a:lvl2pPr marL="171450" indent="-171450">
              <a:lnSpc>
                <a:spcPct val="130000"/>
              </a:lnSpc>
              <a:spcBef>
                <a:spcPts val="200"/>
              </a:spcBef>
              <a:spcAft>
                <a:spcPts val="200"/>
              </a:spcAft>
              <a:buFont typeface="Arial" panose="020B0604020202020204" pitchFamily="34" charset="0"/>
              <a:buChar char="•"/>
              <a:defRPr lang="en-US" sz="1000" dirty="0"/>
            </a:lvl2pPr>
            <a:lvl3pPr marL="360363" indent="-182563">
              <a:lnSpc>
                <a:spcPct val="130000"/>
              </a:lnSpc>
              <a:spcBef>
                <a:spcPts val="200"/>
              </a:spcBef>
              <a:spcAft>
                <a:spcPts val="200"/>
              </a:spcAft>
              <a:defRPr lang="en-US" sz="1000" dirty="0"/>
            </a:lvl3pPr>
            <a:lvl4pPr>
              <a:defRPr lang="en-US" sz="1000" dirty="0"/>
            </a:lvl4pPr>
            <a:lvl5pPr>
              <a:defRPr lang="en-US" sz="1000" dirty="0"/>
            </a:lvl5pPr>
          </a:lstStyle>
          <a:p>
            <a:pPr lvl="0"/>
            <a:r>
              <a:rPr lang="en-US" dirty="0"/>
              <a:t>Click to edit master text styles</a:t>
            </a:r>
          </a:p>
          <a:p>
            <a:pPr lvl="1"/>
            <a:r>
              <a:rPr lang="en-US" dirty="0"/>
              <a:t>Second level</a:t>
            </a:r>
          </a:p>
          <a:p>
            <a:pPr lvl="2"/>
            <a:r>
              <a:rPr lang="en-US" dirty="0"/>
              <a:t>Third level</a:t>
            </a:r>
          </a:p>
        </p:txBody>
      </p:sp>
      <p:sp>
        <p:nvSpPr>
          <p:cNvPr id="22" name="Content Placeholder 2">
            <a:extLst>
              <a:ext uri="{FF2B5EF4-FFF2-40B4-BE49-F238E27FC236}">
                <a16:creationId xmlns:a16="http://schemas.microsoft.com/office/drawing/2014/main" id="{74EDE4A7-B395-2B29-E429-599F2CF2BC66}"/>
              </a:ext>
            </a:extLst>
          </p:cNvPr>
          <p:cNvSpPr>
            <a:spLocks noGrp="1"/>
          </p:cNvSpPr>
          <p:nvPr>
            <p:ph idx="26" hasCustomPrompt="1"/>
          </p:nvPr>
        </p:nvSpPr>
        <p:spPr>
          <a:xfrm>
            <a:off x="507999" y="4777982"/>
            <a:ext cx="3400425" cy="324000"/>
          </a:xfrm>
          <a:solidFill>
            <a:schemeClr val="tx2"/>
          </a:solidFill>
        </p:spPr>
        <p:txBody>
          <a:bodyPr vert="horz" lIns="108000" tIns="45720" rIns="72000" bIns="45720" numCol="1" spcCol="216000" rtlCol="0" anchor="ctr" anchorCtr="0">
            <a:noAutofit/>
          </a:bodyPr>
          <a:lstStyle>
            <a:lvl1pPr>
              <a:defRPr lang="en-US" cap="all" baseline="0" dirty="0">
                <a:solidFill>
                  <a:schemeClr val="accent2"/>
                </a:solidFill>
              </a:defRPr>
            </a:lvl1pPr>
          </a:lstStyle>
          <a:p>
            <a:pPr lvl="0"/>
            <a:r>
              <a:rPr lang="en-US" dirty="0"/>
              <a:t>SUBHEAD</a:t>
            </a:r>
          </a:p>
        </p:txBody>
      </p:sp>
      <p:sp>
        <p:nvSpPr>
          <p:cNvPr id="23" name="Content Placeholder 2">
            <a:extLst>
              <a:ext uri="{FF2B5EF4-FFF2-40B4-BE49-F238E27FC236}">
                <a16:creationId xmlns:a16="http://schemas.microsoft.com/office/drawing/2014/main" id="{CF99ABED-044C-C28A-86DC-D97A636A68EE}"/>
              </a:ext>
            </a:extLst>
          </p:cNvPr>
          <p:cNvSpPr>
            <a:spLocks noGrp="1"/>
          </p:cNvSpPr>
          <p:nvPr>
            <p:ph idx="27" hasCustomPrompt="1"/>
          </p:nvPr>
        </p:nvSpPr>
        <p:spPr>
          <a:xfrm>
            <a:off x="4225925" y="5101983"/>
            <a:ext cx="3400425" cy="1114520"/>
          </a:xfrm>
          <a:solidFill>
            <a:schemeClr val="bg2"/>
          </a:solidFill>
        </p:spPr>
        <p:txBody>
          <a:bodyPr vert="horz" lIns="108000" tIns="72000" rIns="72000" bIns="36000" numCol="1" spcCol="288000" rtlCol="0">
            <a:noAutofit/>
          </a:bodyPr>
          <a:lstStyle>
            <a:lvl1pPr>
              <a:lnSpc>
                <a:spcPct val="130000"/>
              </a:lnSpc>
              <a:spcBef>
                <a:spcPts val="200"/>
              </a:spcBef>
              <a:spcAft>
                <a:spcPts val="200"/>
              </a:spcAft>
              <a:defRPr lang="en-US" sz="1100" dirty="0" smtClean="0">
                <a:solidFill>
                  <a:schemeClr val="tx1"/>
                </a:solidFill>
                <a:latin typeface="+mn-lt"/>
              </a:defRPr>
            </a:lvl1pPr>
            <a:lvl2pPr marL="171450" indent="-171450">
              <a:lnSpc>
                <a:spcPct val="130000"/>
              </a:lnSpc>
              <a:spcBef>
                <a:spcPts val="200"/>
              </a:spcBef>
              <a:spcAft>
                <a:spcPts val="200"/>
              </a:spcAft>
              <a:buFont typeface="Arial" panose="020B0604020202020204" pitchFamily="34" charset="0"/>
              <a:buChar char="•"/>
              <a:defRPr lang="en-US" sz="1000" dirty="0"/>
            </a:lvl2pPr>
            <a:lvl3pPr marL="360363" indent="-182563">
              <a:lnSpc>
                <a:spcPct val="130000"/>
              </a:lnSpc>
              <a:spcBef>
                <a:spcPts val="200"/>
              </a:spcBef>
              <a:spcAft>
                <a:spcPts val="200"/>
              </a:spcAft>
              <a:defRPr lang="en-US" sz="1000" dirty="0"/>
            </a:lvl3pPr>
            <a:lvl4pPr>
              <a:defRPr lang="en-US" sz="1000" dirty="0"/>
            </a:lvl4pPr>
            <a:lvl5pPr>
              <a:defRPr lang="en-US" sz="1000" dirty="0"/>
            </a:lvl5pPr>
          </a:lstStyle>
          <a:p>
            <a:pPr lvl="0"/>
            <a:r>
              <a:rPr lang="en-US" dirty="0"/>
              <a:t>Click to edit master text styles</a:t>
            </a:r>
          </a:p>
          <a:p>
            <a:pPr lvl="1"/>
            <a:r>
              <a:rPr lang="en-US" dirty="0"/>
              <a:t>Second level</a:t>
            </a:r>
          </a:p>
          <a:p>
            <a:pPr lvl="2"/>
            <a:r>
              <a:rPr lang="en-US" dirty="0"/>
              <a:t>Third level</a:t>
            </a:r>
          </a:p>
        </p:txBody>
      </p:sp>
      <p:sp>
        <p:nvSpPr>
          <p:cNvPr id="24" name="Content Placeholder 2">
            <a:extLst>
              <a:ext uri="{FF2B5EF4-FFF2-40B4-BE49-F238E27FC236}">
                <a16:creationId xmlns:a16="http://schemas.microsoft.com/office/drawing/2014/main" id="{59C2FBAA-C8E8-1022-B792-35D5DDB21932}"/>
              </a:ext>
            </a:extLst>
          </p:cNvPr>
          <p:cNvSpPr>
            <a:spLocks noGrp="1"/>
          </p:cNvSpPr>
          <p:nvPr>
            <p:ph idx="28" hasCustomPrompt="1"/>
          </p:nvPr>
        </p:nvSpPr>
        <p:spPr>
          <a:xfrm>
            <a:off x="4225925" y="4777982"/>
            <a:ext cx="3400425" cy="324000"/>
          </a:xfrm>
          <a:solidFill>
            <a:schemeClr val="tx2"/>
          </a:solidFill>
        </p:spPr>
        <p:txBody>
          <a:bodyPr vert="horz" lIns="108000" tIns="45720" rIns="72000" bIns="45720" numCol="1" spcCol="216000" rtlCol="0" anchor="ctr" anchorCtr="0">
            <a:noAutofit/>
          </a:bodyPr>
          <a:lstStyle>
            <a:lvl1pPr>
              <a:defRPr lang="en-US" cap="all" baseline="0" dirty="0">
                <a:solidFill>
                  <a:schemeClr val="accent2"/>
                </a:solidFill>
              </a:defRPr>
            </a:lvl1pPr>
          </a:lstStyle>
          <a:p>
            <a:pPr lvl="0"/>
            <a:r>
              <a:rPr lang="en-US" dirty="0"/>
              <a:t>SUBHEAD</a:t>
            </a:r>
          </a:p>
        </p:txBody>
      </p:sp>
      <p:sp>
        <p:nvSpPr>
          <p:cNvPr id="13" name="Content Placeholder 2">
            <a:extLst>
              <a:ext uri="{FF2B5EF4-FFF2-40B4-BE49-F238E27FC236}">
                <a16:creationId xmlns:a16="http://schemas.microsoft.com/office/drawing/2014/main" id="{1814B2D8-4A9D-2AC4-0230-851D9D86EB43}"/>
              </a:ext>
            </a:extLst>
          </p:cNvPr>
          <p:cNvSpPr>
            <a:spLocks noGrp="1"/>
          </p:cNvSpPr>
          <p:nvPr>
            <p:ph idx="45" hasCustomPrompt="1"/>
          </p:nvPr>
        </p:nvSpPr>
        <p:spPr>
          <a:xfrm>
            <a:off x="8737600" y="1776766"/>
            <a:ext cx="2963863" cy="3957531"/>
          </a:xfrm>
        </p:spPr>
        <p:txBody>
          <a:bodyPr vert="horz" lIns="0" tIns="45720" rIns="0" bIns="45720" rtlCol="0">
            <a:normAutofit/>
          </a:bodyPr>
          <a:lstStyle>
            <a:lvl1pPr algn="l" defTabSz="914400" rtl="0" eaLnBrk="1" latinLnBrk="0" hangingPunct="1">
              <a:lnSpc>
                <a:spcPct val="130000"/>
              </a:lnSpc>
              <a:spcBef>
                <a:spcPts val="300"/>
              </a:spcBef>
              <a:spcAft>
                <a:spcPts val="300"/>
              </a:spcAft>
              <a:buFont typeface="Arial" panose="020B0604020202020204" pitchFamily="34" charset="0"/>
              <a:defRPr lang="en-US" sz="1100" kern="1200" dirty="0">
                <a:solidFill>
                  <a:schemeClr val="tx1"/>
                </a:solidFill>
                <a:latin typeface="+mn-lt"/>
                <a:ea typeface="+mn-ea"/>
                <a:cs typeface="+mn-cs"/>
              </a:defRPr>
            </a:lvl1pPr>
            <a:lvl2pPr>
              <a:buClr>
                <a:schemeClr val="tx2"/>
              </a:buClr>
              <a:defRPr lang="en-US" dirty="0">
                <a:solidFill>
                  <a:schemeClr val="tx1"/>
                </a:solidFill>
              </a:defRPr>
            </a:lvl2pPr>
            <a:lvl3pPr>
              <a:buClr>
                <a:schemeClr val="tx2"/>
              </a:buClr>
              <a:defRPr lang="en-US" dirty="0">
                <a:solidFill>
                  <a:schemeClr val="tx1"/>
                </a:solidFill>
              </a:defRPr>
            </a:lvl3pPr>
            <a:lvl4pPr>
              <a:buClr>
                <a:schemeClr val="tx2"/>
              </a:buClr>
              <a:defRPr lang="en-US" dirty="0">
                <a:solidFill>
                  <a:schemeClr val="tx1"/>
                </a:solidFill>
              </a:defRPr>
            </a:lvl4pPr>
            <a:lvl5pPr>
              <a:buClr>
                <a:schemeClr val="tx2"/>
              </a:buClr>
              <a:defRPr lang="en-US" dirty="0">
                <a:solidFill>
                  <a:schemeClr val="tx1"/>
                </a:solidFill>
              </a:defRPr>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14" name="Content Placeholder 2">
            <a:extLst>
              <a:ext uri="{FF2B5EF4-FFF2-40B4-BE49-F238E27FC236}">
                <a16:creationId xmlns:a16="http://schemas.microsoft.com/office/drawing/2014/main" id="{9956D5C9-0795-F74E-DA9A-0729A90E8ACC}"/>
              </a:ext>
            </a:extLst>
          </p:cNvPr>
          <p:cNvSpPr>
            <a:spLocks noGrp="1"/>
          </p:cNvSpPr>
          <p:nvPr>
            <p:ph idx="46" hasCustomPrompt="1"/>
          </p:nvPr>
        </p:nvSpPr>
        <p:spPr>
          <a:xfrm>
            <a:off x="8737600" y="1411005"/>
            <a:ext cx="2946399" cy="365761"/>
          </a:xfrm>
        </p:spPr>
        <p:txBody>
          <a:bodyPr/>
          <a:lstStyle>
            <a:lvl1pPr>
              <a:defRPr cap="all" baseline="0">
                <a:solidFill>
                  <a:schemeClr val="tx2"/>
                </a:solidFill>
              </a:defRPr>
            </a:lvl1pPr>
          </a:lstStyle>
          <a:p>
            <a:pPr lvl="0"/>
            <a:r>
              <a:rPr lang="en-US" dirty="0"/>
              <a:t>subhead</a:t>
            </a:r>
          </a:p>
        </p:txBody>
      </p:sp>
    </p:spTree>
    <p:extLst>
      <p:ext uri="{BB962C8B-B14F-4D97-AF65-F5344CB8AC3E}">
        <p14:creationId xmlns:p14="http://schemas.microsoft.com/office/powerpoint/2010/main" val="3454084182"/>
      </p:ext>
    </p:extLst>
  </p:cSld>
  <p:clrMapOvr>
    <a:masterClrMapping/>
  </p:clrMapOvr>
  <p:transition spd="med">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 Boxes &amp; Image">
    <p:spTree>
      <p:nvGrpSpPr>
        <p:cNvPr id="1" name=""/>
        <p:cNvGrpSpPr/>
        <p:nvPr/>
      </p:nvGrpSpPr>
      <p:grpSpPr>
        <a:xfrm>
          <a:off x="0" y="0"/>
          <a:ext cx="0" cy="0"/>
          <a:chOff x="0" y="0"/>
          <a:chExt cx="0" cy="0"/>
        </a:xfrm>
      </p:grpSpPr>
      <p:sp>
        <p:nvSpPr>
          <p:cNvPr id="2" name="Picture Placeholder 10">
            <a:extLst>
              <a:ext uri="{FF2B5EF4-FFF2-40B4-BE49-F238E27FC236}">
                <a16:creationId xmlns:a16="http://schemas.microsoft.com/office/drawing/2014/main" id="{6B49C9AF-CB11-15A0-88E9-D799C8E8E6EB}"/>
              </a:ext>
            </a:extLst>
          </p:cNvPr>
          <p:cNvSpPr>
            <a:spLocks noGrp="1"/>
          </p:cNvSpPr>
          <p:nvPr>
            <p:ph type="pic" sz="quarter" idx="13" hasCustomPrompt="1"/>
          </p:nvPr>
        </p:nvSpPr>
        <p:spPr>
          <a:xfrm>
            <a:off x="8126412" y="0"/>
            <a:ext cx="4065587" cy="6858000"/>
          </a:xfrm>
          <a:solidFill>
            <a:schemeClr val="tx1"/>
          </a:solidFill>
        </p:spPr>
        <p:txBody>
          <a:bodyPr vert="horz" lIns="0" tIns="45720" rIns="0" bIns="45720" rtlCol="0" anchor="ctr">
            <a:normAutofit/>
          </a:bodyPr>
          <a:lstStyle>
            <a:lvl1pPr algn="ctr">
              <a:defRPr lang="en-GB" sz="2800" b="0" dirty="0">
                <a:solidFill>
                  <a:schemeClr val="bg1"/>
                </a:solidFill>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US" dirty="0"/>
              <a:t>ADD RELATED </a:t>
            </a:r>
            <a:br>
              <a:rPr lang="en-US" dirty="0"/>
            </a:br>
            <a:r>
              <a:rPr lang="en-US" dirty="0"/>
              <a:t>IMAGE </a:t>
            </a:r>
            <a:br>
              <a:rPr lang="en-US" dirty="0"/>
            </a:br>
            <a:r>
              <a:rPr lang="en-US" dirty="0"/>
              <a:t>FROM HFW </a:t>
            </a:r>
            <a:br>
              <a:rPr lang="en-US" dirty="0"/>
            </a:br>
            <a:r>
              <a:rPr lang="en-US" dirty="0"/>
              <a:t>IMAGE LIBRARY</a:t>
            </a:r>
          </a:p>
        </p:txBody>
      </p:sp>
      <p:sp>
        <p:nvSpPr>
          <p:cNvPr id="3" name="Content Placeholder 2"/>
          <p:cNvSpPr>
            <a:spLocks noGrp="1"/>
          </p:cNvSpPr>
          <p:nvPr>
            <p:ph idx="1" hasCustomPrompt="1"/>
          </p:nvPr>
        </p:nvSpPr>
        <p:spPr>
          <a:xfrm>
            <a:off x="507999" y="1854029"/>
            <a:ext cx="3400425" cy="1790871"/>
          </a:xfrm>
          <a:solidFill>
            <a:schemeClr val="bg2"/>
          </a:solidFill>
        </p:spPr>
        <p:txBody>
          <a:bodyPr vert="horz" lIns="108000" tIns="72000" rIns="72000" bIns="36000" numCol="1" spcCol="288000" rtlCol="0">
            <a:noAutofit/>
          </a:bodyPr>
          <a:lstStyle>
            <a:lvl1pPr>
              <a:lnSpc>
                <a:spcPct val="130000"/>
              </a:lnSpc>
              <a:spcBef>
                <a:spcPts val="200"/>
              </a:spcBef>
              <a:spcAft>
                <a:spcPts val="200"/>
              </a:spcAft>
              <a:defRPr lang="en-US" sz="1100" dirty="0" smtClean="0">
                <a:solidFill>
                  <a:schemeClr val="tx1"/>
                </a:solidFill>
                <a:latin typeface="+mn-lt"/>
              </a:defRPr>
            </a:lvl1pPr>
            <a:lvl2pPr marL="171450" indent="-171450">
              <a:lnSpc>
                <a:spcPct val="130000"/>
              </a:lnSpc>
              <a:spcBef>
                <a:spcPts val="200"/>
              </a:spcBef>
              <a:spcAft>
                <a:spcPts val="200"/>
              </a:spcAft>
              <a:buFont typeface="Arial" panose="020B0604020202020204" pitchFamily="34" charset="0"/>
              <a:buChar char="•"/>
              <a:defRPr lang="en-US" sz="1000" dirty="0"/>
            </a:lvl2pPr>
            <a:lvl3pPr marL="360363" indent="-182563">
              <a:lnSpc>
                <a:spcPct val="130000"/>
              </a:lnSpc>
              <a:spcBef>
                <a:spcPts val="200"/>
              </a:spcBef>
              <a:spcAft>
                <a:spcPts val="200"/>
              </a:spcAft>
              <a:defRPr lang="en-US" sz="1000" dirty="0"/>
            </a:lvl3pPr>
            <a:lvl4pPr>
              <a:defRPr lang="en-US" sz="1000" dirty="0"/>
            </a:lvl4pPr>
            <a:lvl5pPr>
              <a:defRPr lang="en-US" sz="1000" dirty="0"/>
            </a:lvl5pPr>
          </a:lstStyle>
          <a:p>
            <a:pPr lvl="0"/>
            <a:r>
              <a:rPr lang="en-US" dirty="0"/>
              <a:t>Click to edit master text styles</a:t>
            </a:r>
          </a:p>
          <a:p>
            <a:pPr lvl="1"/>
            <a:r>
              <a:rPr lang="en-US" dirty="0"/>
              <a:t>Second level</a:t>
            </a:r>
          </a:p>
          <a:p>
            <a:pPr lvl="2"/>
            <a:r>
              <a:rPr lang="en-US" dirty="0"/>
              <a:t>Third level</a:t>
            </a:r>
          </a:p>
        </p:txBody>
      </p:sp>
      <p:sp>
        <p:nvSpPr>
          <p:cNvPr id="5" name="Footer Placeholder 4"/>
          <p:cNvSpPr>
            <a:spLocks noGrp="1"/>
          </p:cNvSpPr>
          <p:nvPr>
            <p:ph type="ftr" sz="quarter" idx="11"/>
          </p:nvPr>
        </p:nvSpPr>
        <p:spPr/>
        <p:txBody>
          <a:bodyPr/>
          <a:lstStyle/>
          <a:p>
            <a:r>
              <a:rPr lang="en-GB"/>
              <a:t>INSERT FOOTER HER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8CFE0557-AA98-4E6C-B0C3-581794696B68}" type="slidenum">
              <a:rPr lang="en-GB" smtClean="0"/>
              <a:pPr/>
              <a:t>‹#›</a:t>
            </a:fld>
            <a:endParaRPr lang="en-GB"/>
          </a:p>
        </p:txBody>
      </p:sp>
      <p:sp>
        <p:nvSpPr>
          <p:cNvPr id="7" name="Content Placeholder 2">
            <a:extLst>
              <a:ext uri="{FF2B5EF4-FFF2-40B4-BE49-F238E27FC236}">
                <a16:creationId xmlns:a16="http://schemas.microsoft.com/office/drawing/2014/main" id="{B0B00756-BEE2-1E4F-AA11-656D1916E332}"/>
              </a:ext>
            </a:extLst>
          </p:cNvPr>
          <p:cNvSpPr>
            <a:spLocks noGrp="1"/>
          </p:cNvSpPr>
          <p:nvPr>
            <p:ph idx="14" hasCustomPrompt="1"/>
          </p:nvPr>
        </p:nvSpPr>
        <p:spPr>
          <a:xfrm>
            <a:off x="507999" y="1411005"/>
            <a:ext cx="3400425" cy="443024"/>
          </a:xfrm>
          <a:solidFill>
            <a:schemeClr val="accent2"/>
          </a:solidFill>
        </p:spPr>
        <p:txBody>
          <a:bodyPr vert="horz" lIns="108000" tIns="45720" rIns="72000" bIns="45720" numCol="1" spcCol="216000" rtlCol="0" anchor="ctr" anchorCtr="0">
            <a:noAutofit/>
          </a:bodyPr>
          <a:lstStyle>
            <a:lvl1pPr>
              <a:defRPr lang="en-US" sz="1400" cap="all" baseline="0" dirty="0">
                <a:solidFill>
                  <a:schemeClr val="tx2"/>
                </a:solidFill>
              </a:defRPr>
            </a:lvl1pPr>
            <a:lvl2pPr>
              <a:defRPr lang="en-US" sz="900" dirty="0">
                <a:solidFill>
                  <a:schemeClr val="tx1"/>
                </a:solidFill>
              </a:defRPr>
            </a:lvl2pPr>
            <a:lvl3pPr>
              <a:defRPr lang="en-US" sz="800" dirty="0">
                <a:solidFill>
                  <a:schemeClr val="tx1"/>
                </a:solidFill>
              </a:defRPr>
            </a:lvl3pPr>
            <a:lvl4pPr>
              <a:defRPr lang="en-US" sz="700" dirty="0">
                <a:solidFill>
                  <a:schemeClr val="tx1"/>
                </a:solidFill>
              </a:defRPr>
            </a:lvl4pPr>
            <a:lvl5pPr>
              <a:defRPr lang="en-US" sz="700" dirty="0">
                <a:solidFill>
                  <a:schemeClr val="tx1"/>
                </a:solidFill>
              </a:defRPr>
            </a:lvl5pPr>
          </a:lstStyle>
          <a:p>
            <a:pPr lvl="0"/>
            <a:r>
              <a:rPr lang="en-US" dirty="0"/>
              <a:t>SUBHEAD</a:t>
            </a:r>
          </a:p>
        </p:txBody>
      </p:sp>
      <p:sp>
        <p:nvSpPr>
          <p:cNvPr id="4" name="Title 3">
            <a:extLst>
              <a:ext uri="{FF2B5EF4-FFF2-40B4-BE49-F238E27FC236}">
                <a16:creationId xmlns:a16="http://schemas.microsoft.com/office/drawing/2014/main" id="{6729F04B-D5C0-88EC-FA0F-B39A9EACF533}"/>
              </a:ext>
            </a:extLst>
          </p:cNvPr>
          <p:cNvSpPr>
            <a:spLocks noGrp="1"/>
          </p:cNvSpPr>
          <p:nvPr>
            <p:ph type="title" hasCustomPrompt="1"/>
          </p:nvPr>
        </p:nvSpPr>
        <p:spPr>
          <a:xfrm>
            <a:off x="508001" y="454014"/>
            <a:ext cx="7118350" cy="814806"/>
          </a:xfrm>
        </p:spPr>
        <p:txBody>
          <a:bodyPr/>
          <a:lstStyle/>
          <a:p>
            <a:r>
              <a:rPr lang="en-US" dirty="0"/>
              <a:t>TITLE: subtitle</a:t>
            </a:r>
            <a:endParaRPr lang="en-GB" dirty="0"/>
          </a:p>
        </p:txBody>
      </p:sp>
      <p:sp>
        <p:nvSpPr>
          <p:cNvPr id="11" name="Content Placeholder 2">
            <a:extLst>
              <a:ext uri="{FF2B5EF4-FFF2-40B4-BE49-F238E27FC236}">
                <a16:creationId xmlns:a16="http://schemas.microsoft.com/office/drawing/2014/main" id="{0CE1D013-BC17-F297-93DF-A3CE5AC5F6C5}"/>
              </a:ext>
            </a:extLst>
          </p:cNvPr>
          <p:cNvSpPr>
            <a:spLocks noGrp="1"/>
          </p:cNvSpPr>
          <p:nvPr>
            <p:ph idx="15" hasCustomPrompt="1"/>
          </p:nvPr>
        </p:nvSpPr>
        <p:spPr>
          <a:xfrm>
            <a:off x="4225925" y="1854029"/>
            <a:ext cx="3400425" cy="1790871"/>
          </a:xfrm>
          <a:solidFill>
            <a:schemeClr val="bg2"/>
          </a:solidFill>
        </p:spPr>
        <p:txBody>
          <a:bodyPr vert="horz" lIns="108000" tIns="72000" rIns="72000" bIns="36000" numCol="1" spcCol="288000" rtlCol="0">
            <a:noAutofit/>
          </a:bodyPr>
          <a:lstStyle>
            <a:lvl1pPr>
              <a:lnSpc>
                <a:spcPct val="130000"/>
              </a:lnSpc>
              <a:spcBef>
                <a:spcPts val="200"/>
              </a:spcBef>
              <a:spcAft>
                <a:spcPts val="200"/>
              </a:spcAft>
              <a:defRPr lang="en-US" sz="1100" dirty="0" smtClean="0">
                <a:solidFill>
                  <a:schemeClr val="tx1"/>
                </a:solidFill>
                <a:latin typeface="+mn-lt"/>
              </a:defRPr>
            </a:lvl1pPr>
            <a:lvl2pPr marL="171450" indent="-171450">
              <a:lnSpc>
                <a:spcPct val="130000"/>
              </a:lnSpc>
              <a:spcBef>
                <a:spcPts val="200"/>
              </a:spcBef>
              <a:spcAft>
                <a:spcPts val="200"/>
              </a:spcAft>
              <a:buFont typeface="Arial" panose="020B0604020202020204" pitchFamily="34" charset="0"/>
              <a:buChar char="•"/>
              <a:defRPr lang="en-US" sz="1000" dirty="0"/>
            </a:lvl2pPr>
            <a:lvl3pPr marL="360363" indent="-182563">
              <a:lnSpc>
                <a:spcPct val="130000"/>
              </a:lnSpc>
              <a:spcBef>
                <a:spcPts val="200"/>
              </a:spcBef>
              <a:spcAft>
                <a:spcPts val="200"/>
              </a:spcAft>
              <a:defRPr lang="en-US" sz="1000" dirty="0"/>
            </a:lvl3pPr>
            <a:lvl4pPr>
              <a:defRPr lang="en-US" sz="1000" dirty="0"/>
            </a:lvl4pPr>
            <a:lvl5pPr>
              <a:defRPr lang="en-US" sz="1000" dirty="0"/>
            </a:lvl5pPr>
          </a:lstStyle>
          <a:p>
            <a:pPr lvl="0"/>
            <a:r>
              <a:rPr lang="en-US" dirty="0"/>
              <a:t>Click to edit master text styles</a:t>
            </a:r>
          </a:p>
          <a:p>
            <a:pPr lvl="1"/>
            <a:r>
              <a:rPr lang="en-US" dirty="0"/>
              <a:t>Second level</a:t>
            </a:r>
          </a:p>
          <a:p>
            <a:pPr lvl="2"/>
            <a:r>
              <a:rPr lang="en-US" dirty="0"/>
              <a:t>Third level</a:t>
            </a:r>
          </a:p>
        </p:txBody>
      </p:sp>
      <p:sp>
        <p:nvSpPr>
          <p:cNvPr id="12" name="Content Placeholder 2">
            <a:extLst>
              <a:ext uri="{FF2B5EF4-FFF2-40B4-BE49-F238E27FC236}">
                <a16:creationId xmlns:a16="http://schemas.microsoft.com/office/drawing/2014/main" id="{044BC189-C8AB-468D-9AA3-F616D7D61B1C}"/>
              </a:ext>
            </a:extLst>
          </p:cNvPr>
          <p:cNvSpPr>
            <a:spLocks noGrp="1"/>
          </p:cNvSpPr>
          <p:nvPr>
            <p:ph idx="16" hasCustomPrompt="1"/>
          </p:nvPr>
        </p:nvSpPr>
        <p:spPr>
          <a:xfrm>
            <a:off x="4225925" y="1411005"/>
            <a:ext cx="3400425" cy="443024"/>
          </a:xfrm>
          <a:solidFill>
            <a:schemeClr val="accent2"/>
          </a:solidFill>
        </p:spPr>
        <p:txBody>
          <a:bodyPr vert="horz" lIns="108000" tIns="45720" rIns="72000" bIns="45720" numCol="1" spcCol="216000" rtlCol="0" anchor="ctr" anchorCtr="0">
            <a:noAutofit/>
          </a:bodyPr>
          <a:lstStyle>
            <a:lvl1pPr>
              <a:defRPr lang="en-US" sz="1400" cap="all" baseline="0" dirty="0">
                <a:solidFill>
                  <a:schemeClr val="tx2"/>
                </a:solidFill>
              </a:defRPr>
            </a:lvl1pPr>
            <a:lvl2pPr>
              <a:defRPr lang="en-US" sz="900" dirty="0">
                <a:solidFill>
                  <a:schemeClr val="tx1"/>
                </a:solidFill>
              </a:defRPr>
            </a:lvl2pPr>
            <a:lvl3pPr>
              <a:defRPr lang="en-US" sz="800" dirty="0">
                <a:solidFill>
                  <a:schemeClr val="tx1"/>
                </a:solidFill>
              </a:defRPr>
            </a:lvl3pPr>
            <a:lvl4pPr>
              <a:defRPr lang="en-US" sz="700" dirty="0">
                <a:solidFill>
                  <a:schemeClr val="tx1"/>
                </a:solidFill>
              </a:defRPr>
            </a:lvl4pPr>
            <a:lvl5pPr>
              <a:defRPr lang="en-US" sz="700" dirty="0">
                <a:solidFill>
                  <a:schemeClr val="tx1"/>
                </a:solidFill>
              </a:defRPr>
            </a:lvl5pPr>
          </a:lstStyle>
          <a:p>
            <a:pPr lvl="0"/>
            <a:r>
              <a:rPr lang="en-US" dirty="0"/>
              <a:t>SUBHEAD</a:t>
            </a:r>
          </a:p>
        </p:txBody>
      </p:sp>
      <p:sp>
        <p:nvSpPr>
          <p:cNvPr id="15" name="Content Placeholder 2">
            <a:extLst>
              <a:ext uri="{FF2B5EF4-FFF2-40B4-BE49-F238E27FC236}">
                <a16:creationId xmlns:a16="http://schemas.microsoft.com/office/drawing/2014/main" id="{0DBEF8F2-E7A8-CB2A-D6C6-185F68EA57BB}"/>
              </a:ext>
            </a:extLst>
          </p:cNvPr>
          <p:cNvSpPr>
            <a:spLocks noGrp="1"/>
          </p:cNvSpPr>
          <p:nvPr>
            <p:ph idx="19" hasCustomPrompt="1"/>
          </p:nvPr>
        </p:nvSpPr>
        <p:spPr>
          <a:xfrm>
            <a:off x="507999" y="4399652"/>
            <a:ext cx="3400425" cy="1790871"/>
          </a:xfrm>
          <a:solidFill>
            <a:schemeClr val="bg2"/>
          </a:solidFill>
        </p:spPr>
        <p:txBody>
          <a:bodyPr vert="horz" lIns="108000" tIns="72000" rIns="72000" bIns="36000" numCol="1" spcCol="288000" rtlCol="0">
            <a:noAutofit/>
          </a:bodyPr>
          <a:lstStyle>
            <a:lvl1pPr>
              <a:lnSpc>
                <a:spcPct val="130000"/>
              </a:lnSpc>
              <a:spcBef>
                <a:spcPts val="200"/>
              </a:spcBef>
              <a:spcAft>
                <a:spcPts val="200"/>
              </a:spcAft>
              <a:defRPr lang="en-US" sz="1100" dirty="0" smtClean="0">
                <a:solidFill>
                  <a:schemeClr val="tx1"/>
                </a:solidFill>
                <a:latin typeface="+mn-lt"/>
              </a:defRPr>
            </a:lvl1pPr>
            <a:lvl2pPr marL="171450" indent="-171450">
              <a:lnSpc>
                <a:spcPct val="130000"/>
              </a:lnSpc>
              <a:spcBef>
                <a:spcPts val="200"/>
              </a:spcBef>
              <a:spcAft>
                <a:spcPts val="200"/>
              </a:spcAft>
              <a:buFont typeface="Arial" panose="020B0604020202020204" pitchFamily="34" charset="0"/>
              <a:buChar char="•"/>
              <a:defRPr lang="en-US" sz="1000" dirty="0"/>
            </a:lvl2pPr>
            <a:lvl3pPr marL="360363" indent="-182563">
              <a:lnSpc>
                <a:spcPct val="130000"/>
              </a:lnSpc>
              <a:spcBef>
                <a:spcPts val="200"/>
              </a:spcBef>
              <a:spcAft>
                <a:spcPts val="200"/>
              </a:spcAft>
              <a:defRPr lang="en-US" sz="1000" dirty="0"/>
            </a:lvl3pPr>
            <a:lvl4pPr>
              <a:defRPr lang="en-US" sz="1000" dirty="0"/>
            </a:lvl4pPr>
            <a:lvl5pPr>
              <a:defRPr lang="en-US" sz="1000" dirty="0"/>
            </a:lvl5pPr>
          </a:lstStyle>
          <a:p>
            <a:pPr lvl="0"/>
            <a:r>
              <a:rPr lang="en-US" dirty="0"/>
              <a:t>Click to edit master text styles</a:t>
            </a:r>
          </a:p>
          <a:p>
            <a:pPr lvl="1"/>
            <a:r>
              <a:rPr lang="en-US" dirty="0"/>
              <a:t>Second level</a:t>
            </a:r>
          </a:p>
          <a:p>
            <a:pPr lvl="2"/>
            <a:r>
              <a:rPr lang="en-US" dirty="0"/>
              <a:t>Third level</a:t>
            </a:r>
          </a:p>
        </p:txBody>
      </p:sp>
      <p:sp>
        <p:nvSpPr>
          <p:cNvPr id="16" name="Content Placeholder 2">
            <a:extLst>
              <a:ext uri="{FF2B5EF4-FFF2-40B4-BE49-F238E27FC236}">
                <a16:creationId xmlns:a16="http://schemas.microsoft.com/office/drawing/2014/main" id="{62C1633C-AF8C-5672-C8E9-59BF8E705D38}"/>
              </a:ext>
            </a:extLst>
          </p:cNvPr>
          <p:cNvSpPr>
            <a:spLocks noGrp="1"/>
          </p:cNvSpPr>
          <p:nvPr>
            <p:ph idx="20" hasCustomPrompt="1"/>
          </p:nvPr>
        </p:nvSpPr>
        <p:spPr>
          <a:xfrm>
            <a:off x="507999" y="3950042"/>
            <a:ext cx="3400425" cy="443024"/>
          </a:xfrm>
          <a:solidFill>
            <a:schemeClr val="accent2"/>
          </a:solidFill>
        </p:spPr>
        <p:txBody>
          <a:bodyPr vert="horz" lIns="108000" tIns="45720" rIns="72000" bIns="45720" numCol="1" spcCol="216000" rtlCol="0" anchor="ctr" anchorCtr="0">
            <a:noAutofit/>
          </a:bodyPr>
          <a:lstStyle>
            <a:lvl1pPr>
              <a:defRPr lang="en-US" sz="1400" cap="all" baseline="0" dirty="0">
                <a:solidFill>
                  <a:schemeClr val="tx2"/>
                </a:solidFill>
              </a:defRPr>
            </a:lvl1pPr>
            <a:lvl2pPr>
              <a:defRPr lang="en-US" sz="900" dirty="0">
                <a:solidFill>
                  <a:schemeClr val="tx1"/>
                </a:solidFill>
              </a:defRPr>
            </a:lvl2pPr>
            <a:lvl3pPr>
              <a:defRPr lang="en-US" sz="800" dirty="0">
                <a:solidFill>
                  <a:schemeClr val="tx1"/>
                </a:solidFill>
              </a:defRPr>
            </a:lvl3pPr>
            <a:lvl4pPr>
              <a:defRPr lang="en-US" sz="700" dirty="0">
                <a:solidFill>
                  <a:schemeClr val="tx1"/>
                </a:solidFill>
              </a:defRPr>
            </a:lvl4pPr>
            <a:lvl5pPr>
              <a:defRPr lang="en-US" sz="700" dirty="0">
                <a:solidFill>
                  <a:schemeClr val="tx1"/>
                </a:solidFill>
              </a:defRPr>
            </a:lvl5pPr>
          </a:lstStyle>
          <a:p>
            <a:pPr lvl="0"/>
            <a:r>
              <a:rPr lang="en-US" dirty="0"/>
              <a:t>SUBHEAD</a:t>
            </a:r>
          </a:p>
        </p:txBody>
      </p:sp>
      <p:sp>
        <p:nvSpPr>
          <p:cNvPr id="17" name="Content Placeholder 2">
            <a:extLst>
              <a:ext uri="{FF2B5EF4-FFF2-40B4-BE49-F238E27FC236}">
                <a16:creationId xmlns:a16="http://schemas.microsoft.com/office/drawing/2014/main" id="{03927300-C246-F5F7-919E-B25446AA46DA}"/>
              </a:ext>
            </a:extLst>
          </p:cNvPr>
          <p:cNvSpPr>
            <a:spLocks noGrp="1"/>
          </p:cNvSpPr>
          <p:nvPr>
            <p:ph idx="21" hasCustomPrompt="1"/>
          </p:nvPr>
        </p:nvSpPr>
        <p:spPr>
          <a:xfrm>
            <a:off x="4225925" y="4399652"/>
            <a:ext cx="3400425" cy="1790871"/>
          </a:xfrm>
          <a:solidFill>
            <a:schemeClr val="bg2"/>
          </a:solidFill>
        </p:spPr>
        <p:txBody>
          <a:bodyPr vert="horz" lIns="108000" tIns="72000" rIns="72000" bIns="36000" numCol="1" spcCol="288000" rtlCol="0">
            <a:noAutofit/>
          </a:bodyPr>
          <a:lstStyle>
            <a:lvl1pPr>
              <a:lnSpc>
                <a:spcPct val="130000"/>
              </a:lnSpc>
              <a:spcBef>
                <a:spcPts val="200"/>
              </a:spcBef>
              <a:spcAft>
                <a:spcPts val="200"/>
              </a:spcAft>
              <a:defRPr lang="en-US" sz="1100" dirty="0" smtClean="0">
                <a:solidFill>
                  <a:schemeClr val="tx1"/>
                </a:solidFill>
                <a:latin typeface="+mn-lt"/>
              </a:defRPr>
            </a:lvl1pPr>
            <a:lvl2pPr marL="171450" indent="-171450">
              <a:lnSpc>
                <a:spcPct val="130000"/>
              </a:lnSpc>
              <a:spcBef>
                <a:spcPts val="200"/>
              </a:spcBef>
              <a:spcAft>
                <a:spcPts val="200"/>
              </a:spcAft>
              <a:buFont typeface="Arial" panose="020B0604020202020204" pitchFamily="34" charset="0"/>
              <a:buChar char="•"/>
              <a:defRPr lang="en-US" sz="1000" dirty="0"/>
            </a:lvl2pPr>
            <a:lvl3pPr marL="360363" indent="-182563">
              <a:lnSpc>
                <a:spcPct val="130000"/>
              </a:lnSpc>
              <a:spcBef>
                <a:spcPts val="200"/>
              </a:spcBef>
              <a:spcAft>
                <a:spcPts val="200"/>
              </a:spcAft>
              <a:defRPr lang="en-US" sz="1000" dirty="0"/>
            </a:lvl3pPr>
            <a:lvl4pPr>
              <a:defRPr lang="en-US" sz="1000" dirty="0"/>
            </a:lvl4pPr>
            <a:lvl5pPr>
              <a:defRPr lang="en-US" sz="1000" dirty="0"/>
            </a:lvl5pPr>
          </a:lstStyle>
          <a:p>
            <a:pPr lvl="0"/>
            <a:r>
              <a:rPr lang="en-US" dirty="0"/>
              <a:t>Click to edit master text styles</a:t>
            </a:r>
          </a:p>
          <a:p>
            <a:pPr lvl="1"/>
            <a:r>
              <a:rPr lang="en-US" dirty="0"/>
              <a:t>Second level</a:t>
            </a:r>
          </a:p>
          <a:p>
            <a:pPr lvl="2"/>
            <a:r>
              <a:rPr lang="en-US" dirty="0"/>
              <a:t>Third level</a:t>
            </a:r>
          </a:p>
        </p:txBody>
      </p:sp>
      <p:sp>
        <p:nvSpPr>
          <p:cNvPr id="18" name="Content Placeholder 2">
            <a:extLst>
              <a:ext uri="{FF2B5EF4-FFF2-40B4-BE49-F238E27FC236}">
                <a16:creationId xmlns:a16="http://schemas.microsoft.com/office/drawing/2014/main" id="{376ABD33-7DE6-932D-F04B-E72ED7FB6DE7}"/>
              </a:ext>
            </a:extLst>
          </p:cNvPr>
          <p:cNvSpPr>
            <a:spLocks noGrp="1"/>
          </p:cNvSpPr>
          <p:nvPr>
            <p:ph idx="22" hasCustomPrompt="1"/>
          </p:nvPr>
        </p:nvSpPr>
        <p:spPr>
          <a:xfrm>
            <a:off x="4225925" y="3950042"/>
            <a:ext cx="3400425" cy="443024"/>
          </a:xfrm>
          <a:solidFill>
            <a:schemeClr val="accent2"/>
          </a:solidFill>
        </p:spPr>
        <p:txBody>
          <a:bodyPr vert="horz" lIns="108000" tIns="45720" rIns="72000" bIns="45720" numCol="1" spcCol="216000" rtlCol="0" anchor="ctr" anchorCtr="0">
            <a:noAutofit/>
          </a:bodyPr>
          <a:lstStyle>
            <a:lvl1pPr>
              <a:defRPr lang="en-US" sz="1400" cap="all" baseline="0" dirty="0">
                <a:solidFill>
                  <a:schemeClr val="tx2"/>
                </a:solidFill>
              </a:defRPr>
            </a:lvl1pPr>
            <a:lvl2pPr>
              <a:defRPr lang="en-US" sz="900" dirty="0">
                <a:solidFill>
                  <a:schemeClr val="tx1"/>
                </a:solidFill>
              </a:defRPr>
            </a:lvl2pPr>
            <a:lvl3pPr>
              <a:defRPr lang="en-US" sz="800" dirty="0">
                <a:solidFill>
                  <a:schemeClr val="tx1"/>
                </a:solidFill>
              </a:defRPr>
            </a:lvl3pPr>
            <a:lvl4pPr>
              <a:defRPr lang="en-US" sz="700" dirty="0">
                <a:solidFill>
                  <a:schemeClr val="tx1"/>
                </a:solidFill>
              </a:defRPr>
            </a:lvl4pPr>
            <a:lvl5pPr>
              <a:defRPr lang="en-US" sz="700" dirty="0">
                <a:solidFill>
                  <a:schemeClr val="tx1"/>
                </a:solidFill>
              </a:defRPr>
            </a:lvl5pPr>
          </a:lstStyle>
          <a:p>
            <a:pPr lvl="0"/>
            <a:r>
              <a:rPr lang="en-US" dirty="0"/>
              <a:t>SUBHEAD</a:t>
            </a:r>
          </a:p>
        </p:txBody>
      </p:sp>
      <p:sp>
        <p:nvSpPr>
          <p:cNvPr id="8" name="TextBox 4">
            <a:extLst>
              <a:ext uri="{FF2B5EF4-FFF2-40B4-BE49-F238E27FC236}">
                <a16:creationId xmlns:a16="http://schemas.microsoft.com/office/drawing/2014/main" id="{2731D0D2-8DF1-D95A-3252-21A62CF3AB1B}"/>
              </a:ext>
            </a:extLst>
          </p:cNvPr>
          <p:cNvSpPr txBox="1"/>
          <p:nvPr userDrawn="1"/>
        </p:nvSpPr>
        <p:spPr>
          <a:xfrm>
            <a:off x="12346713" y="109538"/>
            <a:ext cx="1934437" cy="31700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INSERTING IMAGES:</a:t>
            </a:r>
          </a:p>
          <a:p>
            <a:pPr marL="179388" indent="-179388">
              <a:spcBef>
                <a:spcPts val="200"/>
              </a:spcBef>
              <a:spcAft>
                <a:spcPts val="200"/>
              </a:spcAft>
              <a:buFont typeface="+mj-lt"/>
              <a:buAutoNum type="arabicPeriod"/>
            </a:pPr>
            <a:r>
              <a:rPr lang="en-US" sz="900" dirty="0">
                <a:solidFill>
                  <a:schemeClr val="tx1"/>
                </a:solidFill>
                <a:latin typeface="+mn-lt"/>
              </a:rPr>
              <a:t>Simply click the image placeholder and select your image.</a:t>
            </a:r>
          </a:p>
          <a:p>
            <a:pPr marL="179388" indent="-179388">
              <a:spcBef>
                <a:spcPts val="200"/>
              </a:spcBef>
              <a:spcAft>
                <a:spcPts val="200"/>
              </a:spcAft>
              <a:buFont typeface="+mj-lt"/>
              <a:buAutoNum type="arabicPeriod"/>
            </a:pPr>
            <a:r>
              <a:rPr lang="en-US" sz="900" dirty="0">
                <a:solidFill>
                  <a:schemeClr val="tx1"/>
                </a:solidFill>
                <a:latin typeface="+mn-lt"/>
              </a:rPr>
              <a:t>Once your image is inserted into the shape it may be distorted. (Stretched or Squashed)</a:t>
            </a:r>
          </a:p>
          <a:p>
            <a:pPr marL="179388" indent="-179388">
              <a:spcBef>
                <a:spcPts val="200"/>
              </a:spcBef>
              <a:spcAft>
                <a:spcPts val="200"/>
              </a:spcAft>
              <a:buFont typeface="+mj-lt"/>
              <a:buAutoNum type="arabicPeriod"/>
            </a:pPr>
            <a:endParaRPr lang="en-US" sz="900" dirty="0">
              <a:solidFill>
                <a:schemeClr val="tx1"/>
              </a:solidFill>
              <a:latin typeface="+mn-lt"/>
            </a:endParaRPr>
          </a:p>
          <a:p>
            <a:pPr>
              <a:spcBef>
                <a:spcPts val="200"/>
              </a:spcBef>
              <a:spcAft>
                <a:spcPts val="200"/>
              </a:spcAft>
            </a:pPr>
            <a:r>
              <a:rPr lang="en-US" sz="900" b="1" dirty="0">
                <a:solidFill>
                  <a:schemeClr val="tx1"/>
                </a:solidFill>
                <a:latin typeface="+mn-lt"/>
              </a:rPr>
              <a:t>To fix this:</a:t>
            </a:r>
          </a:p>
          <a:p>
            <a:pPr marL="179388" indent="-179388">
              <a:spcBef>
                <a:spcPts val="200"/>
              </a:spcBef>
              <a:spcAft>
                <a:spcPts val="200"/>
              </a:spcAft>
              <a:buFont typeface="+mj-lt"/>
              <a:buAutoNum type="arabicPeriod"/>
            </a:pPr>
            <a:r>
              <a:rPr lang="en-US" sz="900" dirty="0">
                <a:solidFill>
                  <a:schemeClr val="tx1"/>
                </a:solidFill>
                <a:latin typeface="+mn-lt"/>
              </a:rPr>
              <a:t>Click on the image and from the top menu under </a:t>
            </a:r>
            <a:r>
              <a:rPr lang="en-US" sz="900" b="1" dirty="0">
                <a:solidFill>
                  <a:schemeClr val="tx1"/>
                </a:solidFill>
                <a:latin typeface="+mn-lt"/>
              </a:rPr>
              <a:t>PICTURE FORMAT </a:t>
            </a:r>
            <a:r>
              <a:rPr lang="en-US" sz="900" dirty="0">
                <a:solidFill>
                  <a:schemeClr val="tx1"/>
                </a:solidFill>
                <a:latin typeface="+mn-lt"/>
              </a:rPr>
              <a:t>select the </a:t>
            </a:r>
            <a:r>
              <a:rPr lang="en-US" sz="900" b="1" dirty="0">
                <a:solidFill>
                  <a:schemeClr val="tx1"/>
                </a:solidFill>
                <a:latin typeface="+mn-lt"/>
              </a:rPr>
              <a:t>CROP</a:t>
            </a:r>
            <a:r>
              <a:rPr lang="en-US" sz="900" dirty="0">
                <a:solidFill>
                  <a:schemeClr val="tx1"/>
                </a:solidFill>
                <a:latin typeface="+mn-lt"/>
              </a:rPr>
              <a:t> on the right and from the drop down menu select </a:t>
            </a:r>
            <a:r>
              <a:rPr lang="en-US" sz="900" b="1" kern="1200" dirty="0">
                <a:solidFill>
                  <a:schemeClr val="tx1"/>
                </a:solidFill>
                <a:latin typeface="+mn-lt"/>
                <a:ea typeface="+mn-ea"/>
                <a:cs typeface="+mn-cs"/>
              </a:rPr>
              <a:t>FILL</a:t>
            </a:r>
          </a:p>
          <a:p>
            <a:pPr marL="179388" indent="-179388">
              <a:spcBef>
                <a:spcPts val="200"/>
              </a:spcBef>
              <a:spcAft>
                <a:spcPts val="200"/>
              </a:spcAft>
              <a:buFont typeface="+mj-lt"/>
              <a:buAutoNum type="arabicPeriod"/>
            </a:pPr>
            <a:r>
              <a:rPr lang="en-US" sz="900" b="0" kern="1200" dirty="0">
                <a:solidFill>
                  <a:schemeClr val="tx1"/>
                </a:solidFill>
                <a:latin typeface="+mn-lt"/>
                <a:ea typeface="+mn-ea"/>
                <a:cs typeface="+mn-cs"/>
              </a:rPr>
              <a:t>From here you can move the image within the shape for best visual appearance</a:t>
            </a:r>
          </a:p>
        </p:txBody>
      </p:sp>
    </p:spTree>
    <p:extLst>
      <p:ext uri="{BB962C8B-B14F-4D97-AF65-F5344CB8AC3E}">
        <p14:creationId xmlns:p14="http://schemas.microsoft.com/office/powerpoint/2010/main" val="2556116682"/>
      </p:ext>
    </p:extLst>
  </p:cSld>
  <p:clrMapOvr>
    <a:masterClrMapping/>
  </p:clrMapOvr>
  <p:transition spd="med">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 Boxes &amp; Pull-out Tex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13A38F1-8D7E-F921-BF1B-D04390FDEC08}"/>
              </a:ext>
            </a:extLst>
          </p:cNvPr>
          <p:cNvSpPr/>
          <p:nvPr userDrawn="1"/>
        </p:nvSpPr>
        <p:spPr>
          <a:xfrm>
            <a:off x="8126413" y="0"/>
            <a:ext cx="40655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p:ph idx="1" hasCustomPrompt="1"/>
          </p:nvPr>
        </p:nvSpPr>
        <p:spPr>
          <a:xfrm>
            <a:off x="507999" y="1854029"/>
            <a:ext cx="3400425" cy="1790871"/>
          </a:xfrm>
          <a:solidFill>
            <a:schemeClr val="bg2"/>
          </a:solidFill>
        </p:spPr>
        <p:txBody>
          <a:bodyPr vert="horz" lIns="108000" tIns="72000" rIns="72000" bIns="36000" numCol="1" spcCol="288000" rtlCol="0">
            <a:noAutofit/>
          </a:bodyPr>
          <a:lstStyle>
            <a:lvl1pPr>
              <a:lnSpc>
                <a:spcPct val="130000"/>
              </a:lnSpc>
              <a:spcBef>
                <a:spcPts val="200"/>
              </a:spcBef>
              <a:spcAft>
                <a:spcPts val="200"/>
              </a:spcAft>
              <a:defRPr lang="en-US" sz="1100" dirty="0" smtClean="0">
                <a:solidFill>
                  <a:schemeClr val="tx1"/>
                </a:solidFill>
                <a:latin typeface="+mn-lt"/>
              </a:defRPr>
            </a:lvl1pPr>
            <a:lvl2pPr marL="171450" indent="-171450">
              <a:lnSpc>
                <a:spcPct val="130000"/>
              </a:lnSpc>
              <a:spcBef>
                <a:spcPts val="200"/>
              </a:spcBef>
              <a:spcAft>
                <a:spcPts val="200"/>
              </a:spcAft>
              <a:buFont typeface="Arial" panose="020B0604020202020204" pitchFamily="34" charset="0"/>
              <a:buChar char="•"/>
              <a:defRPr lang="en-US" sz="1000" dirty="0"/>
            </a:lvl2pPr>
            <a:lvl3pPr marL="360363" indent="-182563">
              <a:lnSpc>
                <a:spcPct val="130000"/>
              </a:lnSpc>
              <a:spcBef>
                <a:spcPts val="200"/>
              </a:spcBef>
              <a:spcAft>
                <a:spcPts val="200"/>
              </a:spcAft>
              <a:defRPr lang="en-US" sz="1000" dirty="0"/>
            </a:lvl3pPr>
            <a:lvl4pPr>
              <a:defRPr lang="en-US" sz="1000" dirty="0"/>
            </a:lvl4pPr>
            <a:lvl5pPr>
              <a:defRPr lang="en-US" sz="1000" dirty="0"/>
            </a:lvl5pPr>
          </a:lstStyle>
          <a:p>
            <a:pPr lvl="0"/>
            <a:r>
              <a:rPr lang="en-US" dirty="0"/>
              <a:t>Click to edit master text styles</a:t>
            </a:r>
          </a:p>
          <a:p>
            <a:pPr lvl="1"/>
            <a:r>
              <a:rPr lang="en-US" dirty="0"/>
              <a:t>Second level</a:t>
            </a:r>
          </a:p>
          <a:p>
            <a:pPr lvl="2"/>
            <a:r>
              <a:rPr lang="en-US" dirty="0"/>
              <a:t>Third level</a:t>
            </a:r>
          </a:p>
        </p:txBody>
      </p:sp>
      <p:sp>
        <p:nvSpPr>
          <p:cNvPr id="5" name="Footer Placeholder 4"/>
          <p:cNvSpPr>
            <a:spLocks noGrp="1"/>
          </p:cNvSpPr>
          <p:nvPr>
            <p:ph type="ftr" sz="quarter" idx="11"/>
          </p:nvPr>
        </p:nvSpPr>
        <p:spPr/>
        <p:txBody>
          <a:bodyPr/>
          <a:lstStyle/>
          <a:p>
            <a:r>
              <a:rPr lang="en-GB"/>
              <a:t>INSERT FOOTER HER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8CFE0557-AA98-4E6C-B0C3-581794696B68}" type="slidenum">
              <a:rPr lang="en-GB" smtClean="0"/>
              <a:pPr/>
              <a:t>‹#›</a:t>
            </a:fld>
            <a:endParaRPr lang="en-GB"/>
          </a:p>
        </p:txBody>
      </p:sp>
      <p:sp>
        <p:nvSpPr>
          <p:cNvPr id="7" name="Content Placeholder 2">
            <a:extLst>
              <a:ext uri="{FF2B5EF4-FFF2-40B4-BE49-F238E27FC236}">
                <a16:creationId xmlns:a16="http://schemas.microsoft.com/office/drawing/2014/main" id="{B0B00756-BEE2-1E4F-AA11-656D1916E332}"/>
              </a:ext>
            </a:extLst>
          </p:cNvPr>
          <p:cNvSpPr>
            <a:spLocks noGrp="1"/>
          </p:cNvSpPr>
          <p:nvPr>
            <p:ph idx="14" hasCustomPrompt="1"/>
          </p:nvPr>
        </p:nvSpPr>
        <p:spPr>
          <a:xfrm>
            <a:off x="507999" y="1411005"/>
            <a:ext cx="3400425" cy="443024"/>
          </a:xfrm>
          <a:solidFill>
            <a:schemeClr val="accent2"/>
          </a:solidFill>
        </p:spPr>
        <p:txBody>
          <a:bodyPr vert="horz" lIns="108000" tIns="45720" rIns="72000" bIns="45720" numCol="1" spcCol="216000" rtlCol="0" anchor="ctr" anchorCtr="0">
            <a:noAutofit/>
          </a:bodyPr>
          <a:lstStyle>
            <a:lvl1pPr>
              <a:defRPr lang="en-US" sz="1400" cap="all" baseline="0" dirty="0">
                <a:solidFill>
                  <a:schemeClr val="tx2"/>
                </a:solidFill>
              </a:defRPr>
            </a:lvl1pPr>
            <a:lvl2pPr>
              <a:defRPr lang="en-US" sz="900" dirty="0">
                <a:solidFill>
                  <a:schemeClr val="tx1"/>
                </a:solidFill>
              </a:defRPr>
            </a:lvl2pPr>
            <a:lvl3pPr>
              <a:defRPr lang="en-US" sz="800" dirty="0">
                <a:solidFill>
                  <a:schemeClr val="tx1"/>
                </a:solidFill>
              </a:defRPr>
            </a:lvl3pPr>
            <a:lvl4pPr>
              <a:defRPr lang="en-US" sz="700" dirty="0">
                <a:solidFill>
                  <a:schemeClr val="tx1"/>
                </a:solidFill>
              </a:defRPr>
            </a:lvl4pPr>
            <a:lvl5pPr>
              <a:defRPr lang="en-US" sz="700" dirty="0">
                <a:solidFill>
                  <a:schemeClr val="tx1"/>
                </a:solidFill>
              </a:defRPr>
            </a:lvl5pPr>
          </a:lstStyle>
          <a:p>
            <a:pPr lvl="0"/>
            <a:r>
              <a:rPr lang="en-US" dirty="0"/>
              <a:t>SUBHEAD</a:t>
            </a:r>
          </a:p>
        </p:txBody>
      </p:sp>
      <p:sp>
        <p:nvSpPr>
          <p:cNvPr id="4" name="Title 3">
            <a:extLst>
              <a:ext uri="{FF2B5EF4-FFF2-40B4-BE49-F238E27FC236}">
                <a16:creationId xmlns:a16="http://schemas.microsoft.com/office/drawing/2014/main" id="{6729F04B-D5C0-88EC-FA0F-B39A9EACF533}"/>
              </a:ext>
            </a:extLst>
          </p:cNvPr>
          <p:cNvSpPr>
            <a:spLocks noGrp="1"/>
          </p:cNvSpPr>
          <p:nvPr>
            <p:ph type="title" hasCustomPrompt="1"/>
          </p:nvPr>
        </p:nvSpPr>
        <p:spPr>
          <a:xfrm>
            <a:off x="508001" y="454014"/>
            <a:ext cx="7118350" cy="814806"/>
          </a:xfrm>
        </p:spPr>
        <p:txBody>
          <a:bodyPr/>
          <a:lstStyle/>
          <a:p>
            <a:r>
              <a:rPr lang="en-US" dirty="0"/>
              <a:t>TITLE: subtitle</a:t>
            </a:r>
            <a:endParaRPr lang="en-GB" dirty="0"/>
          </a:p>
        </p:txBody>
      </p:sp>
      <p:sp>
        <p:nvSpPr>
          <p:cNvPr id="11" name="Content Placeholder 2">
            <a:extLst>
              <a:ext uri="{FF2B5EF4-FFF2-40B4-BE49-F238E27FC236}">
                <a16:creationId xmlns:a16="http://schemas.microsoft.com/office/drawing/2014/main" id="{0CE1D013-BC17-F297-93DF-A3CE5AC5F6C5}"/>
              </a:ext>
            </a:extLst>
          </p:cNvPr>
          <p:cNvSpPr>
            <a:spLocks noGrp="1"/>
          </p:cNvSpPr>
          <p:nvPr>
            <p:ph idx="15" hasCustomPrompt="1"/>
          </p:nvPr>
        </p:nvSpPr>
        <p:spPr>
          <a:xfrm>
            <a:off x="4225925" y="1854029"/>
            <a:ext cx="3400425" cy="1790871"/>
          </a:xfrm>
          <a:solidFill>
            <a:schemeClr val="bg2"/>
          </a:solidFill>
        </p:spPr>
        <p:txBody>
          <a:bodyPr vert="horz" lIns="108000" tIns="72000" rIns="72000" bIns="36000" numCol="1" spcCol="288000" rtlCol="0">
            <a:noAutofit/>
          </a:bodyPr>
          <a:lstStyle>
            <a:lvl1pPr>
              <a:lnSpc>
                <a:spcPct val="130000"/>
              </a:lnSpc>
              <a:spcBef>
                <a:spcPts val="200"/>
              </a:spcBef>
              <a:spcAft>
                <a:spcPts val="200"/>
              </a:spcAft>
              <a:defRPr lang="en-US" sz="1100" dirty="0" smtClean="0">
                <a:solidFill>
                  <a:schemeClr val="tx1"/>
                </a:solidFill>
                <a:latin typeface="+mn-lt"/>
              </a:defRPr>
            </a:lvl1pPr>
            <a:lvl2pPr marL="171450" indent="-171450">
              <a:lnSpc>
                <a:spcPct val="130000"/>
              </a:lnSpc>
              <a:spcBef>
                <a:spcPts val="200"/>
              </a:spcBef>
              <a:spcAft>
                <a:spcPts val="200"/>
              </a:spcAft>
              <a:buFont typeface="Arial" panose="020B0604020202020204" pitchFamily="34" charset="0"/>
              <a:buChar char="•"/>
              <a:defRPr lang="en-US" sz="1000" dirty="0"/>
            </a:lvl2pPr>
            <a:lvl3pPr marL="360363" indent="-182563">
              <a:lnSpc>
                <a:spcPct val="130000"/>
              </a:lnSpc>
              <a:spcBef>
                <a:spcPts val="200"/>
              </a:spcBef>
              <a:spcAft>
                <a:spcPts val="200"/>
              </a:spcAft>
              <a:defRPr lang="en-US" sz="1000" dirty="0"/>
            </a:lvl3pPr>
            <a:lvl4pPr>
              <a:defRPr lang="en-US" sz="1000" dirty="0"/>
            </a:lvl4pPr>
            <a:lvl5pPr>
              <a:defRPr lang="en-US" sz="1000" dirty="0"/>
            </a:lvl5pPr>
          </a:lstStyle>
          <a:p>
            <a:pPr lvl="0"/>
            <a:r>
              <a:rPr lang="en-US" dirty="0"/>
              <a:t>Click to edit master text styles</a:t>
            </a:r>
          </a:p>
          <a:p>
            <a:pPr lvl="1"/>
            <a:r>
              <a:rPr lang="en-US" dirty="0"/>
              <a:t>Second level</a:t>
            </a:r>
          </a:p>
          <a:p>
            <a:pPr lvl="2"/>
            <a:r>
              <a:rPr lang="en-US" dirty="0"/>
              <a:t>Third level</a:t>
            </a:r>
          </a:p>
        </p:txBody>
      </p:sp>
      <p:sp>
        <p:nvSpPr>
          <p:cNvPr id="12" name="Content Placeholder 2">
            <a:extLst>
              <a:ext uri="{FF2B5EF4-FFF2-40B4-BE49-F238E27FC236}">
                <a16:creationId xmlns:a16="http://schemas.microsoft.com/office/drawing/2014/main" id="{044BC189-C8AB-468D-9AA3-F616D7D61B1C}"/>
              </a:ext>
            </a:extLst>
          </p:cNvPr>
          <p:cNvSpPr>
            <a:spLocks noGrp="1"/>
          </p:cNvSpPr>
          <p:nvPr>
            <p:ph idx="16" hasCustomPrompt="1"/>
          </p:nvPr>
        </p:nvSpPr>
        <p:spPr>
          <a:xfrm>
            <a:off x="4225925" y="1411005"/>
            <a:ext cx="3400425" cy="443024"/>
          </a:xfrm>
          <a:solidFill>
            <a:schemeClr val="accent2"/>
          </a:solidFill>
        </p:spPr>
        <p:txBody>
          <a:bodyPr vert="horz" lIns="108000" tIns="45720" rIns="72000" bIns="45720" numCol="1" spcCol="216000" rtlCol="0" anchor="ctr" anchorCtr="0">
            <a:noAutofit/>
          </a:bodyPr>
          <a:lstStyle>
            <a:lvl1pPr>
              <a:defRPr lang="en-US" sz="1400" cap="all" baseline="0" dirty="0">
                <a:solidFill>
                  <a:schemeClr val="tx2"/>
                </a:solidFill>
              </a:defRPr>
            </a:lvl1pPr>
            <a:lvl2pPr>
              <a:defRPr lang="en-US" sz="900" dirty="0">
                <a:solidFill>
                  <a:schemeClr val="tx1"/>
                </a:solidFill>
              </a:defRPr>
            </a:lvl2pPr>
            <a:lvl3pPr>
              <a:defRPr lang="en-US" sz="800" dirty="0">
                <a:solidFill>
                  <a:schemeClr val="tx1"/>
                </a:solidFill>
              </a:defRPr>
            </a:lvl3pPr>
            <a:lvl4pPr>
              <a:defRPr lang="en-US" sz="700" dirty="0">
                <a:solidFill>
                  <a:schemeClr val="tx1"/>
                </a:solidFill>
              </a:defRPr>
            </a:lvl4pPr>
            <a:lvl5pPr>
              <a:defRPr lang="en-US" sz="700" dirty="0">
                <a:solidFill>
                  <a:schemeClr val="tx1"/>
                </a:solidFill>
              </a:defRPr>
            </a:lvl5pPr>
          </a:lstStyle>
          <a:p>
            <a:pPr lvl="0"/>
            <a:r>
              <a:rPr lang="en-US" dirty="0"/>
              <a:t>SUBHEAD</a:t>
            </a:r>
          </a:p>
        </p:txBody>
      </p:sp>
      <p:sp>
        <p:nvSpPr>
          <p:cNvPr id="15" name="Content Placeholder 2">
            <a:extLst>
              <a:ext uri="{FF2B5EF4-FFF2-40B4-BE49-F238E27FC236}">
                <a16:creationId xmlns:a16="http://schemas.microsoft.com/office/drawing/2014/main" id="{0DBEF8F2-E7A8-CB2A-D6C6-185F68EA57BB}"/>
              </a:ext>
            </a:extLst>
          </p:cNvPr>
          <p:cNvSpPr>
            <a:spLocks noGrp="1"/>
          </p:cNvSpPr>
          <p:nvPr>
            <p:ph idx="19" hasCustomPrompt="1"/>
          </p:nvPr>
        </p:nvSpPr>
        <p:spPr>
          <a:xfrm>
            <a:off x="507999" y="4399652"/>
            <a:ext cx="3400425" cy="1790871"/>
          </a:xfrm>
          <a:solidFill>
            <a:schemeClr val="bg2"/>
          </a:solidFill>
        </p:spPr>
        <p:txBody>
          <a:bodyPr vert="horz" lIns="108000" tIns="72000" rIns="72000" bIns="36000" numCol="1" spcCol="288000" rtlCol="0">
            <a:noAutofit/>
          </a:bodyPr>
          <a:lstStyle>
            <a:lvl1pPr>
              <a:lnSpc>
                <a:spcPct val="130000"/>
              </a:lnSpc>
              <a:spcBef>
                <a:spcPts val="200"/>
              </a:spcBef>
              <a:spcAft>
                <a:spcPts val="200"/>
              </a:spcAft>
              <a:defRPr lang="en-US" sz="1100" dirty="0" smtClean="0">
                <a:solidFill>
                  <a:schemeClr val="tx1"/>
                </a:solidFill>
                <a:latin typeface="+mn-lt"/>
              </a:defRPr>
            </a:lvl1pPr>
            <a:lvl2pPr marL="171450" indent="-171450">
              <a:lnSpc>
                <a:spcPct val="130000"/>
              </a:lnSpc>
              <a:spcBef>
                <a:spcPts val="200"/>
              </a:spcBef>
              <a:spcAft>
                <a:spcPts val="200"/>
              </a:spcAft>
              <a:buFont typeface="Arial" panose="020B0604020202020204" pitchFamily="34" charset="0"/>
              <a:buChar char="•"/>
              <a:defRPr lang="en-US" sz="1000" dirty="0"/>
            </a:lvl2pPr>
            <a:lvl3pPr marL="360363" indent="-182563">
              <a:lnSpc>
                <a:spcPct val="130000"/>
              </a:lnSpc>
              <a:spcBef>
                <a:spcPts val="200"/>
              </a:spcBef>
              <a:spcAft>
                <a:spcPts val="200"/>
              </a:spcAft>
              <a:defRPr lang="en-US" sz="1000" dirty="0"/>
            </a:lvl3pPr>
            <a:lvl4pPr>
              <a:defRPr lang="en-US" sz="1000" dirty="0"/>
            </a:lvl4pPr>
            <a:lvl5pPr>
              <a:defRPr lang="en-US" sz="1000" dirty="0"/>
            </a:lvl5pPr>
          </a:lstStyle>
          <a:p>
            <a:pPr lvl="0"/>
            <a:r>
              <a:rPr lang="en-US" dirty="0"/>
              <a:t>Click to edit master text styles</a:t>
            </a:r>
          </a:p>
          <a:p>
            <a:pPr lvl="1"/>
            <a:r>
              <a:rPr lang="en-US" dirty="0"/>
              <a:t>Second level</a:t>
            </a:r>
          </a:p>
          <a:p>
            <a:pPr lvl="2"/>
            <a:r>
              <a:rPr lang="en-US" dirty="0"/>
              <a:t>Third level</a:t>
            </a:r>
          </a:p>
        </p:txBody>
      </p:sp>
      <p:sp>
        <p:nvSpPr>
          <p:cNvPr id="16" name="Content Placeholder 2">
            <a:extLst>
              <a:ext uri="{FF2B5EF4-FFF2-40B4-BE49-F238E27FC236}">
                <a16:creationId xmlns:a16="http://schemas.microsoft.com/office/drawing/2014/main" id="{62C1633C-AF8C-5672-C8E9-59BF8E705D38}"/>
              </a:ext>
            </a:extLst>
          </p:cNvPr>
          <p:cNvSpPr>
            <a:spLocks noGrp="1"/>
          </p:cNvSpPr>
          <p:nvPr>
            <p:ph idx="20" hasCustomPrompt="1"/>
          </p:nvPr>
        </p:nvSpPr>
        <p:spPr>
          <a:xfrm>
            <a:off x="507999" y="3950042"/>
            <a:ext cx="3400425" cy="443024"/>
          </a:xfrm>
          <a:solidFill>
            <a:schemeClr val="accent2"/>
          </a:solidFill>
        </p:spPr>
        <p:txBody>
          <a:bodyPr vert="horz" lIns="108000" tIns="45720" rIns="72000" bIns="45720" numCol="1" spcCol="216000" rtlCol="0" anchor="ctr" anchorCtr="0">
            <a:noAutofit/>
          </a:bodyPr>
          <a:lstStyle>
            <a:lvl1pPr>
              <a:defRPr lang="en-US" sz="1400" cap="all" baseline="0" dirty="0">
                <a:solidFill>
                  <a:schemeClr val="tx2"/>
                </a:solidFill>
              </a:defRPr>
            </a:lvl1pPr>
            <a:lvl2pPr>
              <a:defRPr lang="en-US" sz="900" dirty="0">
                <a:solidFill>
                  <a:schemeClr val="tx1"/>
                </a:solidFill>
              </a:defRPr>
            </a:lvl2pPr>
            <a:lvl3pPr>
              <a:defRPr lang="en-US" sz="800" dirty="0">
                <a:solidFill>
                  <a:schemeClr val="tx1"/>
                </a:solidFill>
              </a:defRPr>
            </a:lvl3pPr>
            <a:lvl4pPr>
              <a:defRPr lang="en-US" sz="700" dirty="0">
                <a:solidFill>
                  <a:schemeClr val="tx1"/>
                </a:solidFill>
              </a:defRPr>
            </a:lvl4pPr>
            <a:lvl5pPr>
              <a:defRPr lang="en-US" sz="700" dirty="0">
                <a:solidFill>
                  <a:schemeClr val="tx1"/>
                </a:solidFill>
              </a:defRPr>
            </a:lvl5pPr>
          </a:lstStyle>
          <a:p>
            <a:pPr lvl="0"/>
            <a:r>
              <a:rPr lang="en-US" dirty="0"/>
              <a:t>SUBHEAD</a:t>
            </a:r>
          </a:p>
        </p:txBody>
      </p:sp>
      <p:sp>
        <p:nvSpPr>
          <p:cNvPr id="17" name="Content Placeholder 2">
            <a:extLst>
              <a:ext uri="{FF2B5EF4-FFF2-40B4-BE49-F238E27FC236}">
                <a16:creationId xmlns:a16="http://schemas.microsoft.com/office/drawing/2014/main" id="{03927300-C246-F5F7-919E-B25446AA46DA}"/>
              </a:ext>
            </a:extLst>
          </p:cNvPr>
          <p:cNvSpPr>
            <a:spLocks noGrp="1"/>
          </p:cNvSpPr>
          <p:nvPr>
            <p:ph idx="21" hasCustomPrompt="1"/>
          </p:nvPr>
        </p:nvSpPr>
        <p:spPr>
          <a:xfrm>
            <a:off x="4225925" y="4399652"/>
            <a:ext cx="3400425" cy="1790871"/>
          </a:xfrm>
          <a:solidFill>
            <a:schemeClr val="bg2"/>
          </a:solidFill>
        </p:spPr>
        <p:txBody>
          <a:bodyPr vert="horz" lIns="108000" tIns="72000" rIns="72000" bIns="36000" numCol="1" spcCol="288000" rtlCol="0">
            <a:noAutofit/>
          </a:bodyPr>
          <a:lstStyle>
            <a:lvl1pPr>
              <a:lnSpc>
                <a:spcPct val="130000"/>
              </a:lnSpc>
              <a:spcBef>
                <a:spcPts val="200"/>
              </a:spcBef>
              <a:spcAft>
                <a:spcPts val="200"/>
              </a:spcAft>
              <a:defRPr lang="en-US" sz="1100" dirty="0" smtClean="0">
                <a:solidFill>
                  <a:schemeClr val="tx1"/>
                </a:solidFill>
                <a:latin typeface="+mn-lt"/>
              </a:defRPr>
            </a:lvl1pPr>
            <a:lvl2pPr marL="171450" indent="-171450">
              <a:lnSpc>
                <a:spcPct val="130000"/>
              </a:lnSpc>
              <a:spcBef>
                <a:spcPts val="200"/>
              </a:spcBef>
              <a:spcAft>
                <a:spcPts val="200"/>
              </a:spcAft>
              <a:buFont typeface="Arial" panose="020B0604020202020204" pitchFamily="34" charset="0"/>
              <a:buChar char="•"/>
              <a:defRPr lang="en-US" sz="1000" dirty="0"/>
            </a:lvl2pPr>
            <a:lvl3pPr marL="360363" indent="-182563">
              <a:lnSpc>
                <a:spcPct val="130000"/>
              </a:lnSpc>
              <a:spcBef>
                <a:spcPts val="200"/>
              </a:spcBef>
              <a:spcAft>
                <a:spcPts val="200"/>
              </a:spcAft>
              <a:defRPr lang="en-US" sz="1000" dirty="0"/>
            </a:lvl3pPr>
            <a:lvl4pPr>
              <a:defRPr lang="en-US" sz="1000" dirty="0"/>
            </a:lvl4pPr>
            <a:lvl5pPr>
              <a:defRPr lang="en-US" sz="1000" dirty="0"/>
            </a:lvl5pPr>
          </a:lstStyle>
          <a:p>
            <a:pPr lvl="0"/>
            <a:r>
              <a:rPr lang="en-US" dirty="0"/>
              <a:t>Click to edit master text styles</a:t>
            </a:r>
          </a:p>
          <a:p>
            <a:pPr lvl="1"/>
            <a:r>
              <a:rPr lang="en-US" dirty="0"/>
              <a:t>Second level</a:t>
            </a:r>
          </a:p>
          <a:p>
            <a:pPr lvl="2"/>
            <a:r>
              <a:rPr lang="en-US" dirty="0"/>
              <a:t>Third level</a:t>
            </a:r>
          </a:p>
        </p:txBody>
      </p:sp>
      <p:sp>
        <p:nvSpPr>
          <p:cNvPr id="18" name="Content Placeholder 2">
            <a:extLst>
              <a:ext uri="{FF2B5EF4-FFF2-40B4-BE49-F238E27FC236}">
                <a16:creationId xmlns:a16="http://schemas.microsoft.com/office/drawing/2014/main" id="{376ABD33-7DE6-932D-F04B-E72ED7FB6DE7}"/>
              </a:ext>
            </a:extLst>
          </p:cNvPr>
          <p:cNvSpPr>
            <a:spLocks noGrp="1"/>
          </p:cNvSpPr>
          <p:nvPr>
            <p:ph idx="22" hasCustomPrompt="1"/>
          </p:nvPr>
        </p:nvSpPr>
        <p:spPr>
          <a:xfrm>
            <a:off x="4225925" y="3950042"/>
            <a:ext cx="3400425" cy="443024"/>
          </a:xfrm>
          <a:solidFill>
            <a:schemeClr val="accent2"/>
          </a:solidFill>
        </p:spPr>
        <p:txBody>
          <a:bodyPr vert="horz" lIns="108000" tIns="45720" rIns="72000" bIns="45720" numCol="1" spcCol="216000" rtlCol="0" anchor="ctr" anchorCtr="0">
            <a:noAutofit/>
          </a:bodyPr>
          <a:lstStyle>
            <a:lvl1pPr>
              <a:defRPr lang="en-US" sz="1400" cap="all" baseline="0" dirty="0">
                <a:solidFill>
                  <a:schemeClr val="tx2"/>
                </a:solidFill>
              </a:defRPr>
            </a:lvl1pPr>
            <a:lvl2pPr>
              <a:defRPr lang="en-US" sz="900" dirty="0">
                <a:solidFill>
                  <a:schemeClr val="tx1"/>
                </a:solidFill>
              </a:defRPr>
            </a:lvl2pPr>
            <a:lvl3pPr>
              <a:defRPr lang="en-US" sz="800" dirty="0">
                <a:solidFill>
                  <a:schemeClr val="tx1"/>
                </a:solidFill>
              </a:defRPr>
            </a:lvl3pPr>
            <a:lvl4pPr>
              <a:defRPr lang="en-US" sz="700" dirty="0">
                <a:solidFill>
                  <a:schemeClr val="tx1"/>
                </a:solidFill>
              </a:defRPr>
            </a:lvl4pPr>
            <a:lvl5pPr>
              <a:defRPr lang="en-US" sz="700" dirty="0">
                <a:solidFill>
                  <a:schemeClr val="tx1"/>
                </a:solidFill>
              </a:defRPr>
            </a:lvl5pPr>
          </a:lstStyle>
          <a:p>
            <a:pPr lvl="0"/>
            <a:r>
              <a:rPr lang="en-US" dirty="0"/>
              <a:t>SUBHEAD</a:t>
            </a:r>
          </a:p>
        </p:txBody>
      </p:sp>
      <p:sp>
        <p:nvSpPr>
          <p:cNvPr id="2" name="Content Placeholder 2">
            <a:extLst>
              <a:ext uri="{FF2B5EF4-FFF2-40B4-BE49-F238E27FC236}">
                <a16:creationId xmlns:a16="http://schemas.microsoft.com/office/drawing/2014/main" id="{105904A5-D0B1-744A-87B7-649366788064}"/>
              </a:ext>
            </a:extLst>
          </p:cNvPr>
          <p:cNvSpPr>
            <a:spLocks noGrp="1"/>
          </p:cNvSpPr>
          <p:nvPr>
            <p:ph idx="45" hasCustomPrompt="1"/>
          </p:nvPr>
        </p:nvSpPr>
        <p:spPr>
          <a:xfrm>
            <a:off x="8737600" y="1776766"/>
            <a:ext cx="2963863" cy="3957531"/>
          </a:xfrm>
        </p:spPr>
        <p:txBody>
          <a:bodyPr vert="horz" lIns="0" tIns="45720" rIns="0" bIns="45720" rtlCol="0">
            <a:normAutofit/>
          </a:bodyPr>
          <a:lstStyle>
            <a:lvl1pPr algn="l" defTabSz="914400" rtl="0" eaLnBrk="1" latinLnBrk="0" hangingPunct="1">
              <a:lnSpc>
                <a:spcPct val="130000"/>
              </a:lnSpc>
              <a:spcBef>
                <a:spcPts val="300"/>
              </a:spcBef>
              <a:spcAft>
                <a:spcPts val="300"/>
              </a:spcAft>
              <a:buFont typeface="Arial" panose="020B0604020202020204" pitchFamily="34" charset="0"/>
              <a:defRPr lang="en-US" sz="1100" kern="1200" dirty="0">
                <a:solidFill>
                  <a:schemeClr val="bg1"/>
                </a:solidFill>
                <a:latin typeface="+mn-lt"/>
                <a:ea typeface="+mn-ea"/>
                <a:cs typeface="+mn-cs"/>
              </a:defRPr>
            </a:lvl1pPr>
            <a:lvl2pPr>
              <a:buClr>
                <a:schemeClr val="bg1"/>
              </a:buClr>
              <a:defRPr lang="en-US" dirty="0">
                <a:solidFill>
                  <a:schemeClr val="bg1"/>
                </a:solidFill>
              </a:defRPr>
            </a:lvl2pPr>
            <a:lvl3pPr>
              <a:buClr>
                <a:schemeClr val="bg1"/>
              </a:buClr>
              <a:defRPr lang="en-US" dirty="0">
                <a:solidFill>
                  <a:schemeClr val="bg1"/>
                </a:solidFill>
              </a:defRPr>
            </a:lvl3pPr>
            <a:lvl4pPr>
              <a:buClr>
                <a:schemeClr val="bg1"/>
              </a:buClr>
              <a:defRPr lang="en-US" dirty="0">
                <a:solidFill>
                  <a:schemeClr val="bg1"/>
                </a:solidFill>
              </a:defRPr>
            </a:lvl4pPr>
            <a:lvl5pPr>
              <a:buClr>
                <a:schemeClr val="bg1"/>
              </a:buClr>
              <a:defRPr lang="en-US" dirty="0">
                <a:solidFill>
                  <a:schemeClr val="bg1"/>
                </a:solidFill>
              </a:defRPr>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8" name="Content Placeholder 2">
            <a:extLst>
              <a:ext uri="{FF2B5EF4-FFF2-40B4-BE49-F238E27FC236}">
                <a16:creationId xmlns:a16="http://schemas.microsoft.com/office/drawing/2014/main" id="{F0BB4A57-CC7D-71EF-F84F-9CE42656F7EA}"/>
              </a:ext>
            </a:extLst>
          </p:cNvPr>
          <p:cNvSpPr>
            <a:spLocks noGrp="1"/>
          </p:cNvSpPr>
          <p:nvPr>
            <p:ph idx="46" hasCustomPrompt="1"/>
          </p:nvPr>
        </p:nvSpPr>
        <p:spPr>
          <a:xfrm>
            <a:off x="8737600" y="1411005"/>
            <a:ext cx="2946399" cy="365761"/>
          </a:xfrm>
        </p:spPr>
        <p:txBody>
          <a:bodyPr/>
          <a:lstStyle>
            <a:lvl1pPr>
              <a:defRPr cap="all" baseline="0">
                <a:solidFill>
                  <a:schemeClr val="accent2"/>
                </a:solidFill>
              </a:defRPr>
            </a:lvl1pPr>
          </a:lstStyle>
          <a:p>
            <a:pPr lvl="0"/>
            <a:r>
              <a:rPr lang="en-US" dirty="0"/>
              <a:t>subhead</a:t>
            </a:r>
          </a:p>
        </p:txBody>
      </p:sp>
    </p:spTree>
    <p:extLst>
      <p:ext uri="{BB962C8B-B14F-4D97-AF65-F5344CB8AC3E}">
        <p14:creationId xmlns:p14="http://schemas.microsoft.com/office/powerpoint/2010/main" val="3740875823"/>
      </p:ext>
    </p:extLst>
  </p:cSld>
  <p:clrMapOvr>
    <a:masterClrMapping/>
  </p:clrMapOvr>
  <p:transition spd="med">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 Column">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r>
              <a:rPr lang="en-GB"/>
              <a:t>INSERT FOOTER HERE</a:t>
            </a:r>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8CFE0557-AA98-4E6C-B0C3-581794696B68}" type="slidenum">
              <a:rPr lang="en-GB" smtClean="0"/>
              <a:pPr/>
              <a:t>‹#›</a:t>
            </a:fld>
            <a:endParaRPr lang="en-GB"/>
          </a:p>
        </p:txBody>
      </p:sp>
      <p:sp>
        <p:nvSpPr>
          <p:cNvPr id="10" name="Content Placeholder 2">
            <a:extLst>
              <a:ext uri="{FF2B5EF4-FFF2-40B4-BE49-F238E27FC236}">
                <a16:creationId xmlns:a16="http://schemas.microsoft.com/office/drawing/2014/main" id="{182B4A0E-C187-E12F-BB7B-7E465EDEEA4C}"/>
              </a:ext>
            </a:extLst>
          </p:cNvPr>
          <p:cNvSpPr>
            <a:spLocks noGrp="1"/>
          </p:cNvSpPr>
          <p:nvPr>
            <p:ph idx="1" hasCustomPrompt="1"/>
          </p:nvPr>
        </p:nvSpPr>
        <p:spPr>
          <a:xfrm>
            <a:off x="507999" y="1244882"/>
            <a:ext cx="11172953" cy="291662"/>
          </a:xfrm>
        </p:spPr>
        <p:txBody>
          <a:bodyPr vert="horz" lIns="0" tIns="45720" rIns="0" bIns="45720" numCol="1" spcCol="288000" rtlCol="0">
            <a:noAutofit/>
          </a:bodyPr>
          <a:lstStyle>
            <a:lvl1pPr>
              <a:defRPr lang="en-US" cap="all" baseline="0" dirty="0" smtClean="0"/>
            </a:lvl1pPr>
            <a:lvl2pPr>
              <a:defRPr lang="en-US" dirty="0"/>
            </a:lvl2pPr>
            <a:lvl3pPr>
              <a:defRPr lang="en-US" dirty="0"/>
            </a:lvl3pPr>
            <a:lvl4pPr>
              <a:defRPr lang="en-US" dirty="0"/>
            </a:lvl4pPr>
            <a:lvl5pPr>
              <a:defRPr lang="en-US" dirty="0"/>
            </a:lvl5pPr>
          </a:lstStyle>
          <a:p>
            <a:pPr lvl="0"/>
            <a:r>
              <a:rPr lang="en-US" dirty="0"/>
              <a:t>subhead</a:t>
            </a:r>
          </a:p>
        </p:txBody>
      </p:sp>
      <p:sp>
        <p:nvSpPr>
          <p:cNvPr id="12" name="Content Placeholder 2">
            <a:extLst>
              <a:ext uri="{FF2B5EF4-FFF2-40B4-BE49-F238E27FC236}">
                <a16:creationId xmlns:a16="http://schemas.microsoft.com/office/drawing/2014/main" id="{79AF8CE8-F801-FBFD-7F6F-0BE65F72C036}"/>
              </a:ext>
            </a:extLst>
          </p:cNvPr>
          <p:cNvSpPr>
            <a:spLocks noGrp="1"/>
          </p:cNvSpPr>
          <p:nvPr>
            <p:ph idx="16" hasCustomPrompt="1"/>
          </p:nvPr>
        </p:nvSpPr>
        <p:spPr>
          <a:xfrm>
            <a:off x="508000" y="1613017"/>
            <a:ext cx="3400425" cy="4606808"/>
          </a:xfrm>
        </p:spPr>
        <p:txBody>
          <a:bodyPr vert="horz" lIns="0" tIns="45720" rIns="0" bIns="4572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4" name="Content Placeholder 2">
            <a:extLst>
              <a:ext uri="{FF2B5EF4-FFF2-40B4-BE49-F238E27FC236}">
                <a16:creationId xmlns:a16="http://schemas.microsoft.com/office/drawing/2014/main" id="{53C28725-2311-B24F-68FE-D0071B9D9FA2}"/>
              </a:ext>
            </a:extLst>
          </p:cNvPr>
          <p:cNvSpPr>
            <a:spLocks noGrp="1"/>
          </p:cNvSpPr>
          <p:nvPr>
            <p:ph idx="18" hasCustomPrompt="1"/>
          </p:nvPr>
        </p:nvSpPr>
        <p:spPr>
          <a:xfrm>
            <a:off x="4229229" y="1613017"/>
            <a:ext cx="3738434" cy="4606808"/>
          </a:xfrm>
        </p:spPr>
        <p:txBody>
          <a:bodyPr vert="horz" lIns="0" tIns="45720" rIns="0" bIns="4572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2" name="Content Placeholder 2">
            <a:extLst>
              <a:ext uri="{FF2B5EF4-FFF2-40B4-BE49-F238E27FC236}">
                <a16:creationId xmlns:a16="http://schemas.microsoft.com/office/drawing/2014/main" id="{D23A5666-8DD2-548E-5D9A-6FD367CE67AA}"/>
              </a:ext>
            </a:extLst>
          </p:cNvPr>
          <p:cNvSpPr>
            <a:spLocks noGrp="1"/>
          </p:cNvSpPr>
          <p:nvPr>
            <p:ph idx="19" hasCustomPrompt="1"/>
          </p:nvPr>
        </p:nvSpPr>
        <p:spPr>
          <a:xfrm>
            <a:off x="8283575" y="1613017"/>
            <a:ext cx="3397379" cy="4606808"/>
          </a:xfrm>
        </p:spPr>
        <p:txBody>
          <a:bodyPr vert="horz" lIns="0" tIns="45720" rIns="0" bIns="4572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14" name="Title 13">
            <a:extLst>
              <a:ext uri="{FF2B5EF4-FFF2-40B4-BE49-F238E27FC236}">
                <a16:creationId xmlns:a16="http://schemas.microsoft.com/office/drawing/2014/main" id="{63E94817-0C58-38AB-715B-9E31472F57FC}"/>
              </a:ext>
            </a:extLst>
          </p:cNvPr>
          <p:cNvSpPr>
            <a:spLocks noGrp="1"/>
          </p:cNvSpPr>
          <p:nvPr>
            <p:ph type="title" hasCustomPrompt="1"/>
          </p:nvPr>
        </p:nvSpPr>
        <p:spPr>
          <a:xfrm>
            <a:off x="508000" y="454013"/>
            <a:ext cx="11174413" cy="790869"/>
          </a:xfrm>
        </p:spPr>
        <p:txBody>
          <a:bodyPr/>
          <a:lstStyle>
            <a:lvl1pPr>
              <a:defRPr/>
            </a:lvl1pPr>
          </a:lstStyle>
          <a:p>
            <a:r>
              <a:rPr lang="en-US" dirty="0"/>
              <a:t>TITLE: subtitle</a:t>
            </a:r>
            <a:endParaRPr lang="en-GB" dirty="0"/>
          </a:p>
        </p:txBody>
      </p:sp>
    </p:spTree>
    <p:extLst>
      <p:ext uri="{BB962C8B-B14F-4D97-AF65-F5344CB8AC3E}">
        <p14:creationId xmlns:p14="http://schemas.microsoft.com/office/powerpoint/2010/main" val="2293443323"/>
      </p:ext>
    </p:extLst>
  </p:cSld>
  <p:clrMapOvr>
    <a:masterClrMapping/>
  </p:clrMapOvr>
  <p:transition spd="med">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 Column">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r>
              <a:rPr lang="en-GB"/>
              <a:t>INSERT FOOTER HERE</a:t>
            </a:r>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8CFE0557-AA98-4E6C-B0C3-581794696B68}" type="slidenum">
              <a:rPr lang="en-GB" smtClean="0"/>
              <a:pPr/>
              <a:t>‹#›</a:t>
            </a:fld>
            <a:endParaRPr lang="en-GB"/>
          </a:p>
        </p:txBody>
      </p:sp>
      <p:sp>
        <p:nvSpPr>
          <p:cNvPr id="10" name="Content Placeholder 2">
            <a:extLst>
              <a:ext uri="{FF2B5EF4-FFF2-40B4-BE49-F238E27FC236}">
                <a16:creationId xmlns:a16="http://schemas.microsoft.com/office/drawing/2014/main" id="{182B4A0E-C187-E12F-BB7B-7E465EDEEA4C}"/>
              </a:ext>
            </a:extLst>
          </p:cNvPr>
          <p:cNvSpPr>
            <a:spLocks noGrp="1"/>
          </p:cNvSpPr>
          <p:nvPr>
            <p:ph idx="1" hasCustomPrompt="1"/>
          </p:nvPr>
        </p:nvSpPr>
        <p:spPr>
          <a:xfrm>
            <a:off x="507999" y="1244882"/>
            <a:ext cx="11172953" cy="291662"/>
          </a:xfrm>
        </p:spPr>
        <p:txBody>
          <a:bodyPr vert="horz" lIns="0" tIns="45720" rIns="0" bIns="45720" numCol="1" spcCol="288000" rtlCol="0">
            <a:noAutofit/>
          </a:bodyPr>
          <a:lstStyle>
            <a:lvl1pPr>
              <a:defRPr lang="en-US" cap="all" baseline="0" dirty="0" smtClean="0"/>
            </a:lvl1pPr>
            <a:lvl2pPr>
              <a:defRPr lang="en-US" dirty="0"/>
            </a:lvl2pPr>
            <a:lvl3pPr>
              <a:defRPr lang="en-US" dirty="0"/>
            </a:lvl3pPr>
            <a:lvl4pPr>
              <a:defRPr lang="en-US" dirty="0"/>
            </a:lvl4pPr>
            <a:lvl5pPr>
              <a:defRPr lang="en-US" dirty="0"/>
            </a:lvl5pPr>
          </a:lstStyle>
          <a:p>
            <a:pPr lvl="0"/>
            <a:r>
              <a:rPr lang="en-US" dirty="0"/>
              <a:t>subhead</a:t>
            </a:r>
          </a:p>
        </p:txBody>
      </p:sp>
      <p:sp>
        <p:nvSpPr>
          <p:cNvPr id="12" name="Content Placeholder 2">
            <a:extLst>
              <a:ext uri="{FF2B5EF4-FFF2-40B4-BE49-F238E27FC236}">
                <a16:creationId xmlns:a16="http://schemas.microsoft.com/office/drawing/2014/main" id="{79AF8CE8-F801-FBFD-7F6F-0BE65F72C036}"/>
              </a:ext>
            </a:extLst>
          </p:cNvPr>
          <p:cNvSpPr>
            <a:spLocks noGrp="1"/>
          </p:cNvSpPr>
          <p:nvPr>
            <p:ph idx="16" hasCustomPrompt="1"/>
          </p:nvPr>
        </p:nvSpPr>
        <p:spPr>
          <a:xfrm>
            <a:off x="508000" y="1613017"/>
            <a:ext cx="5429250" cy="4606808"/>
          </a:xfrm>
        </p:spPr>
        <p:txBody>
          <a:bodyPr vert="horz" lIns="0" tIns="45720" rIns="0" bIns="4572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14" name="Title 13">
            <a:extLst>
              <a:ext uri="{FF2B5EF4-FFF2-40B4-BE49-F238E27FC236}">
                <a16:creationId xmlns:a16="http://schemas.microsoft.com/office/drawing/2014/main" id="{63E94817-0C58-38AB-715B-9E31472F57FC}"/>
              </a:ext>
            </a:extLst>
          </p:cNvPr>
          <p:cNvSpPr>
            <a:spLocks noGrp="1"/>
          </p:cNvSpPr>
          <p:nvPr>
            <p:ph type="title" hasCustomPrompt="1"/>
          </p:nvPr>
        </p:nvSpPr>
        <p:spPr>
          <a:xfrm>
            <a:off x="508000" y="454013"/>
            <a:ext cx="11174413" cy="790869"/>
          </a:xfrm>
        </p:spPr>
        <p:txBody>
          <a:bodyPr/>
          <a:lstStyle>
            <a:lvl1pPr>
              <a:defRPr/>
            </a:lvl1pPr>
          </a:lstStyle>
          <a:p>
            <a:r>
              <a:rPr lang="en-US" dirty="0"/>
              <a:t>TITLE: subtitle</a:t>
            </a:r>
            <a:endParaRPr lang="en-GB" dirty="0"/>
          </a:p>
        </p:txBody>
      </p:sp>
      <p:sp>
        <p:nvSpPr>
          <p:cNvPr id="7" name="Content Placeholder 2">
            <a:extLst>
              <a:ext uri="{FF2B5EF4-FFF2-40B4-BE49-F238E27FC236}">
                <a16:creationId xmlns:a16="http://schemas.microsoft.com/office/drawing/2014/main" id="{2189928A-C058-D4E4-0D1E-ADB2E7F07931}"/>
              </a:ext>
            </a:extLst>
          </p:cNvPr>
          <p:cNvSpPr>
            <a:spLocks noGrp="1"/>
          </p:cNvSpPr>
          <p:nvPr>
            <p:ph idx="17" hasCustomPrompt="1"/>
          </p:nvPr>
        </p:nvSpPr>
        <p:spPr>
          <a:xfrm>
            <a:off x="6251702" y="1613017"/>
            <a:ext cx="5429250" cy="4606808"/>
          </a:xfrm>
        </p:spPr>
        <p:txBody>
          <a:bodyPr vert="horz" lIns="0" tIns="45720" rIns="0" bIns="4572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Tree>
    <p:extLst>
      <p:ext uri="{BB962C8B-B14F-4D97-AF65-F5344CB8AC3E}">
        <p14:creationId xmlns:p14="http://schemas.microsoft.com/office/powerpoint/2010/main" val="2097649337"/>
      </p:ext>
    </p:extLst>
  </p:cSld>
  <p:clrMapOvr>
    <a:masterClrMapping/>
  </p:clrMapOvr>
  <p:transition spd="med">
    <p:fade/>
  </p:transition>
  <p:extLst>
    <p:ext uri="{DCECCB84-F9BA-43D5-87BE-67443E8EF086}">
      <p15:sldGuideLst xmlns:p15="http://schemas.microsoft.com/office/powerpoint/2012/main">
        <p15:guide id="1" pos="384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with Icons - CONSTRUCTION">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AD77F60E-B86C-C647-DC15-1DF8FAC192D2}"/>
              </a:ext>
            </a:extLst>
          </p:cNvPr>
          <p:cNvSpPr>
            <a:spLocks noGrp="1"/>
          </p:cNvSpPr>
          <p:nvPr>
            <p:ph type="pic" sz="quarter" idx="13" hasCustomPrompt="1"/>
          </p:nvPr>
        </p:nvSpPr>
        <p:spPr>
          <a:xfrm>
            <a:off x="4067176" y="2"/>
            <a:ext cx="8124824" cy="6857999"/>
          </a:xfrm>
          <a:custGeom>
            <a:avLst/>
            <a:gdLst>
              <a:gd name="connsiteX0" fmla="*/ 3500643 w 8124824"/>
              <a:gd name="connsiteY0" fmla="*/ 1156531 h 6857999"/>
              <a:gd name="connsiteX1" fmla="*/ 3538395 w 8124824"/>
              <a:gd name="connsiteY1" fmla="*/ 1156531 h 6857999"/>
              <a:gd name="connsiteX2" fmla="*/ 3538395 w 8124824"/>
              <a:gd name="connsiteY2" fmla="*/ 1190999 h 6857999"/>
              <a:gd name="connsiteX3" fmla="*/ 3631315 w 8124824"/>
              <a:gd name="connsiteY3" fmla="*/ 1299771 h 6857999"/>
              <a:gd name="connsiteX4" fmla="*/ 3519519 w 8124824"/>
              <a:gd name="connsiteY4" fmla="*/ 1410108 h 6857999"/>
              <a:gd name="connsiteX5" fmla="*/ 3519519 w 8124824"/>
              <a:gd name="connsiteY5" fmla="*/ 1410057 h 6857999"/>
              <a:gd name="connsiteX6" fmla="*/ 3407722 w 8124824"/>
              <a:gd name="connsiteY6" fmla="*/ 1299719 h 6857999"/>
              <a:gd name="connsiteX7" fmla="*/ 3445474 w 8124824"/>
              <a:gd name="connsiteY7" fmla="*/ 1299719 h 6857999"/>
              <a:gd name="connsiteX8" fmla="*/ 3519519 w 8124824"/>
              <a:gd name="connsiteY8" fmla="*/ 1372774 h 6857999"/>
              <a:gd name="connsiteX9" fmla="*/ 3593563 w 8124824"/>
              <a:gd name="connsiteY9" fmla="*/ 1299719 h 6857999"/>
              <a:gd name="connsiteX10" fmla="*/ 3519519 w 8124824"/>
              <a:gd name="connsiteY10" fmla="*/ 1226666 h 6857999"/>
              <a:gd name="connsiteX11" fmla="*/ 3500643 w 8124824"/>
              <a:gd name="connsiteY11" fmla="*/ 1226666 h 6857999"/>
              <a:gd name="connsiteX12" fmla="*/ 1479209 w 8124824"/>
              <a:gd name="connsiteY12" fmla="*/ 1074105 h 6857999"/>
              <a:gd name="connsiteX13" fmla="*/ 1408607 w 8124824"/>
              <a:gd name="connsiteY13" fmla="*/ 1110605 h 6857999"/>
              <a:gd name="connsiteX14" fmla="*/ 1408554 w 8124824"/>
              <a:gd name="connsiteY14" fmla="*/ 1110658 h 6857999"/>
              <a:gd name="connsiteX15" fmla="*/ 1408658 w 8124824"/>
              <a:gd name="connsiteY15" fmla="*/ 1112535 h 6857999"/>
              <a:gd name="connsiteX16" fmla="*/ 1408554 w 8124824"/>
              <a:gd name="connsiteY16" fmla="*/ 1112587 h 6857999"/>
              <a:gd name="connsiteX17" fmla="*/ 1418827 w 8124824"/>
              <a:gd name="connsiteY17" fmla="*/ 1286331 h 6857999"/>
              <a:gd name="connsiteX18" fmla="*/ 1423676 w 8124824"/>
              <a:gd name="connsiteY18" fmla="*/ 1283620 h 6857999"/>
              <a:gd name="connsiteX19" fmla="*/ 1454389 w 8124824"/>
              <a:gd name="connsiteY19" fmla="*/ 1231945 h 6857999"/>
              <a:gd name="connsiteX20" fmla="*/ 1479209 w 8124824"/>
              <a:gd name="connsiteY20" fmla="*/ 1076087 h 6857999"/>
              <a:gd name="connsiteX21" fmla="*/ 1478845 w 8124824"/>
              <a:gd name="connsiteY21" fmla="*/ 1076244 h 6857999"/>
              <a:gd name="connsiteX22" fmla="*/ 1479209 w 8124824"/>
              <a:gd name="connsiteY22" fmla="*/ 1074105 h 6857999"/>
              <a:gd name="connsiteX23" fmla="*/ 6746854 w 8124824"/>
              <a:gd name="connsiteY23" fmla="*/ 1051836 h 6857999"/>
              <a:gd name="connsiteX24" fmla="*/ 6477373 w 8124824"/>
              <a:gd name="connsiteY24" fmla="*/ 1080255 h 6857999"/>
              <a:gd name="connsiteX25" fmla="*/ 6472315 w 8124824"/>
              <a:gd name="connsiteY25" fmla="*/ 1080777 h 6857999"/>
              <a:gd name="connsiteX26" fmla="*/ 6466996 w 8124824"/>
              <a:gd name="connsiteY26" fmla="*/ 1091309 h 6857999"/>
              <a:gd name="connsiteX27" fmla="*/ 6567060 w 8124824"/>
              <a:gd name="connsiteY27" fmla="*/ 1296184 h 6857999"/>
              <a:gd name="connsiteX28" fmla="*/ 6932017 w 8124824"/>
              <a:gd name="connsiteY28" fmla="*/ 1296184 h 6857999"/>
              <a:gd name="connsiteX29" fmla="*/ 7031978 w 8124824"/>
              <a:gd name="connsiteY29" fmla="*/ 1091309 h 6857999"/>
              <a:gd name="connsiteX30" fmla="*/ 7026607 w 8124824"/>
              <a:gd name="connsiteY30" fmla="*/ 1080777 h 6857999"/>
              <a:gd name="connsiteX31" fmla="*/ 7024261 w 8124824"/>
              <a:gd name="connsiteY31" fmla="*/ 1080568 h 6857999"/>
              <a:gd name="connsiteX32" fmla="*/ 6748053 w 8124824"/>
              <a:gd name="connsiteY32" fmla="*/ 1051992 h 6857999"/>
              <a:gd name="connsiteX33" fmla="*/ 5673793 w 8124824"/>
              <a:gd name="connsiteY33" fmla="*/ 1044602 h 6857999"/>
              <a:gd name="connsiteX34" fmla="*/ 5640838 w 8124824"/>
              <a:gd name="connsiteY34" fmla="*/ 1059984 h 6857999"/>
              <a:gd name="connsiteX35" fmla="*/ 5633017 w 8124824"/>
              <a:gd name="connsiteY35" fmla="*/ 1073698 h 6857999"/>
              <a:gd name="connsiteX36" fmla="*/ 5630670 w 8124824"/>
              <a:gd name="connsiteY36" fmla="*/ 1087412 h 6857999"/>
              <a:gd name="connsiteX37" fmla="*/ 5630670 w 8124824"/>
              <a:gd name="connsiteY37" fmla="*/ 1087620 h 6857999"/>
              <a:gd name="connsiteX38" fmla="*/ 5647043 w 8124824"/>
              <a:gd name="connsiteY38" fmla="*/ 1121410 h 6857999"/>
              <a:gd name="connsiteX39" fmla="*/ 5653040 w 8124824"/>
              <a:gd name="connsiteY39" fmla="*/ 1126154 h 6857999"/>
              <a:gd name="connsiteX40" fmla="*/ 5646626 w 8124824"/>
              <a:gd name="connsiteY40" fmla="*/ 1181323 h 6857999"/>
              <a:gd name="connsiteX41" fmla="*/ 5700804 w 8124824"/>
              <a:gd name="connsiteY41" fmla="*/ 1181323 h 6857999"/>
              <a:gd name="connsiteX42" fmla="*/ 5694286 w 8124824"/>
              <a:gd name="connsiteY42" fmla="*/ 1126154 h 6857999"/>
              <a:gd name="connsiteX43" fmla="*/ 5700386 w 8124824"/>
              <a:gd name="connsiteY43" fmla="*/ 1121410 h 6857999"/>
              <a:gd name="connsiteX44" fmla="*/ 5716760 w 8124824"/>
              <a:gd name="connsiteY44" fmla="*/ 1087620 h 6857999"/>
              <a:gd name="connsiteX45" fmla="*/ 5716760 w 8124824"/>
              <a:gd name="connsiteY45" fmla="*/ 1087412 h 6857999"/>
              <a:gd name="connsiteX46" fmla="*/ 5716864 w 8124824"/>
              <a:gd name="connsiteY46" fmla="*/ 1087412 h 6857999"/>
              <a:gd name="connsiteX47" fmla="*/ 5714518 w 8124824"/>
              <a:gd name="connsiteY47" fmla="*/ 1073698 h 6857999"/>
              <a:gd name="connsiteX48" fmla="*/ 5706695 w 8124824"/>
              <a:gd name="connsiteY48" fmla="*/ 1059984 h 6857999"/>
              <a:gd name="connsiteX49" fmla="*/ 5673793 w 8124824"/>
              <a:gd name="connsiteY49" fmla="*/ 1044602 h 6857999"/>
              <a:gd name="connsiteX50" fmla="*/ 2527407 w 8124824"/>
              <a:gd name="connsiteY50" fmla="*/ 1036166 h 6857999"/>
              <a:gd name="connsiteX51" fmla="*/ 2463323 w 8124824"/>
              <a:gd name="connsiteY51" fmla="*/ 1229673 h 6857999"/>
              <a:gd name="connsiteX52" fmla="*/ 2684621 w 8124824"/>
              <a:gd name="connsiteY52" fmla="*/ 1229673 h 6857999"/>
              <a:gd name="connsiteX53" fmla="*/ 2684621 w 8124824"/>
              <a:gd name="connsiteY53" fmla="*/ 1036166 h 6857999"/>
              <a:gd name="connsiteX54" fmla="*/ 2718046 w 8124824"/>
              <a:gd name="connsiteY54" fmla="*/ 1036114 h 6857999"/>
              <a:gd name="connsiteX55" fmla="*/ 2718046 w 8124824"/>
              <a:gd name="connsiteY55" fmla="*/ 1229620 h 6857999"/>
              <a:gd name="connsiteX56" fmla="*/ 2782130 w 8124824"/>
              <a:gd name="connsiteY56" fmla="*/ 1229620 h 6857999"/>
              <a:gd name="connsiteX57" fmla="*/ 2359190 w 8124824"/>
              <a:gd name="connsiteY57" fmla="*/ 1034967 h 6857999"/>
              <a:gd name="connsiteX58" fmla="*/ 2359190 w 8124824"/>
              <a:gd name="connsiteY58" fmla="*/ 1228368 h 6857999"/>
              <a:gd name="connsiteX59" fmla="*/ 2423275 w 8124824"/>
              <a:gd name="connsiteY59" fmla="*/ 1228368 h 6857999"/>
              <a:gd name="connsiteX60" fmla="*/ 2168552 w 8124824"/>
              <a:gd name="connsiteY60" fmla="*/ 1034967 h 6857999"/>
              <a:gd name="connsiteX61" fmla="*/ 2104466 w 8124824"/>
              <a:gd name="connsiteY61" fmla="*/ 1228368 h 6857999"/>
              <a:gd name="connsiteX62" fmla="*/ 2325766 w 8124824"/>
              <a:gd name="connsiteY62" fmla="*/ 1228368 h 6857999"/>
              <a:gd name="connsiteX63" fmla="*/ 2325766 w 8124824"/>
              <a:gd name="connsiteY63" fmla="*/ 1034967 h 6857999"/>
              <a:gd name="connsiteX64" fmla="*/ 5673793 w 8124824"/>
              <a:gd name="connsiteY64" fmla="*/ 1017173 h 6857999"/>
              <a:gd name="connsiteX65" fmla="*/ 5738607 w 8124824"/>
              <a:gd name="connsiteY65" fmla="*/ 1059984 h 6857999"/>
              <a:gd name="connsiteX66" fmla="*/ 5742936 w 8124824"/>
              <a:gd name="connsiteY66" fmla="*/ 1073698 h 6857999"/>
              <a:gd name="connsiteX67" fmla="*/ 5744291 w 8124824"/>
              <a:gd name="connsiteY67" fmla="*/ 1087412 h 6857999"/>
              <a:gd name="connsiteX68" fmla="*/ 5744291 w 8124824"/>
              <a:gd name="connsiteY68" fmla="*/ 1087620 h 6857999"/>
              <a:gd name="connsiteX69" fmla="*/ 5723382 w 8124824"/>
              <a:gd name="connsiteY69" fmla="*/ 1137678 h 6857999"/>
              <a:gd name="connsiteX70" fmla="*/ 5731726 w 8124824"/>
              <a:gd name="connsiteY70" fmla="*/ 1208803 h 6857999"/>
              <a:gd name="connsiteX71" fmla="*/ 5615860 w 8124824"/>
              <a:gd name="connsiteY71" fmla="*/ 1208803 h 6857999"/>
              <a:gd name="connsiteX72" fmla="*/ 5624152 w 8124824"/>
              <a:gd name="connsiteY72" fmla="*/ 1137678 h 6857999"/>
              <a:gd name="connsiteX73" fmla="*/ 5603242 w 8124824"/>
              <a:gd name="connsiteY73" fmla="*/ 1087620 h 6857999"/>
              <a:gd name="connsiteX74" fmla="*/ 5603242 w 8124824"/>
              <a:gd name="connsiteY74" fmla="*/ 1087412 h 6857999"/>
              <a:gd name="connsiteX75" fmla="*/ 5604650 w 8124824"/>
              <a:gd name="connsiteY75" fmla="*/ 1073698 h 6857999"/>
              <a:gd name="connsiteX76" fmla="*/ 5608979 w 8124824"/>
              <a:gd name="connsiteY76" fmla="*/ 1059984 h 6857999"/>
              <a:gd name="connsiteX77" fmla="*/ 5673793 w 8124824"/>
              <a:gd name="connsiteY77" fmla="*/ 1017173 h 6857999"/>
              <a:gd name="connsiteX78" fmla="*/ 6762601 w 8124824"/>
              <a:gd name="connsiteY78" fmla="*/ 1000370 h 6857999"/>
              <a:gd name="connsiteX79" fmla="*/ 6762601 w 8124824"/>
              <a:gd name="connsiteY79" fmla="*/ 1024356 h 6857999"/>
              <a:gd name="connsiteX80" fmla="*/ 6766511 w 8124824"/>
              <a:gd name="connsiteY80" fmla="*/ 1024774 h 6857999"/>
              <a:gd name="connsiteX81" fmla="*/ 6862874 w 8124824"/>
              <a:gd name="connsiteY81" fmla="*/ 1034784 h 6857999"/>
              <a:gd name="connsiteX82" fmla="*/ 6862874 w 8124824"/>
              <a:gd name="connsiteY82" fmla="*/ 1000370 h 6857999"/>
              <a:gd name="connsiteX83" fmla="*/ 6891866 w 8124824"/>
              <a:gd name="connsiteY83" fmla="*/ 1000317 h 6857999"/>
              <a:gd name="connsiteX84" fmla="*/ 6891866 w 8124824"/>
              <a:gd name="connsiteY84" fmla="*/ 1037704 h 6857999"/>
              <a:gd name="connsiteX85" fmla="*/ 6895048 w 8124824"/>
              <a:gd name="connsiteY85" fmla="*/ 1038069 h 6857999"/>
              <a:gd name="connsiteX86" fmla="*/ 6995321 w 8124824"/>
              <a:gd name="connsiteY86" fmla="*/ 1048447 h 6857999"/>
              <a:gd name="connsiteX87" fmla="*/ 6995321 w 8124824"/>
              <a:gd name="connsiteY87" fmla="*/ 1000317 h 6857999"/>
              <a:gd name="connsiteX88" fmla="*/ 6634170 w 8124824"/>
              <a:gd name="connsiteY88" fmla="*/ 1000317 h 6857999"/>
              <a:gd name="connsiteX89" fmla="*/ 6634170 w 8124824"/>
              <a:gd name="connsiteY89" fmla="*/ 1034524 h 6857999"/>
              <a:gd name="connsiteX90" fmla="*/ 6638811 w 8124824"/>
              <a:gd name="connsiteY90" fmla="*/ 1034106 h 6857999"/>
              <a:gd name="connsiteX91" fmla="*/ 6733662 w 8124824"/>
              <a:gd name="connsiteY91" fmla="*/ 1024096 h 6857999"/>
              <a:gd name="connsiteX92" fmla="*/ 6733662 w 8124824"/>
              <a:gd name="connsiteY92" fmla="*/ 1000317 h 6857999"/>
              <a:gd name="connsiteX93" fmla="*/ 6634222 w 8124824"/>
              <a:gd name="connsiteY93" fmla="*/ 1000317 h 6857999"/>
              <a:gd name="connsiteX94" fmla="*/ 6506418 w 8124824"/>
              <a:gd name="connsiteY94" fmla="*/ 1000317 h 6857999"/>
              <a:gd name="connsiteX95" fmla="*/ 6506418 w 8124824"/>
              <a:gd name="connsiteY95" fmla="*/ 1048029 h 6857999"/>
              <a:gd name="connsiteX96" fmla="*/ 6605127 w 8124824"/>
              <a:gd name="connsiteY96" fmla="*/ 1037653 h 6857999"/>
              <a:gd name="connsiteX97" fmla="*/ 6605127 w 8124824"/>
              <a:gd name="connsiteY97" fmla="*/ 1000317 h 6857999"/>
              <a:gd name="connsiteX98" fmla="*/ 4629579 w 8124824"/>
              <a:gd name="connsiteY98" fmla="*/ 974096 h 6857999"/>
              <a:gd name="connsiteX99" fmla="*/ 4519033 w 8124824"/>
              <a:gd name="connsiteY99" fmla="*/ 1398184 h 6857999"/>
              <a:gd name="connsiteX100" fmla="*/ 4802384 w 8124824"/>
              <a:gd name="connsiteY100" fmla="*/ 1019096 h 6857999"/>
              <a:gd name="connsiteX101" fmla="*/ 4629631 w 8124824"/>
              <a:gd name="connsiteY101" fmla="*/ 974096 h 6857999"/>
              <a:gd name="connsiteX102" fmla="*/ 5476897 w 8124824"/>
              <a:gd name="connsiteY102" fmla="*/ 961170 h 6857999"/>
              <a:gd name="connsiteX103" fmla="*/ 5476897 w 8124824"/>
              <a:gd name="connsiteY103" fmla="*/ 1285663 h 6857999"/>
              <a:gd name="connsiteX104" fmla="*/ 5870742 w 8124824"/>
              <a:gd name="connsiteY104" fmla="*/ 1285663 h 6857999"/>
              <a:gd name="connsiteX105" fmla="*/ 5870742 w 8124824"/>
              <a:gd name="connsiteY105" fmla="*/ 961170 h 6857999"/>
              <a:gd name="connsiteX106" fmla="*/ 3519726 w 8124824"/>
              <a:gd name="connsiteY106" fmla="*/ 925949 h 6857999"/>
              <a:gd name="connsiteX107" fmla="*/ 3579798 w 8124824"/>
              <a:gd name="connsiteY107" fmla="*/ 986072 h 6857999"/>
              <a:gd name="connsiteX108" fmla="*/ 3519726 w 8124824"/>
              <a:gd name="connsiteY108" fmla="*/ 1046142 h 6857999"/>
              <a:gd name="connsiteX109" fmla="*/ 3459605 w 8124824"/>
              <a:gd name="connsiteY109" fmla="*/ 986072 h 6857999"/>
              <a:gd name="connsiteX110" fmla="*/ 3519726 w 8124824"/>
              <a:gd name="connsiteY110" fmla="*/ 925949 h 6857999"/>
              <a:gd name="connsiteX111" fmla="*/ 6891866 w 8124824"/>
              <a:gd name="connsiteY111" fmla="*/ 916365 h 6857999"/>
              <a:gd name="connsiteX112" fmla="*/ 6891866 w 8124824"/>
              <a:gd name="connsiteY112" fmla="*/ 971325 h 6857999"/>
              <a:gd name="connsiteX113" fmla="*/ 6995321 w 8124824"/>
              <a:gd name="connsiteY113" fmla="*/ 971325 h 6857999"/>
              <a:gd name="connsiteX114" fmla="*/ 6995321 w 8124824"/>
              <a:gd name="connsiteY114" fmla="*/ 916365 h 6857999"/>
              <a:gd name="connsiteX115" fmla="*/ 6762601 w 8124824"/>
              <a:gd name="connsiteY115" fmla="*/ 916365 h 6857999"/>
              <a:gd name="connsiteX116" fmla="*/ 6762601 w 8124824"/>
              <a:gd name="connsiteY116" fmla="*/ 971325 h 6857999"/>
              <a:gd name="connsiteX117" fmla="*/ 6862874 w 8124824"/>
              <a:gd name="connsiteY117" fmla="*/ 971325 h 6857999"/>
              <a:gd name="connsiteX118" fmla="*/ 6862874 w 8124824"/>
              <a:gd name="connsiteY118" fmla="*/ 916365 h 6857999"/>
              <a:gd name="connsiteX119" fmla="*/ 6634170 w 8124824"/>
              <a:gd name="connsiteY119" fmla="*/ 916365 h 6857999"/>
              <a:gd name="connsiteX120" fmla="*/ 6634170 w 8124824"/>
              <a:gd name="connsiteY120" fmla="*/ 971325 h 6857999"/>
              <a:gd name="connsiteX121" fmla="*/ 6733609 w 8124824"/>
              <a:gd name="connsiteY121" fmla="*/ 971325 h 6857999"/>
              <a:gd name="connsiteX122" fmla="*/ 6733609 w 8124824"/>
              <a:gd name="connsiteY122" fmla="*/ 916365 h 6857999"/>
              <a:gd name="connsiteX123" fmla="*/ 6506469 w 8124824"/>
              <a:gd name="connsiteY123" fmla="*/ 916365 h 6857999"/>
              <a:gd name="connsiteX124" fmla="*/ 6506469 w 8124824"/>
              <a:gd name="connsiteY124" fmla="*/ 971325 h 6857999"/>
              <a:gd name="connsiteX125" fmla="*/ 6605178 w 8124824"/>
              <a:gd name="connsiteY125" fmla="*/ 971325 h 6857999"/>
              <a:gd name="connsiteX126" fmla="*/ 6605178 w 8124824"/>
              <a:gd name="connsiteY126" fmla="*/ 916365 h 6857999"/>
              <a:gd name="connsiteX127" fmla="*/ 3519726 w 8124824"/>
              <a:gd name="connsiteY127" fmla="*/ 888406 h 6857999"/>
              <a:gd name="connsiteX128" fmla="*/ 3422061 w 8124824"/>
              <a:gd name="connsiteY128" fmla="*/ 986021 h 6857999"/>
              <a:gd name="connsiteX129" fmla="*/ 3519726 w 8124824"/>
              <a:gd name="connsiteY129" fmla="*/ 1083687 h 6857999"/>
              <a:gd name="connsiteX130" fmla="*/ 3617392 w 8124824"/>
              <a:gd name="connsiteY130" fmla="*/ 986021 h 6857999"/>
              <a:gd name="connsiteX131" fmla="*/ 3519726 w 8124824"/>
              <a:gd name="connsiteY131" fmla="*/ 888406 h 6857999"/>
              <a:gd name="connsiteX132" fmla="*/ 3324447 w 8124824"/>
              <a:gd name="connsiteY132" fmla="*/ 856912 h 6857999"/>
              <a:gd name="connsiteX133" fmla="*/ 3324500 w 8124824"/>
              <a:gd name="connsiteY133" fmla="*/ 856912 h 6857999"/>
              <a:gd name="connsiteX134" fmla="*/ 3714589 w 8124824"/>
              <a:gd name="connsiteY134" fmla="*/ 856912 h 6857999"/>
              <a:gd name="connsiteX135" fmla="*/ 3656084 w 8124824"/>
              <a:gd name="connsiteY135" fmla="*/ 1118884 h 6857999"/>
              <a:gd name="connsiteX136" fmla="*/ 3382900 w 8124824"/>
              <a:gd name="connsiteY136" fmla="*/ 1118884 h 6857999"/>
              <a:gd name="connsiteX137" fmla="*/ 1116267 w 8124824"/>
              <a:gd name="connsiteY137" fmla="*/ 850675 h 6857999"/>
              <a:gd name="connsiteX138" fmla="*/ 1090163 w 8124824"/>
              <a:gd name="connsiteY138" fmla="*/ 860785 h 6857999"/>
              <a:gd name="connsiteX139" fmla="*/ 1085782 w 8124824"/>
              <a:gd name="connsiteY139" fmla="*/ 864695 h 6857999"/>
              <a:gd name="connsiteX140" fmla="*/ 1294150 w 8124824"/>
              <a:gd name="connsiteY140" fmla="*/ 986346 h 6857999"/>
              <a:gd name="connsiteX141" fmla="*/ 1294150 w 8124824"/>
              <a:gd name="connsiteY141" fmla="*/ 986295 h 6857999"/>
              <a:gd name="connsiteX142" fmla="*/ 1396144 w 8124824"/>
              <a:gd name="connsiteY142" fmla="*/ 932117 h 6857999"/>
              <a:gd name="connsiteX143" fmla="*/ 1149764 w 8124824"/>
              <a:gd name="connsiteY143" fmla="*/ 856716 h 6857999"/>
              <a:gd name="connsiteX144" fmla="*/ 1116267 w 8124824"/>
              <a:gd name="connsiteY144" fmla="*/ 850675 h 6857999"/>
              <a:gd name="connsiteX145" fmla="*/ 1645683 w 8124824"/>
              <a:gd name="connsiteY145" fmla="*/ 847722 h 6857999"/>
              <a:gd name="connsiteX146" fmla="*/ 1627872 w 8124824"/>
              <a:gd name="connsiteY146" fmla="*/ 852806 h 6857999"/>
              <a:gd name="connsiteX147" fmla="*/ 1175522 w 8124824"/>
              <a:gd name="connsiteY147" fmla="*/ 1086568 h 6857999"/>
              <a:gd name="connsiteX148" fmla="*/ 1149243 w 8124824"/>
              <a:gd name="connsiteY148" fmla="*/ 1088184 h 6857999"/>
              <a:gd name="connsiteX149" fmla="*/ 1049335 w 8124824"/>
              <a:gd name="connsiteY149" fmla="*/ 1058514 h 6857999"/>
              <a:gd name="connsiteX150" fmla="*/ 1024878 w 8124824"/>
              <a:gd name="connsiteY150" fmla="*/ 1071185 h 6857999"/>
              <a:gd name="connsiteX151" fmla="*/ 1173488 w 8124824"/>
              <a:gd name="connsiteY151" fmla="*/ 1171876 h 6857999"/>
              <a:gd name="connsiteX152" fmla="*/ 1211867 w 8124824"/>
              <a:gd name="connsiteY152" fmla="*/ 1172710 h 6857999"/>
              <a:gd name="connsiteX153" fmla="*/ 1670683 w 8124824"/>
              <a:gd name="connsiteY153" fmla="*/ 935611 h 6857999"/>
              <a:gd name="connsiteX154" fmla="*/ 1690706 w 8124824"/>
              <a:gd name="connsiteY154" fmla="*/ 872830 h 6857999"/>
              <a:gd name="connsiteX155" fmla="*/ 1645683 w 8124824"/>
              <a:gd name="connsiteY155" fmla="*/ 847722 h 6857999"/>
              <a:gd name="connsiteX156" fmla="*/ 2536950 w 8124824"/>
              <a:gd name="connsiteY156" fmla="*/ 805950 h 6857999"/>
              <a:gd name="connsiteX157" fmla="*/ 2536950 w 8124824"/>
              <a:gd name="connsiteY157" fmla="*/ 999352 h 6857999"/>
              <a:gd name="connsiteX158" fmla="*/ 2601034 w 8124824"/>
              <a:gd name="connsiteY158" fmla="*/ 999352 h 6857999"/>
              <a:gd name="connsiteX159" fmla="*/ 2346258 w 8124824"/>
              <a:gd name="connsiteY159" fmla="*/ 805950 h 6857999"/>
              <a:gd name="connsiteX160" fmla="*/ 2332388 w 8124824"/>
              <a:gd name="connsiteY160" fmla="*/ 847718 h 6857999"/>
              <a:gd name="connsiteX161" fmla="*/ 2325819 w 8124824"/>
              <a:gd name="connsiteY161" fmla="*/ 867688 h 6857999"/>
              <a:gd name="connsiteX162" fmla="*/ 2282225 w 8124824"/>
              <a:gd name="connsiteY162" fmla="*/ 999352 h 6857999"/>
              <a:gd name="connsiteX163" fmla="*/ 2503524 w 8124824"/>
              <a:gd name="connsiteY163" fmla="*/ 999352 h 6857999"/>
              <a:gd name="connsiteX164" fmla="*/ 2503524 w 8124824"/>
              <a:gd name="connsiteY164" fmla="*/ 805950 h 6857999"/>
              <a:gd name="connsiteX165" fmla="*/ 2503473 w 8124824"/>
              <a:gd name="connsiteY165" fmla="*/ 805950 h 6857999"/>
              <a:gd name="connsiteX166" fmla="*/ 6612948 w 8124824"/>
              <a:gd name="connsiteY166" fmla="*/ 788508 h 6857999"/>
              <a:gd name="connsiteX167" fmla="*/ 6612948 w 8124824"/>
              <a:gd name="connsiteY167" fmla="*/ 831997 h 6857999"/>
              <a:gd name="connsiteX168" fmla="*/ 6670932 w 8124824"/>
              <a:gd name="connsiteY168" fmla="*/ 831997 h 6857999"/>
              <a:gd name="connsiteX169" fmla="*/ 6670932 w 8124824"/>
              <a:gd name="connsiteY169" fmla="*/ 887373 h 6857999"/>
              <a:gd name="connsiteX170" fmla="*/ 6830388 w 8124824"/>
              <a:gd name="connsiteY170" fmla="*/ 887373 h 6857999"/>
              <a:gd name="connsiteX171" fmla="*/ 6830388 w 8124824"/>
              <a:gd name="connsiteY171" fmla="*/ 831997 h 6857999"/>
              <a:gd name="connsiteX172" fmla="*/ 6888374 w 8124824"/>
              <a:gd name="connsiteY172" fmla="*/ 831997 h 6857999"/>
              <a:gd name="connsiteX173" fmla="*/ 6888374 w 8124824"/>
              <a:gd name="connsiteY173" fmla="*/ 788508 h 6857999"/>
              <a:gd name="connsiteX174" fmla="*/ 5673793 w 8124824"/>
              <a:gd name="connsiteY174" fmla="*/ 779448 h 6857999"/>
              <a:gd name="connsiteX175" fmla="*/ 5519812 w 8124824"/>
              <a:gd name="connsiteY175" fmla="*/ 933482 h 6857999"/>
              <a:gd name="connsiteX176" fmla="*/ 5519812 w 8124824"/>
              <a:gd name="connsiteY176" fmla="*/ 933742 h 6857999"/>
              <a:gd name="connsiteX177" fmla="*/ 5547239 w 8124824"/>
              <a:gd name="connsiteY177" fmla="*/ 933742 h 6857999"/>
              <a:gd name="connsiteX178" fmla="*/ 5547239 w 8124824"/>
              <a:gd name="connsiteY178" fmla="*/ 933482 h 6857999"/>
              <a:gd name="connsiteX179" fmla="*/ 5673793 w 8124824"/>
              <a:gd name="connsiteY179" fmla="*/ 806876 h 6857999"/>
              <a:gd name="connsiteX180" fmla="*/ 5800398 w 8124824"/>
              <a:gd name="connsiteY180" fmla="*/ 933482 h 6857999"/>
              <a:gd name="connsiteX181" fmla="*/ 5800398 w 8124824"/>
              <a:gd name="connsiteY181" fmla="*/ 933742 h 6857999"/>
              <a:gd name="connsiteX182" fmla="*/ 5827827 w 8124824"/>
              <a:gd name="connsiteY182" fmla="*/ 933742 h 6857999"/>
              <a:gd name="connsiteX183" fmla="*/ 5827827 w 8124824"/>
              <a:gd name="connsiteY183" fmla="*/ 933482 h 6857999"/>
              <a:gd name="connsiteX184" fmla="*/ 5673793 w 8124824"/>
              <a:gd name="connsiteY184" fmla="*/ 779448 h 6857999"/>
              <a:gd name="connsiteX185" fmla="*/ 3593563 w 8124824"/>
              <a:gd name="connsiteY185" fmla="*/ 703712 h 6857999"/>
              <a:gd name="connsiteX186" fmla="*/ 3631315 w 8124824"/>
              <a:gd name="connsiteY186" fmla="*/ 703712 h 6857999"/>
              <a:gd name="connsiteX187" fmla="*/ 3631315 w 8124824"/>
              <a:gd name="connsiteY187" fmla="*/ 819576 h 6857999"/>
              <a:gd name="connsiteX188" fmla="*/ 3593563 w 8124824"/>
              <a:gd name="connsiteY188" fmla="*/ 819576 h 6857999"/>
              <a:gd name="connsiteX189" fmla="*/ 3407722 w 8124824"/>
              <a:gd name="connsiteY189" fmla="*/ 703712 h 6857999"/>
              <a:gd name="connsiteX190" fmla="*/ 3445527 w 8124824"/>
              <a:gd name="connsiteY190" fmla="*/ 703712 h 6857999"/>
              <a:gd name="connsiteX191" fmla="*/ 3445527 w 8124824"/>
              <a:gd name="connsiteY191" fmla="*/ 819576 h 6857999"/>
              <a:gd name="connsiteX192" fmla="*/ 3407722 w 8124824"/>
              <a:gd name="connsiteY192" fmla="*/ 819576 h 6857999"/>
              <a:gd name="connsiteX193" fmla="*/ 4658414 w 8124824"/>
              <a:gd name="connsiteY193" fmla="*/ 701330 h 6857999"/>
              <a:gd name="connsiteX194" fmla="*/ 4389090 w 8124824"/>
              <a:gd name="connsiteY194" fmla="*/ 1061593 h 6857999"/>
              <a:gd name="connsiteX195" fmla="*/ 4553344 w 8124824"/>
              <a:gd name="connsiteY195" fmla="*/ 1104351 h 6857999"/>
              <a:gd name="connsiteX196" fmla="*/ 4658414 w 8124824"/>
              <a:gd name="connsiteY196" fmla="*/ 701383 h 6857999"/>
              <a:gd name="connsiteX197" fmla="*/ 3519518 w 8124824"/>
              <a:gd name="connsiteY197" fmla="*/ 591082 h 6857999"/>
              <a:gd name="connsiteX198" fmla="*/ 3065759 w 8124824"/>
              <a:gd name="connsiteY198" fmla="*/ 1044840 h 6857999"/>
              <a:gd name="connsiteX199" fmla="*/ 3519518 w 8124824"/>
              <a:gd name="connsiteY199" fmla="*/ 1498599 h 6857999"/>
              <a:gd name="connsiteX200" fmla="*/ 3973274 w 8124824"/>
              <a:gd name="connsiteY200" fmla="*/ 1044840 h 6857999"/>
              <a:gd name="connsiteX201" fmla="*/ 3519518 w 8124824"/>
              <a:gd name="connsiteY201" fmla="*/ 591082 h 6857999"/>
              <a:gd name="connsiteX202" fmla="*/ 0 w 8124824"/>
              <a:gd name="connsiteY202" fmla="*/ 0 h 6857999"/>
              <a:gd name="connsiteX203" fmla="*/ 8124824 w 8124824"/>
              <a:gd name="connsiteY203" fmla="*/ 0 h 6857999"/>
              <a:gd name="connsiteX204" fmla="*/ 8124824 w 8124824"/>
              <a:gd name="connsiteY204" fmla="*/ 6857999 h 6857999"/>
              <a:gd name="connsiteX205" fmla="*/ 0 w 8124824"/>
              <a:gd name="connsiteY20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Lst>
            <a:rect l="l" t="t" r="r" b="b"/>
            <a:pathLst>
              <a:path w="8124824" h="6857999">
                <a:moveTo>
                  <a:pt x="3500643" y="1156531"/>
                </a:moveTo>
                <a:lnTo>
                  <a:pt x="3538395" y="1156531"/>
                </a:lnTo>
                <a:lnTo>
                  <a:pt x="3538395" y="1190999"/>
                </a:lnTo>
                <a:cubicBezTo>
                  <a:pt x="3591060" y="1199863"/>
                  <a:pt x="3631315" y="1245280"/>
                  <a:pt x="3631315" y="1299771"/>
                </a:cubicBezTo>
                <a:cubicBezTo>
                  <a:pt x="3631315" y="1360572"/>
                  <a:pt x="3581153" y="1410108"/>
                  <a:pt x="3519519" y="1410108"/>
                </a:cubicBezTo>
                <a:lnTo>
                  <a:pt x="3519519" y="1410057"/>
                </a:lnTo>
                <a:cubicBezTo>
                  <a:pt x="3457885" y="1410057"/>
                  <a:pt x="3407722" y="1360572"/>
                  <a:pt x="3407722" y="1299719"/>
                </a:cubicBezTo>
                <a:lnTo>
                  <a:pt x="3445474" y="1299719"/>
                </a:lnTo>
                <a:cubicBezTo>
                  <a:pt x="3445474" y="1339975"/>
                  <a:pt x="3478689" y="1372774"/>
                  <a:pt x="3519519" y="1372774"/>
                </a:cubicBezTo>
                <a:cubicBezTo>
                  <a:pt x="3560348" y="1372774"/>
                  <a:pt x="3593563" y="1339975"/>
                  <a:pt x="3593563" y="1299719"/>
                </a:cubicBezTo>
                <a:cubicBezTo>
                  <a:pt x="3593563" y="1259464"/>
                  <a:pt x="3560348" y="1226666"/>
                  <a:pt x="3519519" y="1226666"/>
                </a:cubicBezTo>
                <a:lnTo>
                  <a:pt x="3500643" y="1226666"/>
                </a:lnTo>
                <a:close/>
                <a:moveTo>
                  <a:pt x="1479209" y="1074105"/>
                </a:moveTo>
                <a:cubicBezTo>
                  <a:pt x="1464558" y="1081666"/>
                  <a:pt x="1417524" y="1105966"/>
                  <a:pt x="1408607" y="1110605"/>
                </a:cubicBezTo>
                <a:lnTo>
                  <a:pt x="1408554" y="1110658"/>
                </a:lnTo>
                <a:cubicBezTo>
                  <a:pt x="1408554" y="1111076"/>
                  <a:pt x="1408658" y="1112013"/>
                  <a:pt x="1408658" y="1112535"/>
                </a:cubicBezTo>
                <a:cubicBezTo>
                  <a:pt x="1408658" y="1112535"/>
                  <a:pt x="1408554" y="1112535"/>
                  <a:pt x="1408554" y="1112587"/>
                </a:cubicBezTo>
                <a:cubicBezTo>
                  <a:pt x="1410066" y="1137042"/>
                  <a:pt x="1416793" y="1250665"/>
                  <a:pt x="1418827" y="1286331"/>
                </a:cubicBezTo>
                <a:cubicBezTo>
                  <a:pt x="1420391" y="1285392"/>
                  <a:pt x="1421956" y="1284507"/>
                  <a:pt x="1423676" y="1283620"/>
                </a:cubicBezTo>
                <a:cubicBezTo>
                  <a:pt x="1442291" y="1273973"/>
                  <a:pt x="1450582" y="1259947"/>
                  <a:pt x="1454389" y="1231945"/>
                </a:cubicBezTo>
                <a:cubicBezTo>
                  <a:pt x="1461846" y="1175890"/>
                  <a:pt x="1470241" y="1127032"/>
                  <a:pt x="1479209" y="1076087"/>
                </a:cubicBezTo>
                <a:cubicBezTo>
                  <a:pt x="1479105" y="1076087"/>
                  <a:pt x="1478949" y="1076244"/>
                  <a:pt x="1478845" y="1076244"/>
                </a:cubicBezTo>
                <a:cubicBezTo>
                  <a:pt x="1479002" y="1075566"/>
                  <a:pt x="1479105" y="1074835"/>
                  <a:pt x="1479209" y="1074105"/>
                </a:cubicBezTo>
                <a:close/>
                <a:moveTo>
                  <a:pt x="6746854" y="1051836"/>
                </a:moveTo>
                <a:lnTo>
                  <a:pt x="6477373" y="1080255"/>
                </a:lnTo>
                <a:lnTo>
                  <a:pt x="6472315" y="1080777"/>
                </a:lnTo>
                <a:cubicBezTo>
                  <a:pt x="6467205" y="1081402"/>
                  <a:pt x="6464494" y="1086981"/>
                  <a:pt x="6466996" y="1091309"/>
                </a:cubicBezTo>
                <a:lnTo>
                  <a:pt x="6567060" y="1296184"/>
                </a:lnTo>
                <a:lnTo>
                  <a:pt x="6932017" y="1296184"/>
                </a:lnTo>
                <a:lnTo>
                  <a:pt x="7031978" y="1091309"/>
                </a:lnTo>
                <a:cubicBezTo>
                  <a:pt x="7034533" y="1086929"/>
                  <a:pt x="7031665" y="1081349"/>
                  <a:pt x="7026607" y="1080777"/>
                </a:cubicBezTo>
                <a:lnTo>
                  <a:pt x="7024261" y="1080568"/>
                </a:lnTo>
                <a:lnTo>
                  <a:pt x="6748053" y="1051992"/>
                </a:lnTo>
                <a:close/>
                <a:moveTo>
                  <a:pt x="5673793" y="1044602"/>
                </a:moveTo>
                <a:cubicBezTo>
                  <a:pt x="5660548" y="1044602"/>
                  <a:pt x="5648764" y="1050598"/>
                  <a:pt x="5640838" y="1059984"/>
                </a:cubicBezTo>
                <a:cubicBezTo>
                  <a:pt x="5637396" y="1064051"/>
                  <a:pt x="5634738" y="1068639"/>
                  <a:pt x="5633017" y="1073698"/>
                </a:cubicBezTo>
                <a:cubicBezTo>
                  <a:pt x="5631453" y="1078026"/>
                  <a:pt x="5630670" y="1082614"/>
                  <a:pt x="5630670" y="1087412"/>
                </a:cubicBezTo>
                <a:lnTo>
                  <a:pt x="5630670" y="1087620"/>
                </a:lnTo>
                <a:cubicBezTo>
                  <a:pt x="5630670" y="1100916"/>
                  <a:pt x="5636615" y="1113171"/>
                  <a:pt x="5647043" y="1121410"/>
                </a:cubicBezTo>
                <a:lnTo>
                  <a:pt x="5653040" y="1126154"/>
                </a:lnTo>
                <a:lnTo>
                  <a:pt x="5646626" y="1181323"/>
                </a:lnTo>
                <a:lnTo>
                  <a:pt x="5700804" y="1181323"/>
                </a:lnTo>
                <a:lnTo>
                  <a:pt x="5694286" y="1126154"/>
                </a:lnTo>
                <a:lnTo>
                  <a:pt x="5700386" y="1121410"/>
                </a:lnTo>
                <a:cubicBezTo>
                  <a:pt x="5710764" y="1113171"/>
                  <a:pt x="5716760" y="1100916"/>
                  <a:pt x="5716760" y="1087620"/>
                </a:cubicBezTo>
                <a:lnTo>
                  <a:pt x="5716760" y="1087412"/>
                </a:lnTo>
                <a:lnTo>
                  <a:pt x="5716864" y="1087412"/>
                </a:lnTo>
                <a:cubicBezTo>
                  <a:pt x="5716864" y="1082614"/>
                  <a:pt x="5716030" y="1078026"/>
                  <a:pt x="5714518" y="1073698"/>
                </a:cubicBezTo>
                <a:cubicBezTo>
                  <a:pt x="5712797" y="1068639"/>
                  <a:pt x="5710137" y="1064051"/>
                  <a:pt x="5706695" y="1059984"/>
                </a:cubicBezTo>
                <a:cubicBezTo>
                  <a:pt x="5698822" y="1050598"/>
                  <a:pt x="5687038" y="1044602"/>
                  <a:pt x="5673793" y="1044602"/>
                </a:cubicBezTo>
                <a:close/>
                <a:moveTo>
                  <a:pt x="2527407" y="1036166"/>
                </a:moveTo>
                <a:lnTo>
                  <a:pt x="2463323" y="1229673"/>
                </a:lnTo>
                <a:lnTo>
                  <a:pt x="2684621" y="1229673"/>
                </a:lnTo>
                <a:lnTo>
                  <a:pt x="2684621" y="1036166"/>
                </a:lnTo>
                <a:close/>
                <a:moveTo>
                  <a:pt x="2718046" y="1036114"/>
                </a:moveTo>
                <a:lnTo>
                  <a:pt x="2718046" y="1229620"/>
                </a:lnTo>
                <a:lnTo>
                  <a:pt x="2782130" y="1229620"/>
                </a:lnTo>
                <a:close/>
                <a:moveTo>
                  <a:pt x="2359190" y="1034967"/>
                </a:moveTo>
                <a:lnTo>
                  <a:pt x="2359190" y="1228368"/>
                </a:lnTo>
                <a:lnTo>
                  <a:pt x="2423275" y="1228368"/>
                </a:lnTo>
                <a:close/>
                <a:moveTo>
                  <a:pt x="2168552" y="1034967"/>
                </a:moveTo>
                <a:lnTo>
                  <a:pt x="2104466" y="1228368"/>
                </a:lnTo>
                <a:lnTo>
                  <a:pt x="2325766" y="1228368"/>
                </a:lnTo>
                <a:lnTo>
                  <a:pt x="2325766" y="1034967"/>
                </a:lnTo>
                <a:close/>
                <a:moveTo>
                  <a:pt x="5673793" y="1017173"/>
                </a:moveTo>
                <a:cubicBezTo>
                  <a:pt x="5702889" y="1017173"/>
                  <a:pt x="5727866" y="1034799"/>
                  <a:pt x="5738607" y="1059984"/>
                </a:cubicBezTo>
                <a:cubicBezTo>
                  <a:pt x="5740537" y="1064312"/>
                  <a:pt x="5741998" y="1069004"/>
                  <a:pt x="5742936" y="1073698"/>
                </a:cubicBezTo>
                <a:cubicBezTo>
                  <a:pt x="5743822" y="1078130"/>
                  <a:pt x="5744291" y="1082771"/>
                  <a:pt x="5744291" y="1087412"/>
                </a:cubicBezTo>
                <a:lnTo>
                  <a:pt x="5744291" y="1087620"/>
                </a:lnTo>
                <a:cubicBezTo>
                  <a:pt x="5744291" y="1106705"/>
                  <a:pt x="5736730" y="1124486"/>
                  <a:pt x="5723382" y="1137678"/>
                </a:cubicBezTo>
                <a:lnTo>
                  <a:pt x="5731726" y="1208803"/>
                </a:lnTo>
                <a:lnTo>
                  <a:pt x="5615860" y="1208803"/>
                </a:lnTo>
                <a:lnTo>
                  <a:pt x="5624152" y="1137678"/>
                </a:lnTo>
                <a:cubicBezTo>
                  <a:pt x="5610803" y="1124486"/>
                  <a:pt x="5603242" y="1106653"/>
                  <a:pt x="5603242" y="1087620"/>
                </a:cubicBezTo>
                <a:lnTo>
                  <a:pt x="5603242" y="1087412"/>
                </a:lnTo>
                <a:cubicBezTo>
                  <a:pt x="5603242" y="1082771"/>
                  <a:pt x="5603764" y="1078130"/>
                  <a:pt x="5604650" y="1073698"/>
                </a:cubicBezTo>
                <a:cubicBezTo>
                  <a:pt x="5605641" y="1069004"/>
                  <a:pt x="5607049" y="1064312"/>
                  <a:pt x="5608979" y="1059984"/>
                </a:cubicBezTo>
                <a:cubicBezTo>
                  <a:pt x="5619772" y="1034799"/>
                  <a:pt x="5644696" y="1017173"/>
                  <a:pt x="5673793" y="1017173"/>
                </a:cubicBezTo>
                <a:close/>
                <a:moveTo>
                  <a:pt x="6762601" y="1000370"/>
                </a:moveTo>
                <a:lnTo>
                  <a:pt x="6762601" y="1024356"/>
                </a:lnTo>
                <a:lnTo>
                  <a:pt x="6766511" y="1024774"/>
                </a:lnTo>
                <a:lnTo>
                  <a:pt x="6862874" y="1034784"/>
                </a:lnTo>
                <a:lnTo>
                  <a:pt x="6862874" y="1000370"/>
                </a:lnTo>
                <a:close/>
                <a:moveTo>
                  <a:pt x="6891866" y="1000317"/>
                </a:moveTo>
                <a:lnTo>
                  <a:pt x="6891866" y="1037704"/>
                </a:lnTo>
                <a:lnTo>
                  <a:pt x="6895048" y="1038069"/>
                </a:lnTo>
                <a:lnTo>
                  <a:pt x="6995321" y="1048447"/>
                </a:lnTo>
                <a:lnTo>
                  <a:pt x="6995321" y="1000317"/>
                </a:lnTo>
                <a:close/>
                <a:moveTo>
                  <a:pt x="6634170" y="1000317"/>
                </a:moveTo>
                <a:lnTo>
                  <a:pt x="6634170" y="1034524"/>
                </a:lnTo>
                <a:lnTo>
                  <a:pt x="6638811" y="1034106"/>
                </a:lnTo>
                <a:lnTo>
                  <a:pt x="6733662" y="1024096"/>
                </a:lnTo>
                <a:lnTo>
                  <a:pt x="6733662" y="1000317"/>
                </a:lnTo>
                <a:lnTo>
                  <a:pt x="6634222" y="1000317"/>
                </a:lnTo>
                <a:close/>
                <a:moveTo>
                  <a:pt x="6506418" y="1000317"/>
                </a:moveTo>
                <a:lnTo>
                  <a:pt x="6506418" y="1048029"/>
                </a:lnTo>
                <a:lnTo>
                  <a:pt x="6605127" y="1037653"/>
                </a:lnTo>
                <a:lnTo>
                  <a:pt x="6605127" y="1000317"/>
                </a:lnTo>
                <a:close/>
                <a:moveTo>
                  <a:pt x="4629579" y="974096"/>
                </a:moveTo>
                <a:lnTo>
                  <a:pt x="4519033" y="1398184"/>
                </a:lnTo>
                <a:lnTo>
                  <a:pt x="4802384" y="1019096"/>
                </a:lnTo>
                <a:lnTo>
                  <a:pt x="4629631" y="974096"/>
                </a:lnTo>
                <a:close/>
                <a:moveTo>
                  <a:pt x="5476897" y="961170"/>
                </a:moveTo>
                <a:lnTo>
                  <a:pt x="5476897" y="1285663"/>
                </a:lnTo>
                <a:lnTo>
                  <a:pt x="5870742" y="1285663"/>
                </a:lnTo>
                <a:lnTo>
                  <a:pt x="5870742" y="961170"/>
                </a:lnTo>
                <a:close/>
                <a:moveTo>
                  <a:pt x="3519726" y="925949"/>
                </a:moveTo>
                <a:cubicBezTo>
                  <a:pt x="3552943" y="925949"/>
                  <a:pt x="3579798" y="952857"/>
                  <a:pt x="3579798" y="986072"/>
                </a:cubicBezTo>
                <a:cubicBezTo>
                  <a:pt x="3579798" y="1019236"/>
                  <a:pt x="3552890" y="1046142"/>
                  <a:pt x="3519726" y="1046142"/>
                </a:cubicBezTo>
                <a:cubicBezTo>
                  <a:pt x="3486564" y="1046142"/>
                  <a:pt x="3459605" y="1019236"/>
                  <a:pt x="3459605" y="986072"/>
                </a:cubicBezTo>
                <a:cubicBezTo>
                  <a:pt x="3459605" y="952908"/>
                  <a:pt x="3486511" y="925949"/>
                  <a:pt x="3519726" y="925949"/>
                </a:cubicBezTo>
                <a:close/>
                <a:moveTo>
                  <a:pt x="6891866" y="916365"/>
                </a:moveTo>
                <a:lnTo>
                  <a:pt x="6891866" y="971325"/>
                </a:lnTo>
                <a:lnTo>
                  <a:pt x="6995321" y="971325"/>
                </a:lnTo>
                <a:lnTo>
                  <a:pt x="6995321" y="916365"/>
                </a:lnTo>
                <a:close/>
                <a:moveTo>
                  <a:pt x="6762601" y="916365"/>
                </a:moveTo>
                <a:lnTo>
                  <a:pt x="6762601" y="971325"/>
                </a:lnTo>
                <a:lnTo>
                  <a:pt x="6862874" y="971325"/>
                </a:lnTo>
                <a:lnTo>
                  <a:pt x="6862874" y="916365"/>
                </a:lnTo>
                <a:close/>
                <a:moveTo>
                  <a:pt x="6634170" y="916365"/>
                </a:moveTo>
                <a:lnTo>
                  <a:pt x="6634170" y="971325"/>
                </a:lnTo>
                <a:lnTo>
                  <a:pt x="6733609" y="971325"/>
                </a:lnTo>
                <a:lnTo>
                  <a:pt x="6733609" y="916365"/>
                </a:lnTo>
                <a:close/>
                <a:moveTo>
                  <a:pt x="6506469" y="916365"/>
                </a:moveTo>
                <a:lnTo>
                  <a:pt x="6506469" y="971325"/>
                </a:lnTo>
                <a:lnTo>
                  <a:pt x="6605178" y="971325"/>
                </a:lnTo>
                <a:lnTo>
                  <a:pt x="6605178" y="916365"/>
                </a:lnTo>
                <a:close/>
                <a:moveTo>
                  <a:pt x="3519726" y="888406"/>
                </a:moveTo>
                <a:cubicBezTo>
                  <a:pt x="3465758" y="888406"/>
                  <a:pt x="3422061" y="932051"/>
                  <a:pt x="3422061" y="986021"/>
                </a:cubicBezTo>
                <a:cubicBezTo>
                  <a:pt x="3422061" y="1039989"/>
                  <a:pt x="3465758" y="1083687"/>
                  <a:pt x="3519726" y="1083687"/>
                </a:cubicBezTo>
                <a:cubicBezTo>
                  <a:pt x="3573696" y="1083687"/>
                  <a:pt x="3617392" y="1039938"/>
                  <a:pt x="3617392" y="986021"/>
                </a:cubicBezTo>
                <a:cubicBezTo>
                  <a:pt x="3617392" y="932104"/>
                  <a:pt x="3573696" y="888406"/>
                  <a:pt x="3519726" y="888406"/>
                </a:cubicBezTo>
                <a:close/>
                <a:moveTo>
                  <a:pt x="3324447" y="856912"/>
                </a:moveTo>
                <a:lnTo>
                  <a:pt x="3324500" y="856912"/>
                </a:lnTo>
                <a:lnTo>
                  <a:pt x="3714589" y="856912"/>
                </a:lnTo>
                <a:lnTo>
                  <a:pt x="3656084" y="1118884"/>
                </a:lnTo>
                <a:lnTo>
                  <a:pt x="3382900" y="1118884"/>
                </a:lnTo>
                <a:close/>
                <a:moveTo>
                  <a:pt x="1116267" y="850675"/>
                </a:moveTo>
                <a:cubicBezTo>
                  <a:pt x="1106823" y="851242"/>
                  <a:pt x="1098610" y="854501"/>
                  <a:pt x="1090163" y="860785"/>
                </a:cubicBezTo>
                <a:cubicBezTo>
                  <a:pt x="1088702" y="861827"/>
                  <a:pt x="1087399" y="863027"/>
                  <a:pt x="1085782" y="864695"/>
                </a:cubicBezTo>
                <a:cubicBezTo>
                  <a:pt x="1085782" y="864695"/>
                  <a:pt x="1255981" y="964863"/>
                  <a:pt x="1294150" y="986346"/>
                </a:cubicBezTo>
                <a:lnTo>
                  <a:pt x="1294150" y="986295"/>
                </a:lnTo>
                <a:lnTo>
                  <a:pt x="1396144" y="932117"/>
                </a:lnTo>
                <a:cubicBezTo>
                  <a:pt x="1375391" y="925911"/>
                  <a:pt x="1172551" y="864330"/>
                  <a:pt x="1149764" y="856716"/>
                </a:cubicBezTo>
                <a:cubicBezTo>
                  <a:pt x="1136389" y="852232"/>
                  <a:pt x="1125712" y="850108"/>
                  <a:pt x="1116267" y="850675"/>
                </a:cubicBezTo>
                <a:close/>
                <a:moveTo>
                  <a:pt x="1645683" y="847722"/>
                </a:moveTo>
                <a:cubicBezTo>
                  <a:pt x="1639644" y="848188"/>
                  <a:pt x="1633595" y="849847"/>
                  <a:pt x="1627872" y="852806"/>
                </a:cubicBezTo>
                <a:cubicBezTo>
                  <a:pt x="1626881" y="853327"/>
                  <a:pt x="1211190" y="1068161"/>
                  <a:pt x="1175522" y="1086568"/>
                </a:cubicBezTo>
                <a:cubicBezTo>
                  <a:pt x="1164677" y="1092147"/>
                  <a:pt x="1152632" y="1089123"/>
                  <a:pt x="1149243" y="1088184"/>
                </a:cubicBezTo>
                <a:cubicBezTo>
                  <a:pt x="1132921" y="1083334"/>
                  <a:pt x="1049335" y="1058514"/>
                  <a:pt x="1049335" y="1058514"/>
                </a:cubicBezTo>
                <a:cubicBezTo>
                  <a:pt x="1040416" y="1063155"/>
                  <a:pt x="1033273" y="1066805"/>
                  <a:pt x="1024878" y="1071185"/>
                </a:cubicBezTo>
                <a:cubicBezTo>
                  <a:pt x="1024878" y="1071185"/>
                  <a:pt x="1131095" y="1143091"/>
                  <a:pt x="1173488" y="1171876"/>
                </a:cubicBezTo>
                <a:cubicBezTo>
                  <a:pt x="1185952" y="1180322"/>
                  <a:pt x="1196068" y="1180792"/>
                  <a:pt x="1211867" y="1172710"/>
                </a:cubicBezTo>
                <a:cubicBezTo>
                  <a:pt x="1243153" y="1156649"/>
                  <a:pt x="1653424" y="944475"/>
                  <a:pt x="1670683" y="935611"/>
                </a:cubicBezTo>
                <a:cubicBezTo>
                  <a:pt x="1693522" y="923878"/>
                  <a:pt x="1702491" y="895668"/>
                  <a:pt x="1690706" y="872830"/>
                </a:cubicBezTo>
                <a:cubicBezTo>
                  <a:pt x="1681828" y="855661"/>
                  <a:pt x="1663800" y="846324"/>
                  <a:pt x="1645683" y="847722"/>
                </a:cubicBezTo>
                <a:close/>
                <a:moveTo>
                  <a:pt x="2536950" y="805950"/>
                </a:moveTo>
                <a:lnTo>
                  <a:pt x="2536950" y="999352"/>
                </a:lnTo>
                <a:lnTo>
                  <a:pt x="2601034" y="999352"/>
                </a:lnTo>
                <a:close/>
                <a:moveTo>
                  <a:pt x="2346258" y="805950"/>
                </a:moveTo>
                <a:lnTo>
                  <a:pt x="2332388" y="847718"/>
                </a:lnTo>
                <a:lnTo>
                  <a:pt x="2325819" y="867688"/>
                </a:lnTo>
                <a:lnTo>
                  <a:pt x="2282225" y="999352"/>
                </a:lnTo>
                <a:lnTo>
                  <a:pt x="2503524" y="999352"/>
                </a:lnTo>
                <a:lnTo>
                  <a:pt x="2503524" y="805950"/>
                </a:lnTo>
                <a:lnTo>
                  <a:pt x="2503473" y="805950"/>
                </a:lnTo>
                <a:close/>
                <a:moveTo>
                  <a:pt x="6612948" y="788508"/>
                </a:moveTo>
                <a:lnTo>
                  <a:pt x="6612948" y="831997"/>
                </a:lnTo>
                <a:lnTo>
                  <a:pt x="6670932" y="831997"/>
                </a:lnTo>
                <a:lnTo>
                  <a:pt x="6670932" y="887373"/>
                </a:lnTo>
                <a:lnTo>
                  <a:pt x="6830388" y="887373"/>
                </a:lnTo>
                <a:lnTo>
                  <a:pt x="6830388" y="831997"/>
                </a:lnTo>
                <a:lnTo>
                  <a:pt x="6888374" y="831997"/>
                </a:lnTo>
                <a:lnTo>
                  <a:pt x="6888374" y="788508"/>
                </a:lnTo>
                <a:close/>
                <a:moveTo>
                  <a:pt x="5673793" y="779448"/>
                </a:moveTo>
                <a:cubicBezTo>
                  <a:pt x="5588902" y="779448"/>
                  <a:pt x="5519812" y="848591"/>
                  <a:pt x="5519812" y="933482"/>
                </a:cubicBezTo>
                <a:lnTo>
                  <a:pt x="5519812" y="933742"/>
                </a:lnTo>
                <a:lnTo>
                  <a:pt x="5547239" y="933742"/>
                </a:lnTo>
                <a:lnTo>
                  <a:pt x="5547239" y="933482"/>
                </a:lnTo>
                <a:cubicBezTo>
                  <a:pt x="5547239" y="863660"/>
                  <a:pt x="5603972" y="806876"/>
                  <a:pt x="5673793" y="806876"/>
                </a:cubicBezTo>
                <a:cubicBezTo>
                  <a:pt x="5743613" y="806876"/>
                  <a:pt x="5800398" y="863660"/>
                  <a:pt x="5800398" y="933482"/>
                </a:cubicBezTo>
                <a:lnTo>
                  <a:pt x="5800398" y="933742"/>
                </a:lnTo>
                <a:lnTo>
                  <a:pt x="5827827" y="933742"/>
                </a:lnTo>
                <a:lnTo>
                  <a:pt x="5827827" y="933482"/>
                </a:lnTo>
                <a:cubicBezTo>
                  <a:pt x="5827827" y="848591"/>
                  <a:pt x="5758683" y="779448"/>
                  <a:pt x="5673793" y="779448"/>
                </a:cubicBezTo>
                <a:close/>
                <a:moveTo>
                  <a:pt x="3593563" y="703712"/>
                </a:moveTo>
                <a:lnTo>
                  <a:pt x="3631315" y="703712"/>
                </a:lnTo>
                <a:lnTo>
                  <a:pt x="3631315" y="819576"/>
                </a:lnTo>
                <a:cubicBezTo>
                  <a:pt x="3631315" y="819576"/>
                  <a:pt x="3593563" y="819576"/>
                  <a:pt x="3593563" y="819576"/>
                </a:cubicBezTo>
                <a:close/>
                <a:moveTo>
                  <a:pt x="3407722" y="703712"/>
                </a:moveTo>
                <a:lnTo>
                  <a:pt x="3445527" y="703712"/>
                </a:lnTo>
                <a:lnTo>
                  <a:pt x="3445527" y="819576"/>
                </a:lnTo>
                <a:lnTo>
                  <a:pt x="3407722" y="819576"/>
                </a:lnTo>
                <a:close/>
                <a:moveTo>
                  <a:pt x="4658414" y="701330"/>
                </a:moveTo>
                <a:lnTo>
                  <a:pt x="4389090" y="1061593"/>
                </a:lnTo>
                <a:lnTo>
                  <a:pt x="4553344" y="1104351"/>
                </a:lnTo>
                <a:lnTo>
                  <a:pt x="4658414" y="701383"/>
                </a:lnTo>
                <a:close/>
                <a:moveTo>
                  <a:pt x="3519518" y="591082"/>
                </a:moveTo>
                <a:cubicBezTo>
                  <a:pt x="3268913" y="591082"/>
                  <a:pt x="3065759" y="794236"/>
                  <a:pt x="3065759" y="1044840"/>
                </a:cubicBezTo>
                <a:cubicBezTo>
                  <a:pt x="3065759" y="1295445"/>
                  <a:pt x="3268913" y="1498599"/>
                  <a:pt x="3519518" y="1498599"/>
                </a:cubicBezTo>
                <a:cubicBezTo>
                  <a:pt x="3770122" y="1498599"/>
                  <a:pt x="3973274" y="1295445"/>
                  <a:pt x="3973274" y="1044840"/>
                </a:cubicBezTo>
                <a:cubicBezTo>
                  <a:pt x="3973274" y="794236"/>
                  <a:pt x="3770122" y="591082"/>
                  <a:pt x="3519518" y="591082"/>
                </a:cubicBezTo>
                <a:close/>
                <a:moveTo>
                  <a:pt x="0" y="0"/>
                </a:moveTo>
                <a:lnTo>
                  <a:pt x="8124824" y="0"/>
                </a:lnTo>
                <a:lnTo>
                  <a:pt x="8124824" y="6857999"/>
                </a:lnTo>
                <a:lnTo>
                  <a:pt x="0" y="6857999"/>
                </a:lnTo>
                <a:close/>
              </a:path>
            </a:pathLst>
          </a:custGeom>
          <a:solidFill>
            <a:schemeClr val="tx1"/>
          </a:solidFill>
        </p:spPr>
        <p:txBody>
          <a:bodyPr vert="horz" wrap="square" lIns="0" tIns="45720" rIns="0" bIns="45720" rtlCol="0" anchor="ctr">
            <a:noAutofit/>
          </a:bodyPr>
          <a:lstStyle>
            <a:lvl1pPr algn="ctr">
              <a:defRPr lang="en-GB" sz="2800" b="0" dirty="0">
                <a:solidFill>
                  <a:schemeClr val="bg1"/>
                </a:solidFill>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US" dirty="0"/>
              <a:t>ADD RELATED IMAGE </a:t>
            </a:r>
            <a:br>
              <a:rPr lang="en-US" dirty="0"/>
            </a:br>
            <a:r>
              <a:rPr lang="en-US" dirty="0"/>
              <a:t>FROM HFW IMAGE LIBRARY</a:t>
            </a:r>
            <a:endParaRPr lang="en-GB" dirty="0"/>
          </a:p>
        </p:txBody>
      </p:sp>
      <p:sp>
        <p:nvSpPr>
          <p:cNvPr id="9" name="Rectangle 8">
            <a:extLst>
              <a:ext uri="{FF2B5EF4-FFF2-40B4-BE49-F238E27FC236}">
                <a16:creationId xmlns:a16="http://schemas.microsoft.com/office/drawing/2014/main" id="{708FD88D-9C74-4D94-62A5-47E768F9DCD7}"/>
              </a:ext>
            </a:extLst>
          </p:cNvPr>
          <p:cNvSpPr/>
          <p:nvPr userDrawn="1"/>
        </p:nvSpPr>
        <p:spPr>
          <a:xfrm>
            <a:off x="0" y="0"/>
            <a:ext cx="406717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Text Placeholder 12">
            <a:extLst>
              <a:ext uri="{FF2B5EF4-FFF2-40B4-BE49-F238E27FC236}">
                <a16:creationId xmlns:a16="http://schemas.microsoft.com/office/drawing/2014/main" id="{BBA3AA40-3440-5851-3972-390D3DEB2219}"/>
              </a:ext>
            </a:extLst>
          </p:cNvPr>
          <p:cNvSpPr>
            <a:spLocks noGrp="1"/>
          </p:cNvSpPr>
          <p:nvPr>
            <p:ph type="body" sz="quarter" idx="14" hasCustomPrompt="1"/>
          </p:nvPr>
        </p:nvSpPr>
        <p:spPr>
          <a:xfrm>
            <a:off x="508939" y="5989638"/>
            <a:ext cx="3387140" cy="230187"/>
          </a:xfrm>
        </p:spPr>
        <p:txBody>
          <a:bodyPr tIns="0" bIns="0">
            <a:noAutofit/>
          </a:bodyPr>
          <a:lstStyle>
            <a:lvl1pPr>
              <a:defRPr sz="1400">
                <a:solidFill>
                  <a:schemeClr val="accent2"/>
                </a:solidFill>
                <a:latin typeface="+mj-lt"/>
              </a:defRPr>
            </a:lvl1pPr>
            <a:lvl2pPr>
              <a:defRPr>
                <a:solidFill>
                  <a:schemeClr val="bg1"/>
                </a:solidFill>
                <a:latin typeface="+mn-lt"/>
              </a:defRPr>
            </a:lvl2pPr>
            <a:lvl3pPr>
              <a:defRPr>
                <a:solidFill>
                  <a:schemeClr val="bg1"/>
                </a:solidFill>
                <a:latin typeface="+mn-lt"/>
              </a:defRPr>
            </a:lvl3pPr>
            <a:lvl4pPr>
              <a:defRPr>
                <a:solidFill>
                  <a:schemeClr val="bg1"/>
                </a:solidFill>
                <a:latin typeface="+mn-lt"/>
              </a:defRPr>
            </a:lvl4pPr>
            <a:lvl5pPr>
              <a:defRPr>
                <a:solidFill>
                  <a:schemeClr val="bg1"/>
                </a:solidFill>
                <a:latin typeface="+mn-lt"/>
              </a:defRPr>
            </a:lvl5pPr>
          </a:lstStyle>
          <a:p>
            <a:pPr lvl="0"/>
            <a:r>
              <a:rPr lang="en-US" dirty="0"/>
              <a:t>DAY MONTH YEAR</a:t>
            </a:r>
            <a:endParaRPr lang="en-GB" dirty="0"/>
          </a:p>
        </p:txBody>
      </p:sp>
      <p:sp>
        <p:nvSpPr>
          <p:cNvPr id="4" name="TextBox 4">
            <a:extLst>
              <a:ext uri="{FF2B5EF4-FFF2-40B4-BE49-F238E27FC236}">
                <a16:creationId xmlns:a16="http://schemas.microsoft.com/office/drawing/2014/main" id="{265B2CA7-EDCD-E4A1-AC81-AB1BF0FA5D17}"/>
              </a:ext>
            </a:extLst>
          </p:cNvPr>
          <p:cNvSpPr txBox="1"/>
          <p:nvPr userDrawn="1"/>
        </p:nvSpPr>
        <p:spPr>
          <a:xfrm>
            <a:off x="12346713" y="109538"/>
            <a:ext cx="1934437" cy="31700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INSERTING IMAGES:</a:t>
            </a:r>
          </a:p>
          <a:p>
            <a:pPr marL="179388" indent="-179388">
              <a:spcBef>
                <a:spcPts val="200"/>
              </a:spcBef>
              <a:spcAft>
                <a:spcPts val="200"/>
              </a:spcAft>
              <a:buFont typeface="+mj-lt"/>
              <a:buAutoNum type="arabicPeriod"/>
            </a:pPr>
            <a:r>
              <a:rPr lang="en-US" sz="900" dirty="0">
                <a:solidFill>
                  <a:schemeClr val="tx1"/>
                </a:solidFill>
                <a:latin typeface="+mn-lt"/>
              </a:rPr>
              <a:t>Simply click the image placeholder and select your image.</a:t>
            </a:r>
          </a:p>
          <a:p>
            <a:pPr marL="179388" indent="-179388">
              <a:spcBef>
                <a:spcPts val="200"/>
              </a:spcBef>
              <a:spcAft>
                <a:spcPts val="200"/>
              </a:spcAft>
              <a:buFont typeface="+mj-lt"/>
              <a:buAutoNum type="arabicPeriod"/>
            </a:pPr>
            <a:r>
              <a:rPr lang="en-US" sz="900" dirty="0">
                <a:solidFill>
                  <a:schemeClr val="tx1"/>
                </a:solidFill>
                <a:latin typeface="+mn-lt"/>
              </a:rPr>
              <a:t>Once your image is inserted into the shape it may be distorted. (Stretched or Squashed)</a:t>
            </a:r>
          </a:p>
          <a:p>
            <a:pPr marL="179388" indent="-179388">
              <a:spcBef>
                <a:spcPts val="200"/>
              </a:spcBef>
              <a:spcAft>
                <a:spcPts val="200"/>
              </a:spcAft>
              <a:buFont typeface="+mj-lt"/>
              <a:buAutoNum type="arabicPeriod"/>
            </a:pPr>
            <a:endParaRPr lang="en-US" sz="900" dirty="0">
              <a:solidFill>
                <a:schemeClr val="tx1"/>
              </a:solidFill>
              <a:latin typeface="+mn-lt"/>
            </a:endParaRPr>
          </a:p>
          <a:p>
            <a:pPr>
              <a:spcBef>
                <a:spcPts val="200"/>
              </a:spcBef>
              <a:spcAft>
                <a:spcPts val="200"/>
              </a:spcAft>
            </a:pPr>
            <a:r>
              <a:rPr lang="en-US" sz="900" b="1" dirty="0">
                <a:solidFill>
                  <a:schemeClr val="tx1"/>
                </a:solidFill>
                <a:latin typeface="+mn-lt"/>
              </a:rPr>
              <a:t>To fix this:</a:t>
            </a:r>
          </a:p>
          <a:p>
            <a:pPr marL="179388" indent="-179388">
              <a:spcBef>
                <a:spcPts val="200"/>
              </a:spcBef>
              <a:spcAft>
                <a:spcPts val="200"/>
              </a:spcAft>
              <a:buFont typeface="+mj-lt"/>
              <a:buAutoNum type="arabicPeriod"/>
            </a:pPr>
            <a:r>
              <a:rPr lang="en-US" sz="900" dirty="0">
                <a:solidFill>
                  <a:schemeClr val="tx1"/>
                </a:solidFill>
                <a:latin typeface="+mn-lt"/>
              </a:rPr>
              <a:t>Click on the image and from the top menu under </a:t>
            </a:r>
            <a:r>
              <a:rPr lang="en-US" sz="900" b="1" dirty="0">
                <a:solidFill>
                  <a:schemeClr val="tx1"/>
                </a:solidFill>
                <a:latin typeface="+mn-lt"/>
              </a:rPr>
              <a:t>PICTURE FORMAT </a:t>
            </a:r>
            <a:r>
              <a:rPr lang="en-US" sz="900" dirty="0">
                <a:solidFill>
                  <a:schemeClr val="tx1"/>
                </a:solidFill>
                <a:latin typeface="+mn-lt"/>
              </a:rPr>
              <a:t>select the </a:t>
            </a:r>
            <a:r>
              <a:rPr lang="en-US" sz="900" b="1" dirty="0">
                <a:solidFill>
                  <a:schemeClr val="tx1"/>
                </a:solidFill>
                <a:latin typeface="+mn-lt"/>
              </a:rPr>
              <a:t>CROP</a:t>
            </a:r>
            <a:r>
              <a:rPr lang="en-US" sz="900" dirty="0">
                <a:solidFill>
                  <a:schemeClr val="tx1"/>
                </a:solidFill>
                <a:latin typeface="+mn-lt"/>
              </a:rPr>
              <a:t> on the right and from the drop down menu select </a:t>
            </a:r>
            <a:r>
              <a:rPr lang="en-US" sz="900" b="1" kern="1200" dirty="0">
                <a:solidFill>
                  <a:schemeClr val="tx1"/>
                </a:solidFill>
                <a:latin typeface="+mn-lt"/>
                <a:ea typeface="+mn-ea"/>
                <a:cs typeface="+mn-cs"/>
              </a:rPr>
              <a:t>FILL</a:t>
            </a:r>
          </a:p>
          <a:p>
            <a:pPr marL="179388" indent="-179388">
              <a:spcBef>
                <a:spcPts val="200"/>
              </a:spcBef>
              <a:spcAft>
                <a:spcPts val="200"/>
              </a:spcAft>
              <a:buFont typeface="+mj-lt"/>
              <a:buAutoNum type="arabicPeriod"/>
            </a:pPr>
            <a:r>
              <a:rPr lang="en-US" sz="900" b="0" kern="1200" dirty="0">
                <a:solidFill>
                  <a:schemeClr val="tx1"/>
                </a:solidFill>
                <a:latin typeface="+mn-lt"/>
                <a:ea typeface="+mn-ea"/>
                <a:cs typeface="+mn-cs"/>
              </a:rPr>
              <a:t>From here you can move the image within the shape for best visual appearance</a:t>
            </a:r>
          </a:p>
        </p:txBody>
      </p:sp>
      <p:sp>
        <p:nvSpPr>
          <p:cNvPr id="10" name="Title 1">
            <a:extLst>
              <a:ext uri="{FF2B5EF4-FFF2-40B4-BE49-F238E27FC236}">
                <a16:creationId xmlns:a16="http://schemas.microsoft.com/office/drawing/2014/main" id="{1D9960C9-AE88-FF64-7340-9EC8DF655E87}"/>
              </a:ext>
            </a:extLst>
          </p:cNvPr>
          <p:cNvSpPr>
            <a:spLocks noGrp="1"/>
          </p:cNvSpPr>
          <p:nvPr>
            <p:ph type="ctrTitle" hasCustomPrompt="1"/>
          </p:nvPr>
        </p:nvSpPr>
        <p:spPr>
          <a:xfrm>
            <a:off x="508939" y="2430692"/>
            <a:ext cx="2792526" cy="2387600"/>
          </a:xfrm>
        </p:spPr>
        <p:txBody>
          <a:bodyPr vert="horz" lIns="0" tIns="0" rIns="0" bIns="0" rtlCol="0" anchor="t" anchorCtr="0">
            <a:noAutofit/>
          </a:bodyPr>
          <a:lstStyle>
            <a:lvl1pPr>
              <a:lnSpc>
                <a:spcPct val="100000"/>
              </a:lnSpc>
              <a:defRPr lang="en-US" sz="3300" dirty="0">
                <a:solidFill>
                  <a:schemeClr val="bg1"/>
                </a:solidFill>
              </a:defRPr>
            </a:lvl1pPr>
          </a:lstStyle>
          <a:p>
            <a:pPr lvl="0"/>
            <a:r>
              <a:rPr lang="en-US" dirty="0"/>
              <a:t>PROPOSAL TO [CLIENT] FOR LEGAL SERVICES</a:t>
            </a:r>
          </a:p>
        </p:txBody>
      </p:sp>
      <p:sp>
        <p:nvSpPr>
          <p:cNvPr id="2" name="Graphic 13">
            <a:extLst>
              <a:ext uri="{FF2B5EF4-FFF2-40B4-BE49-F238E27FC236}">
                <a16:creationId xmlns:a16="http://schemas.microsoft.com/office/drawing/2014/main" id="{C7A70F9C-F895-4995-28BD-9B0570D8F11E}"/>
              </a:ext>
            </a:extLst>
          </p:cNvPr>
          <p:cNvSpPr>
            <a:spLocks noGrp="1" noRot="1" noMove="1" noResize="1" noEditPoints="1" noAdjustHandles="1" noChangeArrowheads="1" noChangeShapeType="1"/>
          </p:cNvSpPr>
          <p:nvPr userDrawn="1"/>
        </p:nvSpPr>
        <p:spPr>
          <a:xfrm>
            <a:off x="585463" y="588011"/>
            <a:ext cx="1522695" cy="922576"/>
          </a:xfrm>
          <a:custGeom>
            <a:avLst/>
            <a:gdLst>
              <a:gd name="connsiteX0" fmla="*/ 618149 w 1522695"/>
              <a:gd name="connsiteY0" fmla="*/ 39943 h 922576"/>
              <a:gd name="connsiteX1" fmla="*/ 421345 w 1522695"/>
              <a:gd name="connsiteY1" fmla="*/ 876531 h 922576"/>
              <a:gd name="connsiteX2" fmla="*/ 388753 w 1522695"/>
              <a:gd name="connsiteY2" fmla="*/ 915365 h 922576"/>
              <a:gd name="connsiteX3" fmla="*/ 349364 w 1522695"/>
              <a:gd name="connsiteY3" fmla="*/ 922577 h 922576"/>
              <a:gd name="connsiteX4" fmla="*/ 328006 w 1522695"/>
              <a:gd name="connsiteY4" fmla="*/ 897196 h 922576"/>
              <a:gd name="connsiteX5" fmla="*/ 431608 w 1522695"/>
              <a:gd name="connsiteY5" fmla="*/ 465033 h 922576"/>
              <a:gd name="connsiteX6" fmla="*/ 224958 w 1522695"/>
              <a:gd name="connsiteY6" fmla="*/ 504838 h 922576"/>
              <a:gd name="connsiteX7" fmla="*/ 185292 w 1522695"/>
              <a:gd name="connsiteY7" fmla="*/ 702473 h 922576"/>
              <a:gd name="connsiteX8" fmla="*/ 159634 w 1522695"/>
              <a:gd name="connsiteY8" fmla="*/ 738117 h 922576"/>
              <a:gd name="connsiteX9" fmla="*/ 102771 w 1522695"/>
              <a:gd name="connsiteY9" fmla="*/ 719671 h 922576"/>
              <a:gd name="connsiteX10" fmla="*/ 150203 w 1522695"/>
              <a:gd name="connsiteY10" fmla="*/ 519816 h 922576"/>
              <a:gd name="connsiteX11" fmla="*/ 62411 w 1522695"/>
              <a:gd name="connsiteY11" fmla="*/ 533547 h 922576"/>
              <a:gd name="connsiteX12" fmla="*/ 0 w 1522695"/>
              <a:gd name="connsiteY12" fmla="*/ 507750 h 922576"/>
              <a:gd name="connsiteX13" fmla="*/ 163795 w 1522695"/>
              <a:gd name="connsiteY13" fmla="*/ 465588 h 922576"/>
              <a:gd name="connsiteX14" fmla="*/ 234805 w 1522695"/>
              <a:gd name="connsiteY14" fmla="*/ 162547 h 922576"/>
              <a:gd name="connsiteX15" fmla="*/ 258244 w 1522695"/>
              <a:gd name="connsiteY15" fmla="*/ 135502 h 922576"/>
              <a:gd name="connsiteX16" fmla="*/ 300961 w 1522695"/>
              <a:gd name="connsiteY16" fmla="*/ 126625 h 922576"/>
              <a:gd name="connsiteX17" fmla="*/ 316772 w 1522695"/>
              <a:gd name="connsiteY17" fmla="*/ 149232 h 922576"/>
              <a:gd name="connsiteX18" fmla="*/ 239104 w 1522695"/>
              <a:gd name="connsiteY18" fmla="*/ 449084 h 922576"/>
              <a:gd name="connsiteX19" fmla="*/ 447697 w 1522695"/>
              <a:gd name="connsiteY19" fmla="*/ 404564 h 922576"/>
              <a:gd name="connsiteX20" fmla="*/ 542839 w 1522695"/>
              <a:gd name="connsiteY20" fmla="*/ 34950 h 922576"/>
              <a:gd name="connsiteX21" fmla="*/ 557402 w 1522695"/>
              <a:gd name="connsiteY21" fmla="*/ 6935 h 922576"/>
              <a:gd name="connsiteX22" fmla="*/ 592907 w 1522695"/>
              <a:gd name="connsiteY22" fmla="*/ 0 h 922576"/>
              <a:gd name="connsiteX23" fmla="*/ 620506 w 1522695"/>
              <a:gd name="connsiteY23" fmla="*/ 25381 h 922576"/>
              <a:gd name="connsiteX24" fmla="*/ 618426 w 1522695"/>
              <a:gd name="connsiteY24" fmla="*/ 40359 h 922576"/>
              <a:gd name="connsiteX25" fmla="*/ 845048 w 1522695"/>
              <a:gd name="connsiteY25" fmla="*/ 445755 h 922576"/>
              <a:gd name="connsiteX26" fmla="*/ 684582 w 1522695"/>
              <a:gd name="connsiteY26" fmla="*/ 476544 h 922576"/>
              <a:gd name="connsiteX27" fmla="*/ 729241 w 1522695"/>
              <a:gd name="connsiteY27" fmla="*/ 311918 h 922576"/>
              <a:gd name="connsiteX28" fmla="*/ 1087204 w 1522695"/>
              <a:gd name="connsiteY28" fmla="*/ 231060 h 922576"/>
              <a:gd name="connsiteX29" fmla="*/ 1110643 w 1522695"/>
              <a:gd name="connsiteY29" fmla="*/ 218994 h 922576"/>
              <a:gd name="connsiteX30" fmla="*/ 1053363 w 1522695"/>
              <a:gd name="connsiteY30" fmla="*/ 185708 h 922576"/>
              <a:gd name="connsiteX31" fmla="*/ 1029785 w 1522695"/>
              <a:gd name="connsiteY31" fmla="*/ 187927 h 922576"/>
              <a:gd name="connsiteX32" fmla="*/ 636872 w 1522695"/>
              <a:gd name="connsiteY32" fmla="*/ 267536 h 922576"/>
              <a:gd name="connsiteX33" fmla="*/ 610798 w 1522695"/>
              <a:gd name="connsiteY33" fmla="*/ 284595 h 922576"/>
              <a:gd name="connsiteX34" fmla="*/ 652683 w 1522695"/>
              <a:gd name="connsiteY34" fmla="*/ 321210 h 922576"/>
              <a:gd name="connsiteX35" fmla="*/ 524948 w 1522695"/>
              <a:gd name="connsiteY35" fmla="*/ 802192 h 922576"/>
              <a:gd name="connsiteX36" fmla="*/ 537569 w 1522695"/>
              <a:gd name="connsiteY36" fmla="*/ 815646 h 922576"/>
              <a:gd name="connsiteX37" fmla="*/ 595542 w 1522695"/>
              <a:gd name="connsiteY37" fmla="*/ 802886 h 922576"/>
              <a:gd name="connsiteX38" fmla="*/ 616762 w 1522695"/>
              <a:gd name="connsiteY38" fmla="*/ 763914 h 922576"/>
              <a:gd name="connsiteX39" fmla="*/ 669603 w 1522695"/>
              <a:gd name="connsiteY39" fmla="*/ 537430 h 922576"/>
              <a:gd name="connsiteX40" fmla="*/ 808988 w 1522695"/>
              <a:gd name="connsiteY40" fmla="*/ 509276 h 922576"/>
              <a:gd name="connsiteX41" fmla="*/ 859611 w 1522695"/>
              <a:gd name="connsiteY41" fmla="*/ 477238 h 922576"/>
              <a:gd name="connsiteX42" fmla="*/ 872232 w 1522695"/>
              <a:gd name="connsiteY42" fmla="*/ 451996 h 922576"/>
              <a:gd name="connsiteX43" fmla="*/ 845187 w 1522695"/>
              <a:gd name="connsiteY43" fmla="*/ 445755 h 922576"/>
              <a:gd name="connsiteX44" fmla="*/ 1479701 w 1522695"/>
              <a:gd name="connsiteY44" fmla="*/ 159218 h 922576"/>
              <a:gd name="connsiteX45" fmla="*/ 1409801 w 1522695"/>
              <a:gd name="connsiteY45" fmla="*/ 217052 h 922576"/>
              <a:gd name="connsiteX46" fmla="*/ 1212442 w 1522695"/>
              <a:gd name="connsiteY46" fmla="*/ 666691 h 922576"/>
              <a:gd name="connsiteX47" fmla="*/ 1231721 w 1522695"/>
              <a:gd name="connsiteY47" fmla="*/ 323845 h 922576"/>
              <a:gd name="connsiteX48" fmla="*/ 1206895 w 1522695"/>
              <a:gd name="connsiteY48" fmla="*/ 300683 h 922576"/>
              <a:gd name="connsiteX49" fmla="*/ 1151002 w 1522695"/>
              <a:gd name="connsiteY49" fmla="*/ 324677 h 922576"/>
              <a:gd name="connsiteX50" fmla="*/ 1137549 w 1522695"/>
              <a:gd name="connsiteY50" fmla="*/ 353525 h 922576"/>
              <a:gd name="connsiteX51" fmla="*/ 980689 w 1522695"/>
              <a:gd name="connsiteY51" fmla="*/ 605528 h 922576"/>
              <a:gd name="connsiteX52" fmla="*/ 1041574 w 1522695"/>
              <a:gd name="connsiteY52" fmla="*/ 331196 h 922576"/>
              <a:gd name="connsiteX53" fmla="*/ 1029369 w 1522695"/>
              <a:gd name="connsiteY53" fmla="*/ 319962 h 922576"/>
              <a:gd name="connsiteX54" fmla="*/ 988871 w 1522695"/>
              <a:gd name="connsiteY54" fmla="*/ 327728 h 922576"/>
              <a:gd name="connsiteX55" fmla="*/ 954892 w 1522695"/>
              <a:gd name="connsiteY55" fmla="*/ 369752 h 922576"/>
              <a:gd name="connsiteX56" fmla="*/ 880553 w 1522695"/>
              <a:gd name="connsiteY56" fmla="*/ 711766 h 922576"/>
              <a:gd name="connsiteX57" fmla="*/ 902328 w 1522695"/>
              <a:gd name="connsiteY57" fmla="*/ 741862 h 922576"/>
              <a:gd name="connsiteX58" fmla="*/ 960024 w 1522695"/>
              <a:gd name="connsiteY58" fmla="*/ 718423 h 922576"/>
              <a:gd name="connsiteX59" fmla="*/ 1144483 w 1522695"/>
              <a:gd name="connsiteY59" fmla="*/ 419542 h 922576"/>
              <a:gd name="connsiteX60" fmla="*/ 1128950 w 1522695"/>
              <a:gd name="connsiteY60" fmla="*/ 709546 h 922576"/>
              <a:gd name="connsiteX61" fmla="*/ 1162375 w 1522695"/>
              <a:gd name="connsiteY61" fmla="*/ 786798 h 922576"/>
              <a:gd name="connsiteX62" fmla="*/ 1235049 w 1522695"/>
              <a:gd name="connsiteY62" fmla="*/ 740891 h 922576"/>
              <a:gd name="connsiteX63" fmla="*/ 1512016 w 1522695"/>
              <a:gd name="connsiteY63" fmla="*/ 203322 h 922576"/>
              <a:gd name="connsiteX64" fmla="*/ 1522696 w 1522695"/>
              <a:gd name="connsiteY64" fmla="*/ 183766 h 922576"/>
              <a:gd name="connsiteX65" fmla="*/ 1479840 w 1522695"/>
              <a:gd name="connsiteY65" fmla="*/ 159357 h 922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522695" h="922576">
                <a:moveTo>
                  <a:pt x="618149" y="39943"/>
                </a:moveTo>
                <a:cubicBezTo>
                  <a:pt x="568774" y="240214"/>
                  <a:pt x="450887" y="614404"/>
                  <a:pt x="421345" y="876531"/>
                </a:cubicBezTo>
                <a:cubicBezTo>
                  <a:pt x="418849" y="898167"/>
                  <a:pt x="420374" y="906627"/>
                  <a:pt x="388753" y="915365"/>
                </a:cubicBezTo>
                <a:cubicBezTo>
                  <a:pt x="373497" y="919526"/>
                  <a:pt x="359350" y="922577"/>
                  <a:pt x="349364" y="922577"/>
                </a:cubicBezTo>
                <a:cubicBezTo>
                  <a:pt x="333831" y="922577"/>
                  <a:pt x="328006" y="913978"/>
                  <a:pt x="328006" y="897196"/>
                </a:cubicBezTo>
                <a:cubicBezTo>
                  <a:pt x="328006" y="851567"/>
                  <a:pt x="390972" y="623280"/>
                  <a:pt x="431608" y="465033"/>
                </a:cubicBezTo>
                <a:cubicBezTo>
                  <a:pt x="377380" y="475296"/>
                  <a:pt x="300961" y="489998"/>
                  <a:pt x="224958" y="504838"/>
                </a:cubicBezTo>
                <a:cubicBezTo>
                  <a:pt x="206512" y="579870"/>
                  <a:pt x="193336" y="642697"/>
                  <a:pt x="185292" y="702473"/>
                </a:cubicBezTo>
                <a:cubicBezTo>
                  <a:pt x="183350" y="716897"/>
                  <a:pt x="185292" y="730489"/>
                  <a:pt x="159634" y="738117"/>
                </a:cubicBezTo>
                <a:cubicBezTo>
                  <a:pt x="116362" y="751015"/>
                  <a:pt x="100968" y="743803"/>
                  <a:pt x="102771" y="719671"/>
                </a:cubicBezTo>
                <a:cubicBezTo>
                  <a:pt x="105683" y="679589"/>
                  <a:pt x="118443" y="648661"/>
                  <a:pt x="150203" y="519816"/>
                </a:cubicBezTo>
                <a:cubicBezTo>
                  <a:pt x="110676" y="527722"/>
                  <a:pt x="79748" y="533547"/>
                  <a:pt x="62411" y="533547"/>
                </a:cubicBezTo>
                <a:cubicBezTo>
                  <a:pt x="38972" y="533547"/>
                  <a:pt x="0" y="517459"/>
                  <a:pt x="0" y="507750"/>
                </a:cubicBezTo>
                <a:cubicBezTo>
                  <a:pt x="0" y="496239"/>
                  <a:pt x="27184" y="496377"/>
                  <a:pt x="163795" y="465588"/>
                </a:cubicBezTo>
                <a:cubicBezTo>
                  <a:pt x="190146" y="360876"/>
                  <a:pt x="227038" y="219133"/>
                  <a:pt x="234805" y="162547"/>
                </a:cubicBezTo>
                <a:cubicBezTo>
                  <a:pt x="236192" y="152145"/>
                  <a:pt x="239798" y="140633"/>
                  <a:pt x="258244" y="135502"/>
                </a:cubicBezTo>
                <a:cubicBezTo>
                  <a:pt x="269339" y="132451"/>
                  <a:pt x="290004" y="126625"/>
                  <a:pt x="300961" y="126625"/>
                </a:cubicBezTo>
                <a:cubicBezTo>
                  <a:pt x="313304" y="126625"/>
                  <a:pt x="316772" y="137721"/>
                  <a:pt x="316772" y="149232"/>
                </a:cubicBezTo>
                <a:cubicBezTo>
                  <a:pt x="316772" y="170036"/>
                  <a:pt x="273916" y="298048"/>
                  <a:pt x="239104" y="449084"/>
                </a:cubicBezTo>
                <a:cubicBezTo>
                  <a:pt x="309837" y="433689"/>
                  <a:pt x="385424" y="417739"/>
                  <a:pt x="447697" y="404564"/>
                </a:cubicBezTo>
                <a:cubicBezTo>
                  <a:pt x="485421" y="261434"/>
                  <a:pt x="522313" y="121910"/>
                  <a:pt x="542839" y="34950"/>
                </a:cubicBezTo>
                <a:cubicBezTo>
                  <a:pt x="547277" y="16227"/>
                  <a:pt x="546445" y="10679"/>
                  <a:pt x="557402" y="6935"/>
                </a:cubicBezTo>
                <a:cubicBezTo>
                  <a:pt x="562533" y="5132"/>
                  <a:pt x="578205" y="0"/>
                  <a:pt x="592907" y="0"/>
                </a:cubicBezTo>
                <a:cubicBezTo>
                  <a:pt x="607608" y="0"/>
                  <a:pt x="620506" y="5548"/>
                  <a:pt x="620506" y="25381"/>
                </a:cubicBezTo>
                <a:cubicBezTo>
                  <a:pt x="620506" y="29680"/>
                  <a:pt x="619813" y="34673"/>
                  <a:pt x="618426" y="40359"/>
                </a:cubicBezTo>
                <a:close/>
                <a:moveTo>
                  <a:pt x="845048" y="445755"/>
                </a:moveTo>
                <a:cubicBezTo>
                  <a:pt x="796922" y="454076"/>
                  <a:pt x="739920" y="465865"/>
                  <a:pt x="684582" y="476544"/>
                </a:cubicBezTo>
                <a:cubicBezTo>
                  <a:pt x="700670" y="412608"/>
                  <a:pt x="716620" y="352970"/>
                  <a:pt x="729241" y="311918"/>
                </a:cubicBezTo>
                <a:cubicBezTo>
                  <a:pt x="838946" y="287092"/>
                  <a:pt x="1056276" y="236053"/>
                  <a:pt x="1087204" y="231060"/>
                </a:cubicBezTo>
                <a:cubicBezTo>
                  <a:pt x="1104679" y="228148"/>
                  <a:pt x="1110643" y="223155"/>
                  <a:pt x="1110643" y="218994"/>
                </a:cubicBezTo>
                <a:cubicBezTo>
                  <a:pt x="1110643" y="211089"/>
                  <a:pt x="1084985" y="185708"/>
                  <a:pt x="1053363" y="185708"/>
                </a:cubicBezTo>
                <a:cubicBezTo>
                  <a:pt x="1046428" y="185708"/>
                  <a:pt x="1038662" y="186402"/>
                  <a:pt x="1029785" y="187927"/>
                </a:cubicBezTo>
                <a:cubicBezTo>
                  <a:pt x="966542" y="199023"/>
                  <a:pt x="709269" y="252974"/>
                  <a:pt x="636872" y="267536"/>
                </a:cubicBezTo>
                <a:cubicBezTo>
                  <a:pt x="618842" y="271142"/>
                  <a:pt x="610798" y="277661"/>
                  <a:pt x="610798" y="284595"/>
                </a:cubicBezTo>
                <a:cubicBezTo>
                  <a:pt x="610798" y="295136"/>
                  <a:pt x="636317" y="316217"/>
                  <a:pt x="652683" y="321210"/>
                </a:cubicBezTo>
                <a:cubicBezTo>
                  <a:pt x="616623" y="461427"/>
                  <a:pt x="524948" y="770571"/>
                  <a:pt x="524948" y="802192"/>
                </a:cubicBezTo>
                <a:cubicBezTo>
                  <a:pt x="524948" y="809959"/>
                  <a:pt x="527583" y="815646"/>
                  <a:pt x="537569" y="815646"/>
                </a:cubicBezTo>
                <a:cubicBezTo>
                  <a:pt x="551299" y="815646"/>
                  <a:pt x="579176" y="809682"/>
                  <a:pt x="595542" y="802886"/>
                </a:cubicBezTo>
                <a:cubicBezTo>
                  <a:pt x="611908" y="795951"/>
                  <a:pt x="611630" y="787907"/>
                  <a:pt x="616762" y="763914"/>
                </a:cubicBezTo>
                <a:cubicBezTo>
                  <a:pt x="627996" y="712043"/>
                  <a:pt x="648106" y="624945"/>
                  <a:pt x="669603" y="537430"/>
                </a:cubicBezTo>
                <a:cubicBezTo>
                  <a:pt x="735620" y="523422"/>
                  <a:pt x="777505" y="516488"/>
                  <a:pt x="808988" y="509276"/>
                </a:cubicBezTo>
                <a:cubicBezTo>
                  <a:pt x="843661" y="501370"/>
                  <a:pt x="850180" y="491107"/>
                  <a:pt x="859611" y="477238"/>
                </a:cubicBezTo>
                <a:cubicBezTo>
                  <a:pt x="865852" y="468223"/>
                  <a:pt x="872232" y="456850"/>
                  <a:pt x="872232" y="451996"/>
                </a:cubicBezTo>
                <a:cubicBezTo>
                  <a:pt x="872232" y="444368"/>
                  <a:pt x="864742" y="442288"/>
                  <a:pt x="845187" y="445755"/>
                </a:cubicBezTo>
                <a:close/>
                <a:moveTo>
                  <a:pt x="1479701" y="159218"/>
                </a:moveTo>
                <a:cubicBezTo>
                  <a:pt x="1459452" y="159218"/>
                  <a:pt x="1437955" y="171978"/>
                  <a:pt x="1409801" y="217052"/>
                </a:cubicBezTo>
                <a:cubicBezTo>
                  <a:pt x="1369857" y="281128"/>
                  <a:pt x="1274854" y="509553"/>
                  <a:pt x="1212442" y="666691"/>
                </a:cubicBezTo>
                <a:cubicBezTo>
                  <a:pt x="1210639" y="502202"/>
                  <a:pt x="1231721" y="360598"/>
                  <a:pt x="1231721" y="323845"/>
                </a:cubicBezTo>
                <a:cubicBezTo>
                  <a:pt x="1231721" y="305399"/>
                  <a:pt x="1220348" y="300683"/>
                  <a:pt x="1206895" y="300683"/>
                </a:cubicBezTo>
                <a:cubicBezTo>
                  <a:pt x="1188310" y="300683"/>
                  <a:pt x="1160988" y="301516"/>
                  <a:pt x="1151002" y="324677"/>
                </a:cubicBezTo>
                <a:cubicBezTo>
                  <a:pt x="1144483" y="339795"/>
                  <a:pt x="1143374" y="343262"/>
                  <a:pt x="1137549" y="353525"/>
                </a:cubicBezTo>
                <a:cubicBezTo>
                  <a:pt x="1125205" y="375577"/>
                  <a:pt x="1053502" y="501786"/>
                  <a:pt x="980689" y="605528"/>
                </a:cubicBezTo>
                <a:cubicBezTo>
                  <a:pt x="1012588" y="432995"/>
                  <a:pt x="1041574" y="349087"/>
                  <a:pt x="1041574" y="331196"/>
                </a:cubicBezTo>
                <a:cubicBezTo>
                  <a:pt x="1041574" y="322874"/>
                  <a:pt x="1036165" y="319962"/>
                  <a:pt x="1029369" y="319962"/>
                </a:cubicBezTo>
                <a:cubicBezTo>
                  <a:pt x="1021325" y="319962"/>
                  <a:pt x="1000799" y="324816"/>
                  <a:pt x="988871" y="327728"/>
                </a:cubicBezTo>
                <a:cubicBezTo>
                  <a:pt x="974864" y="331196"/>
                  <a:pt x="963768" y="335772"/>
                  <a:pt x="954892" y="369752"/>
                </a:cubicBezTo>
                <a:cubicBezTo>
                  <a:pt x="925905" y="479734"/>
                  <a:pt x="880553" y="665720"/>
                  <a:pt x="880553" y="711766"/>
                </a:cubicBezTo>
                <a:cubicBezTo>
                  <a:pt x="880553" y="731876"/>
                  <a:pt x="884575" y="741862"/>
                  <a:pt x="902328" y="741862"/>
                </a:cubicBezTo>
                <a:cubicBezTo>
                  <a:pt x="921051" y="741862"/>
                  <a:pt x="947541" y="736591"/>
                  <a:pt x="960024" y="718423"/>
                </a:cubicBezTo>
                <a:cubicBezTo>
                  <a:pt x="1022851" y="626609"/>
                  <a:pt x="1086372" y="516349"/>
                  <a:pt x="1144483" y="419542"/>
                </a:cubicBezTo>
                <a:cubicBezTo>
                  <a:pt x="1135191" y="510801"/>
                  <a:pt x="1128950" y="628967"/>
                  <a:pt x="1128950" y="709546"/>
                </a:cubicBezTo>
                <a:cubicBezTo>
                  <a:pt x="1128950" y="765023"/>
                  <a:pt x="1130614" y="786798"/>
                  <a:pt x="1162375" y="786798"/>
                </a:cubicBezTo>
                <a:cubicBezTo>
                  <a:pt x="1191223" y="786798"/>
                  <a:pt x="1217019" y="781666"/>
                  <a:pt x="1235049" y="740891"/>
                </a:cubicBezTo>
                <a:cubicBezTo>
                  <a:pt x="1297599" y="599148"/>
                  <a:pt x="1429911" y="303735"/>
                  <a:pt x="1512016" y="203322"/>
                </a:cubicBezTo>
                <a:cubicBezTo>
                  <a:pt x="1517425" y="196803"/>
                  <a:pt x="1522696" y="191256"/>
                  <a:pt x="1522696" y="183766"/>
                </a:cubicBezTo>
                <a:cubicBezTo>
                  <a:pt x="1522696" y="173365"/>
                  <a:pt x="1498563" y="159357"/>
                  <a:pt x="1479840" y="159357"/>
                </a:cubicBezTo>
                <a:close/>
              </a:path>
            </a:pathLst>
          </a:custGeom>
          <a:solidFill>
            <a:schemeClr val="bg1"/>
          </a:solidFill>
          <a:ln w="13855" cap="flat">
            <a:noFill/>
            <a:prstDash val="solid"/>
            <a:miter/>
          </a:ln>
        </p:spPr>
        <p:txBody>
          <a:bodyPr rtlCol="0" anchor="ctr"/>
          <a:lstStyle/>
          <a:p>
            <a:endParaRPr lang="en-GB"/>
          </a:p>
        </p:txBody>
      </p:sp>
    </p:spTree>
    <p:extLst>
      <p:ext uri="{BB962C8B-B14F-4D97-AF65-F5344CB8AC3E}">
        <p14:creationId xmlns:p14="http://schemas.microsoft.com/office/powerpoint/2010/main" val="851466838"/>
      </p:ext>
    </p:extLst>
  </p:cSld>
  <p:clrMapOvr>
    <a:masterClrMapping/>
  </p:clrMapOvr>
  <p:transition spd="med">
    <p:fade/>
  </p:transition>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 Column with Highlighted 3rd">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r>
              <a:rPr lang="en-GB"/>
              <a:t>INSERT FOOTER HERE</a:t>
            </a:r>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8CFE0557-AA98-4E6C-B0C3-581794696B68}" type="slidenum">
              <a:rPr lang="en-GB" smtClean="0"/>
              <a:pPr/>
              <a:t>‹#›</a:t>
            </a:fld>
            <a:endParaRPr lang="en-GB"/>
          </a:p>
        </p:txBody>
      </p:sp>
      <p:sp>
        <p:nvSpPr>
          <p:cNvPr id="10" name="Content Placeholder 2">
            <a:extLst>
              <a:ext uri="{FF2B5EF4-FFF2-40B4-BE49-F238E27FC236}">
                <a16:creationId xmlns:a16="http://schemas.microsoft.com/office/drawing/2014/main" id="{182B4A0E-C187-E12F-BB7B-7E465EDEEA4C}"/>
              </a:ext>
            </a:extLst>
          </p:cNvPr>
          <p:cNvSpPr>
            <a:spLocks noGrp="1"/>
          </p:cNvSpPr>
          <p:nvPr>
            <p:ph idx="1" hasCustomPrompt="1"/>
          </p:nvPr>
        </p:nvSpPr>
        <p:spPr>
          <a:xfrm>
            <a:off x="507999" y="1244882"/>
            <a:ext cx="11172953" cy="291662"/>
          </a:xfrm>
        </p:spPr>
        <p:txBody>
          <a:bodyPr vert="horz" lIns="0" tIns="45720" rIns="0" bIns="45720" numCol="1" spcCol="288000" rtlCol="0">
            <a:noAutofit/>
          </a:bodyPr>
          <a:lstStyle>
            <a:lvl1pPr>
              <a:defRPr lang="en-US" cap="all" baseline="0" dirty="0" smtClean="0"/>
            </a:lvl1pPr>
            <a:lvl2pPr>
              <a:defRPr lang="en-US" dirty="0"/>
            </a:lvl2pPr>
            <a:lvl3pPr>
              <a:defRPr lang="en-US" dirty="0"/>
            </a:lvl3pPr>
            <a:lvl4pPr>
              <a:defRPr lang="en-US" dirty="0"/>
            </a:lvl4pPr>
            <a:lvl5pPr>
              <a:defRPr lang="en-US" dirty="0"/>
            </a:lvl5pPr>
          </a:lstStyle>
          <a:p>
            <a:pPr lvl="0"/>
            <a:r>
              <a:rPr lang="en-US" dirty="0"/>
              <a:t>subhead</a:t>
            </a:r>
          </a:p>
        </p:txBody>
      </p:sp>
      <p:sp>
        <p:nvSpPr>
          <p:cNvPr id="12" name="Content Placeholder 2">
            <a:extLst>
              <a:ext uri="{FF2B5EF4-FFF2-40B4-BE49-F238E27FC236}">
                <a16:creationId xmlns:a16="http://schemas.microsoft.com/office/drawing/2014/main" id="{79AF8CE8-F801-FBFD-7F6F-0BE65F72C036}"/>
              </a:ext>
            </a:extLst>
          </p:cNvPr>
          <p:cNvSpPr>
            <a:spLocks noGrp="1"/>
          </p:cNvSpPr>
          <p:nvPr>
            <p:ph idx="16" hasCustomPrompt="1"/>
          </p:nvPr>
        </p:nvSpPr>
        <p:spPr>
          <a:xfrm>
            <a:off x="508000" y="1613017"/>
            <a:ext cx="3400425" cy="4606808"/>
          </a:xfrm>
        </p:spPr>
        <p:txBody>
          <a:bodyPr vert="horz" lIns="0" tIns="45720" rIns="0" bIns="4572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4" name="Content Placeholder 2">
            <a:extLst>
              <a:ext uri="{FF2B5EF4-FFF2-40B4-BE49-F238E27FC236}">
                <a16:creationId xmlns:a16="http://schemas.microsoft.com/office/drawing/2014/main" id="{53C28725-2311-B24F-68FE-D0071B9D9FA2}"/>
              </a:ext>
            </a:extLst>
          </p:cNvPr>
          <p:cNvSpPr>
            <a:spLocks noGrp="1"/>
          </p:cNvSpPr>
          <p:nvPr>
            <p:ph idx="18" hasCustomPrompt="1"/>
          </p:nvPr>
        </p:nvSpPr>
        <p:spPr>
          <a:xfrm>
            <a:off x="4229229" y="1613017"/>
            <a:ext cx="3738434" cy="4606808"/>
          </a:xfrm>
        </p:spPr>
        <p:txBody>
          <a:bodyPr vert="horz" lIns="0" tIns="45720" rIns="0" bIns="4572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14" name="Title 13">
            <a:extLst>
              <a:ext uri="{FF2B5EF4-FFF2-40B4-BE49-F238E27FC236}">
                <a16:creationId xmlns:a16="http://schemas.microsoft.com/office/drawing/2014/main" id="{63E94817-0C58-38AB-715B-9E31472F57FC}"/>
              </a:ext>
            </a:extLst>
          </p:cNvPr>
          <p:cNvSpPr>
            <a:spLocks noGrp="1"/>
          </p:cNvSpPr>
          <p:nvPr>
            <p:ph type="title" hasCustomPrompt="1"/>
          </p:nvPr>
        </p:nvSpPr>
        <p:spPr>
          <a:xfrm>
            <a:off x="508000" y="454013"/>
            <a:ext cx="11174413" cy="790869"/>
          </a:xfrm>
        </p:spPr>
        <p:txBody>
          <a:bodyPr/>
          <a:lstStyle>
            <a:lvl1pPr>
              <a:defRPr/>
            </a:lvl1pPr>
          </a:lstStyle>
          <a:p>
            <a:r>
              <a:rPr lang="en-US" dirty="0"/>
              <a:t>TITLE: subtitle</a:t>
            </a:r>
            <a:endParaRPr lang="en-GB" dirty="0"/>
          </a:p>
        </p:txBody>
      </p:sp>
      <p:sp>
        <p:nvSpPr>
          <p:cNvPr id="7" name="Content Placeholder 2">
            <a:extLst>
              <a:ext uri="{FF2B5EF4-FFF2-40B4-BE49-F238E27FC236}">
                <a16:creationId xmlns:a16="http://schemas.microsoft.com/office/drawing/2014/main" id="{ECCE7C76-2A17-FC5C-FB70-D6C8A26FBC28}"/>
              </a:ext>
            </a:extLst>
          </p:cNvPr>
          <p:cNvSpPr>
            <a:spLocks noGrp="1"/>
          </p:cNvSpPr>
          <p:nvPr>
            <p:ph idx="19" hasCustomPrompt="1"/>
          </p:nvPr>
        </p:nvSpPr>
        <p:spPr>
          <a:xfrm>
            <a:off x="8280527" y="1613017"/>
            <a:ext cx="3400425" cy="4606808"/>
          </a:xfrm>
          <a:solidFill>
            <a:srgbClr val="F9F5F4"/>
          </a:solidFill>
        </p:spPr>
        <p:txBody>
          <a:bodyPr vert="horz" lIns="144000" tIns="108000" rIns="144000" bIns="10800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Tree>
    <p:extLst>
      <p:ext uri="{BB962C8B-B14F-4D97-AF65-F5344CB8AC3E}">
        <p14:creationId xmlns:p14="http://schemas.microsoft.com/office/powerpoint/2010/main" val="2254291543"/>
      </p:ext>
    </p:extLst>
  </p:cSld>
  <p:clrMapOvr>
    <a:masterClrMapping/>
  </p:clrMapOvr>
  <p:transition spd="med">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 Column with Highlighted 1s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r>
              <a:rPr lang="en-GB"/>
              <a:t>INSERT FOOTER HERE</a:t>
            </a:r>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8CFE0557-AA98-4E6C-B0C3-581794696B68}" type="slidenum">
              <a:rPr lang="en-GB" smtClean="0"/>
              <a:pPr/>
              <a:t>‹#›</a:t>
            </a:fld>
            <a:endParaRPr lang="en-GB"/>
          </a:p>
        </p:txBody>
      </p:sp>
      <p:sp>
        <p:nvSpPr>
          <p:cNvPr id="10" name="Content Placeholder 2">
            <a:extLst>
              <a:ext uri="{FF2B5EF4-FFF2-40B4-BE49-F238E27FC236}">
                <a16:creationId xmlns:a16="http://schemas.microsoft.com/office/drawing/2014/main" id="{182B4A0E-C187-E12F-BB7B-7E465EDEEA4C}"/>
              </a:ext>
            </a:extLst>
          </p:cNvPr>
          <p:cNvSpPr>
            <a:spLocks noGrp="1"/>
          </p:cNvSpPr>
          <p:nvPr>
            <p:ph idx="1" hasCustomPrompt="1"/>
          </p:nvPr>
        </p:nvSpPr>
        <p:spPr>
          <a:xfrm>
            <a:off x="507999" y="1244882"/>
            <a:ext cx="11172953" cy="291662"/>
          </a:xfrm>
        </p:spPr>
        <p:txBody>
          <a:bodyPr vert="horz" lIns="0" tIns="45720" rIns="0" bIns="45720" numCol="1" spcCol="288000" rtlCol="0">
            <a:noAutofit/>
          </a:bodyPr>
          <a:lstStyle>
            <a:lvl1pPr>
              <a:defRPr lang="en-US" cap="all" baseline="0" dirty="0" smtClean="0"/>
            </a:lvl1pPr>
            <a:lvl2pPr>
              <a:defRPr lang="en-US" dirty="0"/>
            </a:lvl2pPr>
            <a:lvl3pPr>
              <a:defRPr lang="en-US" dirty="0"/>
            </a:lvl3pPr>
            <a:lvl4pPr>
              <a:defRPr lang="en-US" dirty="0"/>
            </a:lvl4pPr>
            <a:lvl5pPr>
              <a:defRPr lang="en-US" dirty="0"/>
            </a:lvl5pPr>
          </a:lstStyle>
          <a:p>
            <a:pPr lvl="0"/>
            <a:r>
              <a:rPr lang="en-US" dirty="0"/>
              <a:t>subhead</a:t>
            </a:r>
          </a:p>
        </p:txBody>
      </p:sp>
      <p:sp>
        <p:nvSpPr>
          <p:cNvPr id="12" name="Content Placeholder 2">
            <a:extLst>
              <a:ext uri="{FF2B5EF4-FFF2-40B4-BE49-F238E27FC236}">
                <a16:creationId xmlns:a16="http://schemas.microsoft.com/office/drawing/2014/main" id="{79AF8CE8-F801-FBFD-7F6F-0BE65F72C036}"/>
              </a:ext>
            </a:extLst>
          </p:cNvPr>
          <p:cNvSpPr>
            <a:spLocks noGrp="1"/>
          </p:cNvSpPr>
          <p:nvPr>
            <p:ph idx="16" hasCustomPrompt="1"/>
          </p:nvPr>
        </p:nvSpPr>
        <p:spPr>
          <a:xfrm>
            <a:off x="508000" y="1613017"/>
            <a:ext cx="3400425" cy="4606808"/>
          </a:xfrm>
          <a:solidFill>
            <a:srgbClr val="F9F5F4"/>
          </a:solidFill>
        </p:spPr>
        <p:txBody>
          <a:bodyPr vert="horz" lIns="144000" tIns="108000" rIns="144000" bIns="10800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4" name="Content Placeholder 2">
            <a:extLst>
              <a:ext uri="{FF2B5EF4-FFF2-40B4-BE49-F238E27FC236}">
                <a16:creationId xmlns:a16="http://schemas.microsoft.com/office/drawing/2014/main" id="{53C28725-2311-B24F-68FE-D0071B9D9FA2}"/>
              </a:ext>
            </a:extLst>
          </p:cNvPr>
          <p:cNvSpPr>
            <a:spLocks noGrp="1"/>
          </p:cNvSpPr>
          <p:nvPr>
            <p:ph idx="18" hasCustomPrompt="1"/>
          </p:nvPr>
        </p:nvSpPr>
        <p:spPr>
          <a:xfrm>
            <a:off x="4229229" y="1613017"/>
            <a:ext cx="3738434" cy="4606808"/>
          </a:xfrm>
        </p:spPr>
        <p:txBody>
          <a:bodyPr vert="horz" lIns="0" tIns="45720" rIns="0" bIns="4572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14" name="Title 13">
            <a:extLst>
              <a:ext uri="{FF2B5EF4-FFF2-40B4-BE49-F238E27FC236}">
                <a16:creationId xmlns:a16="http://schemas.microsoft.com/office/drawing/2014/main" id="{63E94817-0C58-38AB-715B-9E31472F57FC}"/>
              </a:ext>
            </a:extLst>
          </p:cNvPr>
          <p:cNvSpPr>
            <a:spLocks noGrp="1"/>
          </p:cNvSpPr>
          <p:nvPr>
            <p:ph type="title" hasCustomPrompt="1"/>
          </p:nvPr>
        </p:nvSpPr>
        <p:spPr>
          <a:xfrm>
            <a:off x="508000" y="454013"/>
            <a:ext cx="11174413" cy="790869"/>
          </a:xfrm>
        </p:spPr>
        <p:txBody>
          <a:bodyPr/>
          <a:lstStyle>
            <a:lvl1pPr>
              <a:defRPr/>
            </a:lvl1pPr>
          </a:lstStyle>
          <a:p>
            <a:r>
              <a:rPr lang="en-US" dirty="0"/>
              <a:t>TITLE: subtitle</a:t>
            </a:r>
            <a:endParaRPr lang="en-GB" dirty="0"/>
          </a:p>
        </p:txBody>
      </p:sp>
      <p:sp>
        <p:nvSpPr>
          <p:cNvPr id="3" name="Content Placeholder 2">
            <a:extLst>
              <a:ext uri="{FF2B5EF4-FFF2-40B4-BE49-F238E27FC236}">
                <a16:creationId xmlns:a16="http://schemas.microsoft.com/office/drawing/2014/main" id="{135B80D4-4401-870E-D7F7-86712A857FD6}"/>
              </a:ext>
            </a:extLst>
          </p:cNvPr>
          <p:cNvSpPr>
            <a:spLocks noGrp="1"/>
          </p:cNvSpPr>
          <p:nvPr>
            <p:ph idx="19" hasCustomPrompt="1"/>
          </p:nvPr>
        </p:nvSpPr>
        <p:spPr>
          <a:xfrm>
            <a:off x="8288467" y="1613017"/>
            <a:ext cx="3386802" cy="4606808"/>
          </a:xfrm>
        </p:spPr>
        <p:txBody>
          <a:bodyPr vert="horz" lIns="0" tIns="45720" rIns="0" bIns="4572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Tree>
    <p:extLst>
      <p:ext uri="{BB962C8B-B14F-4D97-AF65-F5344CB8AC3E}">
        <p14:creationId xmlns:p14="http://schemas.microsoft.com/office/powerpoint/2010/main" val="850156820"/>
      </p:ext>
    </p:extLst>
  </p:cSld>
  <p:clrMapOvr>
    <a:masterClrMapping/>
  </p:clrMapOvr>
  <p:transition spd="med">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tandard Text Split &amp; Image">
    <p:spTree>
      <p:nvGrpSpPr>
        <p:cNvPr id="1" name=""/>
        <p:cNvGrpSpPr/>
        <p:nvPr/>
      </p:nvGrpSpPr>
      <p:grpSpPr>
        <a:xfrm>
          <a:off x="0" y="0"/>
          <a:ext cx="0" cy="0"/>
          <a:chOff x="0" y="0"/>
          <a:chExt cx="0" cy="0"/>
        </a:xfrm>
      </p:grpSpPr>
      <p:sp>
        <p:nvSpPr>
          <p:cNvPr id="3" name="Picture Placeholder 10">
            <a:extLst>
              <a:ext uri="{FF2B5EF4-FFF2-40B4-BE49-F238E27FC236}">
                <a16:creationId xmlns:a16="http://schemas.microsoft.com/office/drawing/2014/main" id="{468D94C4-A5BB-D564-C824-050D19725E9B}"/>
              </a:ext>
            </a:extLst>
          </p:cNvPr>
          <p:cNvSpPr>
            <a:spLocks noGrp="1"/>
          </p:cNvSpPr>
          <p:nvPr>
            <p:ph type="pic" sz="quarter" idx="13" hasCustomPrompt="1"/>
          </p:nvPr>
        </p:nvSpPr>
        <p:spPr>
          <a:xfrm>
            <a:off x="6096000" y="0"/>
            <a:ext cx="6095999" cy="6858000"/>
          </a:xfrm>
          <a:solidFill>
            <a:schemeClr val="tx1"/>
          </a:solidFill>
        </p:spPr>
        <p:txBody>
          <a:bodyPr vert="horz" lIns="0" tIns="45720" rIns="0" bIns="45720" rtlCol="0" anchor="ctr">
            <a:normAutofit/>
          </a:bodyPr>
          <a:lstStyle>
            <a:lvl1pPr algn="ctr">
              <a:defRPr lang="en-GB" sz="2800" b="0" dirty="0">
                <a:solidFill>
                  <a:schemeClr val="bg1"/>
                </a:solidFill>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US" dirty="0"/>
              <a:t>ADD RELATED </a:t>
            </a:r>
            <a:br>
              <a:rPr lang="en-US" dirty="0"/>
            </a:br>
            <a:r>
              <a:rPr lang="en-US" dirty="0"/>
              <a:t>IMAGE </a:t>
            </a:r>
            <a:br>
              <a:rPr lang="en-US" dirty="0"/>
            </a:br>
            <a:r>
              <a:rPr lang="en-US" dirty="0"/>
              <a:t>FROM HFW </a:t>
            </a:r>
            <a:br>
              <a:rPr lang="en-US" dirty="0"/>
            </a:br>
            <a:r>
              <a:rPr lang="en-US" dirty="0"/>
              <a:t>IMAGE LIBRARY</a:t>
            </a:r>
          </a:p>
        </p:txBody>
      </p:sp>
      <p:sp>
        <p:nvSpPr>
          <p:cNvPr id="5" name="Footer Placeholder 4"/>
          <p:cNvSpPr>
            <a:spLocks noGrp="1"/>
          </p:cNvSpPr>
          <p:nvPr>
            <p:ph type="ftr" sz="quarter" idx="11"/>
          </p:nvPr>
        </p:nvSpPr>
        <p:spPr/>
        <p:txBody>
          <a:bodyPr/>
          <a:lstStyle/>
          <a:p>
            <a:r>
              <a:rPr lang="en-GB"/>
              <a:t>INSERT FOOTER HER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8CFE0557-AA98-4E6C-B0C3-581794696B68}" type="slidenum">
              <a:rPr lang="en-GB" smtClean="0"/>
              <a:pPr/>
              <a:t>‹#›</a:t>
            </a:fld>
            <a:endParaRPr lang="en-GB"/>
          </a:p>
        </p:txBody>
      </p:sp>
      <p:sp>
        <p:nvSpPr>
          <p:cNvPr id="12" name="Content Placeholder 2">
            <a:extLst>
              <a:ext uri="{FF2B5EF4-FFF2-40B4-BE49-F238E27FC236}">
                <a16:creationId xmlns:a16="http://schemas.microsoft.com/office/drawing/2014/main" id="{79AF8CE8-F801-FBFD-7F6F-0BE65F72C036}"/>
              </a:ext>
            </a:extLst>
          </p:cNvPr>
          <p:cNvSpPr>
            <a:spLocks noGrp="1"/>
          </p:cNvSpPr>
          <p:nvPr>
            <p:ph idx="16" hasCustomPrompt="1"/>
          </p:nvPr>
        </p:nvSpPr>
        <p:spPr>
          <a:xfrm>
            <a:off x="508001" y="1947329"/>
            <a:ext cx="2442772" cy="4272496"/>
          </a:xfrm>
        </p:spPr>
        <p:txBody>
          <a:bodyPr vert="horz" lIns="0" tIns="45720" rIns="0" bIns="4572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7" name="TextBox 4">
            <a:extLst>
              <a:ext uri="{FF2B5EF4-FFF2-40B4-BE49-F238E27FC236}">
                <a16:creationId xmlns:a16="http://schemas.microsoft.com/office/drawing/2014/main" id="{ECC1AF18-C7ED-CAA0-D1D3-14DEFC5E2590}"/>
              </a:ext>
            </a:extLst>
          </p:cNvPr>
          <p:cNvSpPr txBox="1"/>
          <p:nvPr userDrawn="1"/>
        </p:nvSpPr>
        <p:spPr>
          <a:xfrm>
            <a:off x="12346713" y="109538"/>
            <a:ext cx="1934437" cy="31700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INSERTING IMAGES:</a:t>
            </a:r>
          </a:p>
          <a:p>
            <a:pPr marL="179388" indent="-179388">
              <a:spcBef>
                <a:spcPts val="200"/>
              </a:spcBef>
              <a:spcAft>
                <a:spcPts val="200"/>
              </a:spcAft>
              <a:buFont typeface="+mj-lt"/>
              <a:buAutoNum type="arabicPeriod"/>
            </a:pPr>
            <a:r>
              <a:rPr lang="en-US" sz="900" dirty="0">
                <a:solidFill>
                  <a:schemeClr val="tx1"/>
                </a:solidFill>
                <a:latin typeface="+mn-lt"/>
              </a:rPr>
              <a:t>Simply click the image placeholder and select your image.</a:t>
            </a:r>
          </a:p>
          <a:p>
            <a:pPr marL="179388" indent="-179388">
              <a:spcBef>
                <a:spcPts val="200"/>
              </a:spcBef>
              <a:spcAft>
                <a:spcPts val="200"/>
              </a:spcAft>
              <a:buFont typeface="+mj-lt"/>
              <a:buAutoNum type="arabicPeriod"/>
            </a:pPr>
            <a:r>
              <a:rPr lang="en-US" sz="900" dirty="0">
                <a:solidFill>
                  <a:schemeClr val="tx1"/>
                </a:solidFill>
                <a:latin typeface="+mn-lt"/>
              </a:rPr>
              <a:t>Once your image is inserted into the shape it may be distorted. (Stretched or Squashed)</a:t>
            </a:r>
          </a:p>
          <a:p>
            <a:pPr marL="179388" indent="-179388">
              <a:spcBef>
                <a:spcPts val="200"/>
              </a:spcBef>
              <a:spcAft>
                <a:spcPts val="200"/>
              </a:spcAft>
              <a:buFont typeface="+mj-lt"/>
              <a:buAutoNum type="arabicPeriod"/>
            </a:pPr>
            <a:endParaRPr lang="en-US" sz="900" dirty="0">
              <a:solidFill>
                <a:schemeClr val="tx1"/>
              </a:solidFill>
              <a:latin typeface="+mn-lt"/>
            </a:endParaRPr>
          </a:p>
          <a:p>
            <a:pPr>
              <a:spcBef>
                <a:spcPts val="200"/>
              </a:spcBef>
              <a:spcAft>
                <a:spcPts val="200"/>
              </a:spcAft>
            </a:pPr>
            <a:r>
              <a:rPr lang="en-US" sz="900" b="1" dirty="0">
                <a:solidFill>
                  <a:schemeClr val="tx1"/>
                </a:solidFill>
                <a:latin typeface="+mn-lt"/>
              </a:rPr>
              <a:t>To fix this:</a:t>
            </a:r>
          </a:p>
          <a:p>
            <a:pPr marL="179388" indent="-179388">
              <a:spcBef>
                <a:spcPts val="200"/>
              </a:spcBef>
              <a:spcAft>
                <a:spcPts val="200"/>
              </a:spcAft>
              <a:buFont typeface="+mj-lt"/>
              <a:buAutoNum type="arabicPeriod"/>
            </a:pPr>
            <a:r>
              <a:rPr lang="en-US" sz="900" dirty="0">
                <a:solidFill>
                  <a:schemeClr val="tx1"/>
                </a:solidFill>
                <a:latin typeface="+mn-lt"/>
              </a:rPr>
              <a:t>Click on the image and from the top menu under </a:t>
            </a:r>
            <a:r>
              <a:rPr lang="en-US" sz="900" b="1" dirty="0">
                <a:solidFill>
                  <a:schemeClr val="tx1"/>
                </a:solidFill>
                <a:latin typeface="+mn-lt"/>
              </a:rPr>
              <a:t>PICTURE FORMAT </a:t>
            </a:r>
            <a:r>
              <a:rPr lang="en-US" sz="900" dirty="0">
                <a:solidFill>
                  <a:schemeClr val="tx1"/>
                </a:solidFill>
                <a:latin typeface="+mn-lt"/>
              </a:rPr>
              <a:t>select the </a:t>
            </a:r>
            <a:r>
              <a:rPr lang="en-US" sz="900" b="1" dirty="0">
                <a:solidFill>
                  <a:schemeClr val="tx1"/>
                </a:solidFill>
                <a:latin typeface="+mn-lt"/>
              </a:rPr>
              <a:t>CROP</a:t>
            </a:r>
            <a:r>
              <a:rPr lang="en-US" sz="900" dirty="0">
                <a:solidFill>
                  <a:schemeClr val="tx1"/>
                </a:solidFill>
                <a:latin typeface="+mn-lt"/>
              </a:rPr>
              <a:t> on the right and from the drop down menu select </a:t>
            </a:r>
            <a:r>
              <a:rPr lang="en-US" sz="900" b="1" kern="1200" dirty="0">
                <a:solidFill>
                  <a:schemeClr val="tx1"/>
                </a:solidFill>
                <a:latin typeface="+mn-lt"/>
                <a:ea typeface="+mn-ea"/>
                <a:cs typeface="+mn-cs"/>
              </a:rPr>
              <a:t>FILL</a:t>
            </a:r>
          </a:p>
          <a:p>
            <a:pPr marL="179388" indent="-179388">
              <a:spcBef>
                <a:spcPts val="200"/>
              </a:spcBef>
              <a:spcAft>
                <a:spcPts val="200"/>
              </a:spcAft>
              <a:buFont typeface="+mj-lt"/>
              <a:buAutoNum type="arabicPeriod"/>
            </a:pPr>
            <a:r>
              <a:rPr lang="en-US" sz="900" b="0" kern="1200" dirty="0">
                <a:solidFill>
                  <a:schemeClr val="tx1"/>
                </a:solidFill>
                <a:latin typeface="+mn-lt"/>
                <a:ea typeface="+mn-ea"/>
                <a:cs typeface="+mn-cs"/>
              </a:rPr>
              <a:t>From here you can move the image within the shape for best visual appearance</a:t>
            </a:r>
          </a:p>
        </p:txBody>
      </p:sp>
      <p:sp>
        <p:nvSpPr>
          <p:cNvPr id="11" name="Content Placeholder 2">
            <a:extLst>
              <a:ext uri="{FF2B5EF4-FFF2-40B4-BE49-F238E27FC236}">
                <a16:creationId xmlns:a16="http://schemas.microsoft.com/office/drawing/2014/main" id="{1D0E0659-A1B3-7765-59B2-CBBE223071B6}"/>
              </a:ext>
            </a:extLst>
          </p:cNvPr>
          <p:cNvSpPr>
            <a:spLocks noGrp="1"/>
          </p:cNvSpPr>
          <p:nvPr>
            <p:ph idx="17" hasCustomPrompt="1"/>
          </p:nvPr>
        </p:nvSpPr>
        <p:spPr>
          <a:xfrm>
            <a:off x="3330899" y="1947329"/>
            <a:ext cx="2442772" cy="4272496"/>
          </a:xfrm>
        </p:spPr>
        <p:txBody>
          <a:bodyPr vert="horz" lIns="0" tIns="45720" rIns="0" bIns="4572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14" name="Content Placeholder 2">
            <a:extLst>
              <a:ext uri="{FF2B5EF4-FFF2-40B4-BE49-F238E27FC236}">
                <a16:creationId xmlns:a16="http://schemas.microsoft.com/office/drawing/2014/main" id="{9DA1E0B5-2C10-FE54-679B-A84829FC9EE2}"/>
              </a:ext>
            </a:extLst>
          </p:cNvPr>
          <p:cNvSpPr>
            <a:spLocks noGrp="1"/>
          </p:cNvSpPr>
          <p:nvPr>
            <p:ph idx="19" hasCustomPrompt="1"/>
          </p:nvPr>
        </p:nvSpPr>
        <p:spPr>
          <a:xfrm>
            <a:off x="508001" y="1123947"/>
            <a:ext cx="5265670" cy="626992"/>
          </a:xfrm>
        </p:spPr>
        <p:txBody>
          <a:bodyPr vert="horz" lIns="0" tIns="0" rIns="0" bIns="0" numCol="1" spcCol="216000" rtlCol="0">
            <a:noAutofit/>
          </a:bodyPr>
          <a:lstStyle>
            <a:lvl1pPr>
              <a:lnSpc>
                <a:spcPct val="110000"/>
              </a:lnSpc>
              <a:defRPr lang="en-US" sz="2000" dirty="0">
                <a:solidFill>
                  <a:schemeClr val="accent2"/>
                </a:solidFill>
              </a:defRPr>
            </a:lvl1pPr>
            <a:lvl2pPr>
              <a:defRPr lang="en-US" sz="900" dirty="0">
                <a:solidFill>
                  <a:schemeClr val="tx1"/>
                </a:solidFill>
              </a:defRPr>
            </a:lvl2pPr>
            <a:lvl3pPr>
              <a:defRPr lang="en-US" sz="800" dirty="0">
                <a:solidFill>
                  <a:schemeClr val="tx1"/>
                </a:solidFill>
              </a:defRPr>
            </a:lvl3pPr>
            <a:lvl4pPr>
              <a:defRPr lang="en-US" sz="700" dirty="0">
                <a:solidFill>
                  <a:schemeClr val="tx1"/>
                </a:solidFill>
              </a:defRPr>
            </a:lvl4pPr>
            <a:lvl5pPr>
              <a:defRPr lang="en-US" sz="700" dirty="0">
                <a:solidFill>
                  <a:schemeClr val="tx1"/>
                </a:solidFill>
              </a:defRPr>
            </a:lvl5pPr>
          </a:lstStyle>
          <a:p>
            <a:pPr lvl="0"/>
            <a:r>
              <a:rPr lang="en-US" dirty="0"/>
              <a:t>Intro paragraph text goes here</a:t>
            </a:r>
          </a:p>
        </p:txBody>
      </p:sp>
      <p:sp>
        <p:nvSpPr>
          <p:cNvPr id="15" name="Title 14">
            <a:extLst>
              <a:ext uri="{FF2B5EF4-FFF2-40B4-BE49-F238E27FC236}">
                <a16:creationId xmlns:a16="http://schemas.microsoft.com/office/drawing/2014/main" id="{7E46BD7E-2B65-4F41-6E17-88DFF977ADB1}"/>
              </a:ext>
            </a:extLst>
          </p:cNvPr>
          <p:cNvSpPr>
            <a:spLocks noGrp="1"/>
          </p:cNvSpPr>
          <p:nvPr>
            <p:ph type="title" hasCustomPrompt="1"/>
          </p:nvPr>
        </p:nvSpPr>
        <p:spPr>
          <a:xfrm>
            <a:off x="508001" y="454014"/>
            <a:ext cx="5265670" cy="669934"/>
          </a:xfrm>
        </p:spPr>
        <p:txBody>
          <a:bodyPr/>
          <a:lstStyle/>
          <a:p>
            <a:r>
              <a:rPr lang="en-US" dirty="0"/>
              <a:t>TITLE: subtitle</a:t>
            </a:r>
            <a:endParaRPr lang="en-GB" dirty="0"/>
          </a:p>
        </p:txBody>
      </p:sp>
    </p:spTree>
    <p:extLst>
      <p:ext uri="{BB962C8B-B14F-4D97-AF65-F5344CB8AC3E}">
        <p14:creationId xmlns:p14="http://schemas.microsoft.com/office/powerpoint/2010/main" val="1922116784"/>
      </p:ext>
    </p:extLst>
  </p:cSld>
  <p:clrMapOvr>
    <a:masterClrMapping/>
  </p:clrMapOvr>
  <p:transition spd="med">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 Column &amp; Pull-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19F902B-8D6F-6480-DFA1-3A496C61CD07}"/>
              </a:ext>
            </a:extLst>
          </p:cNvPr>
          <p:cNvSpPr/>
          <p:nvPr userDrawn="1"/>
        </p:nvSpPr>
        <p:spPr>
          <a:xfrm>
            <a:off x="8126413" y="0"/>
            <a:ext cx="40655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Footer Placeholder 4"/>
          <p:cNvSpPr>
            <a:spLocks noGrp="1"/>
          </p:cNvSpPr>
          <p:nvPr>
            <p:ph type="ftr" sz="quarter" idx="11"/>
          </p:nvPr>
        </p:nvSpPr>
        <p:spPr/>
        <p:txBody>
          <a:bodyPr/>
          <a:lstStyle/>
          <a:p>
            <a:r>
              <a:rPr lang="en-GB"/>
              <a:t>INSERT FOOTER HER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8CFE0557-AA98-4E6C-B0C3-581794696B68}" type="slidenum">
              <a:rPr lang="en-GB" smtClean="0"/>
              <a:pPr/>
              <a:t>‹#›</a:t>
            </a:fld>
            <a:endParaRPr lang="en-GB"/>
          </a:p>
        </p:txBody>
      </p:sp>
      <p:sp>
        <p:nvSpPr>
          <p:cNvPr id="10" name="Content Placeholder 2">
            <a:extLst>
              <a:ext uri="{FF2B5EF4-FFF2-40B4-BE49-F238E27FC236}">
                <a16:creationId xmlns:a16="http://schemas.microsoft.com/office/drawing/2014/main" id="{182B4A0E-C187-E12F-BB7B-7E465EDEEA4C}"/>
              </a:ext>
            </a:extLst>
          </p:cNvPr>
          <p:cNvSpPr>
            <a:spLocks noGrp="1"/>
          </p:cNvSpPr>
          <p:nvPr>
            <p:ph idx="1" hasCustomPrompt="1"/>
          </p:nvPr>
        </p:nvSpPr>
        <p:spPr>
          <a:xfrm>
            <a:off x="508000" y="1244882"/>
            <a:ext cx="7125758" cy="291662"/>
          </a:xfrm>
        </p:spPr>
        <p:txBody>
          <a:bodyPr vert="horz" lIns="0" tIns="45720" rIns="0" bIns="45720" numCol="1" spcCol="288000" rtlCol="0">
            <a:noAutofit/>
          </a:bodyPr>
          <a:lstStyle>
            <a:lvl1pPr>
              <a:defRPr lang="en-US" cap="all" baseline="0" dirty="0" smtClean="0"/>
            </a:lvl1pPr>
            <a:lvl2pPr>
              <a:defRPr lang="en-US" dirty="0"/>
            </a:lvl2pPr>
            <a:lvl3pPr>
              <a:defRPr lang="en-US" dirty="0"/>
            </a:lvl3pPr>
            <a:lvl4pPr>
              <a:defRPr lang="en-US" dirty="0"/>
            </a:lvl4pPr>
            <a:lvl5pPr>
              <a:defRPr lang="en-US" dirty="0"/>
            </a:lvl5pPr>
          </a:lstStyle>
          <a:p>
            <a:pPr lvl="0"/>
            <a:r>
              <a:rPr lang="en-US" dirty="0"/>
              <a:t>subhead</a:t>
            </a:r>
          </a:p>
        </p:txBody>
      </p:sp>
      <p:sp>
        <p:nvSpPr>
          <p:cNvPr id="12" name="Content Placeholder 2">
            <a:extLst>
              <a:ext uri="{FF2B5EF4-FFF2-40B4-BE49-F238E27FC236}">
                <a16:creationId xmlns:a16="http://schemas.microsoft.com/office/drawing/2014/main" id="{79AF8CE8-F801-FBFD-7F6F-0BE65F72C036}"/>
              </a:ext>
            </a:extLst>
          </p:cNvPr>
          <p:cNvSpPr>
            <a:spLocks noGrp="1"/>
          </p:cNvSpPr>
          <p:nvPr>
            <p:ph idx="16" hasCustomPrompt="1"/>
          </p:nvPr>
        </p:nvSpPr>
        <p:spPr>
          <a:xfrm>
            <a:off x="508000" y="1613017"/>
            <a:ext cx="3400425" cy="4606808"/>
          </a:xfrm>
        </p:spPr>
        <p:txBody>
          <a:bodyPr vert="horz" lIns="0" tIns="45720" rIns="0" bIns="4572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9" name="Content Placeholder 2">
            <a:extLst>
              <a:ext uri="{FF2B5EF4-FFF2-40B4-BE49-F238E27FC236}">
                <a16:creationId xmlns:a16="http://schemas.microsoft.com/office/drawing/2014/main" id="{7984ED17-F93D-B353-1923-A8C66F3C7E40}"/>
              </a:ext>
            </a:extLst>
          </p:cNvPr>
          <p:cNvSpPr>
            <a:spLocks noGrp="1"/>
          </p:cNvSpPr>
          <p:nvPr>
            <p:ph idx="24" hasCustomPrompt="1"/>
          </p:nvPr>
        </p:nvSpPr>
        <p:spPr>
          <a:xfrm>
            <a:off x="4233333" y="1613017"/>
            <a:ext cx="3400425" cy="4606808"/>
          </a:xfrm>
        </p:spPr>
        <p:txBody>
          <a:bodyPr vert="horz" lIns="0" tIns="45720" rIns="0" bIns="4572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11" name="Title 10">
            <a:extLst>
              <a:ext uri="{FF2B5EF4-FFF2-40B4-BE49-F238E27FC236}">
                <a16:creationId xmlns:a16="http://schemas.microsoft.com/office/drawing/2014/main" id="{209BE74C-A460-6AB9-CBDD-AF4AE8B26A14}"/>
              </a:ext>
            </a:extLst>
          </p:cNvPr>
          <p:cNvSpPr>
            <a:spLocks noGrp="1"/>
          </p:cNvSpPr>
          <p:nvPr>
            <p:ph type="title" hasCustomPrompt="1"/>
          </p:nvPr>
        </p:nvSpPr>
        <p:spPr>
          <a:xfrm>
            <a:off x="508001" y="454013"/>
            <a:ext cx="7125758" cy="790869"/>
          </a:xfrm>
        </p:spPr>
        <p:txBody>
          <a:bodyPr/>
          <a:lstStyle/>
          <a:p>
            <a:r>
              <a:rPr lang="en-US" dirty="0"/>
              <a:t>TITLE: subtitle</a:t>
            </a:r>
            <a:endParaRPr lang="en-GB" dirty="0"/>
          </a:p>
        </p:txBody>
      </p:sp>
      <p:sp>
        <p:nvSpPr>
          <p:cNvPr id="2" name="Content Placeholder 2">
            <a:extLst>
              <a:ext uri="{FF2B5EF4-FFF2-40B4-BE49-F238E27FC236}">
                <a16:creationId xmlns:a16="http://schemas.microsoft.com/office/drawing/2014/main" id="{D34960CF-F07A-BFA1-55AF-6ADEB26BA934}"/>
              </a:ext>
            </a:extLst>
          </p:cNvPr>
          <p:cNvSpPr>
            <a:spLocks noGrp="1"/>
          </p:cNvSpPr>
          <p:nvPr>
            <p:ph idx="45" hasCustomPrompt="1"/>
          </p:nvPr>
        </p:nvSpPr>
        <p:spPr>
          <a:xfrm>
            <a:off x="8737600" y="1613017"/>
            <a:ext cx="2963863" cy="4606808"/>
          </a:xfrm>
        </p:spPr>
        <p:txBody>
          <a:bodyPr vert="horz" lIns="0" tIns="45720" rIns="0" bIns="45720" rtlCol="0">
            <a:normAutofit/>
          </a:bodyPr>
          <a:lstStyle>
            <a:lvl1pPr algn="l" defTabSz="914400" rtl="0" eaLnBrk="1" latinLnBrk="0" hangingPunct="1">
              <a:lnSpc>
                <a:spcPct val="130000"/>
              </a:lnSpc>
              <a:spcBef>
                <a:spcPts val="300"/>
              </a:spcBef>
              <a:spcAft>
                <a:spcPts val="300"/>
              </a:spcAft>
              <a:buFont typeface="Arial" panose="020B0604020202020204" pitchFamily="34" charset="0"/>
              <a:defRPr lang="en-US" sz="1100" kern="1200" dirty="0">
                <a:solidFill>
                  <a:schemeClr val="bg1"/>
                </a:solidFill>
                <a:latin typeface="+mn-lt"/>
                <a:ea typeface="+mn-ea"/>
                <a:cs typeface="+mn-cs"/>
              </a:defRPr>
            </a:lvl1pPr>
            <a:lvl2pPr>
              <a:buClr>
                <a:schemeClr val="bg1"/>
              </a:buClr>
              <a:defRPr lang="en-US" dirty="0">
                <a:solidFill>
                  <a:schemeClr val="bg1"/>
                </a:solidFill>
              </a:defRPr>
            </a:lvl2pPr>
            <a:lvl3pPr>
              <a:buClr>
                <a:schemeClr val="bg1"/>
              </a:buClr>
              <a:defRPr lang="en-US" dirty="0">
                <a:solidFill>
                  <a:schemeClr val="bg1"/>
                </a:solidFill>
              </a:defRPr>
            </a:lvl3pPr>
            <a:lvl4pPr>
              <a:buClr>
                <a:schemeClr val="bg1"/>
              </a:buClr>
              <a:defRPr lang="en-US" dirty="0">
                <a:solidFill>
                  <a:schemeClr val="bg1"/>
                </a:solidFill>
              </a:defRPr>
            </a:lvl4pPr>
            <a:lvl5pPr>
              <a:buClr>
                <a:schemeClr val="bg1"/>
              </a:buClr>
              <a:defRPr lang="en-US" dirty="0">
                <a:solidFill>
                  <a:schemeClr val="bg1"/>
                </a:solidFill>
              </a:defRPr>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4" name="Content Placeholder 2">
            <a:extLst>
              <a:ext uri="{FF2B5EF4-FFF2-40B4-BE49-F238E27FC236}">
                <a16:creationId xmlns:a16="http://schemas.microsoft.com/office/drawing/2014/main" id="{0803153E-A2B0-73CA-CD3A-2CDDA389AAC3}"/>
              </a:ext>
            </a:extLst>
          </p:cNvPr>
          <p:cNvSpPr>
            <a:spLocks noGrp="1"/>
          </p:cNvSpPr>
          <p:nvPr>
            <p:ph idx="46" hasCustomPrompt="1"/>
          </p:nvPr>
        </p:nvSpPr>
        <p:spPr>
          <a:xfrm>
            <a:off x="8737600" y="1244882"/>
            <a:ext cx="2946399" cy="346762"/>
          </a:xfrm>
        </p:spPr>
        <p:txBody>
          <a:bodyPr vert="horz" lIns="0" tIns="45720" rIns="0" bIns="45720" numCol="1" spcCol="288000" rtlCol="0">
            <a:noAutofit/>
          </a:bodyPr>
          <a:lstStyle>
            <a:lvl1pPr>
              <a:defRPr lang="en-US" cap="all" baseline="0" dirty="0">
                <a:solidFill>
                  <a:schemeClr val="accent2"/>
                </a:solidFill>
              </a:defRPr>
            </a:lvl1pPr>
          </a:lstStyle>
          <a:p>
            <a:pPr lvl="0"/>
            <a:r>
              <a:rPr lang="en-US" dirty="0"/>
              <a:t>subhead</a:t>
            </a:r>
          </a:p>
        </p:txBody>
      </p:sp>
    </p:spTree>
    <p:extLst>
      <p:ext uri="{BB962C8B-B14F-4D97-AF65-F5344CB8AC3E}">
        <p14:creationId xmlns:p14="http://schemas.microsoft.com/office/powerpoint/2010/main" val="948538115"/>
      </p:ext>
    </p:extLst>
  </p:cSld>
  <p:clrMapOvr>
    <a:masterClrMapping/>
  </p:clrMapOvr>
  <p:transition spd="med">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 Column &amp; Pull-out v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50C79E6-4107-372A-0C4E-A19A8E5415F6}"/>
              </a:ext>
            </a:extLst>
          </p:cNvPr>
          <p:cNvSpPr/>
          <p:nvPr userDrawn="1"/>
        </p:nvSpPr>
        <p:spPr>
          <a:xfrm>
            <a:off x="8126413" y="0"/>
            <a:ext cx="4065587"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Footer Placeholder 4"/>
          <p:cNvSpPr>
            <a:spLocks noGrp="1"/>
          </p:cNvSpPr>
          <p:nvPr>
            <p:ph type="ftr" sz="quarter" idx="11"/>
          </p:nvPr>
        </p:nvSpPr>
        <p:spPr/>
        <p:txBody>
          <a:bodyPr/>
          <a:lstStyle/>
          <a:p>
            <a:r>
              <a:rPr lang="en-GB"/>
              <a:t>INSERT FOOTER HERE</a:t>
            </a:r>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8CFE0557-AA98-4E6C-B0C3-581794696B68}" type="slidenum">
              <a:rPr lang="en-GB" smtClean="0"/>
              <a:pPr/>
              <a:t>‹#›</a:t>
            </a:fld>
            <a:endParaRPr lang="en-GB"/>
          </a:p>
        </p:txBody>
      </p:sp>
      <p:sp>
        <p:nvSpPr>
          <p:cNvPr id="10" name="Content Placeholder 2">
            <a:extLst>
              <a:ext uri="{FF2B5EF4-FFF2-40B4-BE49-F238E27FC236}">
                <a16:creationId xmlns:a16="http://schemas.microsoft.com/office/drawing/2014/main" id="{182B4A0E-C187-E12F-BB7B-7E465EDEEA4C}"/>
              </a:ext>
            </a:extLst>
          </p:cNvPr>
          <p:cNvSpPr>
            <a:spLocks noGrp="1"/>
          </p:cNvSpPr>
          <p:nvPr>
            <p:ph idx="1" hasCustomPrompt="1"/>
          </p:nvPr>
        </p:nvSpPr>
        <p:spPr>
          <a:xfrm>
            <a:off x="508000" y="1244882"/>
            <a:ext cx="7125758" cy="291662"/>
          </a:xfrm>
        </p:spPr>
        <p:txBody>
          <a:bodyPr vert="horz" lIns="0" tIns="45720" rIns="0" bIns="45720" numCol="1" spcCol="288000" rtlCol="0">
            <a:noAutofit/>
          </a:bodyPr>
          <a:lstStyle>
            <a:lvl1pPr>
              <a:defRPr lang="en-US" cap="all" baseline="0" dirty="0" smtClean="0"/>
            </a:lvl1pPr>
            <a:lvl2pPr>
              <a:defRPr lang="en-US" dirty="0"/>
            </a:lvl2pPr>
            <a:lvl3pPr>
              <a:defRPr lang="en-US" dirty="0"/>
            </a:lvl3pPr>
            <a:lvl4pPr>
              <a:defRPr lang="en-US" dirty="0"/>
            </a:lvl4pPr>
            <a:lvl5pPr>
              <a:defRPr lang="en-US" dirty="0"/>
            </a:lvl5pPr>
          </a:lstStyle>
          <a:p>
            <a:pPr lvl="0"/>
            <a:r>
              <a:rPr lang="en-US" dirty="0"/>
              <a:t>subhead</a:t>
            </a:r>
          </a:p>
        </p:txBody>
      </p:sp>
      <p:sp>
        <p:nvSpPr>
          <p:cNvPr id="12" name="Content Placeholder 2">
            <a:extLst>
              <a:ext uri="{FF2B5EF4-FFF2-40B4-BE49-F238E27FC236}">
                <a16:creationId xmlns:a16="http://schemas.microsoft.com/office/drawing/2014/main" id="{79AF8CE8-F801-FBFD-7F6F-0BE65F72C036}"/>
              </a:ext>
            </a:extLst>
          </p:cNvPr>
          <p:cNvSpPr>
            <a:spLocks noGrp="1"/>
          </p:cNvSpPr>
          <p:nvPr>
            <p:ph idx="16" hasCustomPrompt="1"/>
          </p:nvPr>
        </p:nvSpPr>
        <p:spPr>
          <a:xfrm>
            <a:off x="508000" y="1613017"/>
            <a:ext cx="3400425" cy="4606808"/>
          </a:xfrm>
        </p:spPr>
        <p:txBody>
          <a:bodyPr vert="horz" lIns="0" tIns="45720" rIns="0" bIns="4572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9" name="Content Placeholder 2">
            <a:extLst>
              <a:ext uri="{FF2B5EF4-FFF2-40B4-BE49-F238E27FC236}">
                <a16:creationId xmlns:a16="http://schemas.microsoft.com/office/drawing/2014/main" id="{7984ED17-F93D-B353-1923-A8C66F3C7E40}"/>
              </a:ext>
            </a:extLst>
          </p:cNvPr>
          <p:cNvSpPr>
            <a:spLocks noGrp="1"/>
          </p:cNvSpPr>
          <p:nvPr>
            <p:ph idx="24" hasCustomPrompt="1"/>
          </p:nvPr>
        </p:nvSpPr>
        <p:spPr>
          <a:xfrm>
            <a:off x="4233333" y="1613017"/>
            <a:ext cx="3400425" cy="4606808"/>
          </a:xfrm>
        </p:spPr>
        <p:txBody>
          <a:bodyPr vert="horz" lIns="0" tIns="45720" rIns="0" bIns="4572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11" name="Title 10">
            <a:extLst>
              <a:ext uri="{FF2B5EF4-FFF2-40B4-BE49-F238E27FC236}">
                <a16:creationId xmlns:a16="http://schemas.microsoft.com/office/drawing/2014/main" id="{B5E3AFFD-B40F-32E3-6AA3-50A72C6FC7A7}"/>
              </a:ext>
            </a:extLst>
          </p:cNvPr>
          <p:cNvSpPr>
            <a:spLocks noGrp="1"/>
          </p:cNvSpPr>
          <p:nvPr>
            <p:ph type="title" hasCustomPrompt="1"/>
          </p:nvPr>
        </p:nvSpPr>
        <p:spPr>
          <a:xfrm>
            <a:off x="508001" y="454013"/>
            <a:ext cx="7125758" cy="790869"/>
          </a:xfrm>
        </p:spPr>
        <p:txBody>
          <a:bodyPr/>
          <a:lstStyle/>
          <a:p>
            <a:r>
              <a:rPr lang="en-US" dirty="0"/>
              <a:t>TITLE: subtitle</a:t>
            </a:r>
            <a:endParaRPr lang="en-GB" dirty="0"/>
          </a:p>
        </p:txBody>
      </p:sp>
      <p:sp>
        <p:nvSpPr>
          <p:cNvPr id="4" name="Content Placeholder 2">
            <a:extLst>
              <a:ext uri="{FF2B5EF4-FFF2-40B4-BE49-F238E27FC236}">
                <a16:creationId xmlns:a16="http://schemas.microsoft.com/office/drawing/2014/main" id="{61C5A3C4-AF03-5692-6D26-608927BA7B5C}"/>
              </a:ext>
            </a:extLst>
          </p:cNvPr>
          <p:cNvSpPr>
            <a:spLocks noGrp="1"/>
          </p:cNvSpPr>
          <p:nvPr>
            <p:ph idx="45" hasCustomPrompt="1"/>
          </p:nvPr>
        </p:nvSpPr>
        <p:spPr>
          <a:xfrm>
            <a:off x="8737600" y="1613017"/>
            <a:ext cx="2963863" cy="4606808"/>
          </a:xfrm>
        </p:spPr>
        <p:txBody>
          <a:bodyPr vert="horz" lIns="0" tIns="45720" rIns="0" bIns="45720" rtlCol="0">
            <a:normAutofit/>
          </a:bodyPr>
          <a:lstStyle>
            <a:lvl1pPr algn="l" defTabSz="914400" rtl="0" eaLnBrk="1" latinLnBrk="0" hangingPunct="1">
              <a:lnSpc>
                <a:spcPct val="130000"/>
              </a:lnSpc>
              <a:spcBef>
                <a:spcPts val="300"/>
              </a:spcBef>
              <a:spcAft>
                <a:spcPts val="300"/>
              </a:spcAft>
              <a:buFont typeface="Arial" panose="020B0604020202020204" pitchFamily="34" charset="0"/>
              <a:defRPr lang="en-US" sz="1100" kern="1200" dirty="0">
                <a:solidFill>
                  <a:schemeClr val="tx1"/>
                </a:solidFill>
                <a:latin typeface="+mn-lt"/>
                <a:ea typeface="+mn-ea"/>
                <a:cs typeface="+mn-cs"/>
              </a:defRPr>
            </a:lvl1pPr>
            <a:lvl2pPr>
              <a:buClr>
                <a:schemeClr val="tx1"/>
              </a:buClr>
              <a:defRPr lang="en-US" dirty="0">
                <a:solidFill>
                  <a:schemeClr val="tx1"/>
                </a:solidFill>
              </a:defRPr>
            </a:lvl2pPr>
            <a:lvl3pPr>
              <a:buClr>
                <a:schemeClr val="tx1"/>
              </a:buClr>
              <a:defRPr lang="en-US" dirty="0">
                <a:solidFill>
                  <a:schemeClr val="tx1"/>
                </a:solidFill>
              </a:defRPr>
            </a:lvl3pPr>
            <a:lvl4pPr>
              <a:buClr>
                <a:schemeClr val="tx1"/>
              </a:buClr>
              <a:defRPr lang="en-US" dirty="0">
                <a:solidFill>
                  <a:schemeClr val="tx1"/>
                </a:solidFill>
              </a:defRPr>
            </a:lvl4pPr>
            <a:lvl5pPr>
              <a:buClr>
                <a:schemeClr val="tx1"/>
              </a:buClr>
              <a:defRPr lang="en-US" dirty="0">
                <a:solidFill>
                  <a:schemeClr val="tx1"/>
                </a:solidFill>
              </a:defRPr>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8" name="Content Placeholder 2">
            <a:extLst>
              <a:ext uri="{FF2B5EF4-FFF2-40B4-BE49-F238E27FC236}">
                <a16:creationId xmlns:a16="http://schemas.microsoft.com/office/drawing/2014/main" id="{2A672D64-98BD-BEF0-03D7-C5E98CEADCF4}"/>
              </a:ext>
            </a:extLst>
          </p:cNvPr>
          <p:cNvSpPr>
            <a:spLocks noGrp="1"/>
          </p:cNvSpPr>
          <p:nvPr>
            <p:ph idx="46" hasCustomPrompt="1"/>
          </p:nvPr>
        </p:nvSpPr>
        <p:spPr>
          <a:xfrm>
            <a:off x="8737600" y="1244882"/>
            <a:ext cx="2946399" cy="346762"/>
          </a:xfrm>
        </p:spPr>
        <p:txBody>
          <a:bodyPr vert="horz" lIns="0" tIns="45720" rIns="0" bIns="45720" numCol="1" spcCol="288000" rtlCol="0">
            <a:noAutofit/>
          </a:bodyPr>
          <a:lstStyle>
            <a:lvl1pPr>
              <a:defRPr lang="en-US" cap="all" baseline="0" dirty="0">
                <a:solidFill>
                  <a:schemeClr val="tx2"/>
                </a:solidFill>
              </a:defRPr>
            </a:lvl1pPr>
          </a:lstStyle>
          <a:p>
            <a:pPr lvl="0"/>
            <a:r>
              <a:rPr lang="en-US" dirty="0"/>
              <a:t>subhead</a:t>
            </a:r>
          </a:p>
        </p:txBody>
      </p:sp>
    </p:spTree>
    <p:extLst>
      <p:ext uri="{BB962C8B-B14F-4D97-AF65-F5344CB8AC3E}">
        <p14:creationId xmlns:p14="http://schemas.microsoft.com/office/powerpoint/2010/main" val="1985393215"/>
      </p:ext>
    </p:extLst>
  </p:cSld>
  <p:clrMapOvr>
    <a:masterClrMapping/>
  </p:clrMapOvr>
  <p:transition spd="med">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 Column, Image &amp; Quote">
    <p:spTree>
      <p:nvGrpSpPr>
        <p:cNvPr id="1" name=""/>
        <p:cNvGrpSpPr/>
        <p:nvPr/>
      </p:nvGrpSpPr>
      <p:grpSpPr>
        <a:xfrm>
          <a:off x="0" y="0"/>
          <a:ext cx="0" cy="0"/>
          <a:chOff x="0" y="0"/>
          <a:chExt cx="0" cy="0"/>
        </a:xfrm>
      </p:grpSpPr>
      <p:sp>
        <p:nvSpPr>
          <p:cNvPr id="2" name="Picture Placeholder 10">
            <a:extLst>
              <a:ext uri="{FF2B5EF4-FFF2-40B4-BE49-F238E27FC236}">
                <a16:creationId xmlns:a16="http://schemas.microsoft.com/office/drawing/2014/main" id="{D53D8445-8BD1-3C9C-D21A-2D350DF86AFF}"/>
              </a:ext>
            </a:extLst>
          </p:cNvPr>
          <p:cNvSpPr>
            <a:spLocks noGrp="1"/>
          </p:cNvSpPr>
          <p:nvPr>
            <p:ph type="pic" sz="quarter" idx="13" hasCustomPrompt="1"/>
          </p:nvPr>
        </p:nvSpPr>
        <p:spPr>
          <a:xfrm>
            <a:off x="8126412" y="0"/>
            <a:ext cx="4065587" cy="6858000"/>
          </a:xfrm>
          <a:solidFill>
            <a:schemeClr val="tx1"/>
          </a:solidFill>
        </p:spPr>
        <p:txBody>
          <a:bodyPr vert="horz" lIns="0" tIns="45720" rIns="0" bIns="45720" rtlCol="0" anchor="ctr">
            <a:normAutofit/>
          </a:bodyPr>
          <a:lstStyle>
            <a:lvl1pPr algn="ctr">
              <a:defRPr lang="en-GB" sz="2800" b="0" dirty="0">
                <a:solidFill>
                  <a:schemeClr val="bg1"/>
                </a:solidFill>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US" dirty="0"/>
              <a:t>ADD RELATED </a:t>
            </a:r>
            <a:br>
              <a:rPr lang="en-US" dirty="0"/>
            </a:br>
            <a:r>
              <a:rPr lang="en-US" dirty="0"/>
              <a:t>IMAGE </a:t>
            </a:r>
            <a:br>
              <a:rPr lang="en-US" dirty="0"/>
            </a:br>
            <a:r>
              <a:rPr lang="en-US" dirty="0"/>
              <a:t>FROM HFW </a:t>
            </a:r>
            <a:br>
              <a:rPr lang="en-US" dirty="0"/>
            </a:br>
            <a:r>
              <a:rPr lang="en-US" dirty="0"/>
              <a:t>IMAGE LIBRARY</a:t>
            </a:r>
          </a:p>
        </p:txBody>
      </p:sp>
      <p:sp>
        <p:nvSpPr>
          <p:cNvPr id="5" name="Footer Placeholder 4"/>
          <p:cNvSpPr>
            <a:spLocks noGrp="1"/>
          </p:cNvSpPr>
          <p:nvPr>
            <p:ph type="ftr" sz="quarter" idx="11"/>
          </p:nvPr>
        </p:nvSpPr>
        <p:spPr/>
        <p:txBody>
          <a:bodyPr/>
          <a:lstStyle/>
          <a:p>
            <a:r>
              <a:rPr lang="en-GB"/>
              <a:t>INSERT FOOTER HER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8CFE0557-AA98-4E6C-B0C3-581794696B68}" type="slidenum">
              <a:rPr lang="en-GB" smtClean="0"/>
              <a:pPr/>
              <a:t>‹#›</a:t>
            </a:fld>
            <a:endParaRPr lang="en-GB"/>
          </a:p>
        </p:txBody>
      </p:sp>
      <p:sp>
        <p:nvSpPr>
          <p:cNvPr id="10" name="Content Placeholder 2">
            <a:extLst>
              <a:ext uri="{FF2B5EF4-FFF2-40B4-BE49-F238E27FC236}">
                <a16:creationId xmlns:a16="http://schemas.microsoft.com/office/drawing/2014/main" id="{182B4A0E-C187-E12F-BB7B-7E465EDEEA4C}"/>
              </a:ext>
            </a:extLst>
          </p:cNvPr>
          <p:cNvSpPr>
            <a:spLocks noGrp="1"/>
          </p:cNvSpPr>
          <p:nvPr>
            <p:ph idx="1" hasCustomPrompt="1"/>
          </p:nvPr>
        </p:nvSpPr>
        <p:spPr>
          <a:xfrm>
            <a:off x="508000" y="1244882"/>
            <a:ext cx="7125758" cy="291662"/>
          </a:xfrm>
        </p:spPr>
        <p:txBody>
          <a:bodyPr vert="horz" lIns="0" tIns="45720" rIns="0" bIns="45720" numCol="1" spcCol="288000" rtlCol="0">
            <a:noAutofit/>
          </a:bodyPr>
          <a:lstStyle>
            <a:lvl1pPr>
              <a:defRPr lang="en-US" cap="all" baseline="0" dirty="0" smtClean="0"/>
            </a:lvl1pPr>
            <a:lvl2pPr>
              <a:defRPr lang="en-US" dirty="0"/>
            </a:lvl2pPr>
            <a:lvl3pPr>
              <a:defRPr lang="en-US" dirty="0"/>
            </a:lvl3pPr>
            <a:lvl4pPr>
              <a:defRPr lang="en-US" dirty="0"/>
            </a:lvl4pPr>
            <a:lvl5pPr>
              <a:defRPr lang="en-US" dirty="0"/>
            </a:lvl5pPr>
          </a:lstStyle>
          <a:p>
            <a:pPr lvl="0"/>
            <a:r>
              <a:rPr lang="en-US" dirty="0"/>
              <a:t>subhead</a:t>
            </a:r>
          </a:p>
        </p:txBody>
      </p:sp>
      <p:sp>
        <p:nvSpPr>
          <p:cNvPr id="12" name="Content Placeholder 2">
            <a:extLst>
              <a:ext uri="{FF2B5EF4-FFF2-40B4-BE49-F238E27FC236}">
                <a16:creationId xmlns:a16="http://schemas.microsoft.com/office/drawing/2014/main" id="{79AF8CE8-F801-FBFD-7F6F-0BE65F72C036}"/>
              </a:ext>
            </a:extLst>
          </p:cNvPr>
          <p:cNvSpPr>
            <a:spLocks noGrp="1"/>
          </p:cNvSpPr>
          <p:nvPr>
            <p:ph idx="16" hasCustomPrompt="1"/>
          </p:nvPr>
        </p:nvSpPr>
        <p:spPr>
          <a:xfrm>
            <a:off x="508000" y="1613017"/>
            <a:ext cx="3400425" cy="3577050"/>
          </a:xfrm>
        </p:spPr>
        <p:txBody>
          <a:bodyPr vert="horz" lIns="0" tIns="45720" rIns="0" bIns="4572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7" name="TextBox 4">
            <a:extLst>
              <a:ext uri="{FF2B5EF4-FFF2-40B4-BE49-F238E27FC236}">
                <a16:creationId xmlns:a16="http://schemas.microsoft.com/office/drawing/2014/main" id="{ECC1AF18-C7ED-CAA0-D1D3-14DEFC5E2590}"/>
              </a:ext>
            </a:extLst>
          </p:cNvPr>
          <p:cNvSpPr txBox="1"/>
          <p:nvPr userDrawn="1"/>
        </p:nvSpPr>
        <p:spPr>
          <a:xfrm>
            <a:off x="12346713" y="109538"/>
            <a:ext cx="1934437" cy="31700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INSERTING IMAGES:</a:t>
            </a:r>
          </a:p>
          <a:p>
            <a:pPr marL="179388" indent="-179388">
              <a:spcBef>
                <a:spcPts val="200"/>
              </a:spcBef>
              <a:spcAft>
                <a:spcPts val="200"/>
              </a:spcAft>
              <a:buFont typeface="+mj-lt"/>
              <a:buAutoNum type="arabicPeriod"/>
            </a:pPr>
            <a:r>
              <a:rPr lang="en-US" sz="900" dirty="0">
                <a:solidFill>
                  <a:schemeClr val="tx1"/>
                </a:solidFill>
                <a:latin typeface="+mn-lt"/>
              </a:rPr>
              <a:t>Simply click the image placeholder and select your image.</a:t>
            </a:r>
          </a:p>
          <a:p>
            <a:pPr marL="179388" indent="-179388">
              <a:spcBef>
                <a:spcPts val="200"/>
              </a:spcBef>
              <a:spcAft>
                <a:spcPts val="200"/>
              </a:spcAft>
              <a:buFont typeface="+mj-lt"/>
              <a:buAutoNum type="arabicPeriod"/>
            </a:pPr>
            <a:r>
              <a:rPr lang="en-US" sz="900" dirty="0">
                <a:solidFill>
                  <a:schemeClr val="tx1"/>
                </a:solidFill>
                <a:latin typeface="+mn-lt"/>
              </a:rPr>
              <a:t>Once your image is inserted into the shape it may be distorted. (Stretched or Squashed)</a:t>
            </a:r>
          </a:p>
          <a:p>
            <a:pPr marL="179388" indent="-179388">
              <a:spcBef>
                <a:spcPts val="200"/>
              </a:spcBef>
              <a:spcAft>
                <a:spcPts val="200"/>
              </a:spcAft>
              <a:buFont typeface="+mj-lt"/>
              <a:buAutoNum type="arabicPeriod"/>
            </a:pPr>
            <a:endParaRPr lang="en-US" sz="900" dirty="0">
              <a:solidFill>
                <a:schemeClr val="tx1"/>
              </a:solidFill>
              <a:latin typeface="+mn-lt"/>
            </a:endParaRPr>
          </a:p>
          <a:p>
            <a:pPr>
              <a:spcBef>
                <a:spcPts val="200"/>
              </a:spcBef>
              <a:spcAft>
                <a:spcPts val="200"/>
              </a:spcAft>
            </a:pPr>
            <a:r>
              <a:rPr lang="en-US" sz="900" b="1" dirty="0">
                <a:solidFill>
                  <a:schemeClr val="tx1"/>
                </a:solidFill>
                <a:latin typeface="+mn-lt"/>
              </a:rPr>
              <a:t>To fix this:</a:t>
            </a:r>
          </a:p>
          <a:p>
            <a:pPr marL="179388" indent="-179388">
              <a:spcBef>
                <a:spcPts val="200"/>
              </a:spcBef>
              <a:spcAft>
                <a:spcPts val="200"/>
              </a:spcAft>
              <a:buFont typeface="+mj-lt"/>
              <a:buAutoNum type="arabicPeriod"/>
            </a:pPr>
            <a:r>
              <a:rPr lang="en-US" sz="900" dirty="0">
                <a:solidFill>
                  <a:schemeClr val="tx1"/>
                </a:solidFill>
                <a:latin typeface="+mn-lt"/>
              </a:rPr>
              <a:t>Click on the image and from the top menu under </a:t>
            </a:r>
            <a:r>
              <a:rPr lang="en-US" sz="900" b="1" dirty="0">
                <a:solidFill>
                  <a:schemeClr val="tx1"/>
                </a:solidFill>
                <a:latin typeface="+mn-lt"/>
              </a:rPr>
              <a:t>PICTURE FORMAT </a:t>
            </a:r>
            <a:r>
              <a:rPr lang="en-US" sz="900" dirty="0">
                <a:solidFill>
                  <a:schemeClr val="tx1"/>
                </a:solidFill>
                <a:latin typeface="+mn-lt"/>
              </a:rPr>
              <a:t>select the </a:t>
            </a:r>
            <a:r>
              <a:rPr lang="en-US" sz="900" b="1" dirty="0">
                <a:solidFill>
                  <a:schemeClr val="tx1"/>
                </a:solidFill>
                <a:latin typeface="+mn-lt"/>
              </a:rPr>
              <a:t>CROP</a:t>
            </a:r>
            <a:r>
              <a:rPr lang="en-US" sz="900" dirty="0">
                <a:solidFill>
                  <a:schemeClr val="tx1"/>
                </a:solidFill>
                <a:latin typeface="+mn-lt"/>
              </a:rPr>
              <a:t> on the right and from the drop down menu select </a:t>
            </a:r>
            <a:r>
              <a:rPr lang="en-US" sz="900" b="1" kern="1200" dirty="0">
                <a:solidFill>
                  <a:schemeClr val="tx1"/>
                </a:solidFill>
                <a:latin typeface="+mn-lt"/>
                <a:ea typeface="+mn-ea"/>
                <a:cs typeface="+mn-cs"/>
              </a:rPr>
              <a:t>FILL</a:t>
            </a:r>
          </a:p>
          <a:p>
            <a:pPr marL="179388" indent="-179388">
              <a:spcBef>
                <a:spcPts val="200"/>
              </a:spcBef>
              <a:spcAft>
                <a:spcPts val="200"/>
              </a:spcAft>
              <a:buFont typeface="+mj-lt"/>
              <a:buAutoNum type="arabicPeriod"/>
            </a:pPr>
            <a:r>
              <a:rPr lang="en-US" sz="900" b="0" kern="1200" dirty="0">
                <a:solidFill>
                  <a:schemeClr val="tx1"/>
                </a:solidFill>
                <a:latin typeface="+mn-lt"/>
                <a:ea typeface="+mn-ea"/>
                <a:cs typeface="+mn-cs"/>
              </a:rPr>
              <a:t>From here you can move the image within the shape for best visual appearance</a:t>
            </a:r>
          </a:p>
        </p:txBody>
      </p:sp>
      <p:sp>
        <p:nvSpPr>
          <p:cNvPr id="9" name="Content Placeholder 2">
            <a:extLst>
              <a:ext uri="{FF2B5EF4-FFF2-40B4-BE49-F238E27FC236}">
                <a16:creationId xmlns:a16="http://schemas.microsoft.com/office/drawing/2014/main" id="{7984ED17-F93D-B353-1923-A8C66F3C7E40}"/>
              </a:ext>
            </a:extLst>
          </p:cNvPr>
          <p:cNvSpPr>
            <a:spLocks noGrp="1"/>
          </p:cNvSpPr>
          <p:nvPr>
            <p:ph idx="24" hasCustomPrompt="1"/>
          </p:nvPr>
        </p:nvSpPr>
        <p:spPr>
          <a:xfrm>
            <a:off x="4233333" y="1613017"/>
            <a:ext cx="3400425" cy="3577050"/>
          </a:xfrm>
        </p:spPr>
        <p:txBody>
          <a:bodyPr vert="horz" lIns="0" tIns="45720" rIns="0" bIns="4572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11" name="Title 10">
            <a:extLst>
              <a:ext uri="{FF2B5EF4-FFF2-40B4-BE49-F238E27FC236}">
                <a16:creationId xmlns:a16="http://schemas.microsoft.com/office/drawing/2014/main" id="{0E84146F-9D33-6497-CA74-8D097DEB0125}"/>
              </a:ext>
            </a:extLst>
          </p:cNvPr>
          <p:cNvSpPr>
            <a:spLocks noGrp="1"/>
          </p:cNvSpPr>
          <p:nvPr>
            <p:ph type="title" hasCustomPrompt="1"/>
          </p:nvPr>
        </p:nvSpPr>
        <p:spPr>
          <a:xfrm>
            <a:off x="508001" y="454013"/>
            <a:ext cx="7125758" cy="790869"/>
          </a:xfrm>
        </p:spPr>
        <p:txBody>
          <a:bodyPr/>
          <a:lstStyle/>
          <a:p>
            <a:r>
              <a:rPr lang="en-US" dirty="0"/>
              <a:t>TITLE: subtitle</a:t>
            </a:r>
            <a:endParaRPr lang="en-GB" dirty="0"/>
          </a:p>
        </p:txBody>
      </p:sp>
      <p:sp>
        <p:nvSpPr>
          <p:cNvPr id="3" name="Text Placeholder 12">
            <a:extLst>
              <a:ext uri="{FF2B5EF4-FFF2-40B4-BE49-F238E27FC236}">
                <a16:creationId xmlns:a16="http://schemas.microsoft.com/office/drawing/2014/main" id="{FC566C1D-B706-6846-8673-FB51D6F4C8F3}"/>
              </a:ext>
            </a:extLst>
          </p:cNvPr>
          <p:cNvSpPr>
            <a:spLocks noGrp="1"/>
          </p:cNvSpPr>
          <p:nvPr>
            <p:ph type="body" sz="quarter" idx="18" hasCustomPrompt="1"/>
          </p:nvPr>
        </p:nvSpPr>
        <p:spPr>
          <a:xfrm>
            <a:off x="508000" y="5334846"/>
            <a:ext cx="7127876" cy="681779"/>
          </a:xfrm>
        </p:spPr>
        <p:txBody>
          <a:bodyPr vert="horz" lIns="0" tIns="45720" rIns="0" bIns="0" rtlCol="0" anchor="b" anchorCtr="0">
            <a:noAutofit/>
          </a:bodyPr>
          <a:lstStyle>
            <a:lvl1pPr marL="108000" indent="-108000">
              <a:lnSpc>
                <a:spcPct val="110000"/>
              </a:lnSpc>
              <a:spcBef>
                <a:spcPts val="0"/>
              </a:spcBef>
              <a:spcAft>
                <a:spcPts val="0"/>
              </a:spcAft>
              <a:defRPr lang="en-US" sz="2000" dirty="0">
                <a:solidFill>
                  <a:schemeClr val="accent2"/>
                </a:solidFill>
              </a:defRPr>
            </a:lvl1pPr>
            <a:lvl2pPr>
              <a:defRPr lang="en-US" sz="1400" dirty="0">
                <a:solidFill>
                  <a:schemeClr val="tx2"/>
                </a:solidFill>
                <a:latin typeface="+mj-lt"/>
              </a:defRPr>
            </a:lvl2pPr>
          </a:lstStyle>
          <a:p>
            <a:pPr marL="108000" lvl="0" indent="-108000">
              <a:lnSpc>
                <a:spcPct val="100000"/>
              </a:lnSpc>
              <a:spcBef>
                <a:spcPts val="200"/>
              </a:spcBef>
              <a:spcAft>
                <a:spcPts val="200"/>
              </a:spcAft>
            </a:pPr>
            <a:r>
              <a:rPr lang="en-US" dirty="0"/>
              <a:t>“Quote goes here.”</a:t>
            </a:r>
          </a:p>
        </p:txBody>
      </p:sp>
      <p:sp>
        <p:nvSpPr>
          <p:cNvPr id="8" name="Text Placeholder 7">
            <a:extLst>
              <a:ext uri="{FF2B5EF4-FFF2-40B4-BE49-F238E27FC236}">
                <a16:creationId xmlns:a16="http://schemas.microsoft.com/office/drawing/2014/main" id="{A26DD0D0-77D5-B0A5-A1F1-C2308D1AA474}"/>
              </a:ext>
            </a:extLst>
          </p:cNvPr>
          <p:cNvSpPr>
            <a:spLocks noGrp="1"/>
          </p:cNvSpPr>
          <p:nvPr>
            <p:ph type="body" sz="quarter" idx="34" hasCustomPrompt="1"/>
          </p:nvPr>
        </p:nvSpPr>
        <p:spPr>
          <a:xfrm>
            <a:off x="508000" y="6047121"/>
            <a:ext cx="7127876" cy="215444"/>
          </a:xfrm>
        </p:spPr>
        <p:txBody>
          <a:bodyPr wrap="square" tIns="0" bIns="0" anchor="b" anchorCtr="0">
            <a:spAutoFit/>
          </a:bodyPr>
          <a:lstStyle>
            <a:lvl1pPr marL="108000">
              <a:lnSpc>
                <a:spcPct val="100000"/>
              </a:lnSpc>
              <a:defRPr sz="1400" cap="all" baseline="0">
                <a:solidFill>
                  <a:schemeClr val="tx2"/>
                </a:solidFill>
                <a:latin typeface="+mj-lt"/>
              </a:defRPr>
            </a:lvl1pPr>
            <a:lvl2pPr marL="108000">
              <a:lnSpc>
                <a:spcPct val="100000"/>
              </a:lnSpc>
              <a:defRPr sz="1400" cap="all" baseline="0">
                <a:solidFill>
                  <a:schemeClr val="tx2"/>
                </a:solidFill>
                <a:latin typeface="+mj-lt"/>
              </a:defRPr>
            </a:lvl2pPr>
            <a:lvl3pPr marL="108000">
              <a:lnSpc>
                <a:spcPct val="100000"/>
              </a:lnSpc>
              <a:defRPr sz="1400" cap="all" baseline="0">
                <a:solidFill>
                  <a:schemeClr val="tx2"/>
                </a:solidFill>
                <a:latin typeface="+mj-lt"/>
              </a:defRPr>
            </a:lvl3pPr>
            <a:lvl4pPr marL="108000">
              <a:lnSpc>
                <a:spcPct val="100000"/>
              </a:lnSpc>
              <a:defRPr sz="1400" cap="all" baseline="0">
                <a:solidFill>
                  <a:schemeClr val="tx2"/>
                </a:solidFill>
                <a:latin typeface="+mj-lt"/>
              </a:defRPr>
            </a:lvl4pPr>
            <a:lvl5pPr marL="108000">
              <a:lnSpc>
                <a:spcPct val="100000"/>
              </a:lnSpc>
              <a:defRPr sz="1400" cap="all" baseline="0">
                <a:solidFill>
                  <a:schemeClr val="tx2"/>
                </a:solidFill>
                <a:latin typeface="+mj-lt"/>
              </a:defRPr>
            </a:lvl5pPr>
          </a:lstStyle>
          <a:p>
            <a:pPr lvl="0"/>
            <a:r>
              <a:rPr lang="en-US" dirty="0"/>
              <a:t>quote author</a:t>
            </a:r>
            <a:endParaRPr lang="en-GB" dirty="0"/>
          </a:p>
        </p:txBody>
      </p:sp>
    </p:spTree>
    <p:extLst>
      <p:ext uri="{BB962C8B-B14F-4D97-AF65-F5344CB8AC3E}">
        <p14:creationId xmlns:p14="http://schemas.microsoft.com/office/powerpoint/2010/main" val="3908865984"/>
      </p:ext>
    </p:extLst>
  </p:cSld>
  <p:clrMapOvr>
    <a:masterClrMapping/>
  </p:clrMapOvr>
  <p:transition spd="med">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 Column &amp; Image">
    <p:spTree>
      <p:nvGrpSpPr>
        <p:cNvPr id="1" name=""/>
        <p:cNvGrpSpPr/>
        <p:nvPr/>
      </p:nvGrpSpPr>
      <p:grpSpPr>
        <a:xfrm>
          <a:off x="0" y="0"/>
          <a:ext cx="0" cy="0"/>
          <a:chOff x="0" y="0"/>
          <a:chExt cx="0" cy="0"/>
        </a:xfrm>
      </p:grpSpPr>
      <p:sp>
        <p:nvSpPr>
          <p:cNvPr id="2" name="Picture Placeholder 10">
            <a:extLst>
              <a:ext uri="{FF2B5EF4-FFF2-40B4-BE49-F238E27FC236}">
                <a16:creationId xmlns:a16="http://schemas.microsoft.com/office/drawing/2014/main" id="{D53D8445-8BD1-3C9C-D21A-2D350DF86AFF}"/>
              </a:ext>
            </a:extLst>
          </p:cNvPr>
          <p:cNvSpPr>
            <a:spLocks noGrp="1"/>
          </p:cNvSpPr>
          <p:nvPr>
            <p:ph type="pic" sz="quarter" idx="13" hasCustomPrompt="1"/>
          </p:nvPr>
        </p:nvSpPr>
        <p:spPr>
          <a:xfrm>
            <a:off x="8126412" y="0"/>
            <a:ext cx="4065587" cy="6858000"/>
          </a:xfrm>
          <a:solidFill>
            <a:schemeClr val="tx1"/>
          </a:solidFill>
        </p:spPr>
        <p:txBody>
          <a:bodyPr vert="horz" lIns="0" tIns="45720" rIns="0" bIns="45720" rtlCol="0" anchor="ctr">
            <a:normAutofit/>
          </a:bodyPr>
          <a:lstStyle>
            <a:lvl1pPr algn="ctr">
              <a:defRPr lang="en-GB" sz="2800" b="0" dirty="0">
                <a:solidFill>
                  <a:schemeClr val="bg1"/>
                </a:solidFill>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US" dirty="0"/>
              <a:t>ADD RELATED </a:t>
            </a:r>
            <a:br>
              <a:rPr lang="en-US" dirty="0"/>
            </a:br>
            <a:r>
              <a:rPr lang="en-US" dirty="0"/>
              <a:t>IMAGE </a:t>
            </a:r>
            <a:br>
              <a:rPr lang="en-US" dirty="0"/>
            </a:br>
            <a:r>
              <a:rPr lang="en-US" dirty="0"/>
              <a:t>FROM HFW </a:t>
            </a:r>
            <a:br>
              <a:rPr lang="en-US" dirty="0"/>
            </a:br>
            <a:r>
              <a:rPr lang="en-US" dirty="0"/>
              <a:t>IMAGE LIBRARY</a:t>
            </a:r>
          </a:p>
        </p:txBody>
      </p:sp>
      <p:sp>
        <p:nvSpPr>
          <p:cNvPr id="5" name="Footer Placeholder 4"/>
          <p:cNvSpPr>
            <a:spLocks noGrp="1"/>
          </p:cNvSpPr>
          <p:nvPr>
            <p:ph type="ftr" sz="quarter" idx="11"/>
          </p:nvPr>
        </p:nvSpPr>
        <p:spPr/>
        <p:txBody>
          <a:bodyPr/>
          <a:lstStyle/>
          <a:p>
            <a:r>
              <a:rPr lang="en-GB"/>
              <a:t>INSERT FOOTER HER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8CFE0557-AA98-4E6C-B0C3-581794696B68}" type="slidenum">
              <a:rPr lang="en-GB" smtClean="0"/>
              <a:pPr/>
              <a:t>‹#›</a:t>
            </a:fld>
            <a:endParaRPr lang="en-GB"/>
          </a:p>
        </p:txBody>
      </p:sp>
      <p:sp>
        <p:nvSpPr>
          <p:cNvPr id="10" name="Content Placeholder 2">
            <a:extLst>
              <a:ext uri="{FF2B5EF4-FFF2-40B4-BE49-F238E27FC236}">
                <a16:creationId xmlns:a16="http://schemas.microsoft.com/office/drawing/2014/main" id="{182B4A0E-C187-E12F-BB7B-7E465EDEEA4C}"/>
              </a:ext>
            </a:extLst>
          </p:cNvPr>
          <p:cNvSpPr>
            <a:spLocks noGrp="1"/>
          </p:cNvSpPr>
          <p:nvPr>
            <p:ph idx="1" hasCustomPrompt="1"/>
          </p:nvPr>
        </p:nvSpPr>
        <p:spPr>
          <a:xfrm>
            <a:off x="508000" y="1244882"/>
            <a:ext cx="7125758" cy="291662"/>
          </a:xfrm>
        </p:spPr>
        <p:txBody>
          <a:bodyPr vert="horz" lIns="0" tIns="45720" rIns="0" bIns="45720" numCol="1" spcCol="288000" rtlCol="0">
            <a:noAutofit/>
          </a:bodyPr>
          <a:lstStyle>
            <a:lvl1pPr>
              <a:defRPr lang="en-US" cap="all" baseline="0" dirty="0" smtClean="0"/>
            </a:lvl1pPr>
            <a:lvl2pPr>
              <a:defRPr lang="en-US" dirty="0"/>
            </a:lvl2pPr>
            <a:lvl3pPr>
              <a:defRPr lang="en-US" dirty="0"/>
            </a:lvl3pPr>
            <a:lvl4pPr>
              <a:defRPr lang="en-US" dirty="0"/>
            </a:lvl4pPr>
            <a:lvl5pPr>
              <a:defRPr lang="en-US" dirty="0"/>
            </a:lvl5pPr>
          </a:lstStyle>
          <a:p>
            <a:pPr lvl="0"/>
            <a:r>
              <a:rPr lang="en-US" dirty="0"/>
              <a:t>subhead</a:t>
            </a:r>
          </a:p>
        </p:txBody>
      </p:sp>
      <p:sp>
        <p:nvSpPr>
          <p:cNvPr id="12" name="Content Placeholder 2">
            <a:extLst>
              <a:ext uri="{FF2B5EF4-FFF2-40B4-BE49-F238E27FC236}">
                <a16:creationId xmlns:a16="http://schemas.microsoft.com/office/drawing/2014/main" id="{79AF8CE8-F801-FBFD-7F6F-0BE65F72C036}"/>
              </a:ext>
            </a:extLst>
          </p:cNvPr>
          <p:cNvSpPr>
            <a:spLocks noGrp="1"/>
          </p:cNvSpPr>
          <p:nvPr>
            <p:ph idx="16" hasCustomPrompt="1"/>
          </p:nvPr>
        </p:nvSpPr>
        <p:spPr>
          <a:xfrm>
            <a:off x="508000" y="1613017"/>
            <a:ext cx="3400425" cy="4606808"/>
          </a:xfrm>
        </p:spPr>
        <p:txBody>
          <a:bodyPr vert="horz" lIns="0" tIns="45720" rIns="0" bIns="4572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7" name="TextBox 4">
            <a:extLst>
              <a:ext uri="{FF2B5EF4-FFF2-40B4-BE49-F238E27FC236}">
                <a16:creationId xmlns:a16="http://schemas.microsoft.com/office/drawing/2014/main" id="{ECC1AF18-C7ED-CAA0-D1D3-14DEFC5E2590}"/>
              </a:ext>
            </a:extLst>
          </p:cNvPr>
          <p:cNvSpPr txBox="1"/>
          <p:nvPr userDrawn="1"/>
        </p:nvSpPr>
        <p:spPr>
          <a:xfrm>
            <a:off x="12346713" y="109538"/>
            <a:ext cx="1934437" cy="31700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INSERTING IMAGES:</a:t>
            </a:r>
          </a:p>
          <a:p>
            <a:pPr marL="179388" indent="-179388">
              <a:spcBef>
                <a:spcPts val="200"/>
              </a:spcBef>
              <a:spcAft>
                <a:spcPts val="200"/>
              </a:spcAft>
              <a:buFont typeface="+mj-lt"/>
              <a:buAutoNum type="arabicPeriod"/>
            </a:pPr>
            <a:r>
              <a:rPr lang="en-US" sz="900" dirty="0">
                <a:solidFill>
                  <a:schemeClr val="tx1"/>
                </a:solidFill>
                <a:latin typeface="+mn-lt"/>
              </a:rPr>
              <a:t>Simply click the image placeholder and select your image.</a:t>
            </a:r>
          </a:p>
          <a:p>
            <a:pPr marL="179388" indent="-179388">
              <a:spcBef>
                <a:spcPts val="200"/>
              </a:spcBef>
              <a:spcAft>
                <a:spcPts val="200"/>
              </a:spcAft>
              <a:buFont typeface="+mj-lt"/>
              <a:buAutoNum type="arabicPeriod"/>
            </a:pPr>
            <a:r>
              <a:rPr lang="en-US" sz="900" dirty="0">
                <a:solidFill>
                  <a:schemeClr val="tx1"/>
                </a:solidFill>
                <a:latin typeface="+mn-lt"/>
              </a:rPr>
              <a:t>Once your image is inserted into the shape it may be distorted. (Stretched or Squashed)</a:t>
            </a:r>
          </a:p>
          <a:p>
            <a:pPr marL="179388" indent="-179388">
              <a:spcBef>
                <a:spcPts val="200"/>
              </a:spcBef>
              <a:spcAft>
                <a:spcPts val="200"/>
              </a:spcAft>
              <a:buFont typeface="+mj-lt"/>
              <a:buAutoNum type="arabicPeriod"/>
            </a:pPr>
            <a:endParaRPr lang="en-US" sz="900" dirty="0">
              <a:solidFill>
                <a:schemeClr val="tx1"/>
              </a:solidFill>
              <a:latin typeface="+mn-lt"/>
            </a:endParaRPr>
          </a:p>
          <a:p>
            <a:pPr>
              <a:spcBef>
                <a:spcPts val="200"/>
              </a:spcBef>
              <a:spcAft>
                <a:spcPts val="200"/>
              </a:spcAft>
            </a:pPr>
            <a:r>
              <a:rPr lang="en-US" sz="900" b="1" dirty="0">
                <a:solidFill>
                  <a:schemeClr val="tx1"/>
                </a:solidFill>
                <a:latin typeface="+mn-lt"/>
              </a:rPr>
              <a:t>To fix this:</a:t>
            </a:r>
          </a:p>
          <a:p>
            <a:pPr marL="179388" indent="-179388">
              <a:spcBef>
                <a:spcPts val="200"/>
              </a:spcBef>
              <a:spcAft>
                <a:spcPts val="200"/>
              </a:spcAft>
              <a:buFont typeface="+mj-lt"/>
              <a:buAutoNum type="arabicPeriod"/>
            </a:pPr>
            <a:r>
              <a:rPr lang="en-US" sz="900" dirty="0">
                <a:solidFill>
                  <a:schemeClr val="tx1"/>
                </a:solidFill>
                <a:latin typeface="+mn-lt"/>
              </a:rPr>
              <a:t>Click on the image and from the top menu under </a:t>
            </a:r>
            <a:r>
              <a:rPr lang="en-US" sz="900" b="1" dirty="0">
                <a:solidFill>
                  <a:schemeClr val="tx1"/>
                </a:solidFill>
                <a:latin typeface="+mn-lt"/>
              </a:rPr>
              <a:t>PICTURE FORMAT </a:t>
            </a:r>
            <a:r>
              <a:rPr lang="en-US" sz="900" dirty="0">
                <a:solidFill>
                  <a:schemeClr val="tx1"/>
                </a:solidFill>
                <a:latin typeface="+mn-lt"/>
              </a:rPr>
              <a:t>select the </a:t>
            </a:r>
            <a:r>
              <a:rPr lang="en-US" sz="900" b="1" dirty="0">
                <a:solidFill>
                  <a:schemeClr val="tx1"/>
                </a:solidFill>
                <a:latin typeface="+mn-lt"/>
              </a:rPr>
              <a:t>CROP</a:t>
            </a:r>
            <a:r>
              <a:rPr lang="en-US" sz="900" dirty="0">
                <a:solidFill>
                  <a:schemeClr val="tx1"/>
                </a:solidFill>
                <a:latin typeface="+mn-lt"/>
              </a:rPr>
              <a:t> on the right and from the drop down menu select </a:t>
            </a:r>
            <a:r>
              <a:rPr lang="en-US" sz="900" b="1" kern="1200" dirty="0">
                <a:solidFill>
                  <a:schemeClr val="tx1"/>
                </a:solidFill>
                <a:latin typeface="+mn-lt"/>
                <a:ea typeface="+mn-ea"/>
                <a:cs typeface="+mn-cs"/>
              </a:rPr>
              <a:t>FILL</a:t>
            </a:r>
          </a:p>
          <a:p>
            <a:pPr marL="179388" indent="-179388">
              <a:spcBef>
                <a:spcPts val="200"/>
              </a:spcBef>
              <a:spcAft>
                <a:spcPts val="200"/>
              </a:spcAft>
              <a:buFont typeface="+mj-lt"/>
              <a:buAutoNum type="arabicPeriod"/>
            </a:pPr>
            <a:r>
              <a:rPr lang="en-US" sz="900" b="0" kern="1200" dirty="0">
                <a:solidFill>
                  <a:schemeClr val="tx1"/>
                </a:solidFill>
                <a:latin typeface="+mn-lt"/>
                <a:ea typeface="+mn-ea"/>
                <a:cs typeface="+mn-cs"/>
              </a:rPr>
              <a:t>From here you can move the image within the shape for best visual appearance</a:t>
            </a:r>
          </a:p>
        </p:txBody>
      </p:sp>
      <p:sp>
        <p:nvSpPr>
          <p:cNvPr id="9" name="Content Placeholder 2">
            <a:extLst>
              <a:ext uri="{FF2B5EF4-FFF2-40B4-BE49-F238E27FC236}">
                <a16:creationId xmlns:a16="http://schemas.microsoft.com/office/drawing/2014/main" id="{7984ED17-F93D-B353-1923-A8C66F3C7E40}"/>
              </a:ext>
            </a:extLst>
          </p:cNvPr>
          <p:cNvSpPr>
            <a:spLocks noGrp="1"/>
          </p:cNvSpPr>
          <p:nvPr>
            <p:ph idx="24" hasCustomPrompt="1"/>
          </p:nvPr>
        </p:nvSpPr>
        <p:spPr>
          <a:xfrm>
            <a:off x="4233333" y="1613017"/>
            <a:ext cx="3400425" cy="4606808"/>
          </a:xfrm>
        </p:spPr>
        <p:txBody>
          <a:bodyPr vert="horz" lIns="0" tIns="45720" rIns="0" bIns="4572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11" name="Title 10">
            <a:extLst>
              <a:ext uri="{FF2B5EF4-FFF2-40B4-BE49-F238E27FC236}">
                <a16:creationId xmlns:a16="http://schemas.microsoft.com/office/drawing/2014/main" id="{0E84146F-9D33-6497-CA74-8D097DEB0125}"/>
              </a:ext>
            </a:extLst>
          </p:cNvPr>
          <p:cNvSpPr>
            <a:spLocks noGrp="1"/>
          </p:cNvSpPr>
          <p:nvPr>
            <p:ph type="title" hasCustomPrompt="1"/>
          </p:nvPr>
        </p:nvSpPr>
        <p:spPr>
          <a:xfrm>
            <a:off x="508001" y="454014"/>
            <a:ext cx="7125758" cy="790868"/>
          </a:xfrm>
        </p:spPr>
        <p:txBody>
          <a:bodyPr/>
          <a:lstStyle/>
          <a:p>
            <a:r>
              <a:rPr lang="en-US" dirty="0"/>
              <a:t>TITLE: subtitle</a:t>
            </a:r>
            <a:endParaRPr lang="en-GB" dirty="0"/>
          </a:p>
        </p:txBody>
      </p:sp>
    </p:spTree>
    <p:extLst>
      <p:ext uri="{BB962C8B-B14F-4D97-AF65-F5344CB8AC3E}">
        <p14:creationId xmlns:p14="http://schemas.microsoft.com/office/powerpoint/2010/main" val="586524528"/>
      </p:ext>
    </p:extLst>
  </p:cSld>
  <p:clrMapOvr>
    <a:masterClrMapping/>
  </p:clrMapOvr>
  <p:transition spd="med">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 Column Case Study &amp; Image">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D2E13DD3-C80B-AC4C-39A4-528D2E52AF49}"/>
              </a:ext>
            </a:extLst>
          </p:cNvPr>
          <p:cNvSpPr>
            <a:spLocks noGrp="1"/>
          </p:cNvSpPr>
          <p:nvPr>
            <p:ph idx="25" hasCustomPrompt="1"/>
          </p:nvPr>
        </p:nvSpPr>
        <p:spPr>
          <a:xfrm>
            <a:off x="508000" y="1278467"/>
            <a:ext cx="7125757" cy="758614"/>
          </a:xfrm>
        </p:spPr>
        <p:txBody>
          <a:bodyPr vert="horz" lIns="0" tIns="45720" rIns="0" bIns="45720" numCol="1" spcCol="288000" rtlCol="0">
            <a:noAutofit/>
          </a:bodyPr>
          <a:lstStyle>
            <a:lvl1pPr>
              <a:lnSpc>
                <a:spcPct val="110000"/>
              </a:lnSpc>
              <a:defRPr lang="en-US" sz="2000" dirty="0" smtClean="0">
                <a:solidFill>
                  <a:schemeClr val="accent2"/>
                </a:solidFill>
              </a:defRPr>
            </a:lvl1pPr>
            <a:lvl2pPr>
              <a:defRPr lang="en-US" sz="1400" dirty="0">
                <a:solidFill>
                  <a:schemeClr val="tx2"/>
                </a:solidFill>
                <a:latin typeface="+mj-lt"/>
              </a:defRPr>
            </a:lvl2pPr>
            <a:lvl3pPr>
              <a:defRPr lang="en-US" dirty="0"/>
            </a:lvl3pPr>
            <a:lvl4pPr>
              <a:defRPr lang="en-US" dirty="0"/>
            </a:lvl4pPr>
            <a:lvl5pPr>
              <a:defRPr lang="en-US" dirty="0"/>
            </a:lvl5pPr>
          </a:lstStyle>
          <a:p>
            <a:pPr marL="0" marR="0" lvl="0" indent="0" algn="l" defTabSz="914400" rtl="0" eaLnBrk="1" fontAlgn="auto" latinLnBrk="0" hangingPunct="1">
              <a:lnSpc>
                <a:spcPct val="130000"/>
              </a:lnSpc>
              <a:spcBef>
                <a:spcPts val="300"/>
              </a:spcBef>
              <a:spcAft>
                <a:spcPts val="300"/>
              </a:spcAft>
              <a:buClrTx/>
              <a:buSzTx/>
              <a:buFont typeface="Arial" panose="020B0604020202020204" pitchFamily="34" charset="0"/>
              <a:buNone/>
              <a:tabLst/>
              <a:defRPr/>
            </a:pPr>
            <a:r>
              <a:rPr lang="en-US" dirty="0"/>
              <a:t>Intro paragraph text goes here</a:t>
            </a:r>
          </a:p>
        </p:txBody>
      </p:sp>
      <p:sp>
        <p:nvSpPr>
          <p:cNvPr id="2" name="Picture Placeholder 10">
            <a:extLst>
              <a:ext uri="{FF2B5EF4-FFF2-40B4-BE49-F238E27FC236}">
                <a16:creationId xmlns:a16="http://schemas.microsoft.com/office/drawing/2014/main" id="{D53D8445-8BD1-3C9C-D21A-2D350DF86AFF}"/>
              </a:ext>
            </a:extLst>
          </p:cNvPr>
          <p:cNvSpPr>
            <a:spLocks noGrp="1"/>
          </p:cNvSpPr>
          <p:nvPr>
            <p:ph type="pic" sz="quarter" idx="13" hasCustomPrompt="1"/>
          </p:nvPr>
        </p:nvSpPr>
        <p:spPr>
          <a:xfrm>
            <a:off x="8126412" y="0"/>
            <a:ext cx="4065587" cy="6858000"/>
          </a:xfrm>
          <a:solidFill>
            <a:schemeClr val="tx1"/>
          </a:solidFill>
        </p:spPr>
        <p:txBody>
          <a:bodyPr vert="horz" lIns="0" tIns="45720" rIns="0" bIns="45720" rtlCol="0" anchor="ctr">
            <a:normAutofit/>
          </a:bodyPr>
          <a:lstStyle>
            <a:lvl1pPr algn="ctr">
              <a:defRPr lang="en-GB" sz="2800" b="0" dirty="0">
                <a:solidFill>
                  <a:schemeClr val="bg1"/>
                </a:solidFill>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US" dirty="0"/>
              <a:t>ADD RELATED </a:t>
            </a:r>
            <a:br>
              <a:rPr lang="en-US" dirty="0"/>
            </a:br>
            <a:r>
              <a:rPr lang="en-US" dirty="0"/>
              <a:t>IMAGE </a:t>
            </a:r>
            <a:br>
              <a:rPr lang="en-US" dirty="0"/>
            </a:br>
            <a:r>
              <a:rPr lang="en-US" dirty="0"/>
              <a:t>FROM HFW </a:t>
            </a:r>
            <a:br>
              <a:rPr lang="en-US" dirty="0"/>
            </a:br>
            <a:r>
              <a:rPr lang="en-US" dirty="0"/>
              <a:t>IMAGE LIBRARY</a:t>
            </a:r>
          </a:p>
        </p:txBody>
      </p:sp>
      <p:sp>
        <p:nvSpPr>
          <p:cNvPr id="5" name="Footer Placeholder 4"/>
          <p:cNvSpPr>
            <a:spLocks noGrp="1"/>
          </p:cNvSpPr>
          <p:nvPr>
            <p:ph type="ftr" sz="quarter" idx="11"/>
          </p:nvPr>
        </p:nvSpPr>
        <p:spPr/>
        <p:txBody>
          <a:bodyPr/>
          <a:lstStyle/>
          <a:p>
            <a:r>
              <a:rPr lang="en-GB"/>
              <a:t>INSERT FOOTER HER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8CFE0557-AA98-4E6C-B0C3-581794696B68}" type="slidenum">
              <a:rPr lang="en-GB" smtClean="0"/>
              <a:pPr/>
              <a:t>‹#›</a:t>
            </a:fld>
            <a:endParaRPr lang="en-GB"/>
          </a:p>
        </p:txBody>
      </p:sp>
      <p:sp>
        <p:nvSpPr>
          <p:cNvPr id="12" name="Content Placeholder 2">
            <a:extLst>
              <a:ext uri="{FF2B5EF4-FFF2-40B4-BE49-F238E27FC236}">
                <a16:creationId xmlns:a16="http://schemas.microsoft.com/office/drawing/2014/main" id="{79AF8CE8-F801-FBFD-7F6F-0BE65F72C036}"/>
              </a:ext>
            </a:extLst>
          </p:cNvPr>
          <p:cNvSpPr>
            <a:spLocks noGrp="1"/>
          </p:cNvSpPr>
          <p:nvPr>
            <p:ph idx="16" hasCustomPrompt="1"/>
          </p:nvPr>
        </p:nvSpPr>
        <p:spPr>
          <a:xfrm>
            <a:off x="508000" y="2362201"/>
            <a:ext cx="3400425" cy="3857624"/>
          </a:xfrm>
        </p:spPr>
        <p:txBody>
          <a:bodyPr vert="horz" lIns="0" tIns="45720" rIns="0" bIns="4572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9" name="Content Placeholder 2">
            <a:extLst>
              <a:ext uri="{FF2B5EF4-FFF2-40B4-BE49-F238E27FC236}">
                <a16:creationId xmlns:a16="http://schemas.microsoft.com/office/drawing/2014/main" id="{7984ED17-F93D-B353-1923-A8C66F3C7E40}"/>
              </a:ext>
            </a:extLst>
          </p:cNvPr>
          <p:cNvSpPr>
            <a:spLocks noGrp="1"/>
          </p:cNvSpPr>
          <p:nvPr>
            <p:ph idx="24" hasCustomPrompt="1"/>
          </p:nvPr>
        </p:nvSpPr>
        <p:spPr>
          <a:xfrm>
            <a:off x="4233333" y="2362201"/>
            <a:ext cx="3400425" cy="3857624"/>
          </a:xfrm>
        </p:spPr>
        <p:txBody>
          <a:bodyPr vert="horz" lIns="0" tIns="45720" rIns="0" bIns="4572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14" name="Title 13">
            <a:extLst>
              <a:ext uri="{FF2B5EF4-FFF2-40B4-BE49-F238E27FC236}">
                <a16:creationId xmlns:a16="http://schemas.microsoft.com/office/drawing/2014/main" id="{B0F8216B-FC74-7405-979A-69470541923D}"/>
              </a:ext>
            </a:extLst>
          </p:cNvPr>
          <p:cNvSpPr>
            <a:spLocks noGrp="1"/>
          </p:cNvSpPr>
          <p:nvPr>
            <p:ph type="title" hasCustomPrompt="1"/>
          </p:nvPr>
        </p:nvSpPr>
        <p:spPr>
          <a:xfrm>
            <a:off x="508000" y="454013"/>
            <a:ext cx="7125757" cy="824453"/>
          </a:xfrm>
        </p:spPr>
        <p:txBody>
          <a:bodyPr/>
          <a:lstStyle/>
          <a:p>
            <a:r>
              <a:rPr lang="en-GB" dirty="0"/>
              <a:t>CASE STUDY: CLIENT NAME</a:t>
            </a:r>
          </a:p>
        </p:txBody>
      </p:sp>
      <p:sp>
        <p:nvSpPr>
          <p:cNvPr id="3" name="Content Placeholder 2">
            <a:extLst>
              <a:ext uri="{FF2B5EF4-FFF2-40B4-BE49-F238E27FC236}">
                <a16:creationId xmlns:a16="http://schemas.microsoft.com/office/drawing/2014/main" id="{FFEE1141-3055-31A6-39E0-48D76F2F5DCF}"/>
              </a:ext>
            </a:extLst>
          </p:cNvPr>
          <p:cNvSpPr>
            <a:spLocks noGrp="1"/>
          </p:cNvSpPr>
          <p:nvPr>
            <p:ph idx="1" hasCustomPrompt="1"/>
          </p:nvPr>
        </p:nvSpPr>
        <p:spPr>
          <a:xfrm>
            <a:off x="508000" y="2037081"/>
            <a:ext cx="7125757" cy="291662"/>
          </a:xfrm>
        </p:spPr>
        <p:txBody>
          <a:bodyPr vert="horz" lIns="0" tIns="45720" rIns="0" bIns="45720" numCol="1" spcCol="288000" rtlCol="0">
            <a:noAutofit/>
          </a:bodyPr>
          <a:lstStyle>
            <a:lvl1pPr>
              <a:defRPr lang="en-US" cap="all" baseline="0" dirty="0" smtClean="0"/>
            </a:lvl1pPr>
            <a:lvl2pPr>
              <a:defRPr lang="en-US" dirty="0"/>
            </a:lvl2pPr>
            <a:lvl3pPr>
              <a:defRPr lang="en-US" dirty="0"/>
            </a:lvl3pPr>
            <a:lvl4pPr>
              <a:defRPr lang="en-US" dirty="0"/>
            </a:lvl4pPr>
            <a:lvl5pPr>
              <a:defRPr lang="en-US" dirty="0"/>
            </a:lvl5pPr>
          </a:lstStyle>
          <a:p>
            <a:pPr lvl="0"/>
            <a:r>
              <a:rPr lang="en-US" dirty="0"/>
              <a:t>subhead</a:t>
            </a:r>
          </a:p>
        </p:txBody>
      </p:sp>
      <p:sp>
        <p:nvSpPr>
          <p:cNvPr id="4" name="Rectangle 3">
            <a:extLst>
              <a:ext uri="{FF2B5EF4-FFF2-40B4-BE49-F238E27FC236}">
                <a16:creationId xmlns:a16="http://schemas.microsoft.com/office/drawing/2014/main" id="{53D89625-F7F7-21FB-722F-99DD2732E1BB}"/>
              </a:ext>
            </a:extLst>
          </p:cNvPr>
          <p:cNvSpPr/>
          <p:nvPr userDrawn="1"/>
        </p:nvSpPr>
        <p:spPr>
          <a:xfrm>
            <a:off x="12352867" y="0"/>
            <a:ext cx="1947333" cy="201506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b="1" i="0" dirty="0">
                <a:solidFill>
                  <a:schemeClr val="bg1"/>
                </a:solidFill>
                <a:effectLst/>
                <a:latin typeface="+mn-lt"/>
                <a:ea typeface="Calibri" panose="020F0502020204030204" pitchFamily="34" charset="0"/>
              </a:rPr>
              <a:t>NOTE:</a:t>
            </a:r>
          </a:p>
          <a:p>
            <a:r>
              <a:rPr lang="en-GB" sz="1200" i="1" dirty="0">
                <a:solidFill>
                  <a:schemeClr val="bg1"/>
                </a:solidFill>
                <a:effectLst/>
                <a:latin typeface="+mn-lt"/>
                <a:ea typeface="Calibri" panose="020F0502020204030204" pitchFamily="34" charset="0"/>
              </a:rPr>
              <a:t>You may only include a client logo if the client has provided express written permission to use it, and has shared a logo file (jpeg or </a:t>
            </a:r>
            <a:r>
              <a:rPr lang="en-GB" sz="1200" i="1" dirty="0" err="1">
                <a:solidFill>
                  <a:schemeClr val="bg1"/>
                </a:solidFill>
                <a:effectLst/>
                <a:latin typeface="+mn-lt"/>
                <a:ea typeface="Calibri" panose="020F0502020204030204" pitchFamily="34" charset="0"/>
              </a:rPr>
              <a:t>png</a:t>
            </a:r>
            <a:r>
              <a:rPr lang="en-GB" sz="1200" i="1" dirty="0">
                <a:solidFill>
                  <a:schemeClr val="bg1"/>
                </a:solidFill>
                <a:effectLst/>
                <a:latin typeface="+mn-lt"/>
                <a:ea typeface="Calibri" panose="020F0502020204030204" pitchFamily="34" charset="0"/>
              </a:rPr>
              <a:t>) for your use.</a:t>
            </a:r>
            <a:endParaRPr lang="en-GB" sz="1200" dirty="0">
              <a:solidFill>
                <a:schemeClr val="bg1"/>
              </a:solidFill>
              <a:effectLst/>
              <a:latin typeface="+mn-lt"/>
              <a:ea typeface="Calibri" panose="020F0502020204030204" pitchFamily="34" charset="0"/>
            </a:endParaRPr>
          </a:p>
        </p:txBody>
      </p:sp>
      <p:sp>
        <p:nvSpPr>
          <p:cNvPr id="8" name="TextBox 4">
            <a:extLst>
              <a:ext uri="{FF2B5EF4-FFF2-40B4-BE49-F238E27FC236}">
                <a16:creationId xmlns:a16="http://schemas.microsoft.com/office/drawing/2014/main" id="{68955A82-9F6C-4161-D939-1363C6826998}"/>
              </a:ext>
            </a:extLst>
          </p:cNvPr>
          <p:cNvSpPr txBox="1"/>
          <p:nvPr userDrawn="1"/>
        </p:nvSpPr>
        <p:spPr>
          <a:xfrm>
            <a:off x="12346713" y="2175601"/>
            <a:ext cx="1934437" cy="31700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INSERTING IMAGES:</a:t>
            </a:r>
          </a:p>
          <a:p>
            <a:pPr marL="179388" indent="-179388">
              <a:spcBef>
                <a:spcPts val="200"/>
              </a:spcBef>
              <a:spcAft>
                <a:spcPts val="200"/>
              </a:spcAft>
              <a:buFont typeface="+mj-lt"/>
              <a:buAutoNum type="arabicPeriod"/>
            </a:pPr>
            <a:r>
              <a:rPr lang="en-US" sz="900" dirty="0">
                <a:solidFill>
                  <a:schemeClr val="tx1"/>
                </a:solidFill>
                <a:latin typeface="+mn-lt"/>
              </a:rPr>
              <a:t>Simply click the image placeholder and select your image.</a:t>
            </a:r>
          </a:p>
          <a:p>
            <a:pPr marL="179388" indent="-179388">
              <a:spcBef>
                <a:spcPts val="200"/>
              </a:spcBef>
              <a:spcAft>
                <a:spcPts val="200"/>
              </a:spcAft>
              <a:buFont typeface="+mj-lt"/>
              <a:buAutoNum type="arabicPeriod"/>
            </a:pPr>
            <a:r>
              <a:rPr lang="en-US" sz="900" dirty="0">
                <a:solidFill>
                  <a:schemeClr val="tx1"/>
                </a:solidFill>
                <a:latin typeface="+mn-lt"/>
              </a:rPr>
              <a:t>Once your image is inserted into the shape it may be distorted. (Stretched or Squashed)</a:t>
            </a:r>
          </a:p>
          <a:p>
            <a:pPr marL="179388" indent="-179388">
              <a:spcBef>
                <a:spcPts val="200"/>
              </a:spcBef>
              <a:spcAft>
                <a:spcPts val="200"/>
              </a:spcAft>
              <a:buFont typeface="+mj-lt"/>
              <a:buAutoNum type="arabicPeriod"/>
            </a:pPr>
            <a:endParaRPr lang="en-US" sz="900" dirty="0">
              <a:solidFill>
                <a:schemeClr val="tx1"/>
              </a:solidFill>
              <a:latin typeface="+mn-lt"/>
            </a:endParaRPr>
          </a:p>
          <a:p>
            <a:pPr>
              <a:spcBef>
                <a:spcPts val="200"/>
              </a:spcBef>
              <a:spcAft>
                <a:spcPts val="200"/>
              </a:spcAft>
            </a:pPr>
            <a:r>
              <a:rPr lang="en-US" sz="900" b="1" dirty="0">
                <a:solidFill>
                  <a:schemeClr val="tx1"/>
                </a:solidFill>
                <a:latin typeface="+mn-lt"/>
              </a:rPr>
              <a:t>To fix this:</a:t>
            </a:r>
          </a:p>
          <a:p>
            <a:pPr marL="179388" indent="-179388">
              <a:spcBef>
                <a:spcPts val="200"/>
              </a:spcBef>
              <a:spcAft>
                <a:spcPts val="200"/>
              </a:spcAft>
              <a:buFont typeface="+mj-lt"/>
              <a:buAutoNum type="arabicPeriod"/>
            </a:pPr>
            <a:r>
              <a:rPr lang="en-US" sz="900" dirty="0">
                <a:solidFill>
                  <a:schemeClr val="tx1"/>
                </a:solidFill>
                <a:latin typeface="+mn-lt"/>
              </a:rPr>
              <a:t>Click on the image and from the top menu under </a:t>
            </a:r>
            <a:r>
              <a:rPr lang="en-US" sz="900" b="1" dirty="0">
                <a:solidFill>
                  <a:schemeClr val="tx1"/>
                </a:solidFill>
                <a:latin typeface="+mn-lt"/>
              </a:rPr>
              <a:t>PICTURE FORMAT </a:t>
            </a:r>
            <a:r>
              <a:rPr lang="en-US" sz="900" dirty="0">
                <a:solidFill>
                  <a:schemeClr val="tx1"/>
                </a:solidFill>
                <a:latin typeface="+mn-lt"/>
              </a:rPr>
              <a:t>select the </a:t>
            </a:r>
            <a:r>
              <a:rPr lang="en-US" sz="900" b="1" dirty="0">
                <a:solidFill>
                  <a:schemeClr val="tx1"/>
                </a:solidFill>
                <a:latin typeface="+mn-lt"/>
              </a:rPr>
              <a:t>CROP</a:t>
            </a:r>
            <a:r>
              <a:rPr lang="en-US" sz="900" dirty="0">
                <a:solidFill>
                  <a:schemeClr val="tx1"/>
                </a:solidFill>
                <a:latin typeface="+mn-lt"/>
              </a:rPr>
              <a:t> on the right and from the drop down menu select </a:t>
            </a:r>
            <a:r>
              <a:rPr lang="en-US" sz="900" b="1" kern="1200" dirty="0">
                <a:solidFill>
                  <a:schemeClr val="tx1"/>
                </a:solidFill>
                <a:latin typeface="+mn-lt"/>
                <a:ea typeface="+mn-ea"/>
                <a:cs typeface="+mn-cs"/>
              </a:rPr>
              <a:t>FILL</a:t>
            </a:r>
          </a:p>
          <a:p>
            <a:pPr marL="179388" indent="-179388">
              <a:spcBef>
                <a:spcPts val="200"/>
              </a:spcBef>
              <a:spcAft>
                <a:spcPts val="200"/>
              </a:spcAft>
              <a:buFont typeface="+mj-lt"/>
              <a:buAutoNum type="arabicPeriod"/>
            </a:pPr>
            <a:r>
              <a:rPr lang="en-US" sz="900" b="0" kern="1200" dirty="0">
                <a:solidFill>
                  <a:schemeClr val="tx1"/>
                </a:solidFill>
                <a:latin typeface="+mn-lt"/>
                <a:ea typeface="+mn-ea"/>
                <a:cs typeface="+mn-cs"/>
              </a:rPr>
              <a:t>From here you can move the image within the shape for best visual appearance</a:t>
            </a:r>
          </a:p>
        </p:txBody>
      </p:sp>
    </p:spTree>
    <p:extLst>
      <p:ext uri="{BB962C8B-B14F-4D97-AF65-F5344CB8AC3E}">
        <p14:creationId xmlns:p14="http://schemas.microsoft.com/office/powerpoint/2010/main" val="2226279654"/>
      </p:ext>
    </p:extLst>
  </p:cSld>
  <p:clrMapOvr>
    <a:masterClrMapping/>
  </p:clrMapOvr>
  <p:transition spd="med">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 Column Case Study">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r>
              <a:rPr lang="en-GB"/>
              <a:t>INSERT FOOTER HERE</a:t>
            </a:r>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8CFE0557-AA98-4E6C-B0C3-581794696B68}" type="slidenum">
              <a:rPr lang="en-GB" smtClean="0"/>
              <a:pPr/>
              <a:t>‹#›</a:t>
            </a:fld>
            <a:endParaRPr lang="en-GB"/>
          </a:p>
        </p:txBody>
      </p:sp>
      <p:sp>
        <p:nvSpPr>
          <p:cNvPr id="12" name="Content Placeholder 2">
            <a:extLst>
              <a:ext uri="{FF2B5EF4-FFF2-40B4-BE49-F238E27FC236}">
                <a16:creationId xmlns:a16="http://schemas.microsoft.com/office/drawing/2014/main" id="{79AF8CE8-F801-FBFD-7F6F-0BE65F72C036}"/>
              </a:ext>
            </a:extLst>
          </p:cNvPr>
          <p:cNvSpPr>
            <a:spLocks noGrp="1"/>
          </p:cNvSpPr>
          <p:nvPr>
            <p:ph idx="16" hasCustomPrompt="1"/>
          </p:nvPr>
        </p:nvSpPr>
        <p:spPr>
          <a:xfrm>
            <a:off x="508000" y="2362201"/>
            <a:ext cx="3400425" cy="3857624"/>
          </a:xfrm>
        </p:spPr>
        <p:txBody>
          <a:bodyPr vert="horz" lIns="0" tIns="45720" rIns="0" bIns="4572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9" name="Content Placeholder 2">
            <a:extLst>
              <a:ext uri="{FF2B5EF4-FFF2-40B4-BE49-F238E27FC236}">
                <a16:creationId xmlns:a16="http://schemas.microsoft.com/office/drawing/2014/main" id="{7984ED17-F93D-B353-1923-A8C66F3C7E40}"/>
              </a:ext>
            </a:extLst>
          </p:cNvPr>
          <p:cNvSpPr>
            <a:spLocks noGrp="1"/>
          </p:cNvSpPr>
          <p:nvPr>
            <p:ph idx="24" hasCustomPrompt="1"/>
          </p:nvPr>
        </p:nvSpPr>
        <p:spPr>
          <a:xfrm>
            <a:off x="4233333" y="2362201"/>
            <a:ext cx="3734330" cy="3857624"/>
          </a:xfrm>
        </p:spPr>
        <p:txBody>
          <a:bodyPr vert="horz" lIns="0" tIns="45720" rIns="0" bIns="4572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3" name="Content Placeholder 2">
            <a:extLst>
              <a:ext uri="{FF2B5EF4-FFF2-40B4-BE49-F238E27FC236}">
                <a16:creationId xmlns:a16="http://schemas.microsoft.com/office/drawing/2014/main" id="{590E5256-017F-7BF4-B2B4-030AB9601D4D}"/>
              </a:ext>
            </a:extLst>
          </p:cNvPr>
          <p:cNvSpPr>
            <a:spLocks noGrp="1"/>
          </p:cNvSpPr>
          <p:nvPr>
            <p:ph idx="26" hasCustomPrompt="1"/>
          </p:nvPr>
        </p:nvSpPr>
        <p:spPr>
          <a:xfrm>
            <a:off x="8280400" y="2362201"/>
            <a:ext cx="3400425" cy="3857624"/>
          </a:xfrm>
        </p:spPr>
        <p:txBody>
          <a:bodyPr vert="horz" lIns="0" tIns="45720" rIns="0" bIns="4572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4" name="Title 3">
            <a:extLst>
              <a:ext uri="{FF2B5EF4-FFF2-40B4-BE49-F238E27FC236}">
                <a16:creationId xmlns:a16="http://schemas.microsoft.com/office/drawing/2014/main" id="{71818607-C6C5-1C56-C74F-B905FAA1B40B}"/>
              </a:ext>
            </a:extLst>
          </p:cNvPr>
          <p:cNvSpPr>
            <a:spLocks noGrp="1"/>
          </p:cNvSpPr>
          <p:nvPr>
            <p:ph type="title" hasCustomPrompt="1"/>
          </p:nvPr>
        </p:nvSpPr>
        <p:spPr>
          <a:xfrm>
            <a:off x="508000" y="454013"/>
            <a:ext cx="11172825" cy="824453"/>
          </a:xfrm>
        </p:spPr>
        <p:txBody>
          <a:bodyPr/>
          <a:lstStyle/>
          <a:p>
            <a:r>
              <a:rPr lang="en-GB" dirty="0"/>
              <a:t>CASE STUDY: CLIENT NAME</a:t>
            </a:r>
          </a:p>
        </p:txBody>
      </p:sp>
      <p:sp>
        <p:nvSpPr>
          <p:cNvPr id="2" name="Content Placeholder 2">
            <a:extLst>
              <a:ext uri="{FF2B5EF4-FFF2-40B4-BE49-F238E27FC236}">
                <a16:creationId xmlns:a16="http://schemas.microsoft.com/office/drawing/2014/main" id="{5BC42152-94B2-E331-F6B7-CC99A6B7282A}"/>
              </a:ext>
            </a:extLst>
          </p:cNvPr>
          <p:cNvSpPr>
            <a:spLocks noGrp="1"/>
          </p:cNvSpPr>
          <p:nvPr>
            <p:ph idx="25" hasCustomPrompt="1"/>
          </p:nvPr>
        </p:nvSpPr>
        <p:spPr>
          <a:xfrm>
            <a:off x="508000" y="1278467"/>
            <a:ext cx="11174413" cy="758614"/>
          </a:xfrm>
        </p:spPr>
        <p:txBody>
          <a:bodyPr vert="horz" lIns="0" tIns="45720" rIns="0" bIns="45720" numCol="1" spcCol="288000" rtlCol="0">
            <a:noAutofit/>
          </a:bodyPr>
          <a:lstStyle>
            <a:lvl1pPr>
              <a:lnSpc>
                <a:spcPct val="110000"/>
              </a:lnSpc>
              <a:defRPr lang="en-US" sz="2000" dirty="0" smtClean="0">
                <a:solidFill>
                  <a:schemeClr val="accent2"/>
                </a:solidFill>
              </a:defRPr>
            </a:lvl1pPr>
            <a:lvl2pPr>
              <a:defRPr lang="en-US" sz="1400" dirty="0">
                <a:solidFill>
                  <a:schemeClr val="tx2"/>
                </a:solidFill>
                <a:latin typeface="+mj-lt"/>
              </a:defRPr>
            </a:lvl2pPr>
            <a:lvl3pPr>
              <a:defRPr lang="en-US" dirty="0"/>
            </a:lvl3pPr>
            <a:lvl4pPr>
              <a:defRPr lang="en-US" dirty="0"/>
            </a:lvl4pPr>
            <a:lvl5pPr>
              <a:defRPr lang="en-US" dirty="0"/>
            </a:lvl5pPr>
          </a:lstStyle>
          <a:p>
            <a:pPr marL="0" marR="0" lvl="0" indent="0" algn="l" defTabSz="914400" rtl="0" eaLnBrk="1" fontAlgn="auto" latinLnBrk="0" hangingPunct="1">
              <a:lnSpc>
                <a:spcPct val="130000"/>
              </a:lnSpc>
              <a:spcBef>
                <a:spcPts val="300"/>
              </a:spcBef>
              <a:spcAft>
                <a:spcPts val="300"/>
              </a:spcAft>
              <a:buClrTx/>
              <a:buSzTx/>
              <a:buFont typeface="Arial" panose="020B0604020202020204" pitchFamily="34" charset="0"/>
              <a:buNone/>
              <a:tabLst/>
              <a:defRPr/>
            </a:pPr>
            <a:r>
              <a:rPr lang="en-US" dirty="0"/>
              <a:t>Intro paragraph text goes here</a:t>
            </a:r>
          </a:p>
        </p:txBody>
      </p:sp>
      <p:sp>
        <p:nvSpPr>
          <p:cNvPr id="7" name="Content Placeholder 2">
            <a:extLst>
              <a:ext uri="{FF2B5EF4-FFF2-40B4-BE49-F238E27FC236}">
                <a16:creationId xmlns:a16="http://schemas.microsoft.com/office/drawing/2014/main" id="{E2A5140D-BEB3-7F54-3199-65AFC008010D}"/>
              </a:ext>
            </a:extLst>
          </p:cNvPr>
          <p:cNvSpPr>
            <a:spLocks noGrp="1"/>
          </p:cNvSpPr>
          <p:nvPr>
            <p:ph idx="1" hasCustomPrompt="1"/>
          </p:nvPr>
        </p:nvSpPr>
        <p:spPr>
          <a:xfrm>
            <a:off x="508000" y="2037081"/>
            <a:ext cx="11174413" cy="291662"/>
          </a:xfrm>
        </p:spPr>
        <p:txBody>
          <a:bodyPr vert="horz" lIns="0" tIns="45720" rIns="0" bIns="45720" numCol="1" spcCol="288000" rtlCol="0">
            <a:noAutofit/>
          </a:bodyPr>
          <a:lstStyle>
            <a:lvl1pPr>
              <a:defRPr lang="en-US" cap="all" baseline="0" dirty="0" smtClean="0"/>
            </a:lvl1pPr>
            <a:lvl2pPr>
              <a:defRPr lang="en-US" dirty="0"/>
            </a:lvl2pPr>
            <a:lvl3pPr>
              <a:defRPr lang="en-US" dirty="0"/>
            </a:lvl3pPr>
            <a:lvl4pPr>
              <a:defRPr lang="en-US" dirty="0"/>
            </a:lvl4pPr>
            <a:lvl5pPr>
              <a:defRPr lang="en-US" dirty="0"/>
            </a:lvl5pPr>
          </a:lstStyle>
          <a:p>
            <a:pPr lvl="0"/>
            <a:r>
              <a:rPr lang="en-US" dirty="0"/>
              <a:t>subhead</a:t>
            </a:r>
          </a:p>
        </p:txBody>
      </p:sp>
      <p:sp>
        <p:nvSpPr>
          <p:cNvPr id="8" name="Rectangle 7">
            <a:extLst>
              <a:ext uri="{FF2B5EF4-FFF2-40B4-BE49-F238E27FC236}">
                <a16:creationId xmlns:a16="http://schemas.microsoft.com/office/drawing/2014/main" id="{89A4295F-78A3-FA0A-3626-1A0BF9DB5793}"/>
              </a:ext>
            </a:extLst>
          </p:cNvPr>
          <p:cNvSpPr/>
          <p:nvPr userDrawn="1"/>
        </p:nvSpPr>
        <p:spPr>
          <a:xfrm>
            <a:off x="12352867" y="0"/>
            <a:ext cx="1947333" cy="201506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b="1" i="0" dirty="0">
                <a:solidFill>
                  <a:schemeClr val="bg1"/>
                </a:solidFill>
                <a:effectLst/>
                <a:latin typeface="+mn-lt"/>
                <a:ea typeface="Calibri" panose="020F0502020204030204" pitchFamily="34" charset="0"/>
              </a:rPr>
              <a:t>NOTE:</a:t>
            </a:r>
          </a:p>
          <a:p>
            <a:r>
              <a:rPr lang="en-GB" sz="1200" i="1" dirty="0">
                <a:solidFill>
                  <a:schemeClr val="bg1"/>
                </a:solidFill>
                <a:effectLst/>
                <a:latin typeface="+mn-lt"/>
                <a:ea typeface="Calibri" panose="020F0502020204030204" pitchFamily="34" charset="0"/>
              </a:rPr>
              <a:t>You may only include a client logo if the client has provided express written permission to use it, and has shared a logo file (jpeg or </a:t>
            </a:r>
            <a:r>
              <a:rPr lang="en-GB" sz="1200" i="1" dirty="0" err="1">
                <a:solidFill>
                  <a:schemeClr val="bg1"/>
                </a:solidFill>
                <a:effectLst/>
                <a:latin typeface="+mn-lt"/>
                <a:ea typeface="Calibri" panose="020F0502020204030204" pitchFamily="34" charset="0"/>
              </a:rPr>
              <a:t>png</a:t>
            </a:r>
            <a:r>
              <a:rPr lang="en-GB" sz="1200" i="1" dirty="0">
                <a:solidFill>
                  <a:schemeClr val="bg1"/>
                </a:solidFill>
                <a:effectLst/>
                <a:latin typeface="+mn-lt"/>
                <a:ea typeface="Calibri" panose="020F0502020204030204" pitchFamily="34" charset="0"/>
              </a:rPr>
              <a:t>) for your use.</a:t>
            </a:r>
            <a:endParaRPr lang="en-GB" sz="1200" dirty="0">
              <a:solidFill>
                <a:schemeClr val="bg1"/>
              </a:solidFill>
              <a:effectLst/>
              <a:latin typeface="+mn-lt"/>
              <a:ea typeface="Calibri" panose="020F0502020204030204" pitchFamily="34" charset="0"/>
            </a:endParaRPr>
          </a:p>
        </p:txBody>
      </p:sp>
      <p:sp>
        <p:nvSpPr>
          <p:cNvPr id="10" name="TextBox 4">
            <a:extLst>
              <a:ext uri="{FF2B5EF4-FFF2-40B4-BE49-F238E27FC236}">
                <a16:creationId xmlns:a16="http://schemas.microsoft.com/office/drawing/2014/main" id="{30BF520F-22FB-8BDE-A442-99CE5E5D9D5A}"/>
              </a:ext>
            </a:extLst>
          </p:cNvPr>
          <p:cNvSpPr txBox="1"/>
          <p:nvPr userDrawn="1"/>
        </p:nvSpPr>
        <p:spPr>
          <a:xfrm>
            <a:off x="12346713" y="2175601"/>
            <a:ext cx="1934437" cy="31700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INSERTING IMAGES:</a:t>
            </a:r>
          </a:p>
          <a:p>
            <a:pPr marL="179388" indent="-179388">
              <a:spcBef>
                <a:spcPts val="200"/>
              </a:spcBef>
              <a:spcAft>
                <a:spcPts val="200"/>
              </a:spcAft>
              <a:buFont typeface="+mj-lt"/>
              <a:buAutoNum type="arabicPeriod"/>
            </a:pPr>
            <a:r>
              <a:rPr lang="en-US" sz="900" dirty="0">
                <a:solidFill>
                  <a:schemeClr val="tx1"/>
                </a:solidFill>
                <a:latin typeface="+mn-lt"/>
              </a:rPr>
              <a:t>Simply click the image placeholder and select your image.</a:t>
            </a:r>
          </a:p>
          <a:p>
            <a:pPr marL="179388" indent="-179388">
              <a:spcBef>
                <a:spcPts val="200"/>
              </a:spcBef>
              <a:spcAft>
                <a:spcPts val="200"/>
              </a:spcAft>
              <a:buFont typeface="+mj-lt"/>
              <a:buAutoNum type="arabicPeriod"/>
            </a:pPr>
            <a:r>
              <a:rPr lang="en-US" sz="900" dirty="0">
                <a:solidFill>
                  <a:schemeClr val="tx1"/>
                </a:solidFill>
                <a:latin typeface="+mn-lt"/>
              </a:rPr>
              <a:t>Once your image is inserted into the shape it may be distorted. (Stretched or Squashed)</a:t>
            </a:r>
          </a:p>
          <a:p>
            <a:pPr marL="179388" indent="-179388">
              <a:spcBef>
                <a:spcPts val="200"/>
              </a:spcBef>
              <a:spcAft>
                <a:spcPts val="200"/>
              </a:spcAft>
              <a:buFont typeface="+mj-lt"/>
              <a:buAutoNum type="arabicPeriod"/>
            </a:pPr>
            <a:endParaRPr lang="en-US" sz="900" dirty="0">
              <a:solidFill>
                <a:schemeClr val="tx1"/>
              </a:solidFill>
              <a:latin typeface="+mn-lt"/>
            </a:endParaRPr>
          </a:p>
          <a:p>
            <a:pPr>
              <a:spcBef>
                <a:spcPts val="200"/>
              </a:spcBef>
              <a:spcAft>
                <a:spcPts val="200"/>
              </a:spcAft>
            </a:pPr>
            <a:r>
              <a:rPr lang="en-US" sz="900" b="1" dirty="0">
                <a:solidFill>
                  <a:schemeClr val="tx1"/>
                </a:solidFill>
                <a:latin typeface="+mn-lt"/>
              </a:rPr>
              <a:t>To fix this:</a:t>
            </a:r>
          </a:p>
          <a:p>
            <a:pPr marL="179388" indent="-179388">
              <a:spcBef>
                <a:spcPts val="200"/>
              </a:spcBef>
              <a:spcAft>
                <a:spcPts val="200"/>
              </a:spcAft>
              <a:buFont typeface="+mj-lt"/>
              <a:buAutoNum type="arabicPeriod"/>
            </a:pPr>
            <a:r>
              <a:rPr lang="en-US" sz="900" dirty="0">
                <a:solidFill>
                  <a:schemeClr val="tx1"/>
                </a:solidFill>
                <a:latin typeface="+mn-lt"/>
              </a:rPr>
              <a:t>Click on the image and from the top menu under </a:t>
            </a:r>
            <a:r>
              <a:rPr lang="en-US" sz="900" b="1" dirty="0">
                <a:solidFill>
                  <a:schemeClr val="tx1"/>
                </a:solidFill>
                <a:latin typeface="+mn-lt"/>
              </a:rPr>
              <a:t>PICTURE FORMAT </a:t>
            </a:r>
            <a:r>
              <a:rPr lang="en-US" sz="900" dirty="0">
                <a:solidFill>
                  <a:schemeClr val="tx1"/>
                </a:solidFill>
                <a:latin typeface="+mn-lt"/>
              </a:rPr>
              <a:t>select the </a:t>
            </a:r>
            <a:r>
              <a:rPr lang="en-US" sz="900" b="1" dirty="0">
                <a:solidFill>
                  <a:schemeClr val="tx1"/>
                </a:solidFill>
                <a:latin typeface="+mn-lt"/>
              </a:rPr>
              <a:t>CROP</a:t>
            </a:r>
            <a:r>
              <a:rPr lang="en-US" sz="900" dirty="0">
                <a:solidFill>
                  <a:schemeClr val="tx1"/>
                </a:solidFill>
                <a:latin typeface="+mn-lt"/>
              </a:rPr>
              <a:t> on the right and from the drop down menu select </a:t>
            </a:r>
            <a:r>
              <a:rPr lang="en-US" sz="900" b="1" kern="1200" dirty="0">
                <a:solidFill>
                  <a:schemeClr val="tx1"/>
                </a:solidFill>
                <a:latin typeface="+mn-lt"/>
                <a:ea typeface="+mn-ea"/>
                <a:cs typeface="+mn-cs"/>
              </a:rPr>
              <a:t>FILL</a:t>
            </a:r>
          </a:p>
          <a:p>
            <a:pPr marL="179388" indent="-179388">
              <a:spcBef>
                <a:spcPts val="200"/>
              </a:spcBef>
              <a:spcAft>
                <a:spcPts val="200"/>
              </a:spcAft>
              <a:buFont typeface="+mj-lt"/>
              <a:buAutoNum type="arabicPeriod"/>
            </a:pPr>
            <a:r>
              <a:rPr lang="en-US" sz="900" b="0" kern="1200" dirty="0">
                <a:solidFill>
                  <a:schemeClr val="tx1"/>
                </a:solidFill>
                <a:latin typeface="+mn-lt"/>
                <a:ea typeface="+mn-ea"/>
                <a:cs typeface="+mn-cs"/>
              </a:rPr>
              <a:t>From here you can move the image within the shape for best visual appearance</a:t>
            </a:r>
          </a:p>
        </p:txBody>
      </p:sp>
    </p:spTree>
    <p:extLst>
      <p:ext uri="{BB962C8B-B14F-4D97-AF65-F5344CB8AC3E}">
        <p14:creationId xmlns:p14="http://schemas.microsoft.com/office/powerpoint/2010/main" val="1177038324"/>
      </p:ext>
    </p:extLst>
  </p:cSld>
  <p:clrMapOvr>
    <a:masterClrMapping/>
  </p:clrMapOvr>
  <p:transition spd="med">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ntent &amp; Image AEROSPAC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261A4C7-E98D-3660-5C37-C13B3A230A80}"/>
              </a:ext>
            </a:extLst>
          </p:cNvPr>
          <p:cNvSpPr/>
          <p:nvPr userDrawn="1"/>
        </p:nvSpPr>
        <p:spPr>
          <a:xfrm>
            <a:off x="8126413" y="0"/>
            <a:ext cx="40655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Footer Placeholder 4"/>
          <p:cNvSpPr>
            <a:spLocks noGrp="1"/>
          </p:cNvSpPr>
          <p:nvPr>
            <p:ph type="ftr" sz="quarter" idx="11"/>
          </p:nvPr>
        </p:nvSpPr>
        <p:spPr/>
        <p:txBody>
          <a:bodyPr/>
          <a:lstStyle/>
          <a:p>
            <a:r>
              <a:rPr lang="en-GB"/>
              <a:t>INSERT FOOTER HER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8CFE0557-AA98-4E6C-B0C3-581794696B68}" type="slidenum">
              <a:rPr lang="en-GB" smtClean="0"/>
              <a:pPr/>
              <a:t>‹#›</a:t>
            </a:fld>
            <a:endParaRPr lang="en-GB"/>
          </a:p>
        </p:txBody>
      </p:sp>
      <p:sp>
        <p:nvSpPr>
          <p:cNvPr id="10" name="Content Placeholder 2">
            <a:extLst>
              <a:ext uri="{FF2B5EF4-FFF2-40B4-BE49-F238E27FC236}">
                <a16:creationId xmlns:a16="http://schemas.microsoft.com/office/drawing/2014/main" id="{182B4A0E-C187-E12F-BB7B-7E465EDEEA4C}"/>
              </a:ext>
            </a:extLst>
          </p:cNvPr>
          <p:cNvSpPr>
            <a:spLocks noGrp="1"/>
          </p:cNvSpPr>
          <p:nvPr>
            <p:ph idx="1" hasCustomPrompt="1"/>
          </p:nvPr>
        </p:nvSpPr>
        <p:spPr>
          <a:xfrm>
            <a:off x="508000" y="1244882"/>
            <a:ext cx="7142820" cy="291662"/>
          </a:xfrm>
        </p:spPr>
        <p:txBody>
          <a:bodyPr vert="horz" lIns="0" tIns="45720" rIns="0" bIns="45720" numCol="1" spcCol="288000" rtlCol="0">
            <a:noAutofit/>
          </a:bodyPr>
          <a:lstStyle>
            <a:lvl1pPr>
              <a:defRPr lang="en-US" cap="all" baseline="0" dirty="0" smtClean="0"/>
            </a:lvl1pPr>
            <a:lvl2pPr>
              <a:defRPr lang="en-US" dirty="0"/>
            </a:lvl2pPr>
            <a:lvl3pPr>
              <a:defRPr lang="en-US" dirty="0"/>
            </a:lvl3pPr>
            <a:lvl4pPr>
              <a:defRPr lang="en-US" dirty="0"/>
            </a:lvl4pPr>
            <a:lvl5pPr>
              <a:defRPr lang="en-US" dirty="0"/>
            </a:lvl5pPr>
          </a:lstStyle>
          <a:p>
            <a:pPr lvl="0"/>
            <a:r>
              <a:rPr lang="en-US" dirty="0"/>
              <a:t>subhead</a:t>
            </a:r>
          </a:p>
        </p:txBody>
      </p:sp>
      <p:sp>
        <p:nvSpPr>
          <p:cNvPr id="12" name="Content Placeholder 2">
            <a:extLst>
              <a:ext uri="{FF2B5EF4-FFF2-40B4-BE49-F238E27FC236}">
                <a16:creationId xmlns:a16="http://schemas.microsoft.com/office/drawing/2014/main" id="{79AF8CE8-F801-FBFD-7F6F-0BE65F72C036}"/>
              </a:ext>
            </a:extLst>
          </p:cNvPr>
          <p:cNvSpPr>
            <a:spLocks noGrp="1"/>
          </p:cNvSpPr>
          <p:nvPr>
            <p:ph idx="16" hasCustomPrompt="1"/>
          </p:nvPr>
        </p:nvSpPr>
        <p:spPr>
          <a:xfrm>
            <a:off x="508000" y="1613017"/>
            <a:ext cx="3400425" cy="4606808"/>
          </a:xfrm>
        </p:spPr>
        <p:txBody>
          <a:bodyPr vert="horz" lIns="0" tIns="45720" rIns="0" bIns="4572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7" name="TextBox 4">
            <a:extLst>
              <a:ext uri="{FF2B5EF4-FFF2-40B4-BE49-F238E27FC236}">
                <a16:creationId xmlns:a16="http://schemas.microsoft.com/office/drawing/2014/main" id="{ECC1AF18-C7ED-CAA0-D1D3-14DEFC5E2590}"/>
              </a:ext>
            </a:extLst>
          </p:cNvPr>
          <p:cNvSpPr txBox="1"/>
          <p:nvPr userDrawn="1"/>
        </p:nvSpPr>
        <p:spPr>
          <a:xfrm>
            <a:off x="12346713" y="109538"/>
            <a:ext cx="1934437" cy="31700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INSERTING IMAGES:</a:t>
            </a:r>
          </a:p>
          <a:p>
            <a:pPr marL="179388" indent="-179388">
              <a:spcBef>
                <a:spcPts val="200"/>
              </a:spcBef>
              <a:spcAft>
                <a:spcPts val="200"/>
              </a:spcAft>
              <a:buFont typeface="+mj-lt"/>
              <a:buAutoNum type="arabicPeriod"/>
            </a:pPr>
            <a:r>
              <a:rPr lang="en-US" sz="900" dirty="0">
                <a:solidFill>
                  <a:schemeClr val="tx1"/>
                </a:solidFill>
                <a:latin typeface="+mn-lt"/>
              </a:rPr>
              <a:t>Simply click the image placeholder and select your image.</a:t>
            </a:r>
          </a:p>
          <a:p>
            <a:pPr marL="179388" indent="-179388">
              <a:spcBef>
                <a:spcPts val="200"/>
              </a:spcBef>
              <a:spcAft>
                <a:spcPts val="200"/>
              </a:spcAft>
              <a:buFont typeface="+mj-lt"/>
              <a:buAutoNum type="arabicPeriod"/>
            </a:pPr>
            <a:r>
              <a:rPr lang="en-US" sz="900" dirty="0">
                <a:solidFill>
                  <a:schemeClr val="tx1"/>
                </a:solidFill>
                <a:latin typeface="+mn-lt"/>
              </a:rPr>
              <a:t>Once your image is inserted into the shape it may be distorted. (Stretched or Squashed)</a:t>
            </a:r>
          </a:p>
          <a:p>
            <a:pPr marL="179388" indent="-179388">
              <a:spcBef>
                <a:spcPts val="200"/>
              </a:spcBef>
              <a:spcAft>
                <a:spcPts val="200"/>
              </a:spcAft>
              <a:buFont typeface="+mj-lt"/>
              <a:buAutoNum type="arabicPeriod"/>
            </a:pPr>
            <a:endParaRPr lang="en-US" sz="900" dirty="0">
              <a:solidFill>
                <a:schemeClr val="tx1"/>
              </a:solidFill>
              <a:latin typeface="+mn-lt"/>
            </a:endParaRPr>
          </a:p>
          <a:p>
            <a:pPr>
              <a:spcBef>
                <a:spcPts val="200"/>
              </a:spcBef>
              <a:spcAft>
                <a:spcPts val="200"/>
              </a:spcAft>
            </a:pPr>
            <a:r>
              <a:rPr lang="en-US" sz="900" b="1" dirty="0">
                <a:solidFill>
                  <a:schemeClr val="tx1"/>
                </a:solidFill>
                <a:latin typeface="+mn-lt"/>
              </a:rPr>
              <a:t>To fix this:</a:t>
            </a:r>
          </a:p>
          <a:p>
            <a:pPr marL="179388" indent="-179388">
              <a:spcBef>
                <a:spcPts val="200"/>
              </a:spcBef>
              <a:spcAft>
                <a:spcPts val="200"/>
              </a:spcAft>
              <a:buFont typeface="+mj-lt"/>
              <a:buAutoNum type="arabicPeriod"/>
            </a:pPr>
            <a:r>
              <a:rPr lang="en-US" sz="900" dirty="0">
                <a:solidFill>
                  <a:schemeClr val="tx1"/>
                </a:solidFill>
                <a:latin typeface="+mn-lt"/>
              </a:rPr>
              <a:t>Click on the image and from the top menu under </a:t>
            </a:r>
            <a:r>
              <a:rPr lang="en-US" sz="900" b="1" dirty="0">
                <a:solidFill>
                  <a:schemeClr val="tx1"/>
                </a:solidFill>
                <a:latin typeface="+mn-lt"/>
              </a:rPr>
              <a:t>PICTURE FORMAT </a:t>
            </a:r>
            <a:r>
              <a:rPr lang="en-US" sz="900" dirty="0">
                <a:solidFill>
                  <a:schemeClr val="tx1"/>
                </a:solidFill>
                <a:latin typeface="+mn-lt"/>
              </a:rPr>
              <a:t>select the </a:t>
            </a:r>
            <a:r>
              <a:rPr lang="en-US" sz="900" b="1" dirty="0">
                <a:solidFill>
                  <a:schemeClr val="tx1"/>
                </a:solidFill>
                <a:latin typeface="+mn-lt"/>
              </a:rPr>
              <a:t>CROP</a:t>
            </a:r>
            <a:r>
              <a:rPr lang="en-US" sz="900" dirty="0">
                <a:solidFill>
                  <a:schemeClr val="tx1"/>
                </a:solidFill>
                <a:latin typeface="+mn-lt"/>
              </a:rPr>
              <a:t> on the right and from the drop down menu select </a:t>
            </a:r>
            <a:r>
              <a:rPr lang="en-US" sz="900" b="1" kern="1200" dirty="0">
                <a:solidFill>
                  <a:schemeClr val="tx1"/>
                </a:solidFill>
                <a:latin typeface="+mn-lt"/>
                <a:ea typeface="+mn-ea"/>
                <a:cs typeface="+mn-cs"/>
              </a:rPr>
              <a:t>FILL</a:t>
            </a:r>
          </a:p>
          <a:p>
            <a:pPr marL="179388" indent="-179388">
              <a:spcBef>
                <a:spcPts val="200"/>
              </a:spcBef>
              <a:spcAft>
                <a:spcPts val="200"/>
              </a:spcAft>
              <a:buFont typeface="+mj-lt"/>
              <a:buAutoNum type="arabicPeriod"/>
            </a:pPr>
            <a:r>
              <a:rPr lang="en-US" sz="900" b="0" kern="1200" dirty="0">
                <a:solidFill>
                  <a:schemeClr val="tx1"/>
                </a:solidFill>
                <a:latin typeface="+mn-lt"/>
                <a:ea typeface="+mn-ea"/>
                <a:cs typeface="+mn-cs"/>
              </a:rPr>
              <a:t>From here you can move the image within the shape for best visual appearance</a:t>
            </a:r>
          </a:p>
        </p:txBody>
      </p:sp>
      <p:sp>
        <p:nvSpPr>
          <p:cNvPr id="4" name="Content Placeholder 2">
            <a:extLst>
              <a:ext uri="{FF2B5EF4-FFF2-40B4-BE49-F238E27FC236}">
                <a16:creationId xmlns:a16="http://schemas.microsoft.com/office/drawing/2014/main" id="{53C28725-2311-B24F-68FE-D0071B9D9FA2}"/>
              </a:ext>
            </a:extLst>
          </p:cNvPr>
          <p:cNvSpPr>
            <a:spLocks noGrp="1"/>
          </p:cNvSpPr>
          <p:nvPr>
            <p:ph idx="18" hasCustomPrompt="1"/>
          </p:nvPr>
        </p:nvSpPr>
        <p:spPr>
          <a:xfrm>
            <a:off x="4229229" y="1613017"/>
            <a:ext cx="3421591" cy="4606808"/>
          </a:xfrm>
        </p:spPr>
        <p:txBody>
          <a:bodyPr vert="horz" lIns="0" tIns="45720" rIns="0" bIns="4572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2" name="Title 1">
            <a:extLst>
              <a:ext uri="{FF2B5EF4-FFF2-40B4-BE49-F238E27FC236}">
                <a16:creationId xmlns:a16="http://schemas.microsoft.com/office/drawing/2014/main" id="{F716C1E4-4130-ED05-3440-416A4549A61B}"/>
              </a:ext>
            </a:extLst>
          </p:cNvPr>
          <p:cNvSpPr>
            <a:spLocks noGrp="1"/>
          </p:cNvSpPr>
          <p:nvPr>
            <p:ph type="title" hasCustomPrompt="1"/>
          </p:nvPr>
        </p:nvSpPr>
        <p:spPr>
          <a:xfrm>
            <a:off x="508001" y="454013"/>
            <a:ext cx="7142820" cy="790869"/>
          </a:xfrm>
        </p:spPr>
        <p:txBody>
          <a:bodyPr/>
          <a:lstStyle/>
          <a:p>
            <a:r>
              <a:rPr lang="en-US" dirty="0"/>
              <a:t>TITLE: subtitle</a:t>
            </a:r>
            <a:endParaRPr lang="en-GB" dirty="0"/>
          </a:p>
        </p:txBody>
      </p:sp>
      <p:sp>
        <p:nvSpPr>
          <p:cNvPr id="9" name="Content Placeholder 2">
            <a:extLst>
              <a:ext uri="{FF2B5EF4-FFF2-40B4-BE49-F238E27FC236}">
                <a16:creationId xmlns:a16="http://schemas.microsoft.com/office/drawing/2014/main" id="{50857AC0-932F-5BAA-C619-2F239FED9BE2}"/>
              </a:ext>
            </a:extLst>
          </p:cNvPr>
          <p:cNvSpPr>
            <a:spLocks noGrp="1"/>
          </p:cNvSpPr>
          <p:nvPr>
            <p:ph idx="45" hasCustomPrompt="1"/>
          </p:nvPr>
        </p:nvSpPr>
        <p:spPr>
          <a:xfrm>
            <a:off x="8737600" y="2660686"/>
            <a:ext cx="2944813" cy="3559139"/>
          </a:xfrm>
        </p:spPr>
        <p:txBody>
          <a:bodyPr vert="horz" lIns="0" tIns="45720" rIns="0" bIns="45720" rtlCol="0">
            <a:normAutofit/>
          </a:bodyPr>
          <a:lstStyle>
            <a:lvl1pPr algn="l" defTabSz="914400" rtl="0" eaLnBrk="1" latinLnBrk="0" hangingPunct="1">
              <a:lnSpc>
                <a:spcPct val="130000"/>
              </a:lnSpc>
              <a:spcBef>
                <a:spcPts val="300"/>
              </a:spcBef>
              <a:spcAft>
                <a:spcPts val="300"/>
              </a:spcAft>
              <a:buFont typeface="Arial" panose="020B0604020202020204" pitchFamily="34" charset="0"/>
              <a:defRPr lang="en-US" sz="1100" kern="1200" dirty="0">
                <a:solidFill>
                  <a:schemeClr val="bg1"/>
                </a:solidFill>
                <a:latin typeface="+mn-lt"/>
                <a:ea typeface="+mn-ea"/>
                <a:cs typeface="+mn-cs"/>
              </a:defRPr>
            </a:lvl1pPr>
            <a:lvl2pPr>
              <a:buClr>
                <a:schemeClr val="bg1"/>
              </a:buClr>
              <a:defRPr lang="en-US" dirty="0">
                <a:solidFill>
                  <a:schemeClr val="bg1"/>
                </a:solidFill>
              </a:defRPr>
            </a:lvl2pPr>
            <a:lvl3pPr>
              <a:buClr>
                <a:schemeClr val="bg1"/>
              </a:buClr>
              <a:defRPr lang="en-US" dirty="0">
                <a:solidFill>
                  <a:schemeClr val="bg1"/>
                </a:solidFill>
              </a:defRPr>
            </a:lvl3pPr>
            <a:lvl4pPr>
              <a:buClr>
                <a:schemeClr val="bg1"/>
              </a:buClr>
              <a:defRPr lang="en-US" dirty="0">
                <a:solidFill>
                  <a:schemeClr val="bg1"/>
                </a:solidFill>
              </a:defRPr>
            </a:lvl4pPr>
            <a:lvl5pPr>
              <a:buClr>
                <a:schemeClr val="bg1"/>
              </a:buClr>
              <a:defRPr lang="en-US" dirty="0">
                <a:solidFill>
                  <a:schemeClr val="bg1"/>
                </a:solidFill>
              </a:defRPr>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11" name="Content Placeholder 2">
            <a:extLst>
              <a:ext uri="{FF2B5EF4-FFF2-40B4-BE49-F238E27FC236}">
                <a16:creationId xmlns:a16="http://schemas.microsoft.com/office/drawing/2014/main" id="{1C0E041C-792C-A30B-955E-9CBF9DBE0507}"/>
              </a:ext>
            </a:extLst>
          </p:cNvPr>
          <p:cNvSpPr>
            <a:spLocks noGrp="1"/>
          </p:cNvSpPr>
          <p:nvPr>
            <p:ph idx="46" hasCustomPrompt="1"/>
          </p:nvPr>
        </p:nvSpPr>
        <p:spPr>
          <a:xfrm>
            <a:off x="8737600" y="2294925"/>
            <a:ext cx="2946399" cy="365761"/>
          </a:xfrm>
        </p:spPr>
        <p:txBody>
          <a:bodyPr/>
          <a:lstStyle>
            <a:lvl1pPr>
              <a:defRPr cap="all" baseline="0">
                <a:solidFill>
                  <a:schemeClr val="accent2"/>
                </a:solidFill>
              </a:defRPr>
            </a:lvl1pPr>
          </a:lstStyle>
          <a:p>
            <a:pPr lvl="0"/>
            <a:r>
              <a:rPr lang="en-US" dirty="0"/>
              <a:t>subhead</a:t>
            </a:r>
          </a:p>
        </p:txBody>
      </p:sp>
      <p:sp>
        <p:nvSpPr>
          <p:cNvPr id="3" name="Freeform: Shape 2">
            <a:extLst>
              <a:ext uri="{FF2B5EF4-FFF2-40B4-BE49-F238E27FC236}">
                <a16:creationId xmlns:a16="http://schemas.microsoft.com/office/drawing/2014/main" id="{3F2E28E8-3492-ACD4-95E7-7997FBD5AE2B}"/>
              </a:ext>
            </a:extLst>
          </p:cNvPr>
          <p:cNvSpPr/>
          <p:nvPr userDrawn="1"/>
        </p:nvSpPr>
        <p:spPr>
          <a:xfrm>
            <a:off x="9422818" y="508495"/>
            <a:ext cx="1472776" cy="1472774"/>
          </a:xfrm>
          <a:custGeom>
            <a:avLst/>
            <a:gdLst>
              <a:gd name="connsiteX0" fmla="*/ 367928 w 586449"/>
              <a:gd name="connsiteY0" fmla="*/ 313206 h 586450"/>
              <a:gd name="connsiteX1" fmla="*/ 322304 w 586449"/>
              <a:gd name="connsiteY1" fmla="*/ 336793 h 586450"/>
              <a:gd name="connsiteX2" fmla="*/ 322270 w 586449"/>
              <a:gd name="connsiteY2" fmla="*/ 336827 h 586450"/>
              <a:gd name="connsiteX3" fmla="*/ 322337 w 586449"/>
              <a:gd name="connsiteY3" fmla="*/ 338040 h 586450"/>
              <a:gd name="connsiteX4" fmla="*/ 322270 w 586449"/>
              <a:gd name="connsiteY4" fmla="*/ 338074 h 586450"/>
              <a:gd name="connsiteX5" fmla="*/ 328908 w 586449"/>
              <a:gd name="connsiteY5" fmla="*/ 450350 h 586450"/>
              <a:gd name="connsiteX6" fmla="*/ 332042 w 586449"/>
              <a:gd name="connsiteY6" fmla="*/ 448598 h 586450"/>
              <a:gd name="connsiteX7" fmla="*/ 351889 w 586449"/>
              <a:gd name="connsiteY7" fmla="*/ 415205 h 586450"/>
              <a:gd name="connsiteX8" fmla="*/ 367928 w 586449"/>
              <a:gd name="connsiteY8" fmla="*/ 314487 h 586450"/>
              <a:gd name="connsiteX9" fmla="*/ 367693 w 586449"/>
              <a:gd name="connsiteY9" fmla="*/ 314588 h 586450"/>
              <a:gd name="connsiteX10" fmla="*/ 367928 w 586449"/>
              <a:gd name="connsiteY10" fmla="*/ 313206 h 586450"/>
              <a:gd name="connsiteX11" fmla="*/ 133390 w 586449"/>
              <a:gd name="connsiteY11" fmla="*/ 168822 h 586450"/>
              <a:gd name="connsiteX12" fmla="*/ 116521 w 586449"/>
              <a:gd name="connsiteY12" fmla="*/ 175355 h 586450"/>
              <a:gd name="connsiteX13" fmla="*/ 113690 w 586449"/>
              <a:gd name="connsiteY13" fmla="*/ 177882 h 586450"/>
              <a:gd name="connsiteX14" fmla="*/ 248340 w 586449"/>
              <a:gd name="connsiteY14" fmla="*/ 256495 h 586450"/>
              <a:gd name="connsiteX15" fmla="*/ 248340 w 586449"/>
              <a:gd name="connsiteY15" fmla="*/ 256462 h 586450"/>
              <a:gd name="connsiteX16" fmla="*/ 314250 w 586449"/>
              <a:gd name="connsiteY16" fmla="*/ 221451 h 586450"/>
              <a:gd name="connsiteX17" fmla="*/ 155036 w 586449"/>
              <a:gd name="connsiteY17" fmla="*/ 172726 h 586450"/>
              <a:gd name="connsiteX18" fmla="*/ 133390 w 586449"/>
              <a:gd name="connsiteY18" fmla="*/ 168822 h 586450"/>
              <a:gd name="connsiteX19" fmla="*/ 486977 w 586449"/>
              <a:gd name="connsiteY19" fmla="*/ 168253 h 586450"/>
              <a:gd name="connsiteX20" fmla="*/ 463996 w 586449"/>
              <a:gd name="connsiteY20" fmla="*/ 170199 h 586450"/>
              <a:gd name="connsiteX21" fmla="*/ 171681 w 586449"/>
              <a:gd name="connsiteY21" fmla="*/ 321260 h 586450"/>
              <a:gd name="connsiteX22" fmla="*/ 154699 w 586449"/>
              <a:gd name="connsiteY22" fmla="*/ 322304 h 586450"/>
              <a:gd name="connsiteX23" fmla="*/ 90137 w 586449"/>
              <a:gd name="connsiteY23" fmla="*/ 303131 h 586450"/>
              <a:gd name="connsiteX24" fmla="*/ 74333 w 586449"/>
              <a:gd name="connsiteY24" fmla="*/ 311319 h 586450"/>
              <a:gd name="connsiteX25" fmla="*/ 170367 w 586449"/>
              <a:gd name="connsiteY25" fmla="*/ 376387 h 586450"/>
              <a:gd name="connsiteX26" fmla="*/ 195168 w 586449"/>
              <a:gd name="connsiteY26" fmla="*/ 376926 h 586450"/>
              <a:gd name="connsiteX27" fmla="*/ 491661 w 586449"/>
              <a:gd name="connsiteY27" fmla="*/ 223709 h 586450"/>
              <a:gd name="connsiteX28" fmla="*/ 504600 w 586449"/>
              <a:gd name="connsiteY28" fmla="*/ 183139 h 586450"/>
              <a:gd name="connsiteX29" fmla="*/ 486977 w 586449"/>
              <a:gd name="connsiteY29" fmla="*/ 168253 h 586450"/>
              <a:gd name="connsiteX30" fmla="*/ 293225 w 586449"/>
              <a:gd name="connsiteY30" fmla="*/ 0 h 586450"/>
              <a:gd name="connsiteX31" fmla="*/ 586449 w 586449"/>
              <a:gd name="connsiteY31" fmla="*/ 293225 h 586450"/>
              <a:gd name="connsiteX32" fmla="*/ 293225 w 586449"/>
              <a:gd name="connsiteY32" fmla="*/ 586450 h 586450"/>
              <a:gd name="connsiteX33" fmla="*/ 0 w 586449"/>
              <a:gd name="connsiteY33" fmla="*/ 293225 h 586450"/>
              <a:gd name="connsiteX34" fmla="*/ 293225 w 586449"/>
              <a:gd name="connsiteY34" fmla="*/ 0 h 586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86449" h="586450">
                <a:moveTo>
                  <a:pt x="367928" y="313206"/>
                </a:moveTo>
                <a:cubicBezTo>
                  <a:pt x="358460" y="318092"/>
                  <a:pt x="328066" y="333795"/>
                  <a:pt x="322304" y="336793"/>
                </a:cubicBezTo>
                <a:lnTo>
                  <a:pt x="322270" y="336827"/>
                </a:lnTo>
                <a:cubicBezTo>
                  <a:pt x="322270" y="337097"/>
                  <a:pt x="322337" y="337703"/>
                  <a:pt x="322337" y="338040"/>
                </a:cubicBezTo>
                <a:cubicBezTo>
                  <a:pt x="322337" y="338040"/>
                  <a:pt x="322270" y="338040"/>
                  <a:pt x="322270" y="338074"/>
                </a:cubicBezTo>
                <a:cubicBezTo>
                  <a:pt x="323247" y="353877"/>
                  <a:pt x="327594" y="427302"/>
                  <a:pt x="328908" y="450350"/>
                </a:cubicBezTo>
                <a:cubicBezTo>
                  <a:pt x="329919" y="449743"/>
                  <a:pt x="330930" y="449171"/>
                  <a:pt x="332042" y="448598"/>
                </a:cubicBezTo>
                <a:cubicBezTo>
                  <a:pt x="344071" y="442364"/>
                  <a:pt x="349429" y="433300"/>
                  <a:pt x="351889" y="415205"/>
                </a:cubicBezTo>
                <a:cubicBezTo>
                  <a:pt x="356708" y="378981"/>
                  <a:pt x="362133" y="347408"/>
                  <a:pt x="367928" y="314487"/>
                </a:cubicBezTo>
                <a:cubicBezTo>
                  <a:pt x="367861" y="314487"/>
                  <a:pt x="367760" y="314588"/>
                  <a:pt x="367693" y="314588"/>
                </a:cubicBezTo>
                <a:cubicBezTo>
                  <a:pt x="367794" y="314150"/>
                  <a:pt x="367861" y="313678"/>
                  <a:pt x="367928" y="313206"/>
                </a:cubicBezTo>
                <a:close/>
                <a:moveTo>
                  <a:pt x="133390" y="168822"/>
                </a:moveTo>
                <a:cubicBezTo>
                  <a:pt x="127287" y="169189"/>
                  <a:pt x="121980" y="171295"/>
                  <a:pt x="116521" y="175355"/>
                </a:cubicBezTo>
                <a:cubicBezTo>
                  <a:pt x="115577" y="176029"/>
                  <a:pt x="114735" y="176804"/>
                  <a:pt x="113690" y="177882"/>
                </a:cubicBezTo>
                <a:cubicBezTo>
                  <a:pt x="113690" y="177882"/>
                  <a:pt x="223675" y="242612"/>
                  <a:pt x="248340" y="256495"/>
                </a:cubicBezTo>
                <a:lnTo>
                  <a:pt x="248340" y="256462"/>
                </a:lnTo>
                <a:lnTo>
                  <a:pt x="314250" y="221451"/>
                </a:lnTo>
                <a:cubicBezTo>
                  <a:pt x="300839" y="217441"/>
                  <a:pt x="169761" y="177646"/>
                  <a:pt x="155036" y="172726"/>
                </a:cubicBezTo>
                <a:cubicBezTo>
                  <a:pt x="146393" y="169829"/>
                  <a:pt x="139493" y="168456"/>
                  <a:pt x="133390" y="168822"/>
                </a:cubicBezTo>
                <a:close/>
                <a:moveTo>
                  <a:pt x="486977" y="168253"/>
                </a:moveTo>
                <a:cubicBezTo>
                  <a:pt x="479631" y="165911"/>
                  <a:pt x="471393" y="166375"/>
                  <a:pt x="463996" y="170199"/>
                </a:cubicBezTo>
                <a:cubicBezTo>
                  <a:pt x="463356" y="170536"/>
                  <a:pt x="194730" y="309365"/>
                  <a:pt x="171681" y="321260"/>
                </a:cubicBezTo>
                <a:cubicBezTo>
                  <a:pt x="164673" y="324865"/>
                  <a:pt x="156889" y="322911"/>
                  <a:pt x="154699" y="322304"/>
                </a:cubicBezTo>
                <a:cubicBezTo>
                  <a:pt x="144152" y="319170"/>
                  <a:pt x="90137" y="303131"/>
                  <a:pt x="90137" y="303131"/>
                </a:cubicBezTo>
                <a:cubicBezTo>
                  <a:pt x="84374" y="306130"/>
                  <a:pt x="79758" y="308489"/>
                  <a:pt x="74333" y="311319"/>
                </a:cubicBezTo>
                <a:cubicBezTo>
                  <a:pt x="74333" y="311319"/>
                  <a:pt x="142972" y="357786"/>
                  <a:pt x="170367" y="376387"/>
                </a:cubicBezTo>
                <a:cubicBezTo>
                  <a:pt x="178421" y="381845"/>
                  <a:pt x="184958" y="382149"/>
                  <a:pt x="195168" y="376926"/>
                </a:cubicBezTo>
                <a:cubicBezTo>
                  <a:pt x="215385" y="366547"/>
                  <a:pt x="480508" y="229437"/>
                  <a:pt x="491661" y="223709"/>
                </a:cubicBezTo>
                <a:cubicBezTo>
                  <a:pt x="506420" y="216127"/>
                  <a:pt x="512216" y="197897"/>
                  <a:pt x="504600" y="183139"/>
                </a:cubicBezTo>
                <a:cubicBezTo>
                  <a:pt x="500776" y="175743"/>
                  <a:pt x="494323" y="170595"/>
                  <a:pt x="486977" y="168253"/>
                </a:cubicBezTo>
                <a:close/>
                <a:moveTo>
                  <a:pt x="293225" y="0"/>
                </a:moveTo>
                <a:cubicBezTo>
                  <a:pt x="455169" y="0"/>
                  <a:pt x="586449" y="131281"/>
                  <a:pt x="586449" y="293225"/>
                </a:cubicBezTo>
                <a:cubicBezTo>
                  <a:pt x="586449" y="455169"/>
                  <a:pt x="455169" y="586450"/>
                  <a:pt x="293225" y="586450"/>
                </a:cubicBezTo>
                <a:cubicBezTo>
                  <a:pt x="131281" y="586450"/>
                  <a:pt x="0" y="455169"/>
                  <a:pt x="0" y="293225"/>
                </a:cubicBezTo>
                <a:cubicBezTo>
                  <a:pt x="0" y="131281"/>
                  <a:pt x="131281" y="0"/>
                  <a:pt x="293225" y="0"/>
                </a:cubicBezTo>
                <a:close/>
              </a:path>
            </a:pathLst>
          </a:custGeom>
          <a:solidFill>
            <a:srgbClr val="FFFFFF"/>
          </a:solidFill>
          <a:ln w="3364" cap="flat">
            <a:noFill/>
            <a:prstDash val="solid"/>
            <a:miter/>
          </a:ln>
        </p:spPr>
        <p:txBody>
          <a:bodyPr wrap="square" rtlCol="0" anchor="ctr">
            <a:noAutofit/>
          </a:bodyPr>
          <a:lstStyle/>
          <a:p>
            <a:endParaRPr lang="en-GB"/>
          </a:p>
        </p:txBody>
      </p:sp>
    </p:spTree>
    <p:extLst>
      <p:ext uri="{BB962C8B-B14F-4D97-AF65-F5344CB8AC3E}">
        <p14:creationId xmlns:p14="http://schemas.microsoft.com/office/powerpoint/2010/main" val="3618632176"/>
      </p:ext>
    </p:extLst>
  </p:cSld>
  <p:clrMapOvr>
    <a:masterClrMapping/>
  </p:clrMapOvr>
  <p:transition spd="med">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with Icons - ENERGY">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E5E6CFCC-6E4A-6785-3407-799B2CBAEBB0}"/>
              </a:ext>
            </a:extLst>
          </p:cNvPr>
          <p:cNvSpPr>
            <a:spLocks noGrp="1"/>
          </p:cNvSpPr>
          <p:nvPr>
            <p:ph type="pic" sz="quarter" idx="13" hasCustomPrompt="1"/>
          </p:nvPr>
        </p:nvSpPr>
        <p:spPr>
          <a:xfrm>
            <a:off x="4067176" y="2"/>
            <a:ext cx="8124824" cy="6857999"/>
          </a:xfrm>
          <a:custGeom>
            <a:avLst/>
            <a:gdLst>
              <a:gd name="connsiteX0" fmla="*/ 3500648 w 8124824"/>
              <a:gd name="connsiteY0" fmla="*/ 1154291 h 6857999"/>
              <a:gd name="connsiteX1" fmla="*/ 3500648 w 8124824"/>
              <a:gd name="connsiteY1" fmla="*/ 1224425 h 6857999"/>
              <a:gd name="connsiteX2" fmla="*/ 3519525 w 8124824"/>
              <a:gd name="connsiteY2" fmla="*/ 1224425 h 6857999"/>
              <a:gd name="connsiteX3" fmla="*/ 3593568 w 8124824"/>
              <a:gd name="connsiteY3" fmla="*/ 1297478 h 6857999"/>
              <a:gd name="connsiteX4" fmla="*/ 3519525 w 8124824"/>
              <a:gd name="connsiteY4" fmla="*/ 1370533 h 6857999"/>
              <a:gd name="connsiteX5" fmla="*/ 3445479 w 8124824"/>
              <a:gd name="connsiteY5" fmla="*/ 1297478 h 6857999"/>
              <a:gd name="connsiteX6" fmla="*/ 3407727 w 8124824"/>
              <a:gd name="connsiteY6" fmla="*/ 1297478 h 6857999"/>
              <a:gd name="connsiteX7" fmla="*/ 3519525 w 8124824"/>
              <a:gd name="connsiteY7" fmla="*/ 1407816 h 6857999"/>
              <a:gd name="connsiteX8" fmla="*/ 3519525 w 8124824"/>
              <a:gd name="connsiteY8" fmla="*/ 1407868 h 6857999"/>
              <a:gd name="connsiteX9" fmla="*/ 3631321 w 8124824"/>
              <a:gd name="connsiteY9" fmla="*/ 1297531 h 6857999"/>
              <a:gd name="connsiteX10" fmla="*/ 3538401 w 8124824"/>
              <a:gd name="connsiteY10" fmla="*/ 1188759 h 6857999"/>
              <a:gd name="connsiteX11" fmla="*/ 3538401 w 8124824"/>
              <a:gd name="connsiteY11" fmla="*/ 1154291 h 6857999"/>
              <a:gd name="connsiteX12" fmla="*/ 1479209 w 8124824"/>
              <a:gd name="connsiteY12" fmla="*/ 1074105 h 6857999"/>
              <a:gd name="connsiteX13" fmla="*/ 1408607 w 8124824"/>
              <a:gd name="connsiteY13" fmla="*/ 1110605 h 6857999"/>
              <a:gd name="connsiteX14" fmla="*/ 1408554 w 8124824"/>
              <a:gd name="connsiteY14" fmla="*/ 1110658 h 6857999"/>
              <a:gd name="connsiteX15" fmla="*/ 1408658 w 8124824"/>
              <a:gd name="connsiteY15" fmla="*/ 1112535 h 6857999"/>
              <a:gd name="connsiteX16" fmla="*/ 1408554 w 8124824"/>
              <a:gd name="connsiteY16" fmla="*/ 1112587 h 6857999"/>
              <a:gd name="connsiteX17" fmla="*/ 1418827 w 8124824"/>
              <a:gd name="connsiteY17" fmla="*/ 1286331 h 6857999"/>
              <a:gd name="connsiteX18" fmla="*/ 1423676 w 8124824"/>
              <a:gd name="connsiteY18" fmla="*/ 1283620 h 6857999"/>
              <a:gd name="connsiteX19" fmla="*/ 1454389 w 8124824"/>
              <a:gd name="connsiteY19" fmla="*/ 1231945 h 6857999"/>
              <a:gd name="connsiteX20" fmla="*/ 1479209 w 8124824"/>
              <a:gd name="connsiteY20" fmla="*/ 1076087 h 6857999"/>
              <a:gd name="connsiteX21" fmla="*/ 1478845 w 8124824"/>
              <a:gd name="connsiteY21" fmla="*/ 1076244 h 6857999"/>
              <a:gd name="connsiteX22" fmla="*/ 1479209 w 8124824"/>
              <a:gd name="connsiteY22" fmla="*/ 1074105 h 6857999"/>
              <a:gd name="connsiteX23" fmla="*/ 6746854 w 8124824"/>
              <a:gd name="connsiteY23" fmla="*/ 1051836 h 6857999"/>
              <a:gd name="connsiteX24" fmla="*/ 6477373 w 8124824"/>
              <a:gd name="connsiteY24" fmla="*/ 1080255 h 6857999"/>
              <a:gd name="connsiteX25" fmla="*/ 6472315 w 8124824"/>
              <a:gd name="connsiteY25" fmla="*/ 1080777 h 6857999"/>
              <a:gd name="connsiteX26" fmla="*/ 6466996 w 8124824"/>
              <a:gd name="connsiteY26" fmla="*/ 1091309 h 6857999"/>
              <a:gd name="connsiteX27" fmla="*/ 6567060 w 8124824"/>
              <a:gd name="connsiteY27" fmla="*/ 1296184 h 6857999"/>
              <a:gd name="connsiteX28" fmla="*/ 6932017 w 8124824"/>
              <a:gd name="connsiteY28" fmla="*/ 1296184 h 6857999"/>
              <a:gd name="connsiteX29" fmla="*/ 7031978 w 8124824"/>
              <a:gd name="connsiteY29" fmla="*/ 1091309 h 6857999"/>
              <a:gd name="connsiteX30" fmla="*/ 7026607 w 8124824"/>
              <a:gd name="connsiteY30" fmla="*/ 1080777 h 6857999"/>
              <a:gd name="connsiteX31" fmla="*/ 7024261 w 8124824"/>
              <a:gd name="connsiteY31" fmla="*/ 1080568 h 6857999"/>
              <a:gd name="connsiteX32" fmla="*/ 6748053 w 8124824"/>
              <a:gd name="connsiteY32" fmla="*/ 1051992 h 6857999"/>
              <a:gd name="connsiteX33" fmla="*/ 5673793 w 8124824"/>
              <a:gd name="connsiteY33" fmla="*/ 1044602 h 6857999"/>
              <a:gd name="connsiteX34" fmla="*/ 5640838 w 8124824"/>
              <a:gd name="connsiteY34" fmla="*/ 1059984 h 6857999"/>
              <a:gd name="connsiteX35" fmla="*/ 5633017 w 8124824"/>
              <a:gd name="connsiteY35" fmla="*/ 1073698 h 6857999"/>
              <a:gd name="connsiteX36" fmla="*/ 5630670 w 8124824"/>
              <a:gd name="connsiteY36" fmla="*/ 1087412 h 6857999"/>
              <a:gd name="connsiteX37" fmla="*/ 5630670 w 8124824"/>
              <a:gd name="connsiteY37" fmla="*/ 1087620 h 6857999"/>
              <a:gd name="connsiteX38" fmla="*/ 5647043 w 8124824"/>
              <a:gd name="connsiteY38" fmla="*/ 1121410 h 6857999"/>
              <a:gd name="connsiteX39" fmla="*/ 5653040 w 8124824"/>
              <a:gd name="connsiteY39" fmla="*/ 1126154 h 6857999"/>
              <a:gd name="connsiteX40" fmla="*/ 5646626 w 8124824"/>
              <a:gd name="connsiteY40" fmla="*/ 1181323 h 6857999"/>
              <a:gd name="connsiteX41" fmla="*/ 5700804 w 8124824"/>
              <a:gd name="connsiteY41" fmla="*/ 1181323 h 6857999"/>
              <a:gd name="connsiteX42" fmla="*/ 5694286 w 8124824"/>
              <a:gd name="connsiteY42" fmla="*/ 1126154 h 6857999"/>
              <a:gd name="connsiteX43" fmla="*/ 5700386 w 8124824"/>
              <a:gd name="connsiteY43" fmla="*/ 1121410 h 6857999"/>
              <a:gd name="connsiteX44" fmla="*/ 5716760 w 8124824"/>
              <a:gd name="connsiteY44" fmla="*/ 1087620 h 6857999"/>
              <a:gd name="connsiteX45" fmla="*/ 5716760 w 8124824"/>
              <a:gd name="connsiteY45" fmla="*/ 1087412 h 6857999"/>
              <a:gd name="connsiteX46" fmla="*/ 5716864 w 8124824"/>
              <a:gd name="connsiteY46" fmla="*/ 1087412 h 6857999"/>
              <a:gd name="connsiteX47" fmla="*/ 5714518 w 8124824"/>
              <a:gd name="connsiteY47" fmla="*/ 1073698 h 6857999"/>
              <a:gd name="connsiteX48" fmla="*/ 5706695 w 8124824"/>
              <a:gd name="connsiteY48" fmla="*/ 1059984 h 6857999"/>
              <a:gd name="connsiteX49" fmla="*/ 5673793 w 8124824"/>
              <a:gd name="connsiteY49" fmla="*/ 1044602 h 6857999"/>
              <a:gd name="connsiteX50" fmla="*/ 2527407 w 8124824"/>
              <a:gd name="connsiteY50" fmla="*/ 1036166 h 6857999"/>
              <a:gd name="connsiteX51" fmla="*/ 2463323 w 8124824"/>
              <a:gd name="connsiteY51" fmla="*/ 1229673 h 6857999"/>
              <a:gd name="connsiteX52" fmla="*/ 2684621 w 8124824"/>
              <a:gd name="connsiteY52" fmla="*/ 1229673 h 6857999"/>
              <a:gd name="connsiteX53" fmla="*/ 2684621 w 8124824"/>
              <a:gd name="connsiteY53" fmla="*/ 1036166 h 6857999"/>
              <a:gd name="connsiteX54" fmla="*/ 2718046 w 8124824"/>
              <a:gd name="connsiteY54" fmla="*/ 1036114 h 6857999"/>
              <a:gd name="connsiteX55" fmla="*/ 2718046 w 8124824"/>
              <a:gd name="connsiteY55" fmla="*/ 1229620 h 6857999"/>
              <a:gd name="connsiteX56" fmla="*/ 2782130 w 8124824"/>
              <a:gd name="connsiteY56" fmla="*/ 1229620 h 6857999"/>
              <a:gd name="connsiteX57" fmla="*/ 2359190 w 8124824"/>
              <a:gd name="connsiteY57" fmla="*/ 1034967 h 6857999"/>
              <a:gd name="connsiteX58" fmla="*/ 2359190 w 8124824"/>
              <a:gd name="connsiteY58" fmla="*/ 1228368 h 6857999"/>
              <a:gd name="connsiteX59" fmla="*/ 2423275 w 8124824"/>
              <a:gd name="connsiteY59" fmla="*/ 1228368 h 6857999"/>
              <a:gd name="connsiteX60" fmla="*/ 2168552 w 8124824"/>
              <a:gd name="connsiteY60" fmla="*/ 1034967 h 6857999"/>
              <a:gd name="connsiteX61" fmla="*/ 2104466 w 8124824"/>
              <a:gd name="connsiteY61" fmla="*/ 1228368 h 6857999"/>
              <a:gd name="connsiteX62" fmla="*/ 2325766 w 8124824"/>
              <a:gd name="connsiteY62" fmla="*/ 1228368 h 6857999"/>
              <a:gd name="connsiteX63" fmla="*/ 2325766 w 8124824"/>
              <a:gd name="connsiteY63" fmla="*/ 1034967 h 6857999"/>
              <a:gd name="connsiteX64" fmla="*/ 5673793 w 8124824"/>
              <a:gd name="connsiteY64" fmla="*/ 1017173 h 6857999"/>
              <a:gd name="connsiteX65" fmla="*/ 5738607 w 8124824"/>
              <a:gd name="connsiteY65" fmla="*/ 1059984 h 6857999"/>
              <a:gd name="connsiteX66" fmla="*/ 5742936 w 8124824"/>
              <a:gd name="connsiteY66" fmla="*/ 1073698 h 6857999"/>
              <a:gd name="connsiteX67" fmla="*/ 5744291 w 8124824"/>
              <a:gd name="connsiteY67" fmla="*/ 1087412 h 6857999"/>
              <a:gd name="connsiteX68" fmla="*/ 5744291 w 8124824"/>
              <a:gd name="connsiteY68" fmla="*/ 1087620 h 6857999"/>
              <a:gd name="connsiteX69" fmla="*/ 5723382 w 8124824"/>
              <a:gd name="connsiteY69" fmla="*/ 1137678 h 6857999"/>
              <a:gd name="connsiteX70" fmla="*/ 5731726 w 8124824"/>
              <a:gd name="connsiteY70" fmla="*/ 1208803 h 6857999"/>
              <a:gd name="connsiteX71" fmla="*/ 5615860 w 8124824"/>
              <a:gd name="connsiteY71" fmla="*/ 1208803 h 6857999"/>
              <a:gd name="connsiteX72" fmla="*/ 5624152 w 8124824"/>
              <a:gd name="connsiteY72" fmla="*/ 1137678 h 6857999"/>
              <a:gd name="connsiteX73" fmla="*/ 5603242 w 8124824"/>
              <a:gd name="connsiteY73" fmla="*/ 1087620 h 6857999"/>
              <a:gd name="connsiteX74" fmla="*/ 5603242 w 8124824"/>
              <a:gd name="connsiteY74" fmla="*/ 1087412 h 6857999"/>
              <a:gd name="connsiteX75" fmla="*/ 5604650 w 8124824"/>
              <a:gd name="connsiteY75" fmla="*/ 1073698 h 6857999"/>
              <a:gd name="connsiteX76" fmla="*/ 5608979 w 8124824"/>
              <a:gd name="connsiteY76" fmla="*/ 1059984 h 6857999"/>
              <a:gd name="connsiteX77" fmla="*/ 5673793 w 8124824"/>
              <a:gd name="connsiteY77" fmla="*/ 1017173 h 6857999"/>
              <a:gd name="connsiteX78" fmla="*/ 6762601 w 8124824"/>
              <a:gd name="connsiteY78" fmla="*/ 1000370 h 6857999"/>
              <a:gd name="connsiteX79" fmla="*/ 6762601 w 8124824"/>
              <a:gd name="connsiteY79" fmla="*/ 1024356 h 6857999"/>
              <a:gd name="connsiteX80" fmla="*/ 6766511 w 8124824"/>
              <a:gd name="connsiteY80" fmla="*/ 1024774 h 6857999"/>
              <a:gd name="connsiteX81" fmla="*/ 6862874 w 8124824"/>
              <a:gd name="connsiteY81" fmla="*/ 1034784 h 6857999"/>
              <a:gd name="connsiteX82" fmla="*/ 6862874 w 8124824"/>
              <a:gd name="connsiteY82" fmla="*/ 1000370 h 6857999"/>
              <a:gd name="connsiteX83" fmla="*/ 6891866 w 8124824"/>
              <a:gd name="connsiteY83" fmla="*/ 1000317 h 6857999"/>
              <a:gd name="connsiteX84" fmla="*/ 6891866 w 8124824"/>
              <a:gd name="connsiteY84" fmla="*/ 1037704 h 6857999"/>
              <a:gd name="connsiteX85" fmla="*/ 6895048 w 8124824"/>
              <a:gd name="connsiteY85" fmla="*/ 1038069 h 6857999"/>
              <a:gd name="connsiteX86" fmla="*/ 6995321 w 8124824"/>
              <a:gd name="connsiteY86" fmla="*/ 1048447 h 6857999"/>
              <a:gd name="connsiteX87" fmla="*/ 6995321 w 8124824"/>
              <a:gd name="connsiteY87" fmla="*/ 1000317 h 6857999"/>
              <a:gd name="connsiteX88" fmla="*/ 6634170 w 8124824"/>
              <a:gd name="connsiteY88" fmla="*/ 1000317 h 6857999"/>
              <a:gd name="connsiteX89" fmla="*/ 6634170 w 8124824"/>
              <a:gd name="connsiteY89" fmla="*/ 1034524 h 6857999"/>
              <a:gd name="connsiteX90" fmla="*/ 6638811 w 8124824"/>
              <a:gd name="connsiteY90" fmla="*/ 1034106 h 6857999"/>
              <a:gd name="connsiteX91" fmla="*/ 6733662 w 8124824"/>
              <a:gd name="connsiteY91" fmla="*/ 1024096 h 6857999"/>
              <a:gd name="connsiteX92" fmla="*/ 6733662 w 8124824"/>
              <a:gd name="connsiteY92" fmla="*/ 1000317 h 6857999"/>
              <a:gd name="connsiteX93" fmla="*/ 6634222 w 8124824"/>
              <a:gd name="connsiteY93" fmla="*/ 1000317 h 6857999"/>
              <a:gd name="connsiteX94" fmla="*/ 6506418 w 8124824"/>
              <a:gd name="connsiteY94" fmla="*/ 1000317 h 6857999"/>
              <a:gd name="connsiteX95" fmla="*/ 6506418 w 8124824"/>
              <a:gd name="connsiteY95" fmla="*/ 1048029 h 6857999"/>
              <a:gd name="connsiteX96" fmla="*/ 6605127 w 8124824"/>
              <a:gd name="connsiteY96" fmla="*/ 1037653 h 6857999"/>
              <a:gd name="connsiteX97" fmla="*/ 6605127 w 8124824"/>
              <a:gd name="connsiteY97" fmla="*/ 1000317 h 6857999"/>
              <a:gd name="connsiteX98" fmla="*/ 4629578 w 8124824"/>
              <a:gd name="connsiteY98" fmla="*/ 973402 h 6857999"/>
              <a:gd name="connsiteX99" fmla="*/ 4629631 w 8124824"/>
              <a:gd name="connsiteY99" fmla="*/ 973402 h 6857999"/>
              <a:gd name="connsiteX100" fmla="*/ 4802383 w 8124824"/>
              <a:gd name="connsiteY100" fmla="*/ 1018403 h 6857999"/>
              <a:gd name="connsiteX101" fmla="*/ 4519032 w 8124824"/>
              <a:gd name="connsiteY101" fmla="*/ 1397491 h 6857999"/>
              <a:gd name="connsiteX102" fmla="*/ 5476897 w 8124824"/>
              <a:gd name="connsiteY102" fmla="*/ 961170 h 6857999"/>
              <a:gd name="connsiteX103" fmla="*/ 5476897 w 8124824"/>
              <a:gd name="connsiteY103" fmla="*/ 1285663 h 6857999"/>
              <a:gd name="connsiteX104" fmla="*/ 5870742 w 8124824"/>
              <a:gd name="connsiteY104" fmla="*/ 1285663 h 6857999"/>
              <a:gd name="connsiteX105" fmla="*/ 5870742 w 8124824"/>
              <a:gd name="connsiteY105" fmla="*/ 961170 h 6857999"/>
              <a:gd name="connsiteX106" fmla="*/ 3519732 w 8124824"/>
              <a:gd name="connsiteY106" fmla="*/ 923709 h 6857999"/>
              <a:gd name="connsiteX107" fmla="*/ 3459611 w 8124824"/>
              <a:gd name="connsiteY107" fmla="*/ 983831 h 6857999"/>
              <a:gd name="connsiteX108" fmla="*/ 3519732 w 8124824"/>
              <a:gd name="connsiteY108" fmla="*/ 1043901 h 6857999"/>
              <a:gd name="connsiteX109" fmla="*/ 3579804 w 8124824"/>
              <a:gd name="connsiteY109" fmla="*/ 983831 h 6857999"/>
              <a:gd name="connsiteX110" fmla="*/ 3519732 w 8124824"/>
              <a:gd name="connsiteY110" fmla="*/ 923709 h 6857999"/>
              <a:gd name="connsiteX111" fmla="*/ 6891866 w 8124824"/>
              <a:gd name="connsiteY111" fmla="*/ 916365 h 6857999"/>
              <a:gd name="connsiteX112" fmla="*/ 6891866 w 8124824"/>
              <a:gd name="connsiteY112" fmla="*/ 971325 h 6857999"/>
              <a:gd name="connsiteX113" fmla="*/ 6995321 w 8124824"/>
              <a:gd name="connsiteY113" fmla="*/ 971325 h 6857999"/>
              <a:gd name="connsiteX114" fmla="*/ 6995321 w 8124824"/>
              <a:gd name="connsiteY114" fmla="*/ 916365 h 6857999"/>
              <a:gd name="connsiteX115" fmla="*/ 6762601 w 8124824"/>
              <a:gd name="connsiteY115" fmla="*/ 916365 h 6857999"/>
              <a:gd name="connsiteX116" fmla="*/ 6762601 w 8124824"/>
              <a:gd name="connsiteY116" fmla="*/ 971325 h 6857999"/>
              <a:gd name="connsiteX117" fmla="*/ 6862874 w 8124824"/>
              <a:gd name="connsiteY117" fmla="*/ 971325 h 6857999"/>
              <a:gd name="connsiteX118" fmla="*/ 6862874 w 8124824"/>
              <a:gd name="connsiteY118" fmla="*/ 916365 h 6857999"/>
              <a:gd name="connsiteX119" fmla="*/ 6634170 w 8124824"/>
              <a:gd name="connsiteY119" fmla="*/ 916365 h 6857999"/>
              <a:gd name="connsiteX120" fmla="*/ 6634170 w 8124824"/>
              <a:gd name="connsiteY120" fmla="*/ 971325 h 6857999"/>
              <a:gd name="connsiteX121" fmla="*/ 6733609 w 8124824"/>
              <a:gd name="connsiteY121" fmla="*/ 971325 h 6857999"/>
              <a:gd name="connsiteX122" fmla="*/ 6733609 w 8124824"/>
              <a:gd name="connsiteY122" fmla="*/ 916365 h 6857999"/>
              <a:gd name="connsiteX123" fmla="*/ 6506469 w 8124824"/>
              <a:gd name="connsiteY123" fmla="*/ 916365 h 6857999"/>
              <a:gd name="connsiteX124" fmla="*/ 6506469 w 8124824"/>
              <a:gd name="connsiteY124" fmla="*/ 971325 h 6857999"/>
              <a:gd name="connsiteX125" fmla="*/ 6605178 w 8124824"/>
              <a:gd name="connsiteY125" fmla="*/ 971325 h 6857999"/>
              <a:gd name="connsiteX126" fmla="*/ 6605178 w 8124824"/>
              <a:gd name="connsiteY126" fmla="*/ 916365 h 6857999"/>
              <a:gd name="connsiteX127" fmla="*/ 3519732 w 8124824"/>
              <a:gd name="connsiteY127" fmla="*/ 886166 h 6857999"/>
              <a:gd name="connsiteX128" fmla="*/ 3617398 w 8124824"/>
              <a:gd name="connsiteY128" fmla="*/ 983780 h 6857999"/>
              <a:gd name="connsiteX129" fmla="*/ 3519732 w 8124824"/>
              <a:gd name="connsiteY129" fmla="*/ 1081446 h 6857999"/>
              <a:gd name="connsiteX130" fmla="*/ 3422066 w 8124824"/>
              <a:gd name="connsiteY130" fmla="*/ 983780 h 6857999"/>
              <a:gd name="connsiteX131" fmla="*/ 3519732 w 8124824"/>
              <a:gd name="connsiteY131" fmla="*/ 886166 h 6857999"/>
              <a:gd name="connsiteX132" fmla="*/ 3324452 w 8124824"/>
              <a:gd name="connsiteY132" fmla="*/ 854671 h 6857999"/>
              <a:gd name="connsiteX133" fmla="*/ 3382905 w 8124824"/>
              <a:gd name="connsiteY133" fmla="*/ 1116643 h 6857999"/>
              <a:gd name="connsiteX134" fmla="*/ 3656090 w 8124824"/>
              <a:gd name="connsiteY134" fmla="*/ 1116643 h 6857999"/>
              <a:gd name="connsiteX135" fmla="*/ 3714595 w 8124824"/>
              <a:gd name="connsiteY135" fmla="*/ 854671 h 6857999"/>
              <a:gd name="connsiteX136" fmla="*/ 3324505 w 8124824"/>
              <a:gd name="connsiteY136" fmla="*/ 854671 h 6857999"/>
              <a:gd name="connsiteX137" fmla="*/ 1116267 w 8124824"/>
              <a:gd name="connsiteY137" fmla="*/ 850675 h 6857999"/>
              <a:gd name="connsiteX138" fmla="*/ 1090163 w 8124824"/>
              <a:gd name="connsiteY138" fmla="*/ 860785 h 6857999"/>
              <a:gd name="connsiteX139" fmla="*/ 1085782 w 8124824"/>
              <a:gd name="connsiteY139" fmla="*/ 864695 h 6857999"/>
              <a:gd name="connsiteX140" fmla="*/ 1294150 w 8124824"/>
              <a:gd name="connsiteY140" fmla="*/ 986346 h 6857999"/>
              <a:gd name="connsiteX141" fmla="*/ 1294150 w 8124824"/>
              <a:gd name="connsiteY141" fmla="*/ 986295 h 6857999"/>
              <a:gd name="connsiteX142" fmla="*/ 1396144 w 8124824"/>
              <a:gd name="connsiteY142" fmla="*/ 932117 h 6857999"/>
              <a:gd name="connsiteX143" fmla="*/ 1149764 w 8124824"/>
              <a:gd name="connsiteY143" fmla="*/ 856716 h 6857999"/>
              <a:gd name="connsiteX144" fmla="*/ 1116267 w 8124824"/>
              <a:gd name="connsiteY144" fmla="*/ 850675 h 6857999"/>
              <a:gd name="connsiteX145" fmla="*/ 1645683 w 8124824"/>
              <a:gd name="connsiteY145" fmla="*/ 847722 h 6857999"/>
              <a:gd name="connsiteX146" fmla="*/ 1627872 w 8124824"/>
              <a:gd name="connsiteY146" fmla="*/ 852806 h 6857999"/>
              <a:gd name="connsiteX147" fmla="*/ 1175522 w 8124824"/>
              <a:gd name="connsiteY147" fmla="*/ 1086568 h 6857999"/>
              <a:gd name="connsiteX148" fmla="*/ 1149243 w 8124824"/>
              <a:gd name="connsiteY148" fmla="*/ 1088184 h 6857999"/>
              <a:gd name="connsiteX149" fmla="*/ 1049335 w 8124824"/>
              <a:gd name="connsiteY149" fmla="*/ 1058514 h 6857999"/>
              <a:gd name="connsiteX150" fmla="*/ 1024878 w 8124824"/>
              <a:gd name="connsiteY150" fmla="*/ 1071185 h 6857999"/>
              <a:gd name="connsiteX151" fmla="*/ 1173488 w 8124824"/>
              <a:gd name="connsiteY151" fmla="*/ 1171876 h 6857999"/>
              <a:gd name="connsiteX152" fmla="*/ 1211867 w 8124824"/>
              <a:gd name="connsiteY152" fmla="*/ 1172710 h 6857999"/>
              <a:gd name="connsiteX153" fmla="*/ 1670683 w 8124824"/>
              <a:gd name="connsiteY153" fmla="*/ 935611 h 6857999"/>
              <a:gd name="connsiteX154" fmla="*/ 1690706 w 8124824"/>
              <a:gd name="connsiteY154" fmla="*/ 872830 h 6857999"/>
              <a:gd name="connsiteX155" fmla="*/ 1645683 w 8124824"/>
              <a:gd name="connsiteY155" fmla="*/ 847722 h 6857999"/>
              <a:gd name="connsiteX156" fmla="*/ 2536950 w 8124824"/>
              <a:gd name="connsiteY156" fmla="*/ 805950 h 6857999"/>
              <a:gd name="connsiteX157" fmla="*/ 2536950 w 8124824"/>
              <a:gd name="connsiteY157" fmla="*/ 999352 h 6857999"/>
              <a:gd name="connsiteX158" fmla="*/ 2601034 w 8124824"/>
              <a:gd name="connsiteY158" fmla="*/ 999352 h 6857999"/>
              <a:gd name="connsiteX159" fmla="*/ 2346258 w 8124824"/>
              <a:gd name="connsiteY159" fmla="*/ 805950 h 6857999"/>
              <a:gd name="connsiteX160" fmla="*/ 2332388 w 8124824"/>
              <a:gd name="connsiteY160" fmla="*/ 847718 h 6857999"/>
              <a:gd name="connsiteX161" fmla="*/ 2325819 w 8124824"/>
              <a:gd name="connsiteY161" fmla="*/ 867688 h 6857999"/>
              <a:gd name="connsiteX162" fmla="*/ 2282225 w 8124824"/>
              <a:gd name="connsiteY162" fmla="*/ 999352 h 6857999"/>
              <a:gd name="connsiteX163" fmla="*/ 2503524 w 8124824"/>
              <a:gd name="connsiteY163" fmla="*/ 999352 h 6857999"/>
              <a:gd name="connsiteX164" fmla="*/ 2503524 w 8124824"/>
              <a:gd name="connsiteY164" fmla="*/ 805950 h 6857999"/>
              <a:gd name="connsiteX165" fmla="*/ 2503473 w 8124824"/>
              <a:gd name="connsiteY165" fmla="*/ 805950 h 6857999"/>
              <a:gd name="connsiteX166" fmla="*/ 6612948 w 8124824"/>
              <a:gd name="connsiteY166" fmla="*/ 788508 h 6857999"/>
              <a:gd name="connsiteX167" fmla="*/ 6612948 w 8124824"/>
              <a:gd name="connsiteY167" fmla="*/ 831997 h 6857999"/>
              <a:gd name="connsiteX168" fmla="*/ 6670932 w 8124824"/>
              <a:gd name="connsiteY168" fmla="*/ 831997 h 6857999"/>
              <a:gd name="connsiteX169" fmla="*/ 6670932 w 8124824"/>
              <a:gd name="connsiteY169" fmla="*/ 887373 h 6857999"/>
              <a:gd name="connsiteX170" fmla="*/ 6830388 w 8124824"/>
              <a:gd name="connsiteY170" fmla="*/ 887373 h 6857999"/>
              <a:gd name="connsiteX171" fmla="*/ 6830388 w 8124824"/>
              <a:gd name="connsiteY171" fmla="*/ 831997 h 6857999"/>
              <a:gd name="connsiteX172" fmla="*/ 6888374 w 8124824"/>
              <a:gd name="connsiteY172" fmla="*/ 831997 h 6857999"/>
              <a:gd name="connsiteX173" fmla="*/ 6888374 w 8124824"/>
              <a:gd name="connsiteY173" fmla="*/ 788508 h 6857999"/>
              <a:gd name="connsiteX174" fmla="*/ 5673793 w 8124824"/>
              <a:gd name="connsiteY174" fmla="*/ 779448 h 6857999"/>
              <a:gd name="connsiteX175" fmla="*/ 5519812 w 8124824"/>
              <a:gd name="connsiteY175" fmla="*/ 933482 h 6857999"/>
              <a:gd name="connsiteX176" fmla="*/ 5519812 w 8124824"/>
              <a:gd name="connsiteY176" fmla="*/ 933742 h 6857999"/>
              <a:gd name="connsiteX177" fmla="*/ 5547239 w 8124824"/>
              <a:gd name="connsiteY177" fmla="*/ 933742 h 6857999"/>
              <a:gd name="connsiteX178" fmla="*/ 5547239 w 8124824"/>
              <a:gd name="connsiteY178" fmla="*/ 933482 h 6857999"/>
              <a:gd name="connsiteX179" fmla="*/ 5673793 w 8124824"/>
              <a:gd name="connsiteY179" fmla="*/ 806876 h 6857999"/>
              <a:gd name="connsiteX180" fmla="*/ 5800398 w 8124824"/>
              <a:gd name="connsiteY180" fmla="*/ 933482 h 6857999"/>
              <a:gd name="connsiteX181" fmla="*/ 5800398 w 8124824"/>
              <a:gd name="connsiteY181" fmla="*/ 933742 h 6857999"/>
              <a:gd name="connsiteX182" fmla="*/ 5827827 w 8124824"/>
              <a:gd name="connsiteY182" fmla="*/ 933742 h 6857999"/>
              <a:gd name="connsiteX183" fmla="*/ 5827827 w 8124824"/>
              <a:gd name="connsiteY183" fmla="*/ 933482 h 6857999"/>
              <a:gd name="connsiteX184" fmla="*/ 5673793 w 8124824"/>
              <a:gd name="connsiteY184" fmla="*/ 779448 h 6857999"/>
              <a:gd name="connsiteX185" fmla="*/ 3593568 w 8124824"/>
              <a:gd name="connsiteY185" fmla="*/ 701471 h 6857999"/>
              <a:gd name="connsiteX186" fmla="*/ 3593568 w 8124824"/>
              <a:gd name="connsiteY186" fmla="*/ 817336 h 6857999"/>
              <a:gd name="connsiteX187" fmla="*/ 3631321 w 8124824"/>
              <a:gd name="connsiteY187" fmla="*/ 817336 h 6857999"/>
              <a:gd name="connsiteX188" fmla="*/ 3631321 w 8124824"/>
              <a:gd name="connsiteY188" fmla="*/ 701471 h 6857999"/>
              <a:gd name="connsiteX189" fmla="*/ 3407727 w 8124824"/>
              <a:gd name="connsiteY189" fmla="*/ 701471 h 6857999"/>
              <a:gd name="connsiteX190" fmla="*/ 3407727 w 8124824"/>
              <a:gd name="connsiteY190" fmla="*/ 817336 h 6857999"/>
              <a:gd name="connsiteX191" fmla="*/ 3445532 w 8124824"/>
              <a:gd name="connsiteY191" fmla="*/ 817336 h 6857999"/>
              <a:gd name="connsiteX192" fmla="*/ 3445532 w 8124824"/>
              <a:gd name="connsiteY192" fmla="*/ 701471 h 6857999"/>
              <a:gd name="connsiteX193" fmla="*/ 4658414 w 8124824"/>
              <a:gd name="connsiteY193" fmla="*/ 700637 h 6857999"/>
              <a:gd name="connsiteX194" fmla="*/ 4658414 w 8124824"/>
              <a:gd name="connsiteY194" fmla="*/ 700689 h 6857999"/>
              <a:gd name="connsiteX195" fmla="*/ 4553343 w 8124824"/>
              <a:gd name="connsiteY195" fmla="*/ 1103658 h 6857999"/>
              <a:gd name="connsiteX196" fmla="*/ 4389089 w 8124824"/>
              <a:gd name="connsiteY196" fmla="*/ 1060900 h 6857999"/>
              <a:gd name="connsiteX197" fmla="*/ 4595738 w 8124824"/>
              <a:gd name="connsiteY197" fmla="*/ 591083 h 6857999"/>
              <a:gd name="connsiteX198" fmla="*/ 4141979 w 8124824"/>
              <a:gd name="connsiteY198" fmla="*/ 1044841 h 6857999"/>
              <a:gd name="connsiteX199" fmla="*/ 4595738 w 8124824"/>
              <a:gd name="connsiteY199" fmla="*/ 1498599 h 6857999"/>
              <a:gd name="connsiteX200" fmla="*/ 5049495 w 8124824"/>
              <a:gd name="connsiteY200" fmla="*/ 1044841 h 6857999"/>
              <a:gd name="connsiteX201" fmla="*/ 4595738 w 8124824"/>
              <a:gd name="connsiteY201" fmla="*/ 591083 h 6857999"/>
              <a:gd name="connsiteX202" fmla="*/ 0 w 8124824"/>
              <a:gd name="connsiteY202" fmla="*/ 0 h 6857999"/>
              <a:gd name="connsiteX203" fmla="*/ 8124824 w 8124824"/>
              <a:gd name="connsiteY203" fmla="*/ 0 h 6857999"/>
              <a:gd name="connsiteX204" fmla="*/ 8124824 w 8124824"/>
              <a:gd name="connsiteY204" fmla="*/ 6857999 h 6857999"/>
              <a:gd name="connsiteX205" fmla="*/ 0 w 8124824"/>
              <a:gd name="connsiteY20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Lst>
            <a:rect l="l" t="t" r="r" b="b"/>
            <a:pathLst>
              <a:path w="8124824" h="6857999">
                <a:moveTo>
                  <a:pt x="3500648" y="1154291"/>
                </a:moveTo>
                <a:lnTo>
                  <a:pt x="3500648" y="1224425"/>
                </a:lnTo>
                <a:lnTo>
                  <a:pt x="3519525" y="1224425"/>
                </a:lnTo>
                <a:cubicBezTo>
                  <a:pt x="3560353" y="1224425"/>
                  <a:pt x="3593568" y="1257224"/>
                  <a:pt x="3593568" y="1297478"/>
                </a:cubicBezTo>
                <a:cubicBezTo>
                  <a:pt x="3593568" y="1337734"/>
                  <a:pt x="3560353" y="1370533"/>
                  <a:pt x="3519525" y="1370533"/>
                </a:cubicBezTo>
                <a:cubicBezTo>
                  <a:pt x="3478694" y="1370533"/>
                  <a:pt x="3445479" y="1337734"/>
                  <a:pt x="3445479" y="1297478"/>
                </a:cubicBezTo>
                <a:lnTo>
                  <a:pt x="3407727" y="1297478"/>
                </a:lnTo>
                <a:cubicBezTo>
                  <a:pt x="3407727" y="1358331"/>
                  <a:pt x="3457890" y="1407816"/>
                  <a:pt x="3519525" y="1407816"/>
                </a:cubicBezTo>
                <a:lnTo>
                  <a:pt x="3519525" y="1407868"/>
                </a:lnTo>
                <a:cubicBezTo>
                  <a:pt x="3581159" y="1407868"/>
                  <a:pt x="3631321" y="1358331"/>
                  <a:pt x="3631321" y="1297531"/>
                </a:cubicBezTo>
                <a:cubicBezTo>
                  <a:pt x="3631321" y="1243040"/>
                  <a:pt x="3591066" y="1197623"/>
                  <a:pt x="3538401" y="1188759"/>
                </a:cubicBezTo>
                <a:lnTo>
                  <a:pt x="3538401" y="1154291"/>
                </a:lnTo>
                <a:close/>
                <a:moveTo>
                  <a:pt x="1479209" y="1074105"/>
                </a:moveTo>
                <a:cubicBezTo>
                  <a:pt x="1464558" y="1081666"/>
                  <a:pt x="1417524" y="1105966"/>
                  <a:pt x="1408607" y="1110605"/>
                </a:cubicBezTo>
                <a:lnTo>
                  <a:pt x="1408554" y="1110658"/>
                </a:lnTo>
                <a:cubicBezTo>
                  <a:pt x="1408554" y="1111076"/>
                  <a:pt x="1408658" y="1112013"/>
                  <a:pt x="1408658" y="1112535"/>
                </a:cubicBezTo>
                <a:cubicBezTo>
                  <a:pt x="1408658" y="1112535"/>
                  <a:pt x="1408554" y="1112535"/>
                  <a:pt x="1408554" y="1112587"/>
                </a:cubicBezTo>
                <a:cubicBezTo>
                  <a:pt x="1410066" y="1137042"/>
                  <a:pt x="1416793" y="1250665"/>
                  <a:pt x="1418827" y="1286331"/>
                </a:cubicBezTo>
                <a:cubicBezTo>
                  <a:pt x="1420391" y="1285392"/>
                  <a:pt x="1421956" y="1284507"/>
                  <a:pt x="1423676" y="1283620"/>
                </a:cubicBezTo>
                <a:cubicBezTo>
                  <a:pt x="1442291" y="1273973"/>
                  <a:pt x="1450582" y="1259947"/>
                  <a:pt x="1454389" y="1231945"/>
                </a:cubicBezTo>
                <a:cubicBezTo>
                  <a:pt x="1461846" y="1175890"/>
                  <a:pt x="1470241" y="1127032"/>
                  <a:pt x="1479209" y="1076087"/>
                </a:cubicBezTo>
                <a:cubicBezTo>
                  <a:pt x="1479105" y="1076087"/>
                  <a:pt x="1478949" y="1076244"/>
                  <a:pt x="1478845" y="1076244"/>
                </a:cubicBezTo>
                <a:cubicBezTo>
                  <a:pt x="1479002" y="1075566"/>
                  <a:pt x="1479105" y="1074835"/>
                  <a:pt x="1479209" y="1074105"/>
                </a:cubicBezTo>
                <a:close/>
                <a:moveTo>
                  <a:pt x="6746854" y="1051836"/>
                </a:moveTo>
                <a:lnTo>
                  <a:pt x="6477373" y="1080255"/>
                </a:lnTo>
                <a:lnTo>
                  <a:pt x="6472315" y="1080777"/>
                </a:lnTo>
                <a:cubicBezTo>
                  <a:pt x="6467205" y="1081402"/>
                  <a:pt x="6464494" y="1086981"/>
                  <a:pt x="6466996" y="1091309"/>
                </a:cubicBezTo>
                <a:lnTo>
                  <a:pt x="6567060" y="1296184"/>
                </a:lnTo>
                <a:lnTo>
                  <a:pt x="6932017" y="1296184"/>
                </a:lnTo>
                <a:lnTo>
                  <a:pt x="7031978" y="1091309"/>
                </a:lnTo>
                <a:cubicBezTo>
                  <a:pt x="7034533" y="1086929"/>
                  <a:pt x="7031665" y="1081349"/>
                  <a:pt x="7026607" y="1080777"/>
                </a:cubicBezTo>
                <a:lnTo>
                  <a:pt x="7024261" y="1080568"/>
                </a:lnTo>
                <a:lnTo>
                  <a:pt x="6748053" y="1051992"/>
                </a:lnTo>
                <a:close/>
                <a:moveTo>
                  <a:pt x="5673793" y="1044602"/>
                </a:moveTo>
                <a:cubicBezTo>
                  <a:pt x="5660548" y="1044602"/>
                  <a:pt x="5648764" y="1050598"/>
                  <a:pt x="5640838" y="1059984"/>
                </a:cubicBezTo>
                <a:cubicBezTo>
                  <a:pt x="5637396" y="1064051"/>
                  <a:pt x="5634738" y="1068639"/>
                  <a:pt x="5633017" y="1073698"/>
                </a:cubicBezTo>
                <a:cubicBezTo>
                  <a:pt x="5631453" y="1078026"/>
                  <a:pt x="5630670" y="1082614"/>
                  <a:pt x="5630670" y="1087412"/>
                </a:cubicBezTo>
                <a:lnTo>
                  <a:pt x="5630670" y="1087620"/>
                </a:lnTo>
                <a:cubicBezTo>
                  <a:pt x="5630670" y="1100916"/>
                  <a:pt x="5636615" y="1113171"/>
                  <a:pt x="5647043" y="1121410"/>
                </a:cubicBezTo>
                <a:lnTo>
                  <a:pt x="5653040" y="1126154"/>
                </a:lnTo>
                <a:lnTo>
                  <a:pt x="5646626" y="1181323"/>
                </a:lnTo>
                <a:lnTo>
                  <a:pt x="5700804" y="1181323"/>
                </a:lnTo>
                <a:lnTo>
                  <a:pt x="5694286" y="1126154"/>
                </a:lnTo>
                <a:lnTo>
                  <a:pt x="5700386" y="1121410"/>
                </a:lnTo>
                <a:cubicBezTo>
                  <a:pt x="5710764" y="1113171"/>
                  <a:pt x="5716760" y="1100916"/>
                  <a:pt x="5716760" y="1087620"/>
                </a:cubicBezTo>
                <a:lnTo>
                  <a:pt x="5716760" y="1087412"/>
                </a:lnTo>
                <a:lnTo>
                  <a:pt x="5716864" y="1087412"/>
                </a:lnTo>
                <a:cubicBezTo>
                  <a:pt x="5716864" y="1082614"/>
                  <a:pt x="5716030" y="1078026"/>
                  <a:pt x="5714518" y="1073698"/>
                </a:cubicBezTo>
                <a:cubicBezTo>
                  <a:pt x="5712797" y="1068639"/>
                  <a:pt x="5710137" y="1064051"/>
                  <a:pt x="5706695" y="1059984"/>
                </a:cubicBezTo>
                <a:cubicBezTo>
                  <a:pt x="5698822" y="1050598"/>
                  <a:pt x="5687038" y="1044602"/>
                  <a:pt x="5673793" y="1044602"/>
                </a:cubicBezTo>
                <a:close/>
                <a:moveTo>
                  <a:pt x="2527407" y="1036166"/>
                </a:moveTo>
                <a:lnTo>
                  <a:pt x="2463323" y="1229673"/>
                </a:lnTo>
                <a:lnTo>
                  <a:pt x="2684621" y="1229673"/>
                </a:lnTo>
                <a:lnTo>
                  <a:pt x="2684621" y="1036166"/>
                </a:lnTo>
                <a:close/>
                <a:moveTo>
                  <a:pt x="2718046" y="1036114"/>
                </a:moveTo>
                <a:lnTo>
                  <a:pt x="2718046" y="1229620"/>
                </a:lnTo>
                <a:lnTo>
                  <a:pt x="2782130" y="1229620"/>
                </a:lnTo>
                <a:close/>
                <a:moveTo>
                  <a:pt x="2359190" y="1034967"/>
                </a:moveTo>
                <a:lnTo>
                  <a:pt x="2359190" y="1228368"/>
                </a:lnTo>
                <a:lnTo>
                  <a:pt x="2423275" y="1228368"/>
                </a:lnTo>
                <a:close/>
                <a:moveTo>
                  <a:pt x="2168552" y="1034967"/>
                </a:moveTo>
                <a:lnTo>
                  <a:pt x="2104466" y="1228368"/>
                </a:lnTo>
                <a:lnTo>
                  <a:pt x="2325766" y="1228368"/>
                </a:lnTo>
                <a:lnTo>
                  <a:pt x="2325766" y="1034967"/>
                </a:lnTo>
                <a:close/>
                <a:moveTo>
                  <a:pt x="5673793" y="1017173"/>
                </a:moveTo>
                <a:cubicBezTo>
                  <a:pt x="5702889" y="1017173"/>
                  <a:pt x="5727866" y="1034799"/>
                  <a:pt x="5738607" y="1059984"/>
                </a:cubicBezTo>
                <a:cubicBezTo>
                  <a:pt x="5740537" y="1064312"/>
                  <a:pt x="5741998" y="1069004"/>
                  <a:pt x="5742936" y="1073698"/>
                </a:cubicBezTo>
                <a:cubicBezTo>
                  <a:pt x="5743822" y="1078130"/>
                  <a:pt x="5744291" y="1082771"/>
                  <a:pt x="5744291" y="1087412"/>
                </a:cubicBezTo>
                <a:lnTo>
                  <a:pt x="5744291" y="1087620"/>
                </a:lnTo>
                <a:cubicBezTo>
                  <a:pt x="5744291" y="1106705"/>
                  <a:pt x="5736730" y="1124486"/>
                  <a:pt x="5723382" y="1137678"/>
                </a:cubicBezTo>
                <a:lnTo>
                  <a:pt x="5731726" y="1208803"/>
                </a:lnTo>
                <a:lnTo>
                  <a:pt x="5615860" y="1208803"/>
                </a:lnTo>
                <a:lnTo>
                  <a:pt x="5624152" y="1137678"/>
                </a:lnTo>
                <a:cubicBezTo>
                  <a:pt x="5610803" y="1124486"/>
                  <a:pt x="5603242" y="1106653"/>
                  <a:pt x="5603242" y="1087620"/>
                </a:cubicBezTo>
                <a:lnTo>
                  <a:pt x="5603242" y="1087412"/>
                </a:lnTo>
                <a:cubicBezTo>
                  <a:pt x="5603242" y="1082771"/>
                  <a:pt x="5603764" y="1078130"/>
                  <a:pt x="5604650" y="1073698"/>
                </a:cubicBezTo>
                <a:cubicBezTo>
                  <a:pt x="5605641" y="1069004"/>
                  <a:pt x="5607049" y="1064312"/>
                  <a:pt x="5608979" y="1059984"/>
                </a:cubicBezTo>
                <a:cubicBezTo>
                  <a:pt x="5619772" y="1034799"/>
                  <a:pt x="5644696" y="1017173"/>
                  <a:pt x="5673793" y="1017173"/>
                </a:cubicBezTo>
                <a:close/>
                <a:moveTo>
                  <a:pt x="6762601" y="1000370"/>
                </a:moveTo>
                <a:lnTo>
                  <a:pt x="6762601" y="1024356"/>
                </a:lnTo>
                <a:lnTo>
                  <a:pt x="6766511" y="1024774"/>
                </a:lnTo>
                <a:lnTo>
                  <a:pt x="6862874" y="1034784"/>
                </a:lnTo>
                <a:lnTo>
                  <a:pt x="6862874" y="1000370"/>
                </a:lnTo>
                <a:close/>
                <a:moveTo>
                  <a:pt x="6891866" y="1000317"/>
                </a:moveTo>
                <a:lnTo>
                  <a:pt x="6891866" y="1037704"/>
                </a:lnTo>
                <a:lnTo>
                  <a:pt x="6895048" y="1038069"/>
                </a:lnTo>
                <a:lnTo>
                  <a:pt x="6995321" y="1048447"/>
                </a:lnTo>
                <a:lnTo>
                  <a:pt x="6995321" y="1000317"/>
                </a:lnTo>
                <a:close/>
                <a:moveTo>
                  <a:pt x="6634170" y="1000317"/>
                </a:moveTo>
                <a:lnTo>
                  <a:pt x="6634170" y="1034524"/>
                </a:lnTo>
                <a:lnTo>
                  <a:pt x="6638811" y="1034106"/>
                </a:lnTo>
                <a:lnTo>
                  <a:pt x="6733662" y="1024096"/>
                </a:lnTo>
                <a:lnTo>
                  <a:pt x="6733662" y="1000317"/>
                </a:lnTo>
                <a:lnTo>
                  <a:pt x="6634222" y="1000317"/>
                </a:lnTo>
                <a:close/>
                <a:moveTo>
                  <a:pt x="6506418" y="1000317"/>
                </a:moveTo>
                <a:lnTo>
                  <a:pt x="6506418" y="1048029"/>
                </a:lnTo>
                <a:lnTo>
                  <a:pt x="6605127" y="1037653"/>
                </a:lnTo>
                <a:lnTo>
                  <a:pt x="6605127" y="1000317"/>
                </a:lnTo>
                <a:close/>
                <a:moveTo>
                  <a:pt x="4629578" y="973402"/>
                </a:moveTo>
                <a:lnTo>
                  <a:pt x="4629631" y="973402"/>
                </a:lnTo>
                <a:lnTo>
                  <a:pt x="4802383" y="1018403"/>
                </a:lnTo>
                <a:lnTo>
                  <a:pt x="4519032" y="1397491"/>
                </a:lnTo>
                <a:close/>
                <a:moveTo>
                  <a:pt x="5476897" y="961170"/>
                </a:moveTo>
                <a:lnTo>
                  <a:pt x="5476897" y="1285663"/>
                </a:lnTo>
                <a:lnTo>
                  <a:pt x="5870742" y="1285663"/>
                </a:lnTo>
                <a:lnTo>
                  <a:pt x="5870742" y="961170"/>
                </a:lnTo>
                <a:close/>
                <a:moveTo>
                  <a:pt x="3519732" y="923709"/>
                </a:moveTo>
                <a:cubicBezTo>
                  <a:pt x="3486517" y="923709"/>
                  <a:pt x="3459611" y="950667"/>
                  <a:pt x="3459611" y="983831"/>
                </a:cubicBezTo>
                <a:cubicBezTo>
                  <a:pt x="3459611" y="1016995"/>
                  <a:pt x="3486569" y="1043901"/>
                  <a:pt x="3519732" y="1043901"/>
                </a:cubicBezTo>
                <a:cubicBezTo>
                  <a:pt x="3552896" y="1043901"/>
                  <a:pt x="3579804" y="1016995"/>
                  <a:pt x="3579804" y="983831"/>
                </a:cubicBezTo>
                <a:cubicBezTo>
                  <a:pt x="3579804" y="950616"/>
                  <a:pt x="3552949" y="923709"/>
                  <a:pt x="3519732" y="923709"/>
                </a:cubicBezTo>
                <a:close/>
                <a:moveTo>
                  <a:pt x="6891866" y="916365"/>
                </a:moveTo>
                <a:lnTo>
                  <a:pt x="6891866" y="971325"/>
                </a:lnTo>
                <a:lnTo>
                  <a:pt x="6995321" y="971325"/>
                </a:lnTo>
                <a:lnTo>
                  <a:pt x="6995321" y="916365"/>
                </a:lnTo>
                <a:close/>
                <a:moveTo>
                  <a:pt x="6762601" y="916365"/>
                </a:moveTo>
                <a:lnTo>
                  <a:pt x="6762601" y="971325"/>
                </a:lnTo>
                <a:lnTo>
                  <a:pt x="6862874" y="971325"/>
                </a:lnTo>
                <a:lnTo>
                  <a:pt x="6862874" y="916365"/>
                </a:lnTo>
                <a:close/>
                <a:moveTo>
                  <a:pt x="6634170" y="916365"/>
                </a:moveTo>
                <a:lnTo>
                  <a:pt x="6634170" y="971325"/>
                </a:lnTo>
                <a:lnTo>
                  <a:pt x="6733609" y="971325"/>
                </a:lnTo>
                <a:lnTo>
                  <a:pt x="6733609" y="916365"/>
                </a:lnTo>
                <a:close/>
                <a:moveTo>
                  <a:pt x="6506469" y="916365"/>
                </a:moveTo>
                <a:lnTo>
                  <a:pt x="6506469" y="971325"/>
                </a:lnTo>
                <a:lnTo>
                  <a:pt x="6605178" y="971325"/>
                </a:lnTo>
                <a:lnTo>
                  <a:pt x="6605178" y="916365"/>
                </a:lnTo>
                <a:close/>
                <a:moveTo>
                  <a:pt x="3519732" y="886166"/>
                </a:moveTo>
                <a:cubicBezTo>
                  <a:pt x="3573702" y="886166"/>
                  <a:pt x="3617398" y="929863"/>
                  <a:pt x="3617398" y="983780"/>
                </a:cubicBezTo>
                <a:cubicBezTo>
                  <a:pt x="3617398" y="1037697"/>
                  <a:pt x="3573702" y="1081446"/>
                  <a:pt x="3519732" y="1081446"/>
                </a:cubicBezTo>
                <a:cubicBezTo>
                  <a:pt x="3465764" y="1081446"/>
                  <a:pt x="3422066" y="1037749"/>
                  <a:pt x="3422066" y="983780"/>
                </a:cubicBezTo>
                <a:cubicBezTo>
                  <a:pt x="3422066" y="929811"/>
                  <a:pt x="3465764" y="886166"/>
                  <a:pt x="3519732" y="886166"/>
                </a:cubicBezTo>
                <a:close/>
                <a:moveTo>
                  <a:pt x="3324452" y="854671"/>
                </a:moveTo>
                <a:lnTo>
                  <a:pt x="3382905" y="1116643"/>
                </a:lnTo>
                <a:lnTo>
                  <a:pt x="3656090" y="1116643"/>
                </a:lnTo>
                <a:lnTo>
                  <a:pt x="3714595" y="854671"/>
                </a:lnTo>
                <a:lnTo>
                  <a:pt x="3324505" y="854671"/>
                </a:lnTo>
                <a:close/>
                <a:moveTo>
                  <a:pt x="1116267" y="850675"/>
                </a:moveTo>
                <a:cubicBezTo>
                  <a:pt x="1106823" y="851242"/>
                  <a:pt x="1098610" y="854501"/>
                  <a:pt x="1090163" y="860785"/>
                </a:cubicBezTo>
                <a:cubicBezTo>
                  <a:pt x="1088702" y="861827"/>
                  <a:pt x="1087399" y="863027"/>
                  <a:pt x="1085782" y="864695"/>
                </a:cubicBezTo>
                <a:cubicBezTo>
                  <a:pt x="1085782" y="864695"/>
                  <a:pt x="1255981" y="964863"/>
                  <a:pt x="1294150" y="986346"/>
                </a:cubicBezTo>
                <a:lnTo>
                  <a:pt x="1294150" y="986295"/>
                </a:lnTo>
                <a:lnTo>
                  <a:pt x="1396144" y="932117"/>
                </a:lnTo>
                <a:cubicBezTo>
                  <a:pt x="1375391" y="925911"/>
                  <a:pt x="1172551" y="864330"/>
                  <a:pt x="1149764" y="856716"/>
                </a:cubicBezTo>
                <a:cubicBezTo>
                  <a:pt x="1136389" y="852232"/>
                  <a:pt x="1125712" y="850108"/>
                  <a:pt x="1116267" y="850675"/>
                </a:cubicBezTo>
                <a:close/>
                <a:moveTo>
                  <a:pt x="1645683" y="847722"/>
                </a:moveTo>
                <a:cubicBezTo>
                  <a:pt x="1639644" y="848188"/>
                  <a:pt x="1633595" y="849847"/>
                  <a:pt x="1627872" y="852806"/>
                </a:cubicBezTo>
                <a:cubicBezTo>
                  <a:pt x="1626881" y="853327"/>
                  <a:pt x="1211190" y="1068161"/>
                  <a:pt x="1175522" y="1086568"/>
                </a:cubicBezTo>
                <a:cubicBezTo>
                  <a:pt x="1164677" y="1092147"/>
                  <a:pt x="1152632" y="1089123"/>
                  <a:pt x="1149243" y="1088184"/>
                </a:cubicBezTo>
                <a:cubicBezTo>
                  <a:pt x="1132921" y="1083334"/>
                  <a:pt x="1049335" y="1058514"/>
                  <a:pt x="1049335" y="1058514"/>
                </a:cubicBezTo>
                <a:cubicBezTo>
                  <a:pt x="1040416" y="1063155"/>
                  <a:pt x="1033273" y="1066805"/>
                  <a:pt x="1024878" y="1071185"/>
                </a:cubicBezTo>
                <a:cubicBezTo>
                  <a:pt x="1024878" y="1071185"/>
                  <a:pt x="1131095" y="1143091"/>
                  <a:pt x="1173488" y="1171876"/>
                </a:cubicBezTo>
                <a:cubicBezTo>
                  <a:pt x="1185952" y="1180322"/>
                  <a:pt x="1196068" y="1180792"/>
                  <a:pt x="1211867" y="1172710"/>
                </a:cubicBezTo>
                <a:cubicBezTo>
                  <a:pt x="1243153" y="1156649"/>
                  <a:pt x="1653424" y="944475"/>
                  <a:pt x="1670683" y="935611"/>
                </a:cubicBezTo>
                <a:cubicBezTo>
                  <a:pt x="1693522" y="923878"/>
                  <a:pt x="1702491" y="895668"/>
                  <a:pt x="1690706" y="872830"/>
                </a:cubicBezTo>
                <a:cubicBezTo>
                  <a:pt x="1681828" y="855661"/>
                  <a:pt x="1663800" y="846324"/>
                  <a:pt x="1645683" y="847722"/>
                </a:cubicBezTo>
                <a:close/>
                <a:moveTo>
                  <a:pt x="2536950" y="805950"/>
                </a:moveTo>
                <a:lnTo>
                  <a:pt x="2536950" y="999352"/>
                </a:lnTo>
                <a:lnTo>
                  <a:pt x="2601034" y="999352"/>
                </a:lnTo>
                <a:close/>
                <a:moveTo>
                  <a:pt x="2346258" y="805950"/>
                </a:moveTo>
                <a:lnTo>
                  <a:pt x="2332388" y="847718"/>
                </a:lnTo>
                <a:lnTo>
                  <a:pt x="2325819" y="867688"/>
                </a:lnTo>
                <a:lnTo>
                  <a:pt x="2282225" y="999352"/>
                </a:lnTo>
                <a:lnTo>
                  <a:pt x="2503524" y="999352"/>
                </a:lnTo>
                <a:lnTo>
                  <a:pt x="2503524" y="805950"/>
                </a:lnTo>
                <a:lnTo>
                  <a:pt x="2503473" y="805950"/>
                </a:lnTo>
                <a:close/>
                <a:moveTo>
                  <a:pt x="6612948" y="788508"/>
                </a:moveTo>
                <a:lnTo>
                  <a:pt x="6612948" y="831997"/>
                </a:lnTo>
                <a:lnTo>
                  <a:pt x="6670932" y="831997"/>
                </a:lnTo>
                <a:lnTo>
                  <a:pt x="6670932" y="887373"/>
                </a:lnTo>
                <a:lnTo>
                  <a:pt x="6830388" y="887373"/>
                </a:lnTo>
                <a:lnTo>
                  <a:pt x="6830388" y="831997"/>
                </a:lnTo>
                <a:lnTo>
                  <a:pt x="6888374" y="831997"/>
                </a:lnTo>
                <a:lnTo>
                  <a:pt x="6888374" y="788508"/>
                </a:lnTo>
                <a:close/>
                <a:moveTo>
                  <a:pt x="5673793" y="779448"/>
                </a:moveTo>
                <a:cubicBezTo>
                  <a:pt x="5588902" y="779448"/>
                  <a:pt x="5519812" y="848591"/>
                  <a:pt x="5519812" y="933482"/>
                </a:cubicBezTo>
                <a:lnTo>
                  <a:pt x="5519812" y="933742"/>
                </a:lnTo>
                <a:lnTo>
                  <a:pt x="5547239" y="933742"/>
                </a:lnTo>
                <a:lnTo>
                  <a:pt x="5547239" y="933482"/>
                </a:lnTo>
                <a:cubicBezTo>
                  <a:pt x="5547239" y="863660"/>
                  <a:pt x="5603972" y="806876"/>
                  <a:pt x="5673793" y="806876"/>
                </a:cubicBezTo>
                <a:cubicBezTo>
                  <a:pt x="5743613" y="806876"/>
                  <a:pt x="5800398" y="863660"/>
                  <a:pt x="5800398" y="933482"/>
                </a:cubicBezTo>
                <a:lnTo>
                  <a:pt x="5800398" y="933742"/>
                </a:lnTo>
                <a:lnTo>
                  <a:pt x="5827827" y="933742"/>
                </a:lnTo>
                <a:lnTo>
                  <a:pt x="5827827" y="933482"/>
                </a:lnTo>
                <a:cubicBezTo>
                  <a:pt x="5827827" y="848591"/>
                  <a:pt x="5758683" y="779448"/>
                  <a:pt x="5673793" y="779448"/>
                </a:cubicBezTo>
                <a:close/>
                <a:moveTo>
                  <a:pt x="3593568" y="701471"/>
                </a:moveTo>
                <a:lnTo>
                  <a:pt x="3593568" y="817336"/>
                </a:lnTo>
                <a:cubicBezTo>
                  <a:pt x="3593568" y="817336"/>
                  <a:pt x="3631321" y="817336"/>
                  <a:pt x="3631321" y="817336"/>
                </a:cubicBezTo>
                <a:lnTo>
                  <a:pt x="3631321" y="701471"/>
                </a:lnTo>
                <a:close/>
                <a:moveTo>
                  <a:pt x="3407727" y="701471"/>
                </a:moveTo>
                <a:lnTo>
                  <a:pt x="3407727" y="817336"/>
                </a:lnTo>
                <a:lnTo>
                  <a:pt x="3445532" y="817336"/>
                </a:lnTo>
                <a:lnTo>
                  <a:pt x="3445532" y="701471"/>
                </a:lnTo>
                <a:close/>
                <a:moveTo>
                  <a:pt x="4658414" y="700637"/>
                </a:moveTo>
                <a:lnTo>
                  <a:pt x="4658414" y="700689"/>
                </a:lnTo>
                <a:lnTo>
                  <a:pt x="4553343" y="1103658"/>
                </a:lnTo>
                <a:lnTo>
                  <a:pt x="4389089" y="1060900"/>
                </a:lnTo>
                <a:close/>
                <a:moveTo>
                  <a:pt x="4595738" y="591083"/>
                </a:moveTo>
                <a:cubicBezTo>
                  <a:pt x="4345133" y="591083"/>
                  <a:pt x="4141979" y="794237"/>
                  <a:pt x="4141979" y="1044841"/>
                </a:cubicBezTo>
                <a:cubicBezTo>
                  <a:pt x="4141979" y="1295446"/>
                  <a:pt x="4345133" y="1498599"/>
                  <a:pt x="4595738" y="1498599"/>
                </a:cubicBezTo>
                <a:cubicBezTo>
                  <a:pt x="4846342" y="1498599"/>
                  <a:pt x="5049495" y="1295446"/>
                  <a:pt x="5049495" y="1044841"/>
                </a:cubicBezTo>
                <a:cubicBezTo>
                  <a:pt x="5049495" y="794237"/>
                  <a:pt x="4846342" y="591083"/>
                  <a:pt x="4595738" y="591083"/>
                </a:cubicBezTo>
                <a:close/>
                <a:moveTo>
                  <a:pt x="0" y="0"/>
                </a:moveTo>
                <a:lnTo>
                  <a:pt x="8124824" y="0"/>
                </a:lnTo>
                <a:lnTo>
                  <a:pt x="8124824" y="6857999"/>
                </a:lnTo>
                <a:lnTo>
                  <a:pt x="0" y="6857999"/>
                </a:lnTo>
                <a:close/>
              </a:path>
            </a:pathLst>
          </a:custGeom>
          <a:solidFill>
            <a:schemeClr val="tx1"/>
          </a:solidFill>
        </p:spPr>
        <p:txBody>
          <a:bodyPr vert="horz" wrap="square" lIns="0" tIns="45720" rIns="0" bIns="45720" rtlCol="0" anchor="ctr">
            <a:noAutofit/>
          </a:bodyPr>
          <a:lstStyle>
            <a:lvl1pPr algn="ctr">
              <a:defRPr lang="en-GB" sz="2800" b="0" dirty="0">
                <a:solidFill>
                  <a:schemeClr val="bg1"/>
                </a:solidFill>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US" dirty="0"/>
              <a:t>ADD RELATED IMAGE </a:t>
            </a:r>
            <a:br>
              <a:rPr lang="en-US" dirty="0"/>
            </a:br>
            <a:r>
              <a:rPr lang="en-US" dirty="0"/>
              <a:t>FROM HFW IMAGE LIBRARY</a:t>
            </a:r>
            <a:endParaRPr lang="en-GB" dirty="0"/>
          </a:p>
        </p:txBody>
      </p:sp>
      <p:sp>
        <p:nvSpPr>
          <p:cNvPr id="9" name="Rectangle 8">
            <a:extLst>
              <a:ext uri="{FF2B5EF4-FFF2-40B4-BE49-F238E27FC236}">
                <a16:creationId xmlns:a16="http://schemas.microsoft.com/office/drawing/2014/main" id="{708FD88D-9C74-4D94-62A5-47E768F9DCD7}"/>
              </a:ext>
            </a:extLst>
          </p:cNvPr>
          <p:cNvSpPr/>
          <p:nvPr userDrawn="1"/>
        </p:nvSpPr>
        <p:spPr>
          <a:xfrm>
            <a:off x="0" y="0"/>
            <a:ext cx="406717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Text Placeholder 12">
            <a:extLst>
              <a:ext uri="{FF2B5EF4-FFF2-40B4-BE49-F238E27FC236}">
                <a16:creationId xmlns:a16="http://schemas.microsoft.com/office/drawing/2014/main" id="{BBA3AA40-3440-5851-3972-390D3DEB2219}"/>
              </a:ext>
            </a:extLst>
          </p:cNvPr>
          <p:cNvSpPr>
            <a:spLocks noGrp="1"/>
          </p:cNvSpPr>
          <p:nvPr>
            <p:ph type="body" sz="quarter" idx="14" hasCustomPrompt="1"/>
          </p:nvPr>
        </p:nvSpPr>
        <p:spPr>
          <a:xfrm>
            <a:off x="508939" y="5989638"/>
            <a:ext cx="3387140" cy="230187"/>
          </a:xfrm>
        </p:spPr>
        <p:txBody>
          <a:bodyPr tIns="0" bIns="0">
            <a:noAutofit/>
          </a:bodyPr>
          <a:lstStyle>
            <a:lvl1pPr>
              <a:defRPr sz="1400">
                <a:solidFill>
                  <a:schemeClr val="accent2"/>
                </a:solidFill>
                <a:latin typeface="+mj-lt"/>
              </a:defRPr>
            </a:lvl1pPr>
            <a:lvl2pPr>
              <a:defRPr>
                <a:solidFill>
                  <a:schemeClr val="bg1"/>
                </a:solidFill>
                <a:latin typeface="+mn-lt"/>
              </a:defRPr>
            </a:lvl2pPr>
            <a:lvl3pPr>
              <a:defRPr>
                <a:solidFill>
                  <a:schemeClr val="bg1"/>
                </a:solidFill>
                <a:latin typeface="+mn-lt"/>
              </a:defRPr>
            </a:lvl3pPr>
            <a:lvl4pPr>
              <a:defRPr>
                <a:solidFill>
                  <a:schemeClr val="bg1"/>
                </a:solidFill>
                <a:latin typeface="+mn-lt"/>
              </a:defRPr>
            </a:lvl4pPr>
            <a:lvl5pPr>
              <a:defRPr>
                <a:solidFill>
                  <a:schemeClr val="bg1"/>
                </a:solidFill>
                <a:latin typeface="+mn-lt"/>
              </a:defRPr>
            </a:lvl5pPr>
          </a:lstStyle>
          <a:p>
            <a:pPr lvl="0"/>
            <a:r>
              <a:rPr lang="en-US" dirty="0"/>
              <a:t>DAY MONTH YEAR</a:t>
            </a:r>
            <a:endParaRPr lang="en-GB" dirty="0"/>
          </a:p>
        </p:txBody>
      </p:sp>
      <p:sp>
        <p:nvSpPr>
          <p:cNvPr id="4" name="TextBox 4">
            <a:extLst>
              <a:ext uri="{FF2B5EF4-FFF2-40B4-BE49-F238E27FC236}">
                <a16:creationId xmlns:a16="http://schemas.microsoft.com/office/drawing/2014/main" id="{265B2CA7-EDCD-E4A1-AC81-AB1BF0FA5D17}"/>
              </a:ext>
            </a:extLst>
          </p:cNvPr>
          <p:cNvSpPr txBox="1"/>
          <p:nvPr userDrawn="1"/>
        </p:nvSpPr>
        <p:spPr>
          <a:xfrm>
            <a:off x="12346713" y="109538"/>
            <a:ext cx="1934437" cy="31700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INSERTING IMAGES:</a:t>
            </a:r>
          </a:p>
          <a:p>
            <a:pPr marL="179388" indent="-179388">
              <a:spcBef>
                <a:spcPts val="200"/>
              </a:spcBef>
              <a:spcAft>
                <a:spcPts val="200"/>
              </a:spcAft>
              <a:buFont typeface="+mj-lt"/>
              <a:buAutoNum type="arabicPeriod"/>
            </a:pPr>
            <a:r>
              <a:rPr lang="en-US" sz="900" dirty="0">
                <a:solidFill>
                  <a:schemeClr val="tx1"/>
                </a:solidFill>
                <a:latin typeface="+mn-lt"/>
              </a:rPr>
              <a:t>Simply click the image placeholder and select your image.</a:t>
            </a:r>
          </a:p>
          <a:p>
            <a:pPr marL="179388" indent="-179388">
              <a:spcBef>
                <a:spcPts val="200"/>
              </a:spcBef>
              <a:spcAft>
                <a:spcPts val="200"/>
              </a:spcAft>
              <a:buFont typeface="+mj-lt"/>
              <a:buAutoNum type="arabicPeriod"/>
            </a:pPr>
            <a:r>
              <a:rPr lang="en-US" sz="900" dirty="0">
                <a:solidFill>
                  <a:schemeClr val="tx1"/>
                </a:solidFill>
                <a:latin typeface="+mn-lt"/>
              </a:rPr>
              <a:t>Once your image is inserted into the shape it may be distorted. (Stretched or Squashed)</a:t>
            </a:r>
          </a:p>
          <a:p>
            <a:pPr marL="179388" indent="-179388">
              <a:spcBef>
                <a:spcPts val="200"/>
              </a:spcBef>
              <a:spcAft>
                <a:spcPts val="200"/>
              </a:spcAft>
              <a:buFont typeface="+mj-lt"/>
              <a:buAutoNum type="arabicPeriod"/>
            </a:pPr>
            <a:endParaRPr lang="en-US" sz="900" dirty="0">
              <a:solidFill>
                <a:schemeClr val="tx1"/>
              </a:solidFill>
              <a:latin typeface="+mn-lt"/>
            </a:endParaRPr>
          </a:p>
          <a:p>
            <a:pPr>
              <a:spcBef>
                <a:spcPts val="200"/>
              </a:spcBef>
              <a:spcAft>
                <a:spcPts val="200"/>
              </a:spcAft>
            </a:pPr>
            <a:r>
              <a:rPr lang="en-US" sz="900" b="1" dirty="0">
                <a:solidFill>
                  <a:schemeClr val="tx1"/>
                </a:solidFill>
                <a:latin typeface="+mn-lt"/>
              </a:rPr>
              <a:t>To fix this:</a:t>
            </a:r>
          </a:p>
          <a:p>
            <a:pPr marL="179388" indent="-179388">
              <a:spcBef>
                <a:spcPts val="200"/>
              </a:spcBef>
              <a:spcAft>
                <a:spcPts val="200"/>
              </a:spcAft>
              <a:buFont typeface="+mj-lt"/>
              <a:buAutoNum type="arabicPeriod"/>
            </a:pPr>
            <a:r>
              <a:rPr lang="en-US" sz="900" dirty="0">
                <a:solidFill>
                  <a:schemeClr val="tx1"/>
                </a:solidFill>
                <a:latin typeface="+mn-lt"/>
              </a:rPr>
              <a:t>Click on the image and from the top menu under </a:t>
            </a:r>
            <a:r>
              <a:rPr lang="en-US" sz="900" b="1" dirty="0">
                <a:solidFill>
                  <a:schemeClr val="tx1"/>
                </a:solidFill>
                <a:latin typeface="+mn-lt"/>
              </a:rPr>
              <a:t>PICTURE FORMAT </a:t>
            </a:r>
            <a:r>
              <a:rPr lang="en-US" sz="900" dirty="0">
                <a:solidFill>
                  <a:schemeClr val="tx1"/>
                </a:solidFill>
                <a:latin typeface="+mn-lt"/>
              </a:rPr>
              <a:t>select the </a:t>
            </a:r>
            <a:r>
              <a:rPr lang="en-US" sz="900" b="1" dirty="0">
                <a:solidFill>
                  <a:schemeClr val="tx1"/>
                </a:solidFill>
                <a:latin typeface="+mn-lt"/>
              </a:rPr>
              <a:t>CROP</a:t>
            </a:r>
            <a:r>
              <a:rPr lang="en-US" sz="900" dirty="0">
                <a:solidFill>
                  <a:schemeClr val="tx1"/>
                </a:solidFill>
                <a:latin typeface="+mn-lt"/>
              </a:rPr>
              <a:t> on the right and from the drop down menu select </a:t>
            </a:r>
            <a:r>
              <a:rPr lang="en-US" sz="900" b="1" kern="1200" dirty="0">
                <a:solidFill>
                  <a:schemeClr val="tx1"/>
                </a:solidFill>
                <a:latin typeface="+mn-lt"/>
                <a:ea typeface="+mn-ea"/>
                <a:cs typeface="+mn-cs"/>
              </a:rPr>
              <a:t>FILL</a:t>
            </a:r>
          </a:p>
          <a:p>
            <a:pPr marL="179388" indent="-179388">
              <a:spcBef>
                <a:spcPts val="200"/>
              </a:spcBef>
              <a:spcAft>
                <a:spcPts val="200"/>
              </a:spcAft>
              <a:buFont typeface="+mj-lt"/>
              <a:buAutoNum type="arabicPeriod"/>
            </a:pPr>
            <a:r>
              <a:rPr lang="en-US" sz="900" b="0" kern="1200" dirty="0">
                <a:solidFill>
                  <a:schemeClr val="tx1"/>
                </a:solidFill>
                <a:latin typeface="+mn-lt"/>
                <a:ea typeface="+mn-ea"/>
                <a:cs typeface="+mn-cs"/>
              </a:rPr>
              <a:t>From here you can move the image within the shape for best visual appearance</a:t>
            </a:r>
          </a:p>
        </p:txBody>
      </p:sp>
      <p:sp>
        <p:nvSpPr>
          <p:cNvPr id="10" name="Title 1">
            <a:extLst>
              <a:ext uri="{FF2B5EF4-FFF2-40B4-BE49-F238E27FC236}">
                <a16:creationId xmlns:a16="http://schemas.microsoft.com/office/drawing/2014/main" id="{1D9960C9-AE88-FF64-7340-9EC8DF655E87}"/>
              </a:ext>
            </a:extLst>
          </p:cNvPr>
          <p:cNvSpPr>
            <a:spLocks noGrp="1"/>
          </p:cNvSpPr>
          <p:nvPr>
            <p:ph type="ctrTitle" hasCustomPrompt="1"/>
          </p:nvPr>
        </p:nvSpPr>
        <p:spPr>
          <a:xfrm>
            <a:off x="508939" y="2430692"/>
            <a:ext cx="2792526" cy="2387600"/>
          </a:xfrm>
        </p:spPr>
        <p:txBody>
          <a:bodyPr vert="horz" lIns="0" tIns="0" rIns="0" bIns="0" rtlCol="0" anchor="t" anchorCtr="0">
            <a:noAutofit/>
          </a:bodyPr>
          <a:lstStyle>
            <a:lvl1pPr>
              <a:lnSpc>
                <a:spcPct val="100000"/>
              </a:lnSpc>
              <a:defRPr lang="en-US" sz="3300" dirty="0">
                <a:solidFill>
                  <a:schemeClr val="bg1"/>
                </a:solidFill>
              </a:defRPr>
            </a:lvl1pPr>
          </a:lstStyle>
          <a:p>
            <a:pPr lvl="0"/>
            <a:r>
              <a:rPr lang="en-US" dirty="0"/>
              <a:t>PROPOSAL TO [CLIENT] FOR LEGAL SERVICES</a:t>
            </a:r>
          </a:p>
        </p:txBody>
      </p:sp>
      <p:sp>
        <p:nvSpPr>
          <p:cNvPr id="8" name="Graphic 13">
            <a:extLst>
              <a:ext uri="{FF2B5EF4-FFF2-40B4-BE49-F238E27FC236}">
                <a16:creationId xmlns:a16="http://schemas.microsoft.com/office/drawing/2014/main" id="{457F6E76-D184-ACC1-8814-858AF48FD187}"/>
              </a:ext>
            </a:extLst>
          </p:cNvPr>
          <p:cNvSpPr>
            <a:spLocks noGrp="1" noRot="1" noMove="1" noResize="1" noEditPoints="1" noAdjustHandles="1" noChangeArrowheads="1" noChangeShapeType="1"/>
          </p:cNvSpPr>
          <p:nvPr userDrawn="1"/>
        </p:nvSpPr>
        <p:spPr>
          <a:xfrm>
            <a:off x="585463" y="588011"/>
            <a:ext cx="1522695" cy="922576"/>
          </a:xfrm>
          <a:custGeom>
            <a:avLst/>
            <a:gdLst>
              <a:gd name="connsiteX0" fmla="*/ 618149 w 1522695"/>
              <a:gd name="connsiteY0" fmla="*/ 39943 h 922576"/>
              <a:gd name="connsiteX1" fmla="*/ 421345 w 1522695"/>
              <a:gd name="connsiteY1" fmla="*/ 876531 h 922576"/>
              <a:gd name="connsiteX2" fmla="*/ 388753 w 1522695"/>
              <a:gd name="connsiteY2" fmla="*/ 915365 h 922576"/>
              <a:gd name="connsiteX3" fmla="*/ 349364 w 1522695"/>
              <a:gd name="connsiteY3" fmla="*/ 922577 h 922576"/>
              <a:gd name="connsiteX4" fmla="*/ 328006 w 1522695"/>
              <a:gd name="connsiteY4" fmla="*/ 897196 h 922576"/>
              <a:gd name="connsiteX5" fmla="*/ 431608 w 1522695"/>
              <a:gd name="connsiteY5" fmla="*/ 465033 h 922576"/>
              <a:gd name="connsiteX6" fmla="*/ 224958 w 1522695"/>
              <a:gd name="connsiteY6" fmla="*/ 504838 h 922576"/>
              <a:gd name="connsiteX7" fmla="*/ 185292 w 1522695"/>
              <a:gd name="connsiteY7" fmla="*/ 702473 h 922576"/>
              <a:gd name="connsiteX8" fmla="*/ 159634 w 1522695"/>
              <a:gd name="connsiteY8" fmla="*/ 738117 h 922576"/>
              <a:gd name="connsiteX9" fmla="*/ 102771 w 1522695"/>
              <a:gd name="connsiteY9" fmla="*/ 719671 h 922576"/>
              <a:gd name="connsiteX10" fmla="*/ 150203 w 1522695"/>
              <a:gd name="connsiteY10" fmla="*/ 519816 h 922576"/>
              <a:gd name="connsiteX11" fmla="*/ 62411 w 1522695"/>
              <a:gd name="connsiteY11" fmla="*/ 533547 h 922576"/>
              <a:gd name="connsiteX12" fmla="*/ 0 w 1522695"/>
              <a:gd name="connsiteY12" fmla="*/ 507750 h 922576"/>
              <a:gd name="connsiteX13" fmla="*/ 163795 w 1522695"/>
              <a:gd name="connsiteY13" fmla="*/ 465588 h 922576"/>
              <a:gd name="connsiteX14" fmla="*/ 234805 w 1522695"/>
              <a:gd name="connsiteY14" fmla="*/ 162547 h 922576"/>
              <a:gd name="connsiteX15" fmla="*/ 258244 w 1522695"/>
              <a:gd name="connsiteY15" fmla="*/ 135502 h 922576"/>
              <a:gd name="connsiteX16" fmla="*/ 300961 w 1522695"/>
              <a:gd name="connsiteY16" fmla="*/ 126625 h 922576"/>
              <a:gd name="connsiteX17" fmla="*/ 316772 w 1522695"/>
              <a:gd name="connsiteY17" fmla="*/ 149232 h 922576"/>
              <a:gd name="connsiteX18" fmla="*/ 239104 w 1522695"/>
              <a:gd name="connsiteY18" fmla="*/ 449084 h 922576"/>
              <a:gd name="connsiteX19" fmla="*/ 447697 w 1522695"/>
              <a:gd name="connsiteY19" fmla="*/ 404564 h 922576"/>
              <a:gd name="connsiteX20" fmla="*/ 542839 w 1522695"/>
              <a:gd name="connsiteY20" fmla="*/ 34950 h 922576"/>
              <a:gd name="connsiteX21" fmla="*/ 557402 w 1522695"/>
              <a:gd name="connsiteY21" fmla="*/ 6935 h 922576"/>
              <a:gd name="connsiteX22" fmla="*/ 592907 w 1522695"/>
              <a:gd name="connsiteY22" fmla="*/ 0 h 922576"/>
              <a:gd name="connsiteX23" fmla="*/ 620506 w 1522695"/>
              <a:gd name="connsiteY23" fmla="*/ 25381 h 922576"/>
              <a:gd name="connsiteX24" fmla="*/ 618426 w 1522695"/>
              <a:gd name="connsiteY24" fmla="*/ 40359 h 922576"/>
              <a:gd name="connsiteX25" fmla="*/ 845048 w 1522695"/>
              <a:gd name="connsiteY25" fmla="*/ 445755 h 922576"/>
              <a:gd name="connsiteX26" fmla="*/ 684582 w 1522695"/>
              <a:gd name="connsiteY26" fmla="*/ 476544 h 922576"/>
              <a:gd name="connsiteX27" fmla="*/ 729241 w 1522695"/>
              <a:gd name="connsiteY27" fmla="*/ 311918 h 922576"/>
              <a:gd name="connsiteX28" fmla="*/ 1087204 w 1522695"/>
              <a:gd name="connsiteY28" fmla="*/ 231060 h 922576"/>
              <a:gd name="connsiteX29" fmla="*/ 1110643 w 1522695"/>
              <a:gd name="connsiteY29" fmla="*/ 218994 h 922576"/>
              <a:gd name="connsiteX30" fmla="*/ 1053363 w 1522695"/>
              <a:gd name="connsiteY30" fmla="*/ 185708 h 922576"/>
              <a:gd name="connsiteX31" fmla="*/ 1029785 w 1522695"/>
              <a:gd name="connsiteY31" fmla="*/ 187927 h 922576"/>
              <a:gd name="connsiteX32" fmla="*/ 636872 w 1522695"/>
              <a:gd name="connsiteY32" fmla="*/ 267536 h 922576"/>
              <a:gd name="connsiteX33" fmla="*/ 610798 w 1522695"/>
              <a:gd name="connsiteY33" fmla="*/ 284595 h 922576"/>
              <a:gd name="connsiteX34" fmla="*/ 652683 w 1522695"/>
              <a:gd name="connsiteY34" fmla="*/ 321210 h 922576"/>
              <a:gd name="connsiteX35" fmla="*/ 524948 w 1522695"/>
              <a:gd name="connsiteY35" fmla="*/ 802192 h 922576"/>
              <a:gd name="connsiteX36" fmla="*/ 537569 w 1522695"/>
              <a:gd name="connsiteY36" fmla="*/ 815646 h 922576"/>
              <a:gd name="connsiteX37" fmla="*/ 595542 w 1522695"/>
              <a:gd name="connsiteY37" fmla="*/ 802886 h 922576"/>
              <a:gd name="connsiteX38" fmla="*/ 616762 w 1522695"/>
              <a:gd name="connsiteY38" fmla="*/ 763914 h 922576"/>
              <a:gd name="connsiteX39" fmla="*/ 669603 w 1522695"/>
              <a:gd name="connsiteY39" fmla="*/ 537430 h 922576"/>
              <a:gd name="connsiteX40" fmla="*/ 808988 w 1522695"/>
              <a:gd name="connsiteY40" fmla="*/ 509276 h 922576"/>
              <a:gd name="connsiteX41" fmla="*/ 859611 w 1522695"/>
              <a:gd name="connsiteY41" fmla="*/ 477238 h 922576"/>
              <a:gd name="connsiteX42" fmla="*/ 872232 w 1522695"/>
              <a:gd name="connsiteY42" fmla="*/ 451996 h 922576"/>
              <a:gd name="connsiteX43" fmla="*/ 845187 w 1522695"/>
              <a:gd name="connsiteY43" fmla="*/ 445755 h 922576"/>
              <a:gd name="connsiteX44" fmla="*/ 1479701 w 1522695"/>
              <a:gd name="connsiteY44" fmla="*/ 159218 h 922576"/>
              <a:gd name="connsiteX45" fmla="*/ 1409801 w 1522695"/>
              <a:gd name="connsiteY45" fmla="*/ 217052 h 922576"/>
              <a:gd name="connsiteX46" fmla="*/ 1212442 w 1522695"/>
              <a:gd name="connsiteY46" fmla="*/ 666691 h 922576"/>
              <a:gd name="connsiteX47" fmla="*/ 1231721 w 1522695"/>
              <a:gd name="connsiteY47" fmla="*/ 323845 h 922576"/>
              <a:gd name="connsiteX48" fmla="*/ 1206895 w 1522695"/>
              <a:gd name="connsiteY48" fmla="*/ 300683 h 922576"/>
              <a:gd name="connsiteX49" fmla="*/ 1151002 w 1522695"/>
              <a:gd name="connsiteY49" fmla="*/ 324677 h 922576"/>
              <a:gd name="connsiteX50" fmla="*/ 1137549 w 1522695"/>
              <a:gd name="connsiteY50" fmla="*/ 353525 h 922576"/>
              <a:gd name="connsiteX51" fmla="*/ 980689 w 1522695"/>
              <a:gd name="connsiteY51" fmla="*/ 605528 h 922576"/>
              <a:gd name="connsiteX52" fmla="*/ 1041574 w 1522695"/>
              <a:gd name="connsiteY52" fmla="*/ 331196 h 922576"/>
              <a:gd name="connsiteX53" fmla="*/ 1029369 w 1522695"/>
              <a:gd name="connsiteY53" fmla="*/ 319962 h 922576"/>
              <a:gd name="connsiteX54" fmla="*/ 988871 w 1522695"/>
              <a:gd name="connsiteY54" fmla="*/ 327728 h 922576"/>
              <a:gd name="connsiteX55" fmla="*/ 954892 w 1522695"/>
              <a:gd name="connsiteY55" fmla="*/ 369752 h 922576"/>
              <a:gd name="connsiteX56" fmla="*/ 880553 w 1522695"/>
              <a:gd name="connsiteY56" fmla="*/ 711766 h 922576"/>
              <a:gd name="connsiteX57" fmla="*/ 902328 w 1522695"/>
              <a:gd name="connsiteY57" fmla="*/ 741862 h 922576"/>
              <a:gd name="connsiteX58" fmla="*/ 960024 w 1522695"/>
              <a:gd name="connsiteY58" fmla="*/ 718423 h 922576"/>
              <a:gd name="connsiteX59" fmla="*/ 1144483 w 1522695"/>
              <a:gd name="connsiteY59" fmla="*/ 419542 h 922576"/>
              <a:gd name="connsiteX60" fmla="*/ 1128950 w 1522695"/>
              <a:gd name="connsiteY60" fmla="*/ 709546 h 922576"/>
              <a:gd name="connsiteX61" fmla="*/ 1162375 w 1522695"/>
              <a:gd name="connsiteY61" fmla="*/ 786798 h 922576"/>
              <a:gd name="connsiteX62" fmla="*/ 1235049 w 1522695"/>
              <a:gd name="connsiteY62" fmla="*/ 740891 h 922576"/>
              <a:gd name="connsiteX63" fmla="*/ 1512016 w 1522695"/>
              <a:gd name="connsiteY63" fmla="*/ 203322 h 922576"/>
              <a:gd name="connsiteX64" fmla="*/ 1522696 w 1522695"/>
              <a:gd name="connsiteY64" fmla="*/ 183766 h 922576"/>
              <a:gd name="connsiteX65" fmla="*/ 1479840 w 1522695"/>
              <a:gd name="connsiteY65" fmla="*/ 159357 h 922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522695" h="922576">
                <a:moveTo>
                  <a:pt x="618149" y="39943"/>
                </a:moveTo>
                <a:cubicBezTo>
                  <a:pt x="568774" y="240214"/>
                  <a:pt x="450887" y="614404"/>
                  <a:pt x="421345" y="876531"/>
                </a:cubicBezTo>
                <a:cubicBezTo>
                  <a:pt x="418849" y="898167"/>
                  <a:pt x="420374" y="906627"/>
                  <a:pt x="388753" y="915365"/>
                </a:cubicBezTo>
                <a:cubicBezTo>
                  <a:pt x="373497" y="919526"/>
                  <a:pt x="359350" y="922577"/>
                  <a:pt x="349364" y="922577"/>
                </a:cubicBezTo>
                <a:cubicBezTo>
                  <a:pt x="333831" y="922577"/>
                  <a:pt x="328006" y="913978"/>
                  <a:pt x="328006" y="897196"/>
                </a:cubicBezTo>
                <a:cubicBezTo>
                  <a:pt x="328006" y="851567"/>
                  <a:pt x="390972" y="623280"/>
                  <a:pt x="431608" y="465033"/>
                </a:cubicBezTo>
                <a:cubicBezTo>
                  <a:pt x="377380" y="475296"/>
                  <a:pt x="300961" y="489998"/>
                  <a:pt x="224958" y="504838"/>
                </a:cubicBezTo>
                <a:cubicBezTo>
                  <a:pt x="206512" y="579870"/>
                  <a:pt x="193336" y="642697"/>
                  <a:pt x="185292" y="702473"/>
                </a:cubicBezTo>
                <a:cubicBezTo>
                  <a:pt x="183350" y="716897"/>
                  <a:pt x="185292" y="730489"/>
                  <a:pt x="159634" y="738117"/>
                </a:cubicBezTo>
                <a:cubicBezTo>
                  <a:pt x="116362" y="751015"/>
                  <a:pt x="100968" y="743803"/>
                  <a:pt x="102771" y="719671"/>
                </a:cubicBezTo>
                <a:cubicBezTo>
                  <a:pt x="105683" y="679589"/>
                  <a:pt x="118443" y="648661"/>
                  <a:pt x="150203" y="519816"/>
                </a:cubicBezTo>
                <a:cubicBezTo>
                  <a:pt x="110676" y="527722"/>
                  <a:pt x="79748" y="533547"/>
                  <a:pt x="62411" y="533547"/>
                </a:cubicBezTo>
                <a:cubicBezTo>
                  <a:pt x="38972" y="533547"/>
                  <a:pt x="0" y="517459"/>
                  <a:pt x="0" y="507750"/>
                </a:cubicBezTo>
                <a:cubicBezTo>
                  <a:pt x="0" y="496239"/>
                  <a:pt x="27184" y="496377"/>
                  <a:pt x="163795" y="465588"/>
                </a:cubicBezTo>
                <a:cubicBezTo>
                  <a:pt x="190146" y="360876"/>
                  <a:pt x="227038" y="219133"/>
                  <a:pt x="234805" y="162547"/>
                </a:cubicBezTo>
                <a:cubicBezTo>
                  <a:pt x="236192" y="152145"/>
                  <a:pt x="239798" y="140633"/>
                  <a:pt x="258244" y="135502"/>
                </a:cubicBezTo>
                <a:cubicBezTo>
                  <a:pt x="269339" y="132451"/>
                  <a:pt x="290004" y="126625"/>
                  <a:pt x="300961" y="126625"/>
                </a:cubicBezTo>
                <a:cubicBezTo>
                  <a:pt x="313304" y="126625"/>
                  <a:pt x="316772" y="137721"/>
                  <a:pt x="316772" y="149232"/>
                </a:cubicBezTo>
                <a:cubicBezTo>
                  <a:pt x="316772" y="170036"/>
                  <a:pt x="273916" y="298048"/>
                  <a:pt x="239104" y="449084"/>
                </a:cubicBezTo>
                <a:cubicBezTo>
                  <a:pt x="309837" y="433689"/>
                  <a:pt x="385424" y="417739"/>
                  <a:pt x="447697" y="404564"/>
                </a:cubicBezTo>
                <a:cubicBezTo>
                  <a:pt x="485421" y="261434"/>
                  <a:pt x="522313" y="121910"/>
                  <a:pt x="542839" y="34950"/>
                </a:cubicBezTo>
                <a:cubicBezTo>
                  <a:pt x="547277" y="16227"/>
                  <a:pt x="546445" y="10679"/>
                  <a:pt x="557402" y="6935"/>
                </a:cubicBezTo>
                <a:cubicBezTo>
                  <a:pt x="562533" y="5132"/>
                  <a:pt x="578205" y="0"/>
                  <a:pt x="592907" y="0"/>
                </a:cubicBezTo>
                <a:cubicBezTo>
                  <a:pt x="607608" y="0"/>
                  <a:pt x="620506" y="5548"/>
                  <a:pt x="620506" y="25381"/>
                </a:cubicBezTo>
                <a:cubicBezTo>
                  <a:pt x="620506" y="29680"/>
                  <a:pt x="619813" y="34673"/>
                  <a:pt x="618426" y="40359"/>
                </a:cubicBezTo>
                <a:close/>
                <a:moveTo>
                  <a:pt x="845048" y="445755"/>
                </a:moveTo>
                <a:cubicBezTo>
                  <a:pt x="796922" y="454076"/>
                  <a:pt x="739920" y="465865"/>
                  <a:pt x="684582" y="476544"/>
                </a:cubicBezTo>
                <a:cubicBezTo>
                  <a:pt x="700670" y="412608"/>
                  <a:pt x="716620" y="352970"/>
                  <a:pt x="729241" y="311918"/>
                </a:cubicBezTo>
                <a:cubicBezTo>
                  <a:pt x="838946" y="287092"/>
                  <a:pt x="1056276" y="236053"/>
                  <a:pt x="1087204" y="231060"/>
                </a:cubicBezTo>
                <a:cubicBezTo>
                  <a:pt x="1104679" y="228148"/>
                  <a:pt x="1110643" y="223155"/>
                  <a:pt x="1110643" y="218994"/>
                </a:cubicBezTo>
                <a:cubicBezTo>
                  <a:pt x="1110643" y="211089"/>
                  <a:pt x="1084985" y="185708"/>
                  <a:pt x="1053363" y="185708"/>
                </a:cubicBezTo>
                <a:cubicBezTo>
                  <a:pt x="1046428" y="185708"/>
                  <a:pt x="1038662" y="186402"/>
                  <a:pt x="1029785" y="187927"/>
                </a:cubicBezTo>
                <a:cubicBezTo>
                  <a:pt x="966542" y="199023"/>
                  <a:pt x="709269" y="252974"/>
                  <a:pt x="636872" y="267536"/>
                </a:cubicBezTo>
                <a:cubicBezTo>
                  <a:pt x="618842" y="271142"/>
                  <a:pt x="610798" y="277661"/>
                  <a:pt x="610798" y="284595"/>
                </a:cubicBezTo>
                <a:cubicBezTo>
                  <a:pt x="610798" y="295136"/>
                  <a:pt x="636317" y="316217"/>
                  <a:pt x="652683" y="321210"/>
                </a:cubicBezTo>
                <a:cubicBezTo>
                  <a:pt x="616623" y="461427"/>
                  <a:pt x="524948" y="770571"/>
                  <a:pt x="524948" y="802192"/>
                </a:cubicBezTo>
                <a:cubicBezTo>
                  <a:pt x="524948" y="809959"/>
                  <a:pt x="527583" y="815646"/>
                  <a:pt x="537569" y="815646"/>
                </a:cubicBezTo>
                <a:cubicBezTo>
                  <a:pt x="551299" y="815646"/>
                  <a:pt x="579176" y="809682"/>
                  <a:pt x="595542" y="802886"/>
                </a:cubicBezTo>
                <a:cubicBezTo>
                  <a:pt x="611908" y="795951"/>
                  <a:pt x="611630" y="787907"/>
                  <a:pt x="616762" y="763914"/>
                </a:cubicBezTo>
                <a:cubicBezTo>
                  <a:pt x="627996" y="712043"/>
                  <a:pt x="648106" y="624945"/>
                  <a:pt x="669603" y="537430"/>
                </a:cubicBezTo>
                <a:cubicBezTo>
                  <a:pt x="735620" y="523422"/>
                  <a:pt x="777505" y="516488"/>
                  <a:pt x="808988" y="509276"/>
                </a:cubicBezTo>
                <a:cubicBezTo>
                  <a:pt x="843661" y="501370"/>
                  <a:pt x="850180" y="491107"/>
                  <a:pt x="859611" y="477238"/>
                </a:cubicBezTo>
                <a:cubicBezTo>
                  <a:pt x="865852" y="468223"/>
                  <a:pt x="872232" y="456850"/>
                  <a:pt x="872232" y="451996"/>
                </a:cubicBezTo>
                <a:cubicBezTo>
                  <a:pt x="872232" y="444368"/>
                  <a:pt x="864742" y="442288"/>
                  <a:pt x="845187" y="445755"/>
                </a:cubicBezTo>
                <a:close/>
                <a:moveTo>
                  <a:pt x="1479701" y="159218"/>
                </a:moveTo>
                <a:cubicBezTo>
                  <a:pt x="1459452" y="159218"/>
                  <a:pt x="1437955" y="171978"/>
                  <a:pt x="1409801" y="217052"/>
                </a:cubicBezTo>
                <a:cubicBezTo>
                  <a:pt x="1369857" y="281128"/>
                  <a:pt x="1274854" y="509553"/>
                  <a:pt x="1212442" y="666691"/>
                </a:cubicBezTo>
                <a:cubicBezTo>
                  <a:pt x="1210639" y="502202"/>
                  <a:pt x="1231721" y="360598"/>
                  <a:pt x="1231721" y="323845"/>
                </a:cubicBezTo>
                <a:cubicBezTo>
                  <a:pt x="1231721" y="305399"/>
                  <a:pt x="1220348" y="300683"/>
                  <a:pt x="1206895" y="300683"/>
                </a:cubicBezTo>
                <a:cubicBezTo>
                  <a:pt x="1188310" y="300683"/>
                  <a:pt x="1160988" y="301516"/>
                  <a:pt x="1151002" y="324677"/>
                </a:cubicBezTo>
                <a:cubicBezTo>
                  <a:pt x="1144483" y="339795"/>
                  <a:pt x="1143374" y="343262"/>
                  <a:pt x="1137549" y="353525"/>
                </a:cubicBezTo>
                <a:cubicBezTo>
                  <a:pt x="1125205" y="375577"/>
                  <a:pt x="1053502" y="501786"/>
                  <a:pt x="980689" y="605528"/>
                </a:cubicBezTo>
                <a:cubicBezTo>
                  <a:pt x="1012588" y="432995"/>
                  <a:pt x="1041574" y="349087"/>
                  <a:pt x="1041574" y="331196"/>
                </a:cubicBezTo>
                <a:cubicBezTo>
                  <a:pt x="1041574" y="322874"/>
                  <a:pt x="1036165" y="319962"/>
                  <a:pt x="1029369" y="319962"/>
                </a:cubicBezTo>
                <a:cubicBezTo>
                  <a:pt x="1021325" y="319962"/>
                  <a:pt x="1000799" y="324816"/>
                  <a:pt x="988871" y="327728"/>
                </a:cubicBezTo>
                <a:cubicBezTo>
                  <a:pt x="974864" y="331196"/>
                  <a:pt x="963768" y="335772"/>
                  <a:pt x="954892" y="369752"/>
                </a:cubicBezTo>
                <a:cubicBezTo>
                  <a:pt x="925905" y="479734"/>
                  <a:pt x="880553" y="665720"/>
                  <a:pt x="880553" y="711766"/>
                </a:cubicBezTo>
                <a:cubicBezTo>
                  <a:pt x="880553" y="731876"/>
                  <a:pt x="884575" y="741862"/>
                  <a:pt x="902328" y="741862"/>
                </a:cubicBezTo>
                <a:cubicBezTo>
                  <a:pt x="921051" y="741862"/>
                  <a:pt x="947541" y="736591"/>
                  <a:pt x="960024" y="718423"/>
                </a:cubicBezTo>
                <a:cubicBezTo>
                  <a:pt x="1022851" y="626609"/>
                  <a:pt x="1086372" y="516349"/>
                  <a:pt x="1144483" y="419542"/>
                </a:cubicBezTo>
                <a:cubicBezTo>
                  <a:pt x="1135191" y="510801"/>
                  <a:pt x="1128950" y="628967"/>
                  <a:pt x="1128950" y="709546"/>
                </a:cubicBezTo>
                <a:cubicBezTo>
                  <a:pt x="1128950" y="765023"/>
                  <a:pt x="1130614" y="786798"/>
                  <a:pt x="1162375" y="786798"/>
                </a:cubicBezTo>
                <a:cubicBezTo>
                  <a:pt x="1191223" y="786798"/>
                  <a:pt x="1217019" y="781666"/>
                  <a:pt x="1235049" y="740891"/>
                </a:cubicBezTo>
                <a:cubicBezTo>
                  <a:pt x="1297599" y="599148"/>
                  <a:pt x="1429911" y="303735"/>
                  <a:pt x="1512016" y="203322"/>
                </a:cubicBezTo>
                <a:cubicBezTo>
                  <a:pt x="1517425" y="196803"/>
                  <a:pt x="1522696" y="191256"/>
                  <a:pt x="1522696" y="183766"/>
                </a:cubicBezTo>
                <a:cubicBezTo>
                  <a:pt x="1522696" y="173365"/>
                  <a:pt x="1498563" y="159357"/>
                  <a:pt x="1479840" y="159357"/>
                </a:cubicBezTo>
                <a:close/>
              </a:path>
            </a:pathLst>
          </a:custGeom>
          <a:solidFill>
            <a:schemeClr val="bg1"/>
          </a:solidFill>
          <a:ln w="13855" cap="flat">
            <a:noFill/>
            <a:prstDash val="solid"/>
            <a:miter/>
          </a:ln>
        </p:spPr>
        <p:txBody>
          <a:bodyPr rtlCol="0" anchor="ctr"/>
          <a:lstStyle/>
          <a:p>
            <a:endParaRPr lang="en-GB"/>
          </a:p>
        </p:txBody>
      </p:sp>
    </p:spTree>
    <p:extLst>
      <p:ext uri="{BB962C8B-B14F-4D97-AF65-F5344CB8AC3E}">
        <p14:creationId xmlns:p14="http://schemas.microsoft.com/office/powerpoint/2010/main" val="1050927268"/>
      </p:ext>
    </p:extLst>
  </p:cSld>
  <p:clrMapOvr>
    <a:masterClrMapping/>
  </p:clrMapOvr>
  <p:transition spd="med">
    <p:fade/>
  </p:transition>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Content &amp; Image COMMODITIE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261A4C7-E98D-3660-5C37-C13B3A230A80}"/>
              </a:ext>
            </a:extLst>
          </p:cNvPr>
          <p:cNvSpPr/>
          <p:nvPr userDrawn="1"/>
        </p:nvSpPr>
        <p:spPr>
          <a:xfrm>
            <a:off x="8126413" y="0"/>
            <a:ext cx="40655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Footer Placeholder 4"/>
          <p:cNvSpPr>
            <a:spLocks noGrp="1"/>
          </p:cNvSpPr>
          <p:nvPr>
            <p:ph type="ftr" sz="quarter" idx="11"/>
          </p:nvPr>
        </p:nvSpPr>
        <p:spPr/>
        <p:txBody>
          <a:bodyPr/>
          <a:lstStyle/>
          <a:p>
            <a:r>
              <a:rPr lang="en-GB"/>
              <a:t>INSERT FOOTER HER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8CFE0557-AA98-4E6C-B0C3-581794696B68}" type="slidenum">
              <a:rPr lang="en-GB" smtClean="0"/>
              <a:pPr/>
              <a:t>‹#›</a:t>
            </a:fld>
            <a:endParaRPr lang="en-GB"/>
          </a:p>
        </p:txBody>
      </p:sp>
      <p:sp>
        <p:nvSpPr>
          <p:cNvPr id="10" name="Content Placeholder 2">
            <a:extLst>
              <a:ext uri="{FF2B5EF4-FFF2-40B4-BE49-F238E27FC236}">
                <a16:creationId xmlns:a16="http://schemas.microsoft.com/office/drawing/2014/main" id="{182B4A0E-C187-E12F-BB7B-7E465EDEEA4C}"/>
              </a:ext>
            </a:extLst>
          </p:cNvPr>
          <p:cNvSpPr>
            <a:spLocks noGrp="1"/>
          </p:cNvSpPr>
          <p:nvPr>
            <p:ph idx="1" hasCustomPrompt="1"/>
          </p:nvPr>
        </p:nvSpPr>
        <p:spPr>
          <a:xfrm>
            <a:off x="508000" y="1244882"/>
            <a:ext cx="7142820" cy="291662"/>
          </a:xfrm>
        </p:spPr>
        <p:txBody>
          <a:bodyPr vert="horz" lIns="0" tIns="45720" rIns="0" bIns="45720" numCol="1" spcCol="288000" rtlCol="0">
            <a:noAutofit/>
          </a:bodyPr>
          <a:lstStyle>
            <a:lvl1pPr>
              <a:defRPr lang="en-US" cap="all" baseline="0" dirty="0" smtClean="0"/>
            </a:lvl1pPr>
            <a:lvl2pPr>
              <a:defRPr lang="en-US" dirty="0"/>
            </a:lvl2pPr>
            <a:lvl3pPr>
              <a:defRPr lang="en-US" dirty="0"/>
            </a:lvl3pPr>
            <a:lvl4pPr>
              <a:defRPr lang="en-US" dirty="0"/>
            </a:lvl4pPr>
            <a:lvl5pPr>
              <a:defRPr lang="en-US" dirty="0"/>
            </a:lvl5pPr>
          </a:lstStyle>
          <a:p>
            <a:pPr lvl="0"/>
            <a:r>
              <a:rPr lang="en-US" dirty="0"/>
              <a:t>subhead</a:t>
            </a:r>
          </a:p>
        </p:txBody>
      </p:sp>
      <p:sp>
        <p:nvSpPr>
          <p:cNvPr id="12" name="Content Placeholder 2">
            <a:extLst>
              <a:ext uri="{FF2B5EF4-FFF2-40B4-BE49-F238E27FC236}">
                <a16:creationId xmlns:a16="http://schemas.microsoft.com/office/drawing/2014/main" id="{79AF8CE8-F801-FBFD-7F6F-0BE65F72C036}"/>
              </a:ext>
            </a:extLst>
          </p:cNvPr>
          <p:cNvSpPr>
            <a:spLocks noGrp="1"/>
          </p:cNvSpPr>
          <p:nvPr>
            <p:ph idx="16" hasCustomPrompt="1"/>
          </p:nvPr>
        </p:nvSpPr>
        <p:spPr>
          <a:xfrm>
            <a:off x="508000" y="1613017"/>
            <a:ext cx="3400425" cy="4606808"/>
          </a:xfrm>
        </p:spPr>
        <p:txBody>
          <a:bodyPr vert="horz" lIns="0" tIns="45720" rIns="0" bIns="4572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7" name="TextBox 4">
            <a:extLst>
              <a:ext uri="{FF2B5EF4-FFF2-40B4-BE49-F238E27FC236}">
                <a16:creationId xmlns:a16="http://schemas.microsoft.com/office/drawing/2014/main" id="{ECC1AF18-C7ED-CAA0-D1D3-14DEFC5E2590}"/>
              </a:ext>
            </a:extLst>
          </p:cNvPr>
          <p:cNvSpPr txBox="1"/>
          <p:nvPr userDrawn="1"/>
        </p:nvSpPr>
        <p:spPr>
          <a:xfrm>
            <a:off x="12346713" y="109538"/>
            <a:ext cx="1934437" cy="31700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INSERTING IMAGES:</a:t>
            </a:r>
          </a:p>
          <a:p>
            <a:pPr marL="179388" indent="-179388">
              <a:spcBef>
                <a:spcPts val="200"/>
              </a:spcBef>
              <a:spcAft>
                <a:spcPts val="200"/>
              </a:spcAft>
              <a:buFont typeface="+mj-lt"/>
              <a:buAutoNum type="arabicPeriod"/>
            </a:pPr>
            <a:r>
              <a:rPr lang="en-US" sz="900" dirty="0">
                <a:solidFill>
                  <a:schemeClr val="tx1"/>
                </a:solidFill>
                <a:latin typeface="+mn-lt"/>
              </a:rPr>
              <a:t>Simply click the image placeholder and select your image.</a:t>
            </a:r>
          </a:p>
          <a:p>
            <a:pPr marL="179388" indent="-179388">
              <a:spcBef>
                <a:spcPts val="200"/>
              </a:spcBef>
              <a:spcAft>
                <a:spcPts val="200"/>
              </a:spcAft>
              <a:buFont typeface="+mj-lt"/>
              <a:buAutoNum type="arabicPeriod"/>
            </a:pPr>
            <a:r>
              <a:rPr lang="en-US" sz="900" dirty="0">
                <a:solidFill>
                  <a:schemeClr val="tx1"/>
                </a:solidFill>
                <a:latin typeface="+mn-lt"/>
              </a:rPr>
              <a:t>Once your image is inserted into the shape it may be distorted. (Stretched or Squashed)</a:t>
            </a:r>
          </a:p>
          <a:p>
            <a:pPr marL="179388" indent="-179388">
              <a:spcBef>
                <a:spcPts val="200"/>
              </a:spcBef>
              <a:spcAft>
                <a:spcPts val="200"/>
              </a:spcAft>
              <a:buFont typeface="+mj-lt"/>
              <a:buAutoNum type="arabicPeriod"/>
            </a:pPr>
            <a:endParaRPr lang="en-US" sz="900" dirty="0">
              <a:solidFill>
                <a:schemeClr val="tx1"/>
              </a:solidFill>
              <a:latin typeface="+mn-lt"/>
            </a:endParaRPr>
          </a:p>
          <a:p>
            <a:pPr>
              <a:spcBef>
                <a:spcPts val="200"/>
              </a:spcBef>
              <a:spcAft>
                <a:spcPts val="200"/>
              </a:spcAft>
            </a:pPr>
            <a:r>
              <a:rPr lang="en-US" sz="900" b="1" dirty="0">
                <a:solidFill>
                  <a:schemeClr val="tx1"/>
                </a:solidFill>
                <a:latin typeface="+mn-lt"/>
              </a:rPr>
              <a:t>To fix this:</a:t>
            </a:r>
          </a:p>
          <a:p>
            <a:pPr marL="179388" indent="-179388">
              <a:spcBef>
                <a:spcPts val="200"/>
              </a:spcBef>
              <a:spcAft>
                <a:spcPts val="200"/>
              </a:spcAft>
              <a:buFont typeface="+mj-lt"/>
              <a:buAutoNum type="arabicPeriod"/>
            </a:pPr>
            <a:r>
              <a:rPr lang="en-US" sz="900" dirty="0">
                <a:solidFill>
                  <a:schemeClr val="tx1"/>
                </a:solidFill>
                <a:latin typeface="+mn-lt"/>
              </a:rPr>
              <a:t>Click on the image and from the top menu under </a:t>
            </a:r>
            <a:r>
              <a:rPr lang="en-US" sz="900" b="1" dirty="0">
                <a:solidFill>
                  <a:schemeClr val="tx1"/>
                </a:solidFill>
                <a:latin typeface="+mn-lt"/>
              </a:rPr>
              <a:t>PICTURE FORMAT </a:t>
            </a:r>
            <a:r>
              <a:rPr lang="en-US" sz="900" dirty="0">
                <a:solidFill>
                  <a:schemeClr val="tx1"/>
                </a:solidFill>
                <a:latin typeface="+mn-lt"/>
              </a:rPr>
              <a:t>select the </a:t>
            </a:r>
            <a:r>
              <a:rPr lang="en-US" sz="900" b="1" dirty="0">
                <a:solidFill>
                  <a:schemeClr val="tx1"/>
                </a:solidFill>
                <a:latin typeface="+mn-lt"/>
              </a:rPr>
              <a:t>CROP</a:t>
            </a:r>
            <a:r>
              <a:rPr lang="en-US" sz="900" dirty="0">
                <a:solidFill>
                  <a:schemeClr val="tx1"/>
                </a:solidFill>
                <a:latin typeface="+mn-lt"/>
              </a:rPr>
              <a:t> on the right and from the drop down menu select </a:t>
            </a:r>
            <a:r>
              <a:rPr lang="en-US" sz="900" b="1" kern="1200" dirty="0">
                <a:solidFill>
                  <a:schemeClr val="tx1"/>
                </a:solidFill>
                <a:latin typeface="+mn-lt"/>
                <a:ea typeface="+mn-ea"/>
                <a:cs typeface="+mn-cs"/>
              </a:rPr>
              <a:t>FILL</a:t>
            </a:r>
          </a:p>
          <a:p>
            <a:pPr marL="179388" indent="-179388">
              <a:spcBef>
                <a:spcPts val="200"/>
              </a:spcBef>
              <a:spcAft>
                <a:spcPts val="200"/>
              </a:spcAft>
              <a:buFont typeface="+mj-lt"/>
              <a:buAutoNum type="arabicPeriod"/>
            </a:pPr>
            <a:r>
              <a:rPr lang="en-US" sz="900" b="0" kern="1200" dirty="0">
                <a:solidFill>
                  <a:schemeClr val="tx1"/>
                </a:solidFill>
                <a:latin typeface="+mn-lt"/>
                <a:ea typeface="+mn-ea"/>
                <a:cs typeface="+mn-cs"/>
              </a:rPr>
              <a:t>From here you can move the image within the shape for best visual appearance</a:t>
            </a:r>
          </a:p>
        </p:txBody>
      </p:sp>
      <p:sp>
        <p:nvSpPr>
          <p:cNvPr id="4" name="Content Placeholder 2">
            <a:extLst>
              <a:ext uri="{FF2B5EF4-FFF2-40B4-BE49-F238E27FC236}">
                <a16:creationId xmlns:a16="http://schemas.microsoft.com/office/drawing/2014/main" id="{53C28725-2311-B24F-68FE-D0071B9D9FA2}"/>
              </a:ext>
            </a:extLst>
          </p:cNvPr>
          <p:cNvSpPr>
            <a:spLocks noGrp="1"/>
          </p:cNvSpPr>
          <p:nvPr>
            <p:ph idx="18" hasCustomPrompt="1"/>
          </p:nvPr>
        </p:nvSpPr>
        <p:spPr>
          <a:xfrm>
            <a:off x="4229229" y="1613017"/>
            <a:ext cx="3421591" cy="4606808"/>
          </a:xfrm>
        </p:spPr>
        <p:txBody>
          <a:bodyPr vert="horz" lIns="0" tIns="45720" rIns="0" bIns="4572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2" name="Title 1">
            <a:extLst>
              <a:ext uri="{FF2B5EF4-FFF2-40B4-BE49-F238E27FC236}">
                <a16:creationId xmlns:a16="http://schemas.microsoft.com/office/drawing/2014/main" id="{F716C1E4-4130-ED05-3440-416A4549A61B}"/>
              </a:ext>
            </a:extLst>
          </p:cNvPr>
          <p:cNvSpPr>
            <a:spLocks noGrp="1"/>
          </p:cNvSpPr>
          <p:nvPr>
            <p:ph type="title" hasCustomPrompt="1"/>
          </p:nvPr>
        </p:nvSpPr>
        <p:spPr>
          <a:xfrm>
            <a:off x="508001" y="454013"/>
            <a:ext cx="7142820" cy="790869"/>
          </a:xfrm>
        </p:spPr>
        <p:txBody>
          <a:bodyPr/>
          <a:lstStyle/>
          <a:p>
            <a:r>
              <a:rPr lang="en-US" dirty="0"/>
              <a:t>TITLE: subtitle</a:t>
            </a:r>
            <a:endParaRPr lang="en-GB" dirty="0"/>
          </a:p>
        </p:txBody>
      </p:sp>
      <p:sp>
        <p:nvSpPr>
          <p:cNvPr id="9" name="Content Placeholder 2">
            <a:extLst>
              <a:ext uri="{FF2B5EF4-FFF2-40B4-BE49-F238E27FC236}">
                <a16:creationId xmlns:a16="http://schemas.microsoft.com/office/drawing/2014/main" id="{50857AC0-932F-5BAA-C619-2F239FED9BE2}"/>
              </a:ext>
            </a:extLst>
          </p:cNvPr>
          <p:cNvSpPr>
            <a:spLocks noGrp="1"/>
          </p:cNvSpPr>
          <p:nvPr>
            <p:ph idx="45" hasCustomPrompt="1"/>
          </p:nvPr>
        </p:nvSpPr>
        <p:spPr>
          <a:xfrm>
            <a:off x="8737600" y="2660686"/>
            <a:ext cx="2944813" cy="3559139"/>
          </a:xfrm>
        </p:spPr>
        <p:txBody>
          <a:bodyPr vert="horz" lIns="0" tIns="45720" rIns="0" bIns="45720" rtlCol="0">
            <a:normAutofit/>
          </a:bodyPr>
          <a:lstStyle>
            <a:lvl1pPr algn="l" defTabSz="914400" rtl="0" eaLnBrk="1" latinLnBrk="0" hangingPunct="1">
              <a:lnSpc>
                <a:spcPct val="130000"/>
              </a:lnSpc>
              <a:spcBef>
                <a:spcPts val="300"/>
              </a:spcBef>
              <a:spcAft>
                <a:spcPts val="300"/>
              </a:spcAft>
              <a:buFont typeface="Arial" panose="020B0604020202020204" pitchFamily="34" charset="0"/>
              <a:defRPr lang="en-US" sz="1100" kern="1200" dirty="0">
                <a:solidFill>
                  <a:schemeClr val="bg1"/>
                </a:solidFill>
                <a:latin typeface="+mn-lt"/>
                <a:ea typeface="+mn-ea"/>
                <a:cs typeface="+mn-cs"/>
              </a:defRPr>
            </a:lvl1pPr>
            <a:lvl2pPr>
              <a:buClr>
                <a:schemeClr val="bg1"/>
              </a:buClr>
              <a:defRPr lang="en-US" dirty="0">
                <a:solidFill>
                  <a:schemeClr val="bg1"/>
                </a:solidFill>
              </a:defRPr>
            </a:lvl2pPr>
            <a:lvl3pPr>
              <a:buClr>
                <a:schemeClr val="bg1"/>
              </a:buClr>
              <a:defRPr lang="en-US" dirty="0">
                <a:solidFill>
                  <a:schemeClr val="bg1"/>
                </a:solidFill>
              </a:defRPr>
            </a:lvl3pPr>
            <a:lvl4pPr>
              <a:buClr>
                <a:schemeClr val="bg1"/>
              </a:buClr>
              <a:defRPr lang="en-US" dirty="0">
                <a:solidFill>
                  <a:schemeClr val="bg1"/>
                </a:solidFill>
              </a:defRPr>
            </a:lvl4pPr>
            <a:lvl5pPr>
              <a:buClr>
                <a:schemeClr val="bg1"/>
              </a:buClr>
              <a:defRPr lang="en-US" dirty="0">
                <a:solidFill>
                  <a:schemeClr val="bg1"/>
                </a:solidFill>
              </a:defRPr>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11" name="Content Placeholder 2">
            <a:extLst>
              <a:ext uri="{FF2B5EF4-FFF2-40B4-BE49-F238E27FC236}">
                <a16:creationId xmlns:a16="http://schemas.microsoft.com/office/drawing/2014/main" id="{1C0E041C-792C-A30B-955E-9CBF9DBE0507}"/>
              </a:ext>
            </a:extLst>
          </p:cNvPr>
          <p:cNvSpPr>
            <a:spLocks noGrp="1"/>
          </p:cNvSpPr>
          <p:nvPr>
            <p:ph idx="46" hasCustomPrompt="1"/>
          </p:nvPr>
        </p:nvSpPr>
        <p:spPr>
          <a:xfrm>
            <a:off x="8737600" y="2294925"/>
            <a:ext cx="2946399" cy="365761"/>
          </a:xfrm>
        </p:spPr>
        <p:txBody>
          <a:bodyPr/>
          <a:lstStyle>
            <a:lvl1pPr>
              <a:defRPr cap="all" baseline="0">
                <a:solidFill>
                  <a:schemeClr val="accent2"/>
                </a:solidFill>
              </a:defRPr>
            </a:lvl1pPr>
          </a:lstStyle>
          <a:p>
            <a:pPr lvl="0"/>
            <a:r>
              <a:rPr lang="en-US" dirty="0"/>
              <a:t>subhead</a:t>
            </a:r>
          </a:p>
        </p:txBody>
      </p:sp>
      <p:sp>
        <p:nvSpPr>
          <p:cNvPr id="13" name="Freeform: Shape 12">
            <a:extLst>
              <a:ext uri="{FF2B5EF4-FFF2-40B4-BE49-F238E27FC236}">
                <a16:creationId xmlns:a16="http://schemas.microsoft.com/office/drawing/2014/main" id="{E65D672F-2553-DE02-24EC-0BBD8675222E}"/>
              </a:ext>
            </a:extLst>
          </p:cNvPr>
          <p:cNvSpPr/>
          <p:nvPr userDrawn="1"/>
        </p:nvSpPr>
        <p:spPr>
          <a:xfrm>
            <a:off x="9422818" y="508495"/>
            <a:ext cx="1472776" cy="1472774"/>
          </a:xfrm>
          <a:custGeom>
            <a:avLst/>
            <a:gdLst>
              <a:gd name="connsiteX0" fmla="*/ 347543 w 586450"/>
              <a:gd name="connsiteY0" fmla="*/ 286182 h 586450"/>
              <a:gd name="connsiteX1" fmla="*/ 306131 w 586450"/>
              <a:gd name="connsiteY1" fmla="*/ 411229 h 586450"/>
              <a:gd name="connsiteX2" fmla="*/ 449137 w 586450"/>
              <a:gd name="connsiteY2" fmla="*/ 411229 h 586450"/>
              <a:gd name="connsiteX3" fmla="*/ 449137 w 586450"/>
              <a:gd name="connsiteY3" fmla="*/ 286182 h 586450"/>
              <a:gd name="connsiteX4" fmla="*/ 470737 w 586450"/>
              <a:gd name="connsiteY4" fmla="*/ 286148 h 586450"/>
              <a:gd name="connsiteX5" fmla="*/ 470737 w 586450"/>
              <a:gd name="connsiteY5" fmla="*/ 411195 h 586450"/>
              <a:gd name="connsiteX6" fmla="*/ 512149 w 586450"/>
              <a:gd name="connsiteY6" fmla="*/ 411195 h 586450"/>
              <a:gd name="connsiteX7" fmla="*/ 238839 w 586450"/>
              <a:gd name="connsiteY7" fmla="*/ 285407 h 586450"/>
              <a:gd name="connsiteX8" fmla="*/ 238839 w 586450"/>
              <a:gd name="connsiteY8" fmla="*/ 410386 h 586450"/>
              <a:gd name="connsiteX9" fmla="*/ 280252 w 586450"/>
              <a:gd name="connsiteY9" fmla="*/ 410386 h 586450"/>
              <a:gd name="connsiteX10" fmla="*/ 115646 w 586450"/>
              <a:gd name="connsiteY10" fmla="*/ 285407 h 586450"/>
              <a:gd name="connsiteX11" fmla="*/ 74233 w 586450"/>
              <a:gd name="connsiteY11" fmla="*/ 410386 h 586450"/>
              <a:gd name="connsiteX12" fmla="*/ 217240 w 586450"/>
              <a:gd name="connsiteY12" fmla="*/ 410386 h 586450"/>
              <a:gd name="connsiteX13" fmla="*/ 217240 w 586450"/>
              <a:gd name="connsiteY13" fmla="*/ 285407 h 586450"/>
              <a:gd name="connsiteX14" fmla="*/ 353710 w 586450"/>
              <a:gd name="connsiteY14" fmla="*/ 137413 h 586450"/>
              <a:gd name="connsiteX15" fmla="*/ 353710 w 586450"/>
              <a:gd name="connsiteY15" fmla="*/ 262392 h 586450"/>
              <a:gd name="connsiteX16" fmla="*/ 395122 w 586450"/>
              <a:gd name="connsiteY16" fmla="*/ 262392 h 586450"/>
              <a:gd name="connsiteX17" fmla="*/ 230482 w 586450"/>
              <a:gd name="connsiteY17" fmla="*/ 137413 h 586450"/>
              <a:gd name="connsiteX18" fmla="*/ 221519 w 586450"/>
              <a:gd name="connsiteY18" fmla="*/ 164404 h 586450"/>
              <a:gd name="connsiteX19" fmla="*/ 217274 w 586450"/>
              <a:gd name="connsiteY19" fmla="*/ 177309 h 586450"/>
              <a:gd name="connsiteX20" fmla="*/ 189103 w 586450"/>
              <a:gd name="connsiteY20" fmla="*/ 262392 h 586450"/>
              <a:gd name="connsiteX21" fmla="*/ 332110 w 586450"/>
              <a:gd name="connsiteY21" fmla="*/ 262392 h 586450"/>
              <a:gd name="connsiteX22" fmla="*/ 332110 w 586450"/>
              <a:gd name="connsiteY22" fmla="*/ 137413 h 586450"/>
              <a:gd name="connsiteX23" fmla="*/ 332077 w 586450"/>
              <a:gd name="connsiteY23" fmla="*/ 137413 h 586450"/>
              <a:gd name="connsiteX24" fmla="*/ 293225 w 586450"/>
              <a:gd name="connsiteY24" fmla="*/ 0 h 586450"/>
              <a:gd name="connsiteX25" fmla="*/ 586450 w 586450"/>
              <a:gd name="connsiteY25" fmla="*/ 293225 h 586450"/>
              <a:gd name="connsiteX26" fmla="*/ 293225 w 586450"/>
              <a:gd name="connsiteY26" fmla="*/ 586450 h 586450"/>
              <a:gd name="connsiteX27" fmla="*/ 0 w 586450"/>
              <a:gd name="connsiteY27" fmla="*/ 293225 h 586450"/>
              <a:gd name="connsiteX28" fmla="*/ 293225 w 586450"/>
              <a:gd name="connsiteY28" fmla="*/ 0 h 586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6450" h="586450">
                <a:moveTo>
                  <a:pt x="347543" y="286182"/>
                </a:moveTo>
                <a:lnTo>
                  <a:pt x="306131" y="411229"/>
                </a:lnTo>
                <a:lnTo>
                  <a:pt x="449137" y="411229"/>
                </a:lnTo>
                <a:lnTo>
                  <a:pt x="449137" y="286182"/>
                </a:lnTo>
                <a:close/>
                <a:moveTo>
                  <a:pt x="470737" y="286148"/>
                </a:moveTo>
                <a:lnTo>
                  <a:pt x="470737" y="411195"/>
                </a:lnTo>
                <a:lnTo>
                  <a:pt x="512149" y="411195"/>
                </a:lnTo>
                <a:close/>
                <a:moveTo>
                  <a:pt x="238839" y="285407"/>
                </a:moveTo>
                <a:lnTo>
                  <a:pt x="238839" y="410386"/>
                </a:lnTo>
                <a:lnTo>
                  <a:pt x="280252" y="410386"/>
                </a:lnTo>
                <a:close/>
                <a:moveTo>
                  <a:pt x="115646" y="285407"/>
                </a:moveTo>
                <a:lnTo>
                  <a:pt x="74233" y="410386"/>
                </a:lnTo>
                <a:lnTo>
                  <a:pt x="217240" y="410386"/>
                </a:lnTo>
                <a:lnTo>
                  <a:pt x="217240" y="285407"/>
                </a:lnTo>
                <a:close/>
                <a:moveTo>
                  <a:pt x="353710" y="137413"/>
                </a:moveTo>
                <a:lnTo>
                  <a:pt x="353710" y="262392"/>
                </a:lnTo>
                <a:lnTo>
                  <a:pt x="395122" y="262392"/>
                </a:lnTo>
                <a:close/>
                <a:moveTo>
                  <a:pt x="230482" y="137413"/>
                </a:moveTo>
                <a:lnTo>
                  <a:pt x="221519" y="164404"/>
                </a:lnTo>
                <a:lnTo>
                  <a:pt x="217274" y="177309"/>
                </a:lnTo>
                <a:lnTo>
                  <a:pt x="189103" y="262392"/>
                </a:lnTo>
                <a:lnTo>
                  <a:pt x="332110" y="262392"/>
                </a:lnTo>
                <a:lnTo>
                  <a:pt x="332110" y="137413"/>
                </a:lnTo>
                <a:lnTo>
                  <a:pt x="332077" y="137413"/>
                </a:lnTo>
                <a:close/>
                <a:moveTo>
                  <a:pt x="293225" y="0"/>
                </a:moveTo>
                <a:cubicBezTo>
                  <a:pt x="455169" y="0"/>
                  <a:pt x="586450" y="131281"/>
                  <a:pt x="586450" y="293225"/>
                </a:cubicBezTo>
                <a:cubicBezTo>
                  <a:pt x="586450" y="455169"/>
                  <a:pt x="455169" y="586450"/>
                  <a:pt x="293225" y="586450"/>
                </a:cubicBezTo>
                <a:cubicBezTo>
                  <a:pt x="131281" y="586450"/>
                  <a:pt x="0" y="455169"/>
                  <a:pt x="0" y="293225"/>
                </a:cubicBezTo>
                <a:cubicBezTo>
                  <a:pt x="0" y="131281"/>
                  <a:pt x="131281" y="0"/>
                  <a:pt x="293225" y="0"/>
                </a:cubicBezTo>
                <a:close/>
              </a:path>
            </a:pathLst>
          </a:custGeom>
          <a:solidFill>
            <a:srgbClr val="FFFFFF"/>
          </a:solidFill>
          <a:ln w="3364" cap="flat">
            <a:noFill/>
            <a:prstDash val="solid"/>
            <a:miter/>
          </a:ln>
        </p:spPr>
        <p:txBody>
          <a:bodyPr wrap="square" rtlCol="0" anchor="ctr">
            <a:noAutofit/>
          </a:bodyPr>
          <a:lstStyle/>
          <a:p>
            <a:endParaRPr lang="en-GB"/>
          </a:p>
        </p:txBody>
      </p:sp>
    </p:spTree>
    <p:extLst>
      <p:ext uri="{BB962C8B-B14F-4D97-AF65-F5344CB8AC3E}">
        <p14:creationId xmlns:p14="http://schemas.microsoft.com/office/powerpoint/2010/main" val="4037942322"/>
      </p:ext>
    </p:extLst>
  </p:cSld>
  <p:clrMapOvr>
    <a:masterClrMapping/>
  </p:clrMapOvr>
  <p:transition spd="med">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_Content &amp; Image CONSTRUC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261A4C7-E98D-3660-5C37-C13B3A230A80}"/>
              </a:ext>
            </a:extLst>
          </p:cNvPr>
          <p:cNvSpPr/>
          <p:nvPr userDrawn="1"/>
        </p:nvSpPr>
        <p:spPr>
          <a:xfrm>
            <a:off x="8126413" y="0"/>
            <a:ext cx="40655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Footer Placeholder 4"/>
          <p:cNvSpPr>
            <a:spLocks noGrp="1"/>
          </p:cNvSpPr>
          <p:nvPr>
            <p:ph type="ftr" sz="quarter" idx="11"/>
          </p:nvPr>
        </p:nvSpPr>
        <p:spPr/>
        <p:txBody>
          <a:bodyPr/>
          <a:lstStyle/>
          <a:p>
            <a:r>
              <a:rPr lang="en-GB"/>
              <a:t>INSERT FOOTER HER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8CFE0557-AA98-4E6C-B0C3-581794696B68}" type="slidenum">
              <a:rPr lang="en-GB" smtClean="0"/>
              <a:pPr/>
              <a:t>‹#›</a:t>
            </a:fld>
            <a:endParaRPr lang="en-GB"/>
          </a:p>
        </p:txBody>
      </p:sp>
      <p:sp>
        <p:nvSpPr>
          <p:cNvPr id="10" name="Content Placeholder 2">
            <a:extLst>
              <a:ext uri="{FF2B5EF4-FFF2-40B4-BE49-F238E27FC236}">
                <a16:creationId xmlns:a16="http://schemas.microsoft.com/office/drawing/2014/main" id="{182B4A0E-C187-E12F-BB7B-7E465EDEEA4C}"/>
              </a:ext>
            </a:extLst>
          </p:cNvPr>
          <p:cNvSpPr>
            <a:spLocks noGrp="1"/>
          </p:cNvSpPr>
          <p:nvPr>
            <p:ph idx="1" hasCustomPrompt="1"/>
          </p:nvPr>
        </p:nvSpPr>
        <p:spPr>
          <a:xfrm>
            <a:off x="508000" y="1244882"/>
            <a:ext cx="7142820" cy="291662"/>
          </a:xfrm>
        </p:spPr>
        <p:txBody>
          <a:bodyPr vert="horz" lIns="0" tIns="45720" rIns="0" bIns="45720" numCol="1" spcCol="288000" rtlCol="0">
            <a:noAutofit/>
          </a:bodyPr>
          <a:lstStyle>
            <a:lvl1pPr>
              <a:defRPr lang="en-US" cap="all" baseline="0" dirty="0" smtClean="0"/>
            </a:lvl1pPr>
            <a:lvl2pPr>
              <a:defRPr lang="en-US" dirty="0"/>
            </a:lvl2pPr>
            <a:lvl3pPr>
              <a:defRPr lang="en-US" dirty="0"/>
            </a:lvl3pPr>
            <a:lvl4pPr>
              <a:defRPr lang="en-US" dirty="0"/>
            </a:lvl4pPr>
            <a:lvl5pPr>
              <a:defRPr lang="en-US" dirty="0"/>
            </a:lvl5pPr>
          </a:lstStyle>
          <a:p>
            <a:pPr lvl="0"/>
            <a:r>
              <a:rPr lang="en-US" dirty="0"/>
              <a:t>subhead</a:t>
            </a:r>
          </a:p>
        </p:txBody>
      </p:sp>
      <p:sp>
        <p:nvSpPr>
          <p:cNvPr id="12" name="Content Placeholder 2">
            <a:extLst>
              <a:ext uri="{FF2B5EF4-FFF2-40B4-BE49-F238E27FC236}">
                <a16:creationId xmlns:a16="http://schemas.microsoft.com/office/drawing/2014/main" id="{79AF8CE8-F801-FBFD-7F6F-0BE65F72C036}"/>
              </a:ext>
            </a:extLst>
          </p:cNvPr>
          <p:cNvSpPr>
            <a:spLocks noGrp="1"/>
          </p:cNvSpPr>
          <p:nvPr>
            <p:ph idx="16" hasCustomPrompt="1"/>
          </p:nvPr>
        </p:nvSpPr>
        <p:spPr>
          <a:xfrm>
            <a:off x="508000" y="1613017"/>
            <a:ext cx="3400425" cy="4606808"/>
          </a:xfrm>
        </p:spPr>
        <p:txBody>
          <a:bodyPr vert="horz" lIns="0" tIns="45720" rIns="0" bIns="4572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7" name="TextBox 4">
            <a:extLst>
              <a:ext uri="{FF2B5EF4-FFF2-40B4-BE49-F238E27FC236}">
                <a16:creationId xmlns:a16="http://schemas.microsoft.com/office/drawing/2014/main" id="{ECC1AF18-C7ED-CAA0-D1D3-14DEFC5E2590}"/>
              </a:ext>
            </a:extLst>
          </p:cNvPr>
          <p:cNvSpPr txBox="1"/>
          <p:nvPr userDrawn="1"/>
        </p:nvSpPr>
        <p:spPr>
          <a:xfrm>
            <a:off x="12346713" y="109538"/>
            <a:ext cx="1934437" cy="31700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INSERTING IMAGES:</a:t>
            </a:r>
          </a:p>
          <a:p>
            <a:pPr marL="179388" indent="-179388">
              <a:spcBef>
                <a:spcPts val="200"/>
              </a:spcBef>
              <a:spcAft>
                <a:spcPts val="200"/>
              </a:spcAft>
              <a:buFont typeface="+mj-lt"/>
              <a:buAutoNum type="arabicPeriod"/>
            </a:pPr>
            <a:r>
              <a:rPr lang="en-US" sz="900" dirty="0">
                <a:solidFill>
                  <a:schemeClr val="tx1"/>
                </a:solidFill>
                <a:latin typeface="+mn-lt"/>
              </a:rPr>
              <a:t>Simply click the image placeholder and select your image.</a:t>
            </a:r>
          </a:p>
          <a:p>
            <a:pPr marL="179388" indent="-179388">
              <a:spcBef>
                <a:spcPts val="200"/>
              </a:spcBef>
              <a:spcAft>
                <a:spcPts val="200"/>
              </a:spcAft>
              <a:buFont typeface="+mj-lt"/>
              <a:buAutoNum type="arabicPeriod"/>
            </a:pPr>
            <a:r>
              <a:rPr lang="en-US" sz="900" dirty="0">
                <a:solidFill>
                  <a:schemeClr val="tx1"/>
                </a:solidFill>
                <a:latin typeface="+mn-lt"/>
              </a:rPr>
              <a:t>Once your image is inserted into the shape it may be distorted. (Stretched or Squashed)</a:t>
            </a:r>
          </a:p>
          <a:p>
            <a:pPr marL="179388" indent="-179388">
              <a:spcBef>
                <a:spcPts val="200"/>
              </a:spcBef>
              <a:spcAft>
                <a:spcPts val="200"/>
              </a:spcAft>
              <a:buFont typeface="+mj-lt"/>
              <a:buAutoNum type="arabicPeriod"/>
            </a:pPr>
            <a:endParaRPr lang="en-US" sz="900" dirty="0">
              <a:solidFill>
                <a:schemeClr val="tx1"/>
              </a:solidFill>
              <a:latin typeface="+mn-lt"/>
            </a:endParaRPr>
          </a:p>
          <a:p>
            <a:pPr>
              <a:spcBef>
                <a:spcPts val="200"/>
              </a:spcBef>
              <a:spcAft>
                <a:spcPts val="200"/>
              </a:spcAft>
            </a:pPr>
            <a:r>
              <a:rPr lang="en-US" sz="900" b="1" dirty="0">
                <a:solidFill>
                  <a:schemeClr val="tx1"/>
                </a:solidFill>
                <a:latin typeface="+mn-lt"/>
              </a:rPr>
              <a:t>To fix this:</a:t>
            </a:r>
          </a:p>
          <a:p>
            <a:pPr marL="179388" indent="-179388">
              <a:spcBef>
                <a:spcPts val="200"/>
              </a:spcBef>
              <a:spcAft>
                <a:spcPts val="200"/>
              </a:spcAft>
              <a:buFont typeface="+mj-lt"/>
              <a:buAutoNum type="arabicPeriod"/>
            </a:pPr>
            <a:r>
              <a:rPr lang="en-US" sz="900" dirty="0">
                <a:solidFill>
                  <a:schemeClr val="tx1"/>
                </a:solidFill>
                <a:latin typeface="+mn-lt"/>
              </a:rPr>
              <a:t>Click on the image and from the top menu under </a:t>
            </a:r>
            <a:r>
              <a:rPr lang="en-US" sz="900" b="1" dirty="0">
                <a:solidFill>
                  <a:schemeClr val="tx1"/>
                </a:solidFill>
                <a:latin typeface="+mn-lt"/>
              </a:rPr>
              <a:t>PICTURE FORMAT </a:t>
            </a:r>
            <a:r>
              <a:rPr lang="en-US" sz="900" dirty="0">
                <a:solidFill>
                  <a:schemeClr val="tx1"/>
                </a:solidFill>
                <a:latin typeface="+mn-lt"/>
              </a:rPr>
              <a:t>select the </a:t>
            </a:r>
            <a:r>
              <a:rPr lang="en-US" sz="900" b="1" dirty="0">
                <a:solidFill>
                  <a:schemeClr val="tx1"/>
                </a:solidFill>
                <a:latin typeface="+mn-lt"/>
              </a:rPr>
              <a:t>CROP</a:t>
            </a:r>
            <a:r>
              <a:rPr lang="en-US" sz="900" dirty="0">
                <a:solidFill>
                  <a:schemeClr val="tx1"/>
                </a:solidFill>
                <a:latin typeface="+mn-lt"/>
              </a:rPr>
              <a:t> on the right and from the drop down menu select </a:t>
            </a:r>
            <a:r>
              <a:rPr lang="en-US" sz="900" b="1" kern="1200" dirty="0">
                <a:solidFill>
                  <a:schemeClr val="tx1"/>
                </a:solidFill>
                <a:latin typeface="+mn-lt"/>
                <a:ea typeface="+mn-ea"/>
                <a:cs typeface="+mn-cs"/>
              </a:rPr>
              <a:t>FILL</a:t>
            </a:r>
          </a:p>
          <a:p>
            <a:pPr marL="179388" indent="-179388">
              <a:spcBef>
                <a:spcPts val="200"/>
              </a:spcBef>
              <a:spcAft>
                <a:spcPts val="200"/>
              </a:spcAft>
              <a:buFont typeface="+mj-lt"/>
              <a:buAutoNum type="arabicPeriod"/>
            </a:pPr>
            <a:r>
              <a:rPr lang="en-US" sz="900" b="0" kern="1200" dirty="0">
                <a:solidFill>
                  <a:schemeClr val="tx1"/>
                </a:solidFill>
                <a:latin typeface="+mn-lt"/>
                <a:ea typeface="+mn-ea"/>
                <a:cs typeface="+mn-cs"/>
              </a:rPr>
              <a:t>From here you can move the image within the shape for best visual appearance</a:t>
            </a:r>
          </a:p>
        </p:txBody>
      </p:sp>
      <p:sp>
        <p:nvSpPr>
          <p:cNvPr id="4" name="Content Placeholder 2">
            <a:extLst>
              <a:ext uri="{FF2B5EF4-FFF2-40B4-BE49-F238E27FC236}">
                <a16:creationId xmlns:a16="http://schemas.microsoft.com/office/drawing/2014/main" id="{53C28725-2311-B24F-68FE-D0071B9D9FA2}"/>
              </a:ext>
            </a:extLst>
          </p:cNvPr>
          <p:cNvSpPr>
            <a:spLocks noGrp="1"/>
          </p:cNvSpPr>
          <p:nvPr>
            <p:ph idx="18" hasCustomPrompt="1"/>
          </p:nvPr>
        </p:nvSpPr>
        <p:spPr>
          <a:xfrm>
            <a:off x="4229229" y="1613017"/>
            <a:ext cx="3421591" cy="4606808"/>
          </a:xfrm>
        </p:spPr>
        <p:txBody>
          <a:bodyPr vert="horz" lIns="0" tIns="45720" rIns="0" bIns="4572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2" name="Title 1">
            <a:extLst>
              <a:ext uri="{FF2B5EF4-FFF2-40B4-BE49-F238E27FC236}">
                <a16:creationId xmlns:a16="http://schemas.microsoft.com/office/drawing/2014/main" id="{F716C1E4-4130-ED05-3440-416A4549A61B}"/>
              </a:ext>
            </a:extLst>
          </p:cNvPr>
          <p:cNvSpPr>
            <a:spLocks noGrp="1"/>
          </p:cNvSpPr>
          <p:nvPr>
            <p:ph type="title" hasCustomPrompt="1"/>
          </p:nvPr>
        </p:nvSpPr>
        <p:spPr>
          <a:xfrm>
            <a:off x="508001" y="454013"/>
            <a:ext cx="7142820" cy="790869"/>
          </a:xfrm>
        </p:spPr>
        <p:txBody>
          <a:bodyPr/>
          <a:lstStyle/>
          <a:p>
            <a:r>
              <a:rPr lang="en-US" dirty="0"/>
              <a:t>TITLE: subtitle</a:t>
            </a:r>
            <a:endParaRPr lang="en-GB" dirty="0"/>
          </a:p>
        </p:txBody>
      </p:sp>
      <p:sp>
        <p:nvSpPr>
          <p:cNvPr id="9" name="Content Placeholder 2">
            <a:extLst>
              <a:ext uri="{FF2B5EF4-FFF2-40B4-BE49-F238E27FC236}">
                <a16:creationId xmlns:a16="http://schemas.microsoft.com/office/drawing/2014/main" id="{50857AC0-932F-5BAA-C619-2F239FED9BE2}"/>
              </a:ext>
            </a:extLst>
          </p:cNvPr>
          <p:cNvSpPr>
            <a:spLocks noGrp="1"/>
          </p:cNvSpPr>
          <p:nvPr>
            <p:ph idx="45" hasCustomPrompt="1"/>
          </p:nvPr>
        </p:nvSpPr>
        <p:spPr>
          <a:xfrm>
            <a:off x="8737600" y="2660686"/>
            <a:ext cx="2944813" cy="3559139"/>
          </a:xfrm>
        </p:spPr>
        <p:txBody>
          <a:bodyPr vert="horz" lIns="0" tIns="45720" rIns="0" bIns="45720" rtlCol="0">
            <a:normAutofit/>
          </a:bodyPr>
          <a:lstStyle>
            <a:lvl1pPr algn="l" defTabSz="914400" rtl="0" eaLnBrk="1" latinLnBrk="0" hangingPunct="1">
              <a:lnSpc>
                <a:spcPct val="130000"/>
              </a:lnSpc>
              <a:spcBef>
                <a:spcPts val="300"/>
              </a:spcBef>
              <a:spcAft>
                <a:spcPts val="300"/>
              </a:spcAft>
              <a:buFont typeface="Arial" panose="020B0604020202020204" pitchFamily="34" charset="0"/>
              <a:defRPr lang="en-US" sz="1100" kern="1200" dirty="0">
                <a:solidFill>
                  <a:schemeClr val="bg1"/>
                </a:solidFill>
                <a:latin typeface="+mn-lt"/>
                <a:ea typeface="+mn-ea"/>
                <a:cs typeface="+mn-cs"/>
              </a:defRPr>
            </a:lvl1pPr>
            <a:lvl2pPr>
              <a:buClr>
                <a:schemeClr val="bg1"/>
              </a:buClr>
              <a:defRPr lang="en-US" dirty="0">
                <a:solidFill>
                  <a:schemeClr val="bg1"/>
                </a:solidFill>
              </a:defRPr>
            </a:lvl2pPr>
            <a:lvl3pPr>
              <a:buClr>
                <a:schemeClr val="bg1"/>
              </a:buClr>
              <a:defRPr lang="en-US" dirty="0">
                <a:solidFill>
                  <a:schemeClr val="bg1"/>
                </a:solidFill>
              </a:defRPr>
            </a:lvl3pPr>
            <a:lvl4pPr>
              <a:buClr>
                <a:schemeClr val="bg1"/>
              </a:buClr>
              <a:defRPr lang="en-US" dirty="0">
                <a:solidFill>
                  <a:schemeClr val="bg1"/>
                </a:solidFill>
              </a:defRPr>
            </a:lvl4pPr>
            <a:lvl5pPr>
              <a:buClr>
                <a:schemeClr val="bg1"/>
              </a:buClr>
              <a:defRPr lang="en-US" dirty="0">
                <a:solidFill>
                  <a:schemeClr val="bg1"/>
                </a:solidFill>
              </a:defRPr>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11" name="Content Placeholder 2">
            <a:extLst>
              <a:ext uri="{FF2B5EF4-FFF2-40B4-BE49-F238E27FC236}">
                <a16:creationId xmlns:a16="http://schemas.microsoft.com/office/drawing/2014/main" id="{1C0E041C-792C-A30B-955E-9CBF9DBE0507}"/>
              </a:ext>
            </a:extLst>
          </p:cNvPr>
          <p:cNvSpPr>
            <a:spLocks noGrp="1"/>
          </p:cNvSpPr>
          <p:nvPr>
            <p:ph idx="46" hasCustomPrompt="1"/>
          </p:nvPr>
        </p:nvSpPr>
        <p:spPr>
          <a:xfrm>
            <a:off x="8737600" y="2294925"/>
            <a:ext cx="2946399" cy="365761"/>
          </a:xfrm>
        </p:spPr>
        <p:txBody>
          <a:bodyPr/>
          <a:lstStyle>
            <a:lvl1pPr>
              <a:defRPr cap="all" baseline="0">
                <a:solidFill>
                  <a:schemeClr val="accent2"/>
                </a:solidFill>
              </a:defRPr>
            </a:lvl1pPr>
          </a:lstStyle>
          <a:p>
            <a:pPr lvl="0"/>
            <a:r>
              <a:rPr lang="en-US" dirty="0"/>
              <a:t>subhead</a:t>
            </a:r>
          </a:p>
        </p:txBody>
      </p:sp>
      <p:sp>
        <p:nvSpPr>
          <p:cNvPr id="13" name="Freeform: Shape 12">
            <a:extLst>
              <a:ext uri="{FF2B5EF4-FFF2-40B4-BE49-F238E27FC236}">
                <a16:creationId xmlns:a16="http://schemas.microsoft.com/office/drawing/2014/main" id="{BEBDF004-8890-D7E6-B237-E8DD01BD8B69}"/>
              </a:ext>
            </a:extLst>
          </p:cNvPr>
          <p:cNvSpPr/>
          <p:nvPr userDrawn="1"/>
        </p:nvSpPr>
        <p:spPr>
          <a:xfrm>
            <a:off x="9422819" y="508495"/>
            <a:ext cx="1472774" cy="1472774"/>
          </a:xfrm>
          <a:custGeom>
            <a:avLst/>
            <a:gdLst>
              <a:gd name="connsiteX0" fmla="*/ 281028 w 586449"/>
              <a:gd name="connsiteY0" fmla="*/ 365401 h 586450"/>
              <a:gd name="connsiteX1" fmla="*/ 281028 w 586449"/>
              <a:gd name="connsiteY1" fmla="*/ 410723 h 586450"/>
              <a:gd name="connsiteX2" fmla="*/ 293226 w 586449"/>
              <a:gd name="connsiteY2" fmla="*/ 410723 h 586450"/>
              <a:gd name="connsiteX3" fmla="*/ 341074 w 586449"/>
              <a:gd name="connsiteY3" fmla="*/ 457931 h 586450"/>
              <a:gd name="connsiteX4" fmla="*/ 293226 w 586449"/>
              <a:gd name="connsiteY4" fmla="*/ 505140 h 586450"/>
              <a:gd name="connsiteX5" fmla="*/ 245377 w 586449"/>
              <a:gd name="connsiteY5" fmla="*/ 457931 h 586450"/>
              <a:gd name="connsiteX6" fmla="*/ 220981 w 586449"/>
              <a:gd name="connsiteY6" fmla="*/ 457931 h 586450"/>
              <a:gd name="connsiteX7" fmla="*/ 293226 w 586449"/>
              <a:gd name="connsiteY7" fmla="*/ 529233 h 586450"/>
              <a:gd name="connsiteX8" fmla="*/ 293226 w 586449"/>
              <a:gd name="connsiteY8" fmla="*/ 529266 h 586450"/>
              <a:gd name="connsiteX9" fmla="*/ 365470 w 586449"/>
              <a:gd name="connsiteY9" fmla="*/ 457965 h 586450"/>
              <a:gd name="connsiteX10" fmla="*/ 305424 w 586449"/>
              <a:gd name="connsiteY10" fmla="*/ 387675 h 586450"/>
              <a:gd name="connsiteX11" fmla="*/ 305424 w 586449"/>
              <a:gd name="connsiteY11" fmla="*/ 365401 h 586450"/>
              <a:gd name="connsiteX12" fmla="*/ 293360 w 586449"/>
              <a:gd name="connsiteY12" fmla="*/ 216396 h 586450"/>
              <a:gd name="connsiteX13" fmla="*/ 254509 w 586449"/>
              <a:gd name="connsiteY13" fmla="*/ 255248 h 586450"/>
              <a:gd name="connsiteX14" fmla="*/ 293360 w 586449"/>
              <a:gd name="connsiteY14" fmla="*/ 294066 h 586450"/>
              <a:gd name="connsiteX15" fmla="*/ 332179 w 586449"/>
              <a:gd name="connsiteY15" fmla="*/ 255248 h 586450"/>
              <a:gd name="connsiteX16" fmla="*/ 293360 w 586449"/>
              <a:gd name="connsiteY16" fmla="*/ 216396 h 586450"/>
              <a:gd name="connsiteX17" fmla="*/ 293360 w 586449"/>
              <a:gd name="connsiteY17" fmla="*/ 192135 h 586450"/>
              <a:gd name="connsiteX18" fmla="*/ 356473 w 586449"/>
              <a:gd name="connsiteY18" fmla="*/ 255215 h 586450"/>
              <a:gd name="connsiteX19" fmla="*/ 293360 w 586449"/>
              <a:gd name="connsiteY19" fmla="*/ 318328 h 586450"/>
              <a:gd name="connsiteX20" fmla="*/ 230247 w 586449"/>
              <a:gd name="connsiteY20" fmla="*/ 255215 h 586450"/>
              <a:gd name="connsiteX21" fmla="*/ 293360 w 586449"/>
              <a:gd name="connsiteY21" fmla="*/ 192135 h 586450"/>
              <a:gd name="connsiteX22" fmla="*/ 167168 w 586449"/>
              <a:gd name="connsiteY22" fmla="*/ 171783 h 586450"/>
              <a:gd name="connsiteX23" fmla="*/ 204941 w 586449"/>
              <a:gd name="connsiteY23" fmla="*/ 341073 h 586450"/>
              <a:gd name="connsiteX24" fmla="*/ 381476 w 586449"/>
              <a:gd name="connsiteY24" fmla="*/ 341073 h 586450"/>
              <a:gd name="connsiteX25" fmla="*/ 419283 w 586449"/>
              <a:gd name="connsiteY25" fmla="*/ 171783 h 586450"/>
              <a:gd name="connsiteX26" fmla="*/ 167202 w 586449"/>
              <a:gd name="connsiteY26" fmla="*/ 171783 h 586450"/>
              <a:gd name="connsiteX27" fmla="*/ 341074 w 586449"/>
              <a:gd name="connsiteY27" fmla="*/ 72783 h 586450"/>
              <a:gd name="connsiteX28" fmla="*/ 341074 w 586449"/>
              <a:gd name="connsiteY28" fmla="*/ 147656 h 586450"/>
              <a:gd name="connsiteX29" fmla="*/ 365470 w 586449"/>
              <a:gd name="connsiteY29" fmla="*/ 147656 h 586450"/>
              <a:gd name="connsiteX30" fmla="*/ 365470 w 586449"/>
              <a:gd name="connsiteY30" fmla="*/ 72783 h 586450"/>
              <a:gd name="connsiteX31" fmla="*/ 220981 w 586449"/>
              <a:gd name="connsiteY31" fmla="*/ 72783 h 586450"/>
              <a:gd name="connsiteX32" fmla="*/ 220981 w 586449"/>
              <a:gd name="connsiteY32" fmla="*/ 147656 h 586450"/>
              <a:gd name="connsiteX33" fmla="*/ 245411 w 586449"/>
              <a:gd name="connsiteY33" fmla="*/ 147656 h 586450"/>
              <a:gd name="connsiteX34" fmla="*/ 245411 w 586449"/>
              <a:gd name="connsiteY34" fmla="*/ 72783 h 586450"/>
              <a:gd name="connsiteX35" fmla="*/ 293225 w 586449"/>
              <a:gd name="connsiteY35" fmla="*/ 0 h 586450"/>
              <a:gd name="connsiteX36" fmla="*/ 586449 w 586449"/>
              <a:gd name="connsiteY36" fmla="*/ 293225 h 586450"/>
              <a:gd name="connsiteX37" fmla="*/ 293225 w 586449"/>
              <a:gd name="connsiteY37" fmla="*/ 586450 h 586450"/>
              <a:gd name="connsiteX38" fmla="*/ 0 w 586449"/>
              <a:gd name="connsiteY38" fmla="*/ 293225 h 586450"/>
              <a:gd name="connsiteX39" fmla="*/ 293225 w 586449"/>
              <a:gd name="connsiteY39" fmla="*/ 0 h 586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586449" h="586450">
                <a:moveTo>
                  <a:pt x="281028" y="365401"/>
                </a:moveTo>
                <a:lnTo>
                  <a:pt x="281028" y="410723"/>
                </a:lnTo>
                <a:lnTo>
                  <a:pt x="293226" y="410723"/>
                </a:lnTo>
                <a:cubicBezTo>
                  <a:pt x="319610" y="410723"/>
                  <a:pt x="341074" y="431918"/>
                  <a:pt x="341074" y="457931"/>
                </a:cubicBezTo>
                <a:cubicBezTo>
                  <a:pt x="341074" y="483945"/>
                  <a:pt x="319610" y="505140"/>
                  <a:pt x="293226" y="505140"/>
                </a:cubicBezTo>
                <a:cubicBezTo>
                  <a:pt x="266841" y="505140"/>
                  <a:pt x="245377" y="483945"/>
                  <a:pt x="245377" y="457931"/>
                </a:cubicBezTo>
                <a:lnTo>
                  <a:pt x="220981" y="457931"/>
                </a:lnTo>
                <a:cubicBezTo>
                  <a:pt x="220981" y="497255"/>
                  <a:pt x="253397" y="529233"/>
                  <a:pt x="293226" y="529233"/>
                </a:cubicBezTo>
                <a:lnTo>
                  <a:pt x="293226" y="529266"/>
                </a:lnTo>
                <a:cubicBezTo>
                  <a:pt x="333055" y="529266"/>
                  <a:pt x="365470" y="497255"/>
                  <a:pt x="365470" y="457965"/>
                </a:cubicBezTo>
                <a:cubicBezTo>
                  <a:pt x="365470" y="422752"/>
                  <a:pt x="339457" y="393403"/>
                  <a:pt x="305424" y="387675"/>
                </a:cubicBezTo>
                <a:lnTo>
                  <a:pt x="305424" y="365401"/>
                </a:lnTo>
                <a:close/>
                <a:moveTo>
                  <a:pt x="293360" y="216396"/>
                </a:moveTo>
                <a:cubicBezTo>
                  <a:pt x="271896" y="216396"/>
                  <a:pt x="254509" y="233817"/>
                  <a:pt x="254509" y="255248"/>
                </a:cubicBezTo>
                <a:cubicBezTo>
                  <a:pt x="254509" y="276679"/>
                  <a:pt x="271930" y="294066"/>
                  <a:pt x="293360" y="294066"/>
                </a:cubicBezTo>
                <a:cubicBezTo>
                  <a:pt x="314791" y="294066"/>
                  <a:pt x="332179" y="276679"/>
                  <a:pt x="332179" y="255248"/>
                </a:cubicBezTo>
                <a:cubicBezTo>
                  <a:pt x="332179" y="233784"/>
                  <a:pt x="314825" y="216396"/>
                  <a:pt x="293360" y="216396"/>
                </a:cubicBezTo>
                <a:close/>
                <a:moveTo>
                  <a:pt x="293360" y="192135"/>
                </a:moveTo>
                <a:cubicBezTo>
                  <a:pt x="328236" y="192135"/>
                  <a:pt x="356473" y="220373"/>
                  <a:pt x="356473" y="255215"/>
                </a:cubicBezTo>
                <a:cubicBezTo>
                  <a:pt x="356473" y="290057"/>
                  <a:pt x="328236" y="318328"/>
                  <a:pt x="293360" y="318328"/>
                </a:cubicBezTo>
                <a:cubicBezTo>
                  <a:pt x="258485" y="318328"/>
                  <a:pt x="230247" y="290090"/>
                  <a:pt x="230247" y="255215"/>
                </a:cubicBezTo>
                <a:cubicBezTo>
                  <a:pt x="230247" y="220339"/>
                  <a:pt x="258485" y="192135"/>
                  <a:pt x="293360" y="192135"/>
                </a:cubicBezTo>
                <a:close/>
                <a:moveTo>
                  <a:pt x="167168" y="171783"/>
                </a:moveTo>
                <a:lnTo>
                  <a:pt x="204941" y="341073"/>
                </a:lnTo>
                <a:lnTo>
                  <a:pt x="381476" y="341073"/>
                </a:lnTo>
                <a:lnTo>
                  <a:pt x="419283" y="171783"/>
                </a:lnTo>
                <a:lnTo>
                  <a:pt x="167202" y="171783"/>
                </a:lnTo>
                <a:close/>
                <a:moveTo>
                  <a:pt x="341074" y="72783"/>
                </a:moveTo>
                <a:lnTo>
                  <a:pt x="341074" y="147656"/>
                </a:lnTo>
                <a:cubicBezTo>
                  <a:pt x="341074" y="147656"/>
                  <a:pt x="365470" y="147656"/>
                  <a:pt x="365470" y="147656"/>
                </a:cubicBezTo>
                <a:lnTo>
                  <a:pt x="365470" y="72783"/>
                </a:lnTo>
                <a:close/>
                <a:moveTo>
                  <a:pt x="220981" y="72783"/>
                </a:moveTo>
                <a:lnTo>
                  <a:pt x="220981" y="147656"/>
                </a:lnTo>
                <a:lnTo>
                  <a:pt x="245411" y="147656"/>
                </a:lnTo>
                <a:lnTo>
                  <a:pt x="245411" y="72783"/>
                </a:lnTo>
                <a:close/>
                <a:moveTo>
                  <a:pt x="293225" y="0"/>
                </a:moveTo>
                <a:cubicBezTo>
                  <a:pt x="455169" y="0"/>
                  <a:pt x="586449" y="131281"/>
                  <a:pt x="586449" y="293225"/>
                </a:cubicBezTo>
                <a:cubicBezTo>
                  <a:pt x="586449" y="455169"/>
                  <a:pt x="455169" y="586450"/>
                  <a:pt x="293225" y="586450"/>
                </a:cubicBezTo>
                <a:cubicBezTo>
                  <a:pt x="131281" y="586450"/>
                  <a:pt x="0" y="455169"/>
                  <a:pt x="0" y="293225"/>
                </a:cubicBezTo>
                <a:cubicBezTo>
                  <a:pt x="0" y="131281"/>
                  <a:pt x="131281" y="0"/>
                  <a:pt x="293225" y="0"/>
                </a:cubicBezTo>
                <a:close/>
              </a:path>
            </a:pathLst>
          </a:custGeom>
          <a:solidFill>
            <a:srgbClr val="FFFFFF"/>
          </a:solidFill>
          <a:ln w="3364" cap="flat">
            <a:noFill/>
            <a:prstDash val="solid"/>
            <a:miter/>
          </a:ln>
        </p:spPr>
        <p:txBody>
          <a:bodyPr wrap="square" rtlCol="0" anchor="ctr">
            <a:noAutofit/>
          </a:bodyPr>
          <a:lstStyle/>
          <a:p>
            <a:endParaRPr lang="en-GB"/>
          </a:p>
        </p:txBody>
      </p:sp>
    </p:spTree>
    <p:extLst>
      <p:ext uri="{BB962C8B-B14F-4D97-AF65-F5344CB8AC3E}">
        <p14:creationId xmlns:p14="http://schemas.microsoft.com/office/powerpoint/2010/main" val="1230897291"/>
      </p:ext>
    </p:extLst>
  </p:cSld>
  <p:clrMapOvr>
    <a:masterClrMapping/>
  </p:clrMapOvr>
  <p:transition spd="med">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_Content &amp; Image ENERGY">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261A4C7-E98D-3660-5C37-C13B3A230A80}"/>
              </a:ext>
            </a:extLst>
          </p:cNvPr>
          <p:cNvSpPr/>
          <p:nvPr userDrawn="1"/>
        </p:nvSpPr>
        <p:spPr>
          <a:xfrm>
            <a:off x="8126413" y="0"/>
            <a:ext cx="40655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Footer Placeholder 4"/>
          <p:cNvSpPr>
            <a:spLocks noGrp="1"/>
          </p:cNvSpPr>
          <p:nvPr>
            <p:ph type="ftr" sz="quarter" idx="11"/>
          </p:nvPr>
        </p:nvSpPr>
        <p:spPr/>
        <p:txBody>
          <a:bodyPr/>
          <a:lstStyle/>
          <a:p>
            <a:r>
              <a:rPr lang="en-GB"/>
              <a:t>INSERT FOOTER HER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8CFE0557-AA98-4E6C-B0C3-581794696B68}" type="slidenum">
              <a:rPr lang="en-GB" smtClean="0"/>
              <a:pPr/>
              <a:t>‹#›</a:t>
            </a:fld>
            <a:endParaRPr lang="en-GB"/>
          </a:p>
        </p:txBody>
      </p:sp>
      <p:sp>
        <p:nvSpPr>
          <p:cNvPr id="10" name="Content Placeholder 2">
            <a:extLst>
              <a:ext uri="{FF2B5EF4-FFF2-40B4-BE49-F238E27FC236}">
                <a16:creationId xmlns:a16="http://schemas.microsoft.com/office/drawing/2014/main" id="{182B4A0E-C187-E12F-BB7B-7E465EDEEA4C}"/>
              </a:ext>
            </a:extLst>
          </p:cNvPr>
          <p:cNvSpPr>
            <a:spLocks noGrp="1"/>
          </p:cNvSpPr>
          <p:nvPr>
            <p:ph idx="1" hasCustomPrompt="1"/>
          </p:nvPr>
        </p:nvSpPr>
        <p:spPr>
          <a:xfrm>
            <a:off x="508000" y="1244882"/>
            <a:ext cx="7142820" cy="291662"/>
          </a:xfrm>
        </p:spPr>
        <p:txBody>
          <a:bodyPr vert="horz" lIns="0" tIns="45720" rIns="0" bIns="45720" numCol="1" spcCol="288000" rtlCol="0">
            <a:noAutofit/>
          </a:bodyPr>
          <a:lstStyle>
            <a:lvl1pPr>
              <a:defRPr lang="en-US" cap="all" baseline="0" dirty="0" smtClean="0"/>
            </a:lvl1pPr>
            <a:lvl2pPr>
              <a:defRPr lang="en-US" dirty="0"/>
            </a:lvl2pPr>
            <a:lvl3pPr>
              <a:defRPr lang="en-US" dirty="0"/>
            </a:lvl3pPr>
            <a:lvl4pPr>
              <a:defRPr lang="en-US" dirty="0"/>
            </a:lvl4pPr>
            <a:lvl5pPr>
              <a:defRPr lang="en-US" dirty="0"/>
            </a:lvl5pPr>
          </a:lstStyle>
          <a:p>
            <a:pPr lvl="0"/>
            <a:r>
              <a:rPr lang="en-US" dirty="0"/>
              <a:t>subhead</a:t>
            </a:r>
          </a:p>
        </p:txBody>
      </p:sp>
      <p:sp>
        <p:nvSpPr>
          <p:cNvPr id="12" name="Content Placeholder 2">
            <a:extLst>
              <a:ext uri="{FF2B5EF4-FFF2-40B4-BE49-F238E27FC236}">
                <a16:creationId xmlns:a16="http://schemas.microsoft.com/office/drawing/2014/main" id="{79AF8CE8-F801-FBFD-7F6F-0BE65F72C036}"/>
              </a:ext>
            </a:extLst>
          </p:cNvPr>
          <p:cNvSpPr>
            <a:spLocks noGrp="1"/>
          </p:cNvSpPr>
          <p:nvPr>
            <p:ph idx="16" hasCustomPrompt="1"/>
          </p:nvPr>
        </p:nvSpPr>
        <p:spPr>
          <a:xfrm>
            <a:off x="508000" y="1613017"/>
            <a:ext cx="3400425" cy="4606808"/>
          </a:xfrm>
        </p:spPr>
        <p:txBody>
          <a:bodyPr vert="horz" lIns="0" tIns="45720" rIns="0" bIns="4572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7" name="TextBox 4">
            <a:extLst>
              <a:ext uri="{FF2B5EF4-FFF2-40B4-BE49-F238E27FC236}">
                <a16:creationId xmlns:a16="http://schemas.microsoft.com/office/drawing/2014/main" id="{ECC1AF18-C7ED-CAA0-D1D3-14DEFC5E2590}"/>
              </a:ext>
            </a:extLst>
          </p:cNvPr>
          <p:cNvSpPr txBox="1"/>
          <p:nvPr userDrawn="1"/>
        </p:nvSpPr>
        <p:spPr>
          <a:xfrm>
            <a:off x="12346713" y="109538"/>
            <a:ext cx="1934437" cy="31700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INSERTING IMAGES:</a:t>
            </a:r>
          </a:p>
          <a:p>
            <a:pPr marL="179388" indent="-179388">
              <a:spcBef>
                <a:spcPts val="200"/>
              </a:spcBef>
              <a:spcAft>
                <a:spcPts val="200"/>
              </a:spcAft>
              <a:buFont typeface="+mj-lt"/>
              <a:buAutoNum type="arabicPeriod"/>
            </a:pPr>
            <a:r>
              <a:rPr lang="en-US" sz="900" dirty="0">
                <a:solidFill>
                  <a:schemeClr val="tx1"/>
                </a:solidFill>
                <a:latin typeface="+mn-lt"/>
              </a:rPr>
              <a:t>Simply click the image placeholder and select your image.</a:t>
            </a:r>
          </a:p>
          <a:p>
            <a:pPr marL="179388" indent="-179388">
              <a:spcBef>
                <a:spcPts val="200"/>
              </a:spcBef>
              <a:spcAft>
                <a:spcPts val="200"/>
              </a:spcAft>
              <a:buFont typeface="+mj-lt"/>
              <a:buAutoNum type="arabicPeriod"/>
            </a:pPr>
            <a:r>
              <a:rPr lang="en-US" sz="900" dirty="0">
                <a:solidFill>
                  <a:schemeClr val="tx1"/>
                </a:solidFill>
                <a:latin typeface="+mn-lt"/>
              </a:rPr>
              <a:t>Once your image is inserted into the shape it may be distorted. (Stretched or Squashed)</a:t>
            </a:r>
          </a:p>
          <a:p>
            <a:pPr marL="179388" indent="-179388">
              <a:spcBef>
                <a:spcPts val="200"/>
              </a:spcBef>
              <a:spcAft>
                <a:spcPts val="200"/>
              </a:spcAft>
              <a:buFont typeface="+mj-lt"/>
              <a:buAutoNum type="arabicPeriod"/>
            </a:pPr>
            <a:endParaRPr lang="en-US" sz="900" dirty="0">
              <a:solidFill>
                <a:schemeClr val="tx1"/>
              </a:solidFill>
              <a:latin typeface="+mn-lt"/>
            </a:endParaRPr>
          </a:p>
          <a:p>
            <a:pPr>
              <a:spcBef>
                <a:spcPts val="200"/>
              </a:spcBef>
              <a:spcAft>
                <a:spcPts val="200"/>
              </a:spcAft>
            </a:pPr>
            <a:r>
              <a:rPr lang="en-US" sz="900" b="1" dirty="0">
                <a:solidFill>
                  <a:schemeClr val="tx1"/>
                </a:solidFill>
                <a:latin typeface="+mn-lt"/>
              </a:rPr>
              <a:t>To fix this:</a:t>
            </a:r>
          </a:p>
          <a:p>
            <a:pPr marL="179388" indent="-179388">
              <a:spcBef>
                <a:spcPts val="200"/>
              </a:spcBef>
              <a:spcAft>
                <a:spcPts val="200"/>
              </a:spcAft>
              <a:buFont typeface="+mj-lt"/>
              <a:buAutoNum type="arabicPeriod"/>
            </a:pPr>
            <a:r>
              <a:rPr lang="en-US" sz="900" dirty="0">
                <a:solidFill>
                  <a:schemeClr val="tx1"/>
                </a:solidFill>
                <a:latin typeface="+mn-lt"/>
              </a:rPr>
              <a:t>Click on the image and from the top menu under </a:t>
            </a:r>
            <a:r>
              <a:rPr lang="en-US" sz="900" b="1" dirty="0">
                <a:solidFill>
                  <a:schemeClr val="tx1"/>
                </a:solidFill>
                <a:latin typeface="+mn-lt"/>
              </a:rPr>
              <a:t>PICTURE FORMAT </a:t>
            </a:r>
            <a:r>
              <a:rPr lang="en-US" sz="900" dirty="0">
                <a:solidFill>
                  <a:schemeClr val="tx1"/>
                </a:solidFill>
                <a:latin typeface="+mn-lt"/>
              </a:rPr>
              <a:t>select the </a:t>
            </a:r>
            <a:r>
              <a:rPr lang="en-US" sz="900" b="1" dirty="0">
                <a:solidFill>
                  <a:schemeClr val="tx1"/>
                </a:solidFill>
                <a:latin typeface="+mn-lt"/>
              </a:rPr>
              <a:t>CROP</a:t>
            </a:r>
            <a:r>
              <a:rPr lang="en-US" sz="900" dirty="0">
                <a:solidFill>
                  <a:schemeClr val="tx1"/>
                </a:solidFill>
                <a:latin typeface="+mn-lt"/>
              </a:rPr>
              <a:t> on the right and from the drop down menu select </a:t>
            </a:r>
            <a:r>
              <a:rPr lang="en-US" sz="900" b="1" kern="1200" dirty="0">
                <a:solidFill>
                  <a:schemeClr val="tx1"/>
                </a:solidFill>
                <a:latin typeface="+mn-lt"/>
                <a:ea typeface="+mn-ea"/>
                <a:cs typeface="+mn-cs"/>
              </a:rPr>
              <a:t>FILL</a:t>
            </a:r>
          </a:p>
          <a:p>
            <a:pPr marL="179388" indent="-179388">
              <a:spcBef>
                <a:spcPts val="200"/>
              </a:spcBef>
              <a:spcAft>
                <a:spcPts val="200"/>
              </a:spcAft>
              <a:buFont typeface="+mj-lt"/>
              <a:buAutoNum type="arabicPeriod"/>
            </a:pPr>
            <a:r>
              <a:rPr lang="en-US" sz="900" b="0" kern="1200" dirty="0">
                <a:solidFill>
                  <a:schemeClr val="tx1"/>
                </a:solidFill>
                <a:latin typeface="+mn-lt"/>
                <a:ea typeface="+mn-ea"/>
                <a:cs typeface="+mn-cs"/>
              </a:rPr>
              <a:t>From here you can move the image within the shape for best visual appearance</a:t>
            </a:r>
          </a:p>
        </p:txBody>
      </p:sp>
      <p:sp>
        <p:nvSpPr>
          <p:cNvPr id="4" name="Content Placeholder 2">
            <a:extLst>
              <a:ext uri="{FF2B5EF4-FFF2-40B4-BE49-F238E27FC236}">
                <a16:creationId xmlns:a16="http://schemas.microsoft.com/office/drawing/2014/main" id="{53C28725-2311-B24F-68FE-D0071B9D9FA2}"/>
              </a:ext>
            </a:extLst>
          </p:cNvPr>
          <p:cNvSpPr>
            <a:spLocks noGrp="1"/>
          </p:cNvSpPr>
          <p:nvPr>
            <p:ph idx="18" hasCustomPrompt="1"/>
          </p:nvPr>
        </p:nvSpPr>
        <p:spPr>
          <a:xfrm>
            <a:off x="4229229" y="1613017"/>
            <a:ext cx="3421591" cy="4606808"/>
          </a:xfrm>
        </p:spPr>
        <p:txBody>
          <a:bodyPr vert="horz" lIns="0" tIns="45720" rIns="0" bIns="4572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2" name="Title 1">
            <a:extLst>
              <a:ext uri="{FF2B5EF4-FFF2-40B4-BE49-F238E27FC236}">
                <a16:creationId xmlns:a16="http://schemas.microsoft.com/office/drawing/2014/main" id="{F716C1E4-4130-ED05-3440-416A4549A61B}"/>
              </a:ext>
            </a:extLst>
          </p:cNvPr>
          <p:cNvSpPr>
            <a:spLocks noGrp="1"/>
          </p:cNvSpPr>
          <p:nvPr>
            <p:ph type="title" hasCustomPrompt="1"/>
          </p:nvPr>
        </p:nvSpPr>
        <p:spPr>
          <a:xfrm>
            <a:off x="508001" y="454013"/>
            <a:ext cx="7142820" cy="790869"/>
          </a:xfrm>
        </p:spPr>
        <p:txBody>
          <a:bodyPr/>
          <a:lstStyle/>
          <a:p>
            <a:r>
              <a:rPr lang="en-US" dirty="0"/>
              <a:t>TITLE: subtitle</a:t>
            </a:r>
            <a:endParaRPr lang="en-GB" dirty="0"/>
          </a:p>
        </p:txBody>
      </p:sp>
      <p:sp>
        <p:nvSpPr>
          <p:cNvPr id="9" name="Content Placeholder 2">
            <a:extLst>
              <a:ext uri="{FF2B5EF4-FFF2-40B4-BE49-F238E27FC236}">
                <a16:creationId xmlns:a16="http://schemas.microsoft.com/office/drawing/2014/main" id="{50857AC0-932F-5BAA-C619-2F239FED9BE2}"/>
              </a:ext>
            </a:extLst>
          </p:cNvPr>
          <p:cNvSpPr>
            <a:spLocks noGrp="1"/>
          </p:cNvSpPr>
          <p:nvPr>
            <p:ph idx="45" hasCustomPrompt="1"/>
          </p:nvPr>
        </p:nvSpPr>
        <p:spPr>
          <a:xfrm>
            <a:off x="8737600" y="2660686"/>
            <a:ext cx="2944813" cy="3559139"/>
          </a:xfrm>
        </p:spPr>
        <p:txBody>
          <a:bodyPr vert="horz" lIns="0" tIns="45720" rIns="0" bIns="45720" rtlCol="0">
            <a:normAutofit/>
          </a:bodyPr>
          <a:lstStyle>
            <a:lvl1pPr algn="l" defTabSz="914400" rtl="0" eaLnBrk="1" latinLnBrk="0" hangingPunct="1">
              <a:lnSpc>
                <a:spcPct val="130000"/>
              </a:lnSpc>
              <a:spcBef>
                <a:spcPts val="300"/>
              </a:spcBef>
              <a:spcAft>
                <a:spcPts val="300"/>
              </a:spcAft>
              <a:buFont typeface="Arial" panose="020B0604020202020204" pitchFamily="34" charset="0"/>
              <a:defRPr lang="en-US" sz="1100" kern="1200" dirty="0">
                <a:solidFill>
                  <a:schemeClr val="bg1"/>
                </a:solidFill>
                <a:latin typeface="+mn-lt"/>
                <a:ea typeface="+mn-ea"/>
                <a:cs typeface="+mn-cs"/>
              </a:defRPr>
            </a:lvl1pPr>
            <a:lvl2pPr>
              <a:buClr>
                <a:schemeClr val="bg1"/>
              </a:buClr>
              <a:defRPr lang="en-US" dirty="0">
                <a:solidFill>
                  <a:schemeClr val="bg1"/>
                </a:solidFill>
              </a:defRPr>
            </a:lvl2pPr>
            <a:lvl3pPr>
              <a:buClr>
                <a:schemeClr val="bg1"/>
              </a:buClr>
              <a:defRPr lang="en-US" dirty="0">
                <a:solidFill>
                  <a:schemeClr val="bg1"/>
                </a:solidFill>
              </a:defRPr>
            </a:lvl3pPr>
            <a:lvl4pPr>
              <a:buClr>
                <a:schemeClr val="bg1"/>
              </a:buClr>
              <a:defRPr lang="en-US" dirty="0">
                <a:solidFill>
                  <a:schemeClr val="bg1"/>
                </a:solidFill>
              </a:defRPr>
            </a:lvl4pPr>
            <a:lvl5pPr>
              <a:buClr>
                <a:schemeClr val="bg1"/>
              </a:buClr>
              <a:defRPr lang="en-US" dirty="0">
                <a:solidFill>
                  <a:schemeClr val="bg1"/>
                </a:solidFill>
              </a:defRPr>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11" name="Content Placeholder 2">
            <a:extLst>
              <a:ext uri="{FF2B5EF4-FFF2-40B4-BE49-F238E27FC236}">
                <a16:creationId xmlns:a16="http://schemas.microsoft.com/office/drawing/2014/main" id="{1C0E041C-792C-A30B-955E-9CBF9DBE0507}"/>
              </a:ext>
            </a:extLst>
          </p:cNvPr>
          <p:cNvSpPr>
            <a:spLocks noGrp="1"/>
          </p:cNvSpPr>
          <p:nvPr>
            <p:ph idx="46" hasCustomPrompt="1"/>
          </p:nvPr>
        </p:nvSpPr>
        <p:spPr>
          <a:xfrm>
            <a:off x="8737600" y="2294925"/>
            <a:ext cx="2946399" cy="365761"/>
          </a:xfrm>
        </p:spPr>
        <p:txBody>
          <a:bodyPr/>
          <a:lstStyle>
            <a:lvl1pPr>
              <a:defRPr cap="all" baseline="0">
                <a:solidFill>
                  <a:schemeClr val="accent2"/>
                </a:solidFill>
              </a:defRPr>
            </a:lvl1pPr>
          </a:lstStyle>
          <a:p>
            <a:pPr lvl="0"/>
            <a:r>
              <a:rPr lang="en-US" dirty="0"/>
              <a:t>subhead</a:t>
            </a:r>
          </a:p>
        </p:txBody>
      </p:sp>
      <p:sp>
        <p:nvSpPr>
          <p:cNvPr id="3" name="Freeform: Shape 2">
            <a:extLst>
              <a:ext uri="{FF2B5EF4-FFF2-40B4-BE49-F238E27FC236}">
                <a16:creationId xmlns:a16="http://schemas.microsoft.com/office/drawing/2014/main" id="{5FC37DFB-ED89-1E71-A674-B526B652D9C7}"/>
              </a:ext>
            </a:extLst>
          </p:cNvPr>
          <p:cNvSpPr/>
          <p:nvPr userDrawn="1"/>
        </p:nvSpPr>
        <p:spPr>
          <a:xfrm>
            <a:off x="9422818" y="508495"/>
            <a:ext cx="1472776" cy="1472774"/>
          </a:xfrm>
          <a:custGeom>
            <a:avLst/>
            <a:gdLst>
              <a:gd name="connsiteX0" fmla="*/ 315093 w 586449"/>
              <a:gd name="connsiteY0" fmla="*/ 247060 h 586450"/>
              <a:gd name="connsiteX1" fmla="*/ 243657 w 586449"/>
              <a:gd name="connsiteY1" fmla="*/ 521112 h 586450"/>
              <a:gd name="connsiteX2" fmla="*/ 426762 w 586449"/>
              <a:gd name="connsiteY2" fmla="*/ 276140 h 586450"/>
              <a:gd name="connsiteX3" fmla="*/ 315127 w 586449"/>
              <a:gd name="connsiteY3" fmla="*/ 247060 h 586450"/>
              <a:gd name="connsiteX4" fmla="*/ 333727 w 586449"/>
              <a:gd name="connsiteY4" fmla="*/ 70795 h 586450"/>
              <a:gd name="connsiteX5" fmla="*/ 159686 w 586449"/>
              <a:gd name="connsiteY5" fmla="*/ 303602 h 586450"/>
              <a:gd name="connsiteX6" fmla="*/ 265829 w 586449"/>
              <a:gd name="connsiteY6" fmla="*/ 331233 h 586450"/>
              <a:gd name="connsiteX7" fmla="*/ 333727 w 586449"/>
              <a:gd name="connsiteY7" fmla="*/ 70829 h 586450"/>
              <a:gd name="connsiteX8" fmla="*/ 293225 w 586449"/>
              <a:gd name="connsiteY8" fmla="*/ 0 h 586450"/>
              <a:gd name="connsiteX9" fmla="*/ 586449 w 586449"/>
              <a:gd name="connsiteY9" fmla="*/ 293225 h 586450"/>
              <a:gd name="connsiteX10" fmla="*/ 293225 w 586449"/>
              <a:gd name="connsiteY10" fmla="*/ 586450 h 586450"/>
              <a:gd name="connsiteX11" fmla="*/ 0 w 586449"/>
              <a:gd name="connsiteY11" fmla="*/ 293225 h 586450"/>
              <a:gd name="connsiteX12" fmla="*/ 293225 w 586449"/>
              <a:gd name="connsiteY12" fmla="*/ 0 h 586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86449" h="586450">
                <a:moveTo>
                  <a:pt x="315093" y="247060"/>
                </a:moveTo>
                <a:lnTo>
                  <a:pt x="243657" y="521112"/>
                </a:lnTo>
                <a:lnTo>
                  <a:pt x="426762" y="276140"/>
                </a:lnTo>
                <a:lnTo>
                  <a:pt x="315127" y="247060"/>
                </a:lnTo>
                <a:close/>
                <a:moveTo>
                  <a:pt x="333727" y="70795"/>
                </a:moveTo>
                <a:lnTo>
                  <a:pt x="159686" y="303602"/>
                </a:lnTo>
                <a:lnTo>
                  <a:pt x="265829" y="331233"/>
                </a:lnTo>
                <a:lnTo>
                  <a:pt x="333727" y="70829"/>
                </a:lnTo>
                <a:close/>
                <a:moveTo>
                  <a:pt x="293225" y="0"/>
                </a:moveTo>
                <a:cubicBezTo>
                  <a:pt x="455169" y="0"/>
                  <a:pt x="586449" y="131281"/>
                  <a:pt x="586449" y="293225"/>
                </a:cubicBezTo>
                <a:cubicBezTo>
                  <a:pt x="586449" y="455169"/>
                  <a:pt x="455169" y="586450"/>
                  <a:pt x="293225" y="586450"/>
                </a:cubicBezTo>
                <a:cubicBezTo>
                  <a:pt x="131281" y="586450"/>
                  <a:pt x="0" y="455169"/>
                  <a:pt x="0" y="293225"/>
                </a:cubicBezTo>
                <a:cubicBezTo>
                  <a:pt x="0" y="131281"/>
                  <a:pt x="131281" y="0"/>
                  <a:pt x="293225" y="0"/>
                </a:cubicBezTo>
                <a:close/>
              </a:path>
            </a:pathLst>
          </a:custGeom>
          <a:solidFill>
            <a:srgbClr val="FFFFFF"/>
          </a:solidFill>
          <a:ln w="3364" cap="flat">
            <a:noFill/>
            <a:prstDash val="solid"/>
            <a:miter/>
          </a:ln>
        </p:spPr>
        <p:txBody>
          <a:bodyPr wrap="square" rtlCol="0" anchor="ctr">
            <a:noAutofit/>
          </a:bodyPr>
          <a:lstStyle/>
          <a:p>
            <a:endParaRPr lang="en-GB"/>
          </a:p>
        </p:txBody>
      </p:sp>
    </p:spTree>
    <p:extLst>
      <p:ext uri="{BB962C8B-B14F-4D97-AF65-F5344CB8AC3E}">
        <p14:creationId xmlns:p14="http://schemas.microsoft.com/office/powerpoint/2010/main" val="1697316736"/>
      </p:ext>
    </p:extLst>
  </p:cSld>
  <p:clrMapOvr>
    <a:masterClrMapping/>
  </p:clrMapOvr>
  <p:transition spd="med">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4_Content &amp; Image INSURNACE &amp; REINSURANC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261A4C7-E98D-3660-5C37-C13B3A230A80}"/>
              </a:ext>
            </a:extLst>
          </p:cNvPr>
          <p:cNvSpPr/>
          <p:nvPr userDrawn="1"/>
        </p:nvSpPr>
        <p:spPr>
          <a:xfrm>
            <a:off x="8126413" y="0"/>
            <a:ext cx="40655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Footer Placeholder 4"/>
          <p:cNvSpPr>
            <a:spLocks noGrp="1"/>
          </p:cNvSpPr>
          <p:nvPr>
            <p:ph type="ftr" sz="quarter" idx="11"/>
          </p:nvPr>
        </p:nvSpPr>
        <p:spPr/>
        <p:txBody>
          <a:bodyPr/>
          <a:lstStyle/>
          <a:p>
            <a:r>
              <a:rPr lang="en-GB"/>
              <a:t>INSERT FOOTER HER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8CFE0557-AA98-4E6C-B0C3-581794696B68}" type="slidenum">
              <a:rPr lang="en-GB" smtClean="0"/>
              <a:pPr/>
              <a:t>‹#›</a:t>
            </a:fld>
            <a:endParaRPr lang="en-GB"/>
          </a:p>
        </p:txBody>
      </p:sp>
      <p:sp>
        <p:nvSpPr>
          <p:cNvPr id="10" name="Content Placeholder 2">
            <a:extLst>
              <a:ext uri="{FF2B5EF4-FFF2-40B4-BE49-F238E27FC236}">
                <a16:creationId xmlns:a16="http://schemas.microsoft.com/office/drawing/2014/main" id="{182B4A0E-C187-E12F-BB7B-7E465EDEEA4C}"/>
              </a:ext>
            </a:extLst>
          </p:cNvPr>
          <p:cNvSpPr>
            <a:spLocks noGrp="1"/>
          </p:cNvSpPr>
          <p:nvPr>
            <p:ph idx="1" hasCustomPrompt="1"/>
          </p:nvPr>
        </p:nvSpPr>
        <p:spPr>
          <a:xfrm>
            <a:off x="508000" y="1244882"/>
            <a:ext cx="7142820" cy="291662"/>
          </a:xfrm>
        </p:spPr>
        <p:txBody>
          <a:bodyPr vert="horz" lIns="0" tIns="45720" rIns="0" bIns="45720" numCol="1" spcCol="288000" rtlCol="0">
            <a:noAutofit/>
          </a:bodyPr>
          <a:lstStyle>
            <a:lvl1pPr>
              <a:defRPr lang="en-US" cap="all" baseline="0" dirty="0" smtClean="0"/>
            </a:lvl1pPr>
            <a:lvl2pPr>
              <a:defRPr lang="en-US" dirty="0"/>
            </a:lvl2pPr>
            <a:lvl3pPr>
              <a:defRPr lang="en-US" dirty="0"/>
            </a:lvl3pPr>
            <a:lvl4pPr>
              <a:defRPr lang="en-US" dirty="0"/>
            </a:lvl4pPr>
            <a:lvl5pPr>
              <a:defRPr lang="en-US" dirty="0"/>
            </a:lvl5pPr>
          </a:lstStyle>
          <a:p>
            <a:pPr lvl="0"/>
            <a:r>
              <a:rPr lang="en-US" dirty="0"/>
              <a:t>subhead</a:t>
            </a:r>
          </a:p>
        </p:txBody>
      </p:sp>
      <p:sp>
        <p:nvSpPr>
          <p:cNvPr id="12" name="Content Placeholder 2">
            <a:extLst>
              <a:ext uri="{FF2B5EF4-FFF2-40B4-BE49-F238E27FC236}">
                <a16:creationId xmlns:a16="http://schemas.microsoft.com/office/drawing/2014/main" id="{79AF8CE8-F801-FBFD-7F6F-0BE65F72C036}"/>
              </a:ext>
            </a:extLst>
          </p:cNvPr>
          <p:cNvSpPr>
            <a:spLocks noGrp="1"/>
          </p:cNvSpPr>
          <p:nvPr>
            <p:ph idx="16" hasCustomPrompt="1"/>
          </p:nvPr>
        </p:nvSpPr>
        <p:spPr>
          <a:xfrm>
            <a:off x="508000" y="1613017"/>
            <a:ext cx="3400425" cy="4606808"/>
          </a:xfrm>
        </p:spPr>
        <p:txBody>
          <a:bodyPr vert="horz" lIns="0" tIns="45720" rIns="0" bIns="4572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7" name="TextBox 4">
            <a:extLst>
              <a:ext uri="{FF2B5EF4-FFF2-40B4-BE49-F238E27FC236}">
                <a16:creationId xmlns:a16="http://schemas.microsoft.com/office/drawing/2014/main" id="{ECC1AF18-C7ED-CAA0-D1D3-14DEFC5E2590}"/>
              </a:ext>
            </a:extLst>
          </p:cNvPr>
          <p:cNvSpPr txBox="1"/>
          <p:nvPr userDrawn="1"/>
        </p:nvSpPr>
        <p:spPr>
          <a:xfrm>
            <a:off x="12346713" y="109538"/>
            <a:ext cx="1934437" cy="31700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INSERTING IMAGES:</a:t>
            </a:r>
          </a:p>
          <a:p>
            <a:pPr marL="179388" indent="-179388">
              <a:spcBef>
                <a:spcPts val="200"/>
              </a:spcBef>
              <a:spcAft>
                <a:spcPts val="200"/>
              </a:spcAft>
              <a:buFont typeface="+mj-lt"/>
              <a:buAutoNum type="arabicPeriod"/>
            </a:pPr>
            <a:r>
              <a:rPr lang="en-US" sz="900" dirty="0">
                <a:solidFill>
                  <a:schemeClr val="tx1"/>
                </a:solidFill>
                <a:latin typeface="+mn-lt"/>
              </a:rPr>
              <a:t>Simply click the image placeholder and select your image.</a:t>
            </a:r>
          </a:p>
          <a:p>
            <a:pPr marL="179388" indent="-179388">
              <a:spcBef>
                <a:spcPts val="200"/>
              </a:spcBef>
              <a:spcAft>
                <a:spcPts val="200"/>
              </a:spcAft>
              <a:buFont typeface="+mj-lt"/>
              <a:buAutoNum type="arabicPeriod"/>
            </a:pPr>
            <a:r>
              <a:rPr lang="en-US" sz="900" dirty="0">
                <a:solidFill>
                  <a:schemeClr val="tx1"/>
                </a:solidFill>
                <a:latin typeface="+mn-lt"/>
              </a:rPr>
              <a:t>Once your image is inserted into the shape it may be distorted. (Stretched or Squashed)</a:t>
            </a:r>
          </a:p>
          <a:p>
            <a:pPr marL="179388" indent="-179388">
              <a:spcBef>
                <a:spcPts val="200"/>
              </a:spcBef>
              <a:spcAft>
                <a:spcPts val="200"/>
              </a:spcAft>
              <a:buFont typeface="+mj-lt"/>
              <a:buAutoNum type="arabicPeriod"/>
            </a:pPr>
            <a:endParaRPr lang="en-US" sz="900" dirty="0">
              <a:solidFill>
                <a:schemeClr val="tx1"/>
              </a:solidFill>
              <a:latin typeface="+mn-lt"/>
            </a:endParaRPr>
          </a:p>
          <a:p>
            <a:pPr>
              <a:spcBef>
                <a:spcPts val="200"/>
              </a:spcBef>
              <a:spcAft>
                <a:spcPts val="200"/>
              </a:spcAft>
            </a:pPr>
            <a:r>
              <a:rPr lang="en-US" sz="900" b="1" dirty="0">
                <a:solidFill>
                  <a:schemeClr val="tx1"/>
                </a:solidFill>
                <a:latin typeface="+mn-lt"/>
              </a:rPr>
              <a:t>To fix this:</a:t>
            </a:r>
          </a:p>
          <a:p>
            <a:pPr marL="179388" indent="-179388">
              <a:spcBef>
                <a:spcPts val="200"/>
              </a:spcBef>
              <a:spcAft>
                <a:spcPts val="200"/>
              </a:spcAft>
              <a:buFont typeface="+mj-lt"/>
              <a:buAutoNum type="arabicPeriod"/>
            </a:pPr>
            <a:r>
              <a:rPr lang="en-US" sz="900" dirty="0">
                <a:solidFill>
                  <a:schemeClr val="tx1"/>
                </a:solidFill>
                <a:latin typeface="+mn-lt"/>
              </a:rPr>
              <a:t>Click on the image and from the top menu under </a:t>
            </a:r>
            <a:r>
              <a:rPr lang="en-US" sz="900" b="1" dirty="0">
                <a:solidFill>
                  <a:schemeClr val="tx1"/>
                </a:solidFill>
                <a:latin typeface="+mn-lt"/>
              </a:rPr>
              <a:t>PICTURE FORMAT </a:t>
            </a:r>
            <a:r>
              <a:rPr lang="en-US" sz="900" dirty="0">
                <a:solidFill>
                  <a:schemeClr val="tx1"/>
                </a:solidFill>
                <a:latin typeface="+mn-lt"/>
              </a:rPr>
              <a:t>select the </a:t>
            </a:r>
            <a:r>
              <a:rPr lang="en-US" sz="900" b="1" dirty="0">
                <a:solidFill>
                  <a:schemeClr val="tx1"/>
                </a:solidFill>
                <a:latin typeface="+mn-lt"/>
              </a:rPr>
              <a:t>CROP</a:t>
            </a:r>
            <a:r>
              <a:rPr lang="en-US" sz="900" dirty="0">
                <a:solidFill>
                  <a:schemeClr val="tx1"/>
                </a:solidFill>
                <a:latin typeface="+mn-lt"/>
              </a:rPr>
              <a:t> on the right and from the drop down menu select </a:t>
            </a:r>
            <a:r>
              <a:rPr lang="en-US" sz="900" b="1" kern="1200" dirty="0">
                <a:solidFill>
                  <a:schemeClr val="tx1"/>
                </a:solidFill>
                <a:latin typeface="+mn-lt"/>
                <a:ea typeface="+mn-ea"/>
                <a:cs typeface="+mn-cs"/>
              </a:rPr>
              <a:t>FILL</a:t>
            </a:r>
          </a:p>
          <a:p>
            <a:pPr marL="179388" indent="-179388">
              <a:spcBef>
                <a:spcPts val="200"/>
              </a:spcBef>
              <a:spcAft>
                <a:spcPts val="200"/>
              </a:spcAft>
              <a:buFont typeface="+mj-lt"/>
              <a:buAutoNum type="arabicPeriod"/>
            </a:pPr>
            <a:r>
              <a:rPr lang="en-US" sz="900" b="0" kern="1200" dirty="0">
                <a:solidFill>
                  <a:schemeClr val="tx1"/>
                </a:solidFill>
                <a:latin typeface="+mn-lt"/>
                <a:ea typeface="+mn-ea"/>
                <a:cs typeface="+mn-cs"/>
              </a:rPr>
              <a:t>From here you can move the image within the shape for best visual appearance</a:t>
            </a:r>
          </a:p>
        </p:txBody>
      </p:sp>
      <p:sp>
        <p:nvSpPr>
          <p:cNvPr id="4" name="Content Placeholder 2">
            <a:extLst>
              <a:ext uri="{FF2B5EF4-FFF2-40B4-BE49-F238E27FC236}">
                <a16:creationId xmlns:a16="http://schemas.microsoft.com/office/drawing/2014/main" id="{53C28725-2311-B24F-68FE-D0071B9D9FA2}"/>
              </a:ext>
            </a:extLst>
          </p:cNvPr>
          <p:cNvSpPr>
            <a:spLocks noGrp="1"/>
          </p:cNvSpPr>
          <p:nvPr>
            <p:ph idx="18" hasCustomPrompt="1"/>
          </p:nvPr>
        </p:nvSpPr>
        <p:spPr>
          <a:xfrm>
            <a:off x="4229229" y="1613017"/>
            <a:ext cx="3421591" cy="4606808"/>
          </a:xfrm>
        </p:spPr>
        <p:txBody>
          <a:bodyPr vert="horz" lIns="0" tIns="45720" rIns="0" bIns="4572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2" name="Title 1">
            <a:extLst>
              <a:ext uri="{FF2B5EF4-FFF2-40B4-BE49-F238E27FC236}">
                <a16:creationId xmlns:a16="http://schemas.microsoft.com/office/drawing/2014/main" id="{F716C1E4-4130-ED05-3440-416A4549A61B}"/>
              </a:ext>
            </a:extLst>
          </p:cNvPr>
          <p:cNvSpPr>
            <a:spLocks noGrp="1"/>
          </p:cNvSpPr>
          <p:nvPr>
            <p:ph type="title" hasCustomPrompt="1"/>
          </p:nvPr>
        </p:nvSpPr>
        <p:spPr>
          <a:xfrm>
            <a:off x="508001" y="454013"/>
            <a:ext cx="7142820" cy="790869"/>
          </a:xfrm>
        </p:spPr>
        <p:txBody>
          <a:bodyPr/>
          <a:lstStyle/>
          <a:p>
            <a:r>
              <a:rPr lang="en-US" dirty="0"/>
              <a:t>TITLE: subtitle</a:t>
            </a:r>
            <a:endParaRPr lang="en-GB" dirty="0"/>
          </a:p>
        </p:txBody>
      </p:sp>
      <p:sp>
        <p:nvSpPr>
          <p:cNvPr id="9" name="Content Placeholder 2">
            <a:extLst>
              <a:ext uri="{FF2B5EF4-FFF2-40B4-BE49-F238E27FC236}">
                <a16:creationId xmlns:a16="http://schemas.microsoft.com/office/drawing/2014/main" id="{50857AC0-932F-5BAA-C619-2F239FED9BE2}"/>
              </a:ext>
            </a:extLst>
          </p:cNvPr>
          <p:cNvSpPr>
            <a:spLocks noGrp="1"/>
          </p:cNvSpPr>
          <p:nvPr>
            <p:ph idx="45" hasCustomPrompt="1"/>
          </p:nvPr>
        </p:nvSpPr>
        <p:spPr>
          <a:xfrm>
            <a:off x="8737600" y="2660686"/>
            <a:ext cx="2944813" cy="3559139"/>
          </a:xfrm>
        </p:spPr>
        <p:txBody>
          <a:bodyPr vert="horz" lIns="0" tIns="45720" rIns="0" bIns="45720" rtlCol="0">
            <a:normAutofit/>
          </a:bodyPr>
          <a:lstStyle>
            <a:lvl1pPr algn="l" defTabSz="914400" rtl="0" eaLnBrk="1" latinLnBrk="0" hangingPunct="1">
              <a:lnSpc>
                <a:spcPct val="130000"/>
              </a:lnSpc>
              <a:spcBef>
                <a:spcPts val="300"/>
              </a:spcBef>
              <a:spcAft>
                <a:spcPts val="300"/>
              </a:spcAft>
              <a:buFont typeface="Arial" panose="020B0604020202020204" pitchFamily="34" charset="0"/>
              <a:defRPr lang="en-US" sz="1100" kern="1200" dirty="0">
                <a:solidFill>
                  <a:schemeClr val="bg1"/>
                </a:solidFill>
                <a:latin typeface="+mn-lt"/>
                <a:ea typeface="+mn-ea"/>
                <a:cs typeface="+mn-cs"/>
              </a:defRPr>
            </a:lvl1pPr>
            <a:lvl2pPr>
              <a:buClr>
                <a:schemeClr val="bg1"/>
              </a:buClr>
              <a:defRPr lang="en-US" dirty="0">
                <a:solidFill>
                  <a:schemeClr val="bg1"/>
                </a:solidFill>
              </a:defRPr>
            </a:lvl2pPr>
            <a:lvl3pPr>
              <a:buClr>
                <a:schemeClr val="bg1"/>
              </a:buClr>
              <a:defRPr lang="en-US" dirty="0">
                <a:solidFill>
                  <a:schemeClr val="bg1"/>
                </a:solidFill>
              </a:defRPr>
            </a:lvl3pPr>
            <a:lvl4pPr>
              <a:buClr>
                <a:schemeClr val="bg1"/>
              </a:buClr>
              <a:defRPr lang="en-US" dirty="0">
                <a:solidFill>
                  <a:schemeClr val="bg1"/>
                </a:solidFill>
              </a:defRPr>
            </a:lvl4pPr>
            <a:lvl5pPr>
              <a:buClr>
                <a:schemeClr val="bg1"/>
              </a:buClr>
              <a:defRPr lang="en-US" dirty="0">
                <a:solidFill>
                  <a:schemeClr val="bg1"/>
                </a:solidFill>
              </a:defRPr>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11" name="Content Placeholder 2">
            <a:extLst>
              <a:ext uri="{FF2B5EF4-FFF2-40B4-BE49-F238E27FC236}">
                <a16:creationId xmlns:a16="http://schemas.microsoft.com/office/drawing/2014/main" id="{1C0E041C-792C-A30B-955E-9CBF9DBE0507}"/>
              </a:ext>
            </a:extLst>
          </p:cNvPr>
          <p:cNvSpPr>
            <a:spLocks noGrp="1"/>
          </p:cNvSpPr>
          <p:nvPr>
            <p:ph idx="46" hasCustomPrompt="1"/>
          </p:nvPr>
        </p:nvSpPr>
        <p:spPr>
          <a:xfrm>
            <a:off x="8737600" y="2294925"/>
            <a:ext cx="2946399" cy="365761"/>
          </a:xfrm>
        </p:spPr>
        <p:txBody>
          <a:bodyPr/>
          <a:lstStyle>
            <a:lvl1pPr>
              <a:defRPr cap="all" baseline="0">
                <a:solidFill>
                  <a:schemeClr val="accent2"/>
                </a:solidFill>
              </a:defRPr>
            </a:lvl1pPr>
          </a:lstStyle>
          <a:p>
            <a:pPr lvl="0"/>
            <a:r>
              <a:rPr lang="en-US" dirty="0"/>
              <a:t>subhead</a:t>
            </a:r>
          </a:p>
        </p:txBody>
      </p:sp>
      <p:sp>
        <p:nvSpPr>
          <p:cNvPr id="13" name="Freeform: Shape 12">
            <a:extLst>
              <a:ext uri="{FF2B5EF4-FFF2-40B4-BE49-F238E27FC236}">
                <a16:creationId xmlns:a16="http://schemas.microsoft.com/office/drawing/2014/main" id="{D6D9E879-AEBE-5808-97BF-44957022D758}"/>
              </a:ext>
            </a:extLst>
          </p:cNvPr>
          <p:cNvSpPr/>
          <p:nvPr userDrawn="1"/>
        </p:nvSpPr>
        <p:spPr>
          <a:xfrm>
            <a:off x="9423240" y="508495"/>
            <a:ext cx="1471932" cy="1472774"/>
          </a:xfrm>
          <a:custGeom>
            <a:avLst/>
            <a:gdLst>
              <a:gd name="connsiteX0" fmla="*/ 293259 w 586113"/>
              <a:gd name="connsiteY0" fmla="*/ 293360 h 586450"/>
              <a:gd name="connsiteX1" fmla="*/ 271963 w 586113"/>
              <a:gd name="connsiteY1" fmla="*/ 303300 h 586450"/>
              <a:gd name="connsiteX2" fmla="*/ 266909 w 586113"/>
              <a:gd name="connsiteY2" fmla="*/ 312162 h 586450"/>
              <a:gd name="connsiteX3" fmla="*/ 265392 w 586113"/>
              <a:gd name="connsiteY3" fmla="*/ 321024 h 586450"/>
              <a:gd name="connsiteX4" fmla="*/ 265392 w 586113"/>
              <a:gd name="connsiteY4" fmla="*/ 321159 h 586450"/>
              <a:gd name="connsiteX5" fmla="*/ 275973 w 586113"/>
              <a:gd name="connsiteY5" fmla="*/ 342994 h 586450"/>
              <a:gd name="connsiteX6" fmla="*/ 279848 w 586113"/>
              <a:gd name="connsiteY6" fmla="*/ 346060 h 586450"/>
              <a:gd name="connsiteX7" fmla="*/ 275703 w 586113"/>
              <a:gd name="connsiteY7" fmla="*/ 381711 h 586450"/>
              <a:gd name="connsiteX8" fmla="*/ 310714 w 586113"/>
              <a:gd name="connsiteY8" fmla="*/ 381711 h 586450"/>
              <a:gd name="connsiteX9" fmla="*/ 306502 w 586113"/>
              <a:gd name="connsiteY9" fmla="*/ 346060 h 586450"/>
              <a:gd name="connsiteX10" fmla="*/ 310444 w 586113"/>
              <a:gd name="connsiteY10" fmla="*/ 342994 h 586450"/>
              <a:gd name="connsiteX11" fmla="*/ 321025 w 586113"/>
              <a:gd name="connsiteY11" fmla="*/ 321159 h 586450"/>
              <a:gd name="connsiteX12" fmla="*/ 321025 w 586113"/>
              <a:gd name="connsiteY12" fmla="*/ 321024 h 586450"/>
              <a:gd name="connsiteX13" fmla="*/ 321092 w 586113"/>
              <a:gd name="connsiteY13" fmla="*/ 321024 h 586450"/>
              <a:gd name="connsiteX14" fmla="*/ 319576 w 586113"/>
              <a:gd name="connsiteY14" fmla="*/ 312162 h 586450"/>
              <a:gd name="connsiteX15" fmla="*/ 314521 w 586113"/>
              <a:gd name="connsiteY15" fmla="*/ 303300 h 586450"/>
              <a:gd name="connsiteX16" fmla="*/ 293259 w 586113"/>
              <a:gd name="connsiteY16" fmla="*/ 293360 h 586450"/>
              <a:gd name="connsiteX17" fmla="*/ 293259 w 586113"/>
              <a:gd name="connsiteY17" fmla="*/ 275635 h 586450"/>
              <a:gd name="connsiteX18" fmla="*/ 335143 w 586113"/>
              <a:gd name="connsiteY18" fmla="*/ 303300 h 586450"/>
              <a:gd name="connsiteX19" fmla="*/ 337940 w 586113"/>
              <a:gd name="connsiteY19" fmla="*/ 312162 h 586450"/>
              <a:gd name="connsiteX20" fmla="*/ 338816 w 586113"/>
              <a:gd name="connsiteY20" fmla="*/ 321024 h 586450"/>
              <a:gd name="connsiteX21" fmla="*/ 338816 w 586113"/>
              <a:gd name="connsiteY21" fmla="*/ 321159 h 586450"/>
              <a:gd name="connsiteX22" fmla="*/ 325304 w 586113"/>
              <a:gd name="connsiteY22" fmla="*/ 353507 h 586450"/>
              <a:gd name="connsiteX23" fmla="*/ 330696 w 586113"/>
              <a:gd name="connsiteY23" fmla="*/ 399469 h 586450"/>
              <a:gd name="connsiteX24" fmla="*/ 255822 w 586113"/>
              <a:gd name="connsiteY24" fmla="*/ 399469 h 586450"/>
              <a:gd name="connsiteX25" fmla="*/ 261180 w 586113"/>
              <a:gd name="connsiteY25" fmla="*/ 353507 h 586450"/>
              <a:gd name="connsiteX26" fmla="*/ 247668 w 586113"/>
              <a:gd name="connsiteY26" fmla="*/ 321159 h 586450"/>
              <a:gd name="connsiteX27" fmla="*/ 247668 w 586113"/>
              <a:gd name="connsiteY27" fmla="*/ 321024 h 586450"/>
              <a:gd name="connsiteX28" fmla="*/ 248578 w 586113"/>
              <a:gd name="connsiteY28" fmla="*/ 312162 h 586450"/>
              <a:gd name="connsiteX29" fmla="*/ 251375 w 586113"/>
              <a:gd name="connsiteY29" fmla="*/ 303300 h 586450"/>
              <a:gd name="connsiteX30" fmla="*/ 293259 w 586113"/>
              <a:gd name="connsiteY30" fmla="*/ 275635 h 586450"/>
              <a:gd name="connsiteX31" fmla="*/ 166022 w 586113"/>
              <a:gd name="connsiteY31" fmla="*/ 239445 h 586450"/>
              <a:gd name="connsiteX32" fmla="*/ 166022 w 586113"/>
              <a:gd name="connsiteY32" fmla="*/ 449137 h 586450"/>
              <a:gd name="connsiteX33" fmla="*/ 420530 w 586113"/>
              <a:gd name="connsiteY33" fmla="*/ 449137 h 586450"/>
              <a:gd name="connsiteX34" fmla="*/ 420530 w 586113"/>
              <a:gd name="connsiteY34" fmla="*/ 239445 h 586450"/>
              <a:gd name="connsiteX35" fmla="*/ 293259 w 586113"/>
              <a:gd name="connsiteY35" fmla="*/ 122014 h 586450"/>
              <a:gd name="connsiteX36" fmla="*/ 193754 w 586113"/>
              <a:gd name="connsiteY36" fmla="*/ 221553 h 586450"/>
              <a:gd name="connsiteX37" fmla="*/ 193754 w 586113"/>
              <a:gd name="connsiteY37" fmla="*/ 221721 h 586450"/>
              <a:gd name="connsiteX38" fmla="*/ 211478 w 586113"/>
              <a:gd name="connsiteY38" fmla="*/ 221721 h 586450"/>
              <a:gd name="connsiteX39" fmla="*/ 211478 w 586113"/>
              <a:gd name="connsiteY39" fmla="*/ 221553 h 586450"/>
              <a:gd name="connsiteX40" fmla="*/ 293259 w 586113"/>
              <a:gd name="connsiteY40" fmla="*/ 139738 h 586450"/>
              <a:gd name="connsiteX41" fmla="*/ 375073 w 586113"/>
              <a:gd name="connsiteY41" fmla="*/ 221553 h 586450"/>
              <a:gd name="connsiteX42" fmla="*/ 375073 w 586113"/>
              <a:gd name="connsiteY42" fmla="*/ 221721 h 586450"/>
              <a:gd name="connsiteX43" fmla="*/ 392798 w 586113"/>
              <a:gd name="connsiteY43" fmla="*/ 221721 h 586450"/>
              <a:gd name="connsiteX44" fmla="*/ 392798 w 586113"/>
              <a:gd name="connsiteY44" fmla="*/ 221553 h 586450"/>
              <a:gd name="connsiteX45" fmla="*/ 293259 w 586113"/>
              <a:gd name="connsiteY45" fmla="*/ 122014 h 586450"/>
              <a:gd name="connsiteX46" fmla="*/ 293056 w 586113"/>
              <a:gd name="connsiteY46" fmla="*/ 0 h 586450"/>
              <a:gd name="connsiteX47" fmla="*/ 586113 w 586113"/>
              <a:gd name="connsiteY47" fmla="*/ 293225 h 586450"/>
              <a:gd name="connsiteX48" fmla="*/ 293056 w 586113"/>
              <a:gd name="connsiteY48" fmla="*/ 586450 h 586450"/>
              <a:gd name="connsiteX49" fmla="*/ 0 w 586113"/>
              <a:gd name="connsiteY49" fmla="*/ 293225 h 586450"/>
              <a:gd name="connsiteX50" fmla="*/ 293056 w 586113"/>
              <a:gd name="connsiteY50" fmla="*/ 0 h 586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586113" h="586450">
                <a:moveTo>
                  <a:pt x="293259" y="293360"/>
                </a:moveTo>
                <a:cubicBezTo>
                  <a:pt x="284700" y="293360"/>
                  <a:pt x="277085" y="297235"/>
                  <a:pt x="271963" y="303300"/>
                </a:cubicBezTo>
                <a:cubicBezTo>
                  <a:pt x="269739" y="305928"/>
                  <a:pt x="268021" y="308893"/>
                  <a:pt x="266909" y="312162"/>
                </a:cubicBezTo>
                <a:cubicBezTo>
                  <a:pt x="265898" y="314959"/>
                  <a:pt x="265392" y="317924"/>
                  <a:pt x="265392" y="321024"/>
                </a:cubicBezTo>
                <a:lnTo>
                  <a:pt x="265392" y="321159"/>
                </a:lnTo>
                <a:cubicBezTo>
                  <a:pt x="265392" y="329751"/>
                  <a:pt x="269234" y="337670"/>
                  <a:pt x="275973" y="342994"/>
                </a:cubicBezTo>
                <a:lnTo>
                  <a:pt x="279848" y="346060"/>
                </a:lnTo>
                <a:lnTo>
                  <a:pt x="275703" y="381711"/>
                </a:lnTo>
                <a:lnTo>
                  <a:pt x="310714" y="381711"/>
                </a:lnTo>
                <a:lnTo>
                  <a:pt x="306502" y="346060"/>
                </a:lnTo>
                <a:lnTo>
                  <a:pt x="310444" y="342994"/>
                </a:lnTo>
                <a:cubicBezTo>
                  <a:pt x="317150" y="337670"/>
                  <a:pt x="321025" y="329751"/>
                  <a:pt x="321025" y="321159"/>
                </a:cubicBezTo>
                <a:lnTo>
                  <a:pt x="321025" y="321024"/>
                </a:lnTo>
                <a:lnTo>
                  <a:pt x="321092" y="321024"/>
                </a:lnTo>
                <a:cubicBezTo>
                  <a:pt x="321092" y="317924"/>
                  <a:pt x="320553" y="314959"/>
                  <a:pt x="319576" y="312162"/>
                </a:cubicBezTo>
                <a:cubicBezTo>
                  <a:pt x="318464" y="308893"/>
                  <a:pt x="316745" y="305928"/>
                  <a:pt x="314521" y="303300"/>
                </a:cubicBezTo>
                <a:cubicBezTo>
                  <a:pt x="309433" y="297235"/>
                  <a:pt x="301818" y="293360"/>
                  <a:pt x="293259" y="293360"/>
                </a:cubicBezTo>
                <a:close/>
                <a:moveTo>
                  <a:pt x="293259" y="275635"/>
                </a:moveTo>
                <a:cubicBezTo>
                  <a:pt x="312061" y="275635"/>
                  <a:pt x="328202" y="287025"/>
                  <a:pt x="335143" y="303300"/>
                </a:cubicBezTo>
                <a:cubicBezTo>
                  <a:pt x="336390" y="306097"/>
                  <a:pt x="337334" y="309129"/>
                  <a:pt x="337940" y="312162"/>
                </a:cubicBezTo>
                <a:cubicBezTo>
                  <a:pt x="338513" y="315026"/>
                  <a:pt x="338816" y="318025"/>
                  <a:pt x="338816" y="321024"/>
                </a:cubicBezTo>
                <a:lnTo>
                  <a:pt x="338816" y="321159"/>
                </a:lnTo>
                <a:cubicBezTo>
                  <a:pt x="338816" y="333492"/>
                  <a:pt x="333930" y="344982"/>
                  <a:pt x="325304" y="353507"/>
                </a:cubicBezTo>
                <a:lnTo>
                  <a:pt x="330696" y="399469"/>
                </a:lnTo>
                <a:lnTo>
                  <a:pt x="255822" y="399469"/>
                </a:lnTo>
                <a:lnTo>
                  <a:pt x="261180" y="353507"/>
                </a:lnTo>
                <a:cubicBezTo>
                  <a:pt x="252554" y="344982"/>
                  <a:pt x="247668" y="333458"/>
                  <a:pt x="247668" y="321159"/>
                </a:cubicBezTo>
                <a:lnTo>
                  <a:pt x="247668" y="321024"/>
                </a:lnTo>
                <a:cubicBezTo>
                  <a:pt x="247668" y="318025"/>
                  <a:pt x="248005" y="315026"/>
                  <a:pt x="248578" y="312162"/>
                </a:cubicBezTo>
                <a:cubicBezTo>
                  <a:pt x="249218" y="309129"/>
                  <a:pt x="250128" y="306097"/>
                  <a:pt x="251375" y="303300"/>
                </a:cubicBezTo>
                <a:cubicBezTo>
                  <a:pt x="258350" y="287025"/>
                  <a:pt x="274456" y="275635"/>
                  <a:pt x="293259" y="275635"/>
                </a:cubicBezTo>
                <a:close/>
                <a:moveTo>
                  <a:pt x="166022" y="239445"/>
                </a:moveTo>
                <a:lnTo>
                  <a:pt x="166022" y="449137"/>
                </a:lnTo>
                <a:lnTo>
                  <a:pt x="420530" y="449137"/>
                </a:lnTo>
                <a:lnTo>
                  <a:pt x="420530" y="239445"/>
                </a:lnTo>
                <a:close/>
                <a:moveTo>
                  <a:pt x="293259" y="122014"/>
                </a:moveTo>
                <a:cubicBezTo>
                  <a:pt x="238401" y="122014"/>
                  <a:pt x="193754" y="166695"/>
                  <a:pt x="193754" y="221553"/>
                </a:cubicBezTo>
                <a:lnTo>
                  <a:pt x="193754" y="221721"/>
                </a:lnTo>
                <a:lnTo>
                  <a:pt x="211478" y="221721"/>
                </a:lnTo>
                <a:lnTo>
                  <a:pt x="211478" y="221553"/>
                </a:lnTo>
                <a:cubicBezTo>
                  <a:pt x="211478" y="176433"/>
                  <a:pt x="248140" y="139738"/>
                  <a:pt x="293259" y="139738"/>
                </a:cubicBezTo>
                <a:cubicBezTo>
                  <a:pt x="338378" y="139738"/>
                  <a:pt x="375073" y="176433"/>
                  <a:pt x="375073" y="221553"/>
                </a:cubicBezTo>
                <a:lnTo>
                  <a:pt x="375073" y="221721"/>
                </a:lnTo>
                <a:lnTo>
                  <a:pt x="392798" y="221721"/>
                </a:lnTo>
                <a:lnTo>
                  <a:pt x="392798" y="221553"/>
                </a:lnTo>
                <a:cubicBezTo>
                  <a:pt x="392798" y="166695"/>
                  <a:pt x="348116" y="122014"/>
                  <a:pt x="293259" y="122014"/>
                </a:cubicBezTo>
                <a:close/>
                <a:moveTo>
                  <a:pt x="293056" y="0"/>
                </a:moveTo>
                <a:cubicBezTo>
                  <a:pt x="454899" y="0"/>
                  <a:pt x="586113" y="131281"/>
                  <a:pt x="586113" y="293225"/>
                </a:cubicBezTo>
                <a:cubicBezTo>
                  <a:pt x="586113" y="455169"/>
                  <a:pt x="454899" y="586450"/>
                  <a:pt x="293056" y="586450"/>
                </a:cubicBezTo>
                <a:cubicBezTo>
                  <a:pt x="131213" y="586450"/>
                  <a:pt x="0" y="455169"/>
                  <a:pt x="0" y="293225"/>
                </a:cubicBezTo>
                <a:cubicBezTo>
                  <a:pt x="0" y="131281"/>
                  <a:pt x="131213" y="0"/>
                  <a:pt x="293056" y="0"/>
                </a:cubicBezTo>
                <a:close/>
              </a:path>
            </a:pathLst>
          </a:custGeom>
          <a:solidFill>
            <a:srgbClr val="FFFFFF"/>
          </a:solidFill>
          <a:ln w="3364" cap="flat">
            <a:noFill/>
            <a:prstDash val="solid"/>
            <a:miter/>
          </a:ln>
        </p:spPr>
        <p:txBody>
          <a:bodyPr wrap="square" rtlCol="0" anchor="ctr">
            <a:noAutofit/>
          </a:bodyPr>
          <a:lstStyle/>
          <a:p>
            <a:endParaRPr lang="en-GB"/>
          </a:p>
        </p:txBody>
      </p:sp>
    </p:spTree>
    <p:extLst>
      <p:ext uri="{BB962C8B-B14F-4D97-AF65-F5344CB8AC3E}">
        <p14:creationId xmlns:p14="http://schemas.microsoft.com/office/powerpoint/2010/main" val="3083696726"/>
      </p:ext>
    </p:extLst>
  </p:cSld>
  <p:clrMapOvr>
    <a:masterClrMapping/>
  </p:clrMapOvr>
  <p:transition spd="med">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5_Content &amp; Image SHIPPIN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261A4C7-E98D-3660-5C37-C13B3A230A80}"/>
              </a:ext>
            </a:extLst>
          </p:cNvPr>
          <p:cNvSpPr/>
          <p:nvPr userDrawn="1"/>
        </p:nvSpPr>
        <p:spPr>
          <a:xfrm>
            <a:off x="8126413" y="0"/>
            <a:ext cx="40655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Footer Placeholder 4"/>
          <p:cNvSpPr>
            <a:spLocks noGrp="1"/>
          </p:cNvSpPr>
          <p:nvPr>
            <p:ph type="ftr" sz="quarter" idx="11"/>
          </p:nvPr>
        </p:nvSpPr>
        <p:spPr/>
        <p:txBody>
          <a:bodyPr/>
          <a:lstStyle/>
          <a:p>
            <a:r>
              <a:rPr lang="en-GB"/>
              <a:t>INSERT FOOTER HER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8CFE0557-AA98-4E6C-B0C3-581794696B68}" type="slidenum">
              <a:rPr lang="en-GB" smtClean="0"/>
              <a:pPr/>
              <a:t>‹#›</a:t>
            </a:fld>
            <a:endParaRPr lang="en-GB"/>
          </a:p>
        </p:txBody>
      </p:sp>
      <p:sp>
        <p:nvSpPr>
          <p:cNvPr id="10" name="Content Placeholder 2">
            <a:extLst>
              <a:ext uri="{FF2B5EF4-FFF2-40B4-BE49-F238E27FC236}">
                <a16:creationId xmlns:a16="http://schemas.microsoft.com/office/drawing/2014/main" id="{182B4A0E-C187-E12F-BB7B-7E465EDEEA4C}"/>
              </a:ext>
            </a:extLst>
          </p:cNvPr>
          <p:cNvSpPr>
            <a:spLocks noGrp="1"/>
          </p:cNvSpPr>
          <p:nvPr>
            <p:ph idx="1" hasCustomPrompt="1"/>
          </p:nvPr>
        </p:nvSpPr>
        <p:spPr>
          <a:xfrm>
            <a:off x="508000" y="1244882"/>
            <a:ext cx="7142820" cy="291662"/>
          </a:xfrm>
        </p:spPr>
        <p:txBody>
          <a:bodyPr vert="horz" lIns="0" tIns="45720" rIns="0" bIns="45720" numCol="1" spcCol="288000" rtlCol="0">
            <a:noAutofit/>
          </a:bodyPr>
          <a:lstStyle>
            <a:lvl1pPr>
              <a:defRPr lang="en-US" cap="all" baseline="0" dirty="0" smtClean="0"/>
            </a:lvl1pPr>
            <a:lvl2pPr>
              <a:defRPr lang="en-US" dirty="0"/>
            </a:lvl2pPr>
            <a:lvl3pPr>
              <a:defRPr lang="en-US" dirty="0"/>
            </a:lvl3pPr>
            <a:lvl4pPr>
              <a:defRPr lang="en-US" dirty="0"/>
            </a:lvl4pPr>
            <a:lvl5pPr>
              <a:defRPr lang="en-US" dirty="0"/>
            </a:lvl5pPr>
          </a:lstStyle>
          <a:p>
            <a:pPr lvl="0"/>
            <a:r>
              <a:rPr lang="en-US" dirty="0"/>
              <a:t>subhead</a:t>
            </a:r>
          </a:p>
        </p:txBody>
      </p:sp>
      <p:sp>
        <p:nvSpPr>
          <p:cNvPr id="12" name="Content Placeholder 2">
            <a:extLst>
              <a:ext uri="{FF2B5EF4-FFF2-40B4-BE49-F238E27FC236}">
                <a16:creationId xmlns:a16="http://schemas.microsoft.com/office/drawing/2014/main" id="{79AF8CE8-F801-FBFD-7F6F-0BE65F72C036}"/>
              </a:ext>
            </a:extLst>
          </p:cNvPr>
          <p:cNvSpPr>
            <a:spLocks noGrp="1"/>
          </p:cNvSpPr>
          <p:nvPr>
            <p:ph idx="16" hasCustomPrompt="1"/>
          </p:nvPr>
        </p:nvSpPr>
        <p:spPr>
          <a:xfrm>
            <a:off x="508000" y="1613017"/>
            <a:ext cx="3400425" cy="4606808"/>
          </a:xfrm>
        </p:spPr>
        <p:txBody>
          <a:bodyPr vert="horz" lIns="0" tIns="45720" rIns="0" bIns="4572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7" name="TextBox 4">
            <a:extLst>
              <a:ext uri="{FF2B5EF4-FFF2-40B4-BE49-F238E27FC236}">
                <a16:creationId xmlns:a16="http://schemas.microsoft.com/office/drawing/2014/main" id="{ECC1AF18-C7ED-CAA0-D1D3-14DEFC5E2590}"/>
              </a:ext>
            </a:extLst>
          </p:cNvPr>
          <p:cNvSpPr txBox="1"/>
          <p:nvPr userDrawn="1"/>
        </p:nvSpPr>
        <p:spPr>
          <a:xfrm>
            <a:off x="12346713" y="109538"/>
            <a:ext cx="1934437" cy="31700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INSERTING IMAGES:</a:t>
            </a:r>
          </a:p>
          <a:p>
            <a:pPr marL="179388" indent="-179388">
              <a:spcBef>
                <a:spcPts val="200"/>
              </a:spcBef>
              <a:spcAft>
                <a:spcPts val="200"/>
              </a:spcAft>
              <a:buFont typeface="+mj-lt"/>
              <a:buAutoNum type="arabicPeriod"/>
            </a:pPr>
            <a:r>
              <a:rPr lang="en-US" sz="900" dirty="0">
                <a:solidFill>
                  <a:schemeClr val="tx1"/>
                </a:solidFill>
                <a:latin typeface="+mn-lt"/>
              </a:rPr>
              <a:t>Simply click the image placeholder and select your image.</a:t>
            </a:r>
          </a:p>
          <a:p>
            <a:pPr marL="179388" indent="-179388">
              <a:spcBef>
                <a:spcPts val="200"/>
              </a:spcBef>
              <a:spcAft>
                <a:spcPts val="200"/>
              </a:spcAft>
              <a:buFont typeface="+mj-lt"/>
              <a:buAutoNum type="arabicPeriod"/>
            </a:pPr>
            <a:r>
              <a:rPr lang="en-US" sz="900" dirty="0">
                <a:solidFill>
                  <a:schemeClr val="tx1"/>
                </a:solidFill>
                <a:latin typeface="+mn-lt"/>
              </a:rPr>
              <a:t>Once your image is inserted into the shape it may be distorted. (Stretched or Squashed)</a:t>
            </a:r>
          </a:p>
          <a:p>
            <a:pPr marL="179388" indent="-179388">
              <a:spcBef>
                <a:spcPts val="200"/>
              </a:spcBef>
              <a:spcAft>
                <a:spcPts val="200"/>
              </a:spcAft>
              <a:buFont typeface="+mj-lt"/>
              <a:buAutoNum type="arabicPeriod"/>
            </a:pPr>
            <a:endParaRPr lang="en-US" sz="900" dirty="0">
              <a:solidFill>
                <a:schemeClr val="tx1"/>
              </a:solidFill>
              <a:latin typeface="+mn-lt"/>
            </a:endParaRPr>
          </a:p>
          <a:p>
            <a:pPr>
              <a:spcBef>
                <a:spcPts val="200"/>
              </a:spcBef>
              <a:spcAft>
                <a:spcPts val="200"/>
              </a:spcAft>
            </a:pPr>
            <a:r>
              <a:rPr lang="en-US" sz="900" b="1" dirty="0">
                <a:solidFill>
                  <a:schemeClr val="tx1"/>
                </a:solidFill>
                <a:latin typeface="+mn-lt"/>
              </a:rPr>
              <a:t>To fix this:</a:t>
            </a:r>
          </a:p>
          <a:p>
            <a:pPr marL="179388" indent="-179388">
              <a:spcBef>
                <a:spcPts val="200"/>
              </a:spcBef>
              <a:spcAft>
                <a:spcPts val="200"/>
              </a:spcAft>
              <a:buFont typeface="+mj-lt"/>
              <a:buAutoNum type="arabicPeriod"/>
            </a:pPr>
            <a:r>
              <a:rPr lang="en-US" sz="900" dirty="0">
                <a:solidFill>
                  <a:schemeClr val="tx1"/>
                </a:solidFill>
                <a:latin typeface="+mn-lt"/>
              </a:rPr>
              <a:t>Click on the image and from the top menu under </a:t>
            </a:r>
            <a:r>
              <a:rPr lang="en-US" sz="900" b="1" dirty="0">
                <a:solidFill>
                  <a:schemeClr val="tx1"/>
                </a:solidFill>
                <a:latin typeface="+mn-lt"/>
              </a:rPr>
              <a:t>PICTURE FORMAT </a:t>
            </a:r>
            <a:r>
              <a:rPr lang="en-US" sz="900" dirty="0">
                <a:solidFill>
                  <a:schemeClr val="tx1"/>
                </a:solidFill>
                <a:latin typeface="+mn-lt"/>
              </a:rPr>
              <a:t>select the </a:t>
            </a:r>
            <a:r>
              <a:rPr lang="en-US" sz="900" b="1" dirty="0">
                <a:solidFill>
                  <a:schemeClr val="tx1"/>
                </a:solidFill>
                <a:latin typeface="+mn-lt"/>
              </a:rPr>
              <a:t>CROP</a:t>
            </a:r>
            <a:r>
              <a:rPr lang="en-US" sz="900" dirty="0">
                <a:solidFill>
                  <a:schemeClr val="tx1"/>
                </a:solidFill>
                <a:latin typeface="+mn-lt"/>
              </a:rPr>
              <a:t> on the right and from the drop down menu select </a:t>
            </a:r>
            <a:r>
              <a:rPr lang="en-US" sz="900" b="1" kern="1200" dirty="0">
                <a:solidFill>
                  <a:schemeClr val="tx1"/>
                </a:solidFill>
                <a:latin typeface="+mn-lt"/>
                <a:ea typeface="+mn-ea"/>
                <a:cs typeface="+mn-cs"/>
              </a:rPr>
              <a:t>FILL</a:t>
            </a:r>
          </a:p>
          <a:p>
            <a:pPr marL="179388" indent="-179388">
              <a:spcBef>
                <a:spcPts val="200"/>
              </a:spcBef>
              <a:spcAft>
                <a:spcPts val="200"/>
              </a:spcAft>
              <a:buFont typeface="+mj-lt"/>
              <a:buAutoNum type="arabicPeriod"/>
            </a:pPr>
            <a:r>
              <a:rPr lang="en-US" sz="900" b="0" kern="1200" dirty="0">
                <a:solidFill>
                  <a:schemeClr val="tx1"/>
                </a:solidFill>
                <a:latin typeface="+mn-lt"/>
                <a:ea typeface="+mn-ea"/>
                <a:cs typeface="+mn-cs"/>
              </a:rPr>
              <a:t>From here you can move the image within the shape for best visual appearance</a:t>
            </a:r>
          </a:p>
        </p:txBody>
      </p:sp>
      <p:sp>
        <p:nvSpPr>
          <p:cNvPr id="4" name="Content Placeholder 2">
            <a:extLst>
              <a:ext uri="{FF2B5EF4-FFF2-40B4-BE49-F238E27FC236}">
                <a16:creationId xmlns:a16="http://schemas.microsoft.com/office/drawing/2014/main" id="{53C28725-2311-B24F-68FE-D0071B9D9FA2}"/>
              </a:ext>
            </a:extLst>
          </p:cNvPr>
          <p:cNvSpPr>
            <a:spLocks noGrp="1"/>
          </p:cNvSpPr>
          <p:nvPr>
            <p:ph idx="18" hasCustomPrompt="1"/>
          </p:nvPr>
        </p:nvSpPr>
        <p:spPr>
          <a:xfrm>
            <a:off x="4229229" y="1613017"/>
            <a:ext cx="3421591" cy="4606808"/>
          </a:xfrm>
        </p:spPr>
        <p:txBody>
          <a:bodyPr vert="horz" lIns="0" tIns="45720" rIns="0" bIns="4572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2" name="Title 1">
            <a:extLst>
              <a:ext uri="{FF2B5EF4-FFF2-40B4-BE49-F238E27FC236}">
                <a16:creationId xmlns:a16="http://schemas.microsoft.com/office/drawing/2014/main" id="{F716C1E4-4130-ED05-3440-416A4549A61B}"/>
              </a:ext>
            </a:extLst>
          </p:cNvPr>
          <p:cNvSpPr>
            <a:spLocks noGrp="1"/>
          </p:cNvSpPr>
          <p:nvPr>
            <p:ph type="title" hasCustomPrompt="1"/>
          </p:nvPr>
        </p:nvSpPr>
        <p:spPr>
          <a:xfrm>
            <a:off x="508001" y="454013"/>
            <a:ext cx="7142820" cy="790869"/>
          </a:xfrm>
        </p:spPr>
        <p:txBody>
          <a:bodyPr/>
          <a:lstStyle/>
          <a:p>
            <a:r>
              <a:rPr lang="en-US" dirty="0"/>
              <a:t>TITLE: subtitle</a:t>
            </a:r>
            <a:endParaRPr lang="en-GB" dirty="0"/>
          </a:p>
        </p:txBody>
      </p:sp>
      <p:sp>
        <p:nvSpPr>
          <p:cNvPr id="9" name="Content Placeholder 2">
            <a:extLst>
              <a:ext uri="{FF2B5EF4-FFF2-40B4-BE49-F238E27FC236}">
                <a16:creationId xmlns:a16="http://schemas.microsoft.com/office/drawing/2014/main" id="{50857AC0-932F-5BAA-C619-2F239FED9BE2}"/>
              </a:ext>
            </a:extLst>
          </p:cNvPr>
          <p:cNvSpPr>
            <a:spLocks noGrp="1"/>
          </p:cNvSpPr>
          <p:nvPr>
            <p:ph idx="45" hasCustomPrompt="1"/>
          </p:nvPr>
        </p:nvSpPr>
        <p:spPr>
          <a:xfrm>
            <a:off x="8737600" y="2660686"/>
            <a:ext cx="2944813" cy="3559139"/>
          </a:xfrm>
        </p:spPr>
        <p:txBody>
          <a:bodyPr vert="horz" lIns="0" tIns="45720" rIns="0" bIns="45720" rtlCol="0">
            <a:normAutofit/>
          </a:bodyPr>
          <a:lstStyle>
            <a:lvl1pPr algn="l" defTabSz="914400" rtl="0" eaLnBrk="1" latinLnBrk="0" hangingPunct="1">
              <a:lnSpc>
                <a:spcPct val="130000"/>
              </a:lnSpc>
              <a:spcBef>
                <a:spcPts val="300"/>
              </a:spcBef>
              <a:spcAft>
                <a:spcPts val="300"/>
              </a:spcAft>
              <a:buFont typeface="Arial" panose="020B0604020202020204" pitchFamily="34" charset="0"/>
              <a:defRPr lang="en-US" sz="1100" kern="1200" dirty="0">
                <a:solidFill>
                  <a:schemeClr val="bg1"/>
                </a:solidFill>
                <a:latin typeface="+mn-lt"/>
                <a:ea typeface="+mn-ea"/>
                <a:cs typeface="+mn-cs"/>
              </a:defRPr>
            </a:lvl1pPr>
            <a:lvl2pPr>
              <a:buClr>
                <a:schemeClr val="bg1"/>
              </a:buClr>
              <a:defRPr lang="en-US" dirty="0">
                <a:solidFill>
                  <a:schemeClr val="bg1"/>
                </a:solidFill>
              </a:defRPr>
            </a:lvl2pPr>
            <a:lvl3pPr>
              <a:buClr>
                <a:schemeClr val="bg1"/>
              </a:buClr>
              <a:defRPr lang="en-US" dirty="0">
                <a:solidFill>
                  <a:schemeClr val="bg1"/>
                </a:solidFill>
              </a:defRPr>
            </a:lvl3pPr>
            <a:lvl4pPr>
              <a:buClr>
                <a:schemeClr val="bg1"/>
              </a:buClr>
              <a:defRPr lang="en-US" dirty="0">
                <a:solidFill>
                  <a:schemeClr val="bg1"/>
                </a:solidFill>
              </a:defRPr>
            </a:lvl4pPr>
            <a:lvl5pPr>
              <a:buClr>
                <a:schemeClr val="bg1"/>
              </a:buClr>
              <a:defRPr lang="en-US" dirty="0">
                <a:solidFill>
                  <a:schemeClr val="bg1"/>
                </a:solidFill>
              </a:defRPr>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11" name="Content Placeholder 2">
            <a:extLst>
              <a:ext uri="{FF2B5EF4-FFF2-40B4-BE49-F238E27FC236}">
                <a16:creationId xmlns:a16="http://schemas.microsoft.com/office/drawing/2014/main" id="{1C0E041C-792C-A30B-955E-9CBF9DBE0507}"/>
              </a:ext>
            </a:extLst>
          </p:cNvPr>
          <p:cNvSpPr>
            <a:spLocks noGrp="1"/>
          </p:cNvSpPr>
          <p:nvPr>
            <p:ph idx="46" hasCustomPrompt="1"/>
          </p:nvPr>
        </p:nvSpPr>
        <p:spPr>
          <a:xfrm>
            <a:off x="8737600" y="2294925"/>
            <a:ext cx="2946399" cy="365761"/>
          </a:xfrm>
        </p:spPr>
        <p:txBody>
          <a:bodyPr/>
          <a:lstStyle>
            <a:lvl1pPr>
              <a:defRPr cap="all" baseline="0">
                <a:solidFill>
                  <a:schemeClr val="accent2"/>
                </a:solidFill>
              </a:defRPr>
            </a:lvl1pPr>
          </a:lstStyle>
          <a:p>
            <a:pPr lvl="0"/>
            <a:r>
              <a:rPr lang="en-US" dirty="0"/>
              <a:t>subhead</a:t>
            </a:r>
          </a:p>
        </p:txBody>
      </p:sp>
      <p:sp>
        <p:nvSpPr>
          <p:cNvPr id="3" name="Freeform: Shape 2">
            <a:extLst>
              <a:ext uri="{FF2B5EF4-FFF2-40B4-BE49-F238E27FC236}">
                <a16:creationId xmlns:a16="http://schemas.microsoft.com/office/drawing/2014/main" id="{616554F6-7004-76C6-182F-95C97A9391EE}"/>
              </a:ext>
            </a:extLst>
          </p:cNvPr>
          <p:cNvSpPr/>
          <p:nvPr userDrawn="1"/>
        </p:nvSpPr>
        <p:spPr>
          <a:xfrm>
            <a:off x="9424283" y="507205"/>
            <a:ext cx="1469846" cy="1475352"/>
          </a:xfrm>
          <a:custGeom>
            <a:avLst/>
            <a:gdLst>
              <a:gd name="connsiteX0" fmla="*/ 291169 w 586112"/>
              <a:gd name="connsiteY0" fmla="*/ 297268 h 586450"/>
              <a:gd name="connsiteX1" fmla="*/ 117027 w 586112"/>
              <a:gd name="connsiteY1" fmla="*/ 315633 h 586450"/>
              <a:gd name="connsiteX2" fmla="*/ 113758 w 586112"/>
              <a:gd name="connsiteY2" fmla="*/ 315970 h 586450"/>
              <a:gd name="connsiteX3" fmla="*/ 110321 w 586112"/>
              <a:gd name="connsiteY3" fmla="*/ 322776 h 586450"/>
              <a:gd name="connsiteX4" fmla="*/ 174984 w 586112"/>
              <a:gd name="connsiteY4" fmla="*/ 455169 h 586450"/>
              <a:gd name="connsiteX5" fmla="*/ 410824 w 586112"/>
              <a:gd name="connsiteY5" fmla="*/ 455169 h 586450"/>
              <a:gd name="connsiteX6" fmla="*/ 475420 w 586112"/>
              <a:gd name="connsiteY6" fmla="*/ 322776 h 586450"/>
              <a:gd name="connsiteX7" fmla="*/ 471949 w 586112"/>
              <a:gd name="connsiteY7" fmla="*/ 315970 h 586450"/>
              <a:gd name="connsiteX8" fmla="*/ 470433 w 586112"/>
              <a:gd name="connsiteY8" fmla="*/ 315835 h 586450"/>
              <a:gd name="connsiteX9" fmla="*/ 291944 w 586112"/>
              <a:gd name="connsiteY9" fmla="*/ 297369 h 586450"/>
              <a:gd name="connsiteX10" fmla="*/ 301345 w 586112"/>
              <a:gd name="connsiteY10" fmla="*/ 264010 h 586450"/>
              <a:gd name="connsiteX11" fmla="*/ 301345 w 586112"/>
              <a:gd name="connsiteY11" fmla="*/ 279510 h 586450"/>
              <a:gd name="connsiteX12" fmla="*/ 303872 w 586112"/>
              <a:gd name="connsiteY12" fmla="*/ 279780 h 586450"/>
              <a:gd name="connsiteX13" fmla="*/ 366143 w 586112"/>
              <a:gd name="connsiteY13" fmla="*/ 286249 h 586450"/>
              <a:gd name="connsiteX14" fmla="*/ 366143 w 586112"/>
              <a:gd name="connsiteY14" fmla="*/ 264010 h 586450"/>
              <a:gd name="connsiteX15" fmla="*/ 384878 w 586112"/>
              <a:gd name="connsiteY15" fmla="*/ 263976 h 586450"/>
              <a:gd name="connsiteX16" fmla="*/ 384878 w 586112"/>
              <a:gd name="connsiteY16" fmla="*/ 288136 h 586450"/>
              <a:gd name="connsiteX17" fmla="*/ 386934 w 586112"/>
              <a:gd name="connsiteY17" fmla="*/ 288372 h 586450"/>
              <a:gd name="connsiteX18" fmla="*/ 451732 w 586112"/>
              <a:gd name="connsiteY18" fmla="*/ 295078 h 586450"/>
              <a:gd name="connsiteX19" fmla="*/ 451732 w 586112"/>
              <a:gd name="connsiteY19" fmla="*/ 263976 h 586450"/>
              <a:gd name="connsiteX20" fmla="*/ 218351 w 586112"/>
              <a:gd name="connsiteY20" fmla="*/ 263976 h 586450"/>
              <a:gd name="connsiteX21" fmla="*/ 218351 w 586112"/>
              <a:gd name="connsiteY21" fmla="*/ 286081 h 586450"/>
              <a:gd name="connsiteX22" fmla="*/ 221350 w 586112"/>
              <a:gd name="connsiteY22" fmla="*/ 285811 h 586450"/>
              <a:gd name="connsiteX23" fmla="*/ 282644 w 586112"/>
              <a:gd name="connsiteY23" fmla="*/ 279342 h 586450"/>
              <a:gd name="connsiteX24" fmla="*/ 282644 w 586112"/>
              <a:gd name="connsiteY24" fmla="*/ 263976 h 586450"/>
              <a:gd name="connsiteX25" fmla="*/ 218385 w 586112"/>
              <a:gd name="connsiteY25" fmla="*/ 263976 h 586450"/>
              <a:gd name="connsiteX26" fmla="*/ 135796 w 586112"/>
              <a:gd name="connsiteY26" fmla="*/ 263976 h 586450"/>
              <a:gd name="connsiteX27" fmla="*/ 135796 w 586112"/>
              <a:gd name="connsiteY27" fmla="*/ 294808 h 586450"/>
              <a:gd name="connsiteX28" fmla="*/ 199583 w 586112"/>
              <a:gd name="connsiteY28" fmla="*/ 288103 h 586450"/>
              <a:gd name="connsiteX29" fmla="*/ 199583 w 586112"/>
              <a:gd name="connsiteY29" fmla="*/ 263976 h 586450"/>
              <a:gd name="connsiteX30" fmla="*/ 384878 w 586112"/>
              <a:gd name="connsiteY30" fmla="*/ 209725 h 586450"/>
              <a:gd name="connsiteX31" fmla="*/ 384878 w 586112"/>
              <a:gd name="connsiteY31" fmla="*/ 245241 h 586450"/>
              <a:gd name="connsiteX32" fmla="*/ 451732 w 586112"/>
              <a:gd name="connsiteY32" fmla="*/ 245241 h 586450"/>
              <a:gd name="connsiteX33" fmla="*/ 451732 w 586112"/>
              <a:gd name="connsiteY33" fmla="*/ 209725 h 586450"/>
              <a:gd name="connsiteX34" fmla="*/ 301345 w 586112"/>
              <a:gd name="connsiteY34" fmla="*/ 209725 h 586450"/>
              <a:gd name="connsiteX35" fmla="*/ 301345 w 586112"/>
              <a:gd name="connsiteY35" fmla="*/ 245241 h 586450"/>
              <a:gd name="connsiteX36" fmla="*/ 366143 w 586112"/>
              <a:gd name="connsiteY36" fmla="*/ 245241 h 586450"/>
              <a:gd name="connsiteX37" fmla="*/ 366143 w 586112"/>
              <a:gd name="connsiteY37" fmla="*/ 209725 h 586450"/>
              <a:gd name="connsiteX38" fmla="*/ 218351 w 586112"/>
              <a:gd name="connsiteY38" fmla="*/ 209725 h 586450"/>
              <a:gd name="connsiteX39" fmla="*/ 218351 w 586112"/>
              <a:gd name="connsiteY39" fmla="*/ 245241 h 586450"/>
              <a:gd name="connsiteX40" fmla="*/ 282610 w 586112"/>
              <a:gd name="connsiteY40" fmla="*/ 245241 h 586450"/>
              <a:gd name="connsiteX41" fmla="*/ 282610 w 586112"/>
              <a:gd name="connsiteY41" fmla="*/ 209725 h 586450"/>
              <a:gd name="connsiteX42" fmla="*/ 135829 w 586112"/>
              <a:gd name="connsiteY42" fmla="*/ 209725 h 586450"/>
              <a:gd name="connsiteX43" fmla="*/ 135829 w 586112"/>
              <a:gd name="connsiteY43" fmla="*/ 245241 h 586450"/>
              <a:gd name="connsiteX44" fmla="*/ 199616 w 586112"/>
              <a:gd name="connsiteY44" fmla="*/ 245241 h 586450"/>
              <a:gd name="connsiteX45" fmla="*/ 199616 w 586112"/>
              <a:gd name="connsiteY45" fmla="*/ 209725 h 586450"/>
              <a:gd name="connsiteX46" fmla="*/ 204637 w 586112"/>
              <a:gd name="connsiteY46" fmla="*/ 127102 h 586450"/>
              <a:gd name="connsiteX47" fmla="*/ 204637 w 586112"/>
              <a:gd name="connsiteY47" fmla="*/ 155205 h 586450"/>
              <a:gd name="connsiteX48" fmla="*/ 242107 w 586112"/>
              <a:gd name="connsiteY48" fmla="*/ 155205 h 586450"/>
              <a:gd name="connsiteX49" fmla="*/ 242107 w 586112"/>
              <a:gd name="connsiteY49" fmla="*/ 190990 h 586450"/>
              <a:gd name="connsiteX50" fmla="*/ 345150 w 586112"/>
              <a:gd name="connsiteY50" fmla="*/ 190990 h 586450"/>
              <a:gd name="connsiteX51" fmla="*/ 345150 w 586112"/>
              <a:gd name="connsiteY51" fmla="*/ 155205 h 586450"/>
              <a:gd name="connsiteX52" fmla="*/ 382621 w 586112"/>
              <a:gd name="connsiteY52" fmla="*/ 155205 h 586450"/>
              <a:gd name="connsiteX53" fmla="*/ 382621 w 586112"/>
              <a:gd name="connsiteY53" fmla="*/ 127102 h 586450"/>
              <a:gd name="connsiteX54" fmla="*/ 293056 w 586112"/>
              <a:gd name="connsiteY54" fmla="*/ 0 h 586450"/>
              <a:gd name="connsiteX55" fmla="*/ 586112 w 586112"/>
              <a:gd name="connsiteY55" fmla="*/ 293225 h 586450"/>
              <a:gd name="connsiteX56" fmla="*/ 293056 w 586112"/>
              <a:gd name="connsiteY56" fmla="*/ 586450 h 586450"/>
              <a:gd name="connsiteX57" fmla="*/ 0 w 586112"/>
              <a:gd name="connsiteY57" fmla="*/ 293225 h 586450"/>
              <a:gd name="connsiteX58" fmla="*/ 293056 w 586112"/>
              <a:gd name="connsiteY58" fmla="*/ 0 h 586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586112" h="586450">
                <a:moveTo>
                  <a:pt x="291169" y="297268"/>
                </a:moveTo>
                <a:lnTo>
                  <a:pt x="117027" y="315633"/>
                </a:lnTo>
                <a:lnTo>
                  <a:pt x="113758" y="315970"/>
                </a:lnTo>
                <a:cubicBezTo>
                  <a:pt x="110456" y="316374"/>
                  <a:pt x="108704" y="319979"/>
                  <a:pt x="110321" y="322776"/>
                </a:cubicBezTo>
                <a:lnTo>
                  <a:pt x="174984" y="455169"/>
                </a:lnTo>
                <a:lnTo>
                  <a:pt x="410824" y="455169"/>
                </a:lnTo>
                <a:lnTo>
                  <a:pt x="475420" y="322776"/>
                </a:lnTo>
                <a:cubicBezTo>
                  <a:pt x="477071" y="319946"/>
                  <a:pt x="475218" y="316340"/>
                  <a:pt x="471949" y="315970"/>
                </a:cubicBezTo>
                <a:lnTo>
                  <a:pt x="470433" y="315835"/>
                </a:lnTo>
                <a:lnTo>
                  <a:pt x="291944" y="297369"/>
                </a:lnTo>
                <a:close/>
                <a:moveTo>
                  <a:pt x="301345" y="264010"/>
                </a:moveTo>
                <a:lnTo>
                  <a:pt x="301345" y="279510"/>
                </a:lnTo>
                <a:lnTo>
                  <a:pt x="303872" y="279780"/>
                </a:lnTo>
                <a:lnTo>
                  <a:pt x="366143" y="286249"/>
                </a:lnTo>
                <a:lnTo>
                  <a:pt x="366143" y="264010"/>
                </a:lnTo>
                <a:close/>
                <a:moveTo>
                  <a:pt x="384878" y="263976"/>
                </a:moveTo>
                <a:lnTo>
                  <a:pt x="384878" y="288136"/>
                </a:lnTo>
                <a:lnTo>
                  <a:pt x="386934" y="288372"/>
                </a:lnTo>
                <a:lnTo>
                  <a:pt x="451732" y="295078"/>
                </a:lnTo>
                <a:lnTo>
                  <a:pt x="451732" y="263976"/>
                </a:lnTo>
                <a:close/>
                <a:moveTo>
                  <a:pt x="218351" y="263976"/>
                </a:moveTo>
                <a:lnTo>
                  <a:pt x="218351" y="286081"/>
                </a:lnTo>
                <a:lnTo>
                  <a:pt x="221350" y="285811"/>
                </a:lnTo>
                <a:lnTo>
                  <a:pt x="282644" y="279342"/>
                </a:lnTo>
                <a:lnTo>
                  <a:pt x="282644" y="263976"/>
                </a:lnTo>
                <a:lnTo>
                  <a:pt x="218385" y="263976"/>
                </a:lnTo>
                <a:close/>
                <a:moveTo>
                  <a:pt x="135796" y="263976"/>
                </a:moveTo>
                <a:lnTo>
                  <a:pt x="135796" y="294808"/>
                </a:lnTo>
                <a:lnTo>
                  <a:pt x="199583" y="288103"/>
                </a:lnTo>
                <a:lnTo>
                  <a:pt x="199583" y="263976"/>
                </a:lnTo>
                <a:close/>
                <a:moveTo>
                  <a:pt x="384878" y="209725"/>
                </a:moveTo>
                <a:lnTo>
                  <a:pt x="384878" y="245241"/>
                </a:lnTo>
                <a:lnTo>
                  <a:pt x="451732" y="245241"/>
                </a:lnTo>
                <a:lnTo>
                  <a:pt x="451732" y="209725"/>
                </a:lnTo>
                <a:close/>
                <a:moveTo>
                  <a:pt x="301345" y="209725"/>
                </a:moveTo>
                <a:lnTo>
                  <a:pt x="301345" y="245241"/>
                </a:lnTo>
                <a:lnTo>
                  <a:pt x="366143" y="245241"/>
                </a:lnTo>
                <a:lnTo>
                  <a:pt x="366143" y="209725"/>
                </a:lnTo>
                <a:close/>
                <a:moveTo>
                  <a:pt x="218351" y="209725"/>
                </a:moveTo>
                <a:lnTo>
                  <a:pt x="218351" y="245241"/>
                </a:lnTo>
                <a:lnTo>
                  <a:pt x="282610" y="245241"/>
                </a:lnTo>
                <a:lnTo>
                  <a:pt x="282610" y="209725"/>
                </a:lnTo>
                <a:close/>
                <a:moveTo>
                  <a:pt x="135829" y="209725"/>
                </a:moveTo>
                <a:lnTo>
                  <a:pt x="135829" y="245241"/>
                </a:lnTo>
                <a:lnTo>
                  <a:pt x="199616" y="245241"/>
                </a:lnTo>
                <a:lnTo>
                  <a:pt x="199616" y="209725"/>
                </a:lnTo>
                <a:close/>
                <a:moveTo>
                  <a:pt x="204637" y="127102"/>
                </a:moveTo>
                <a:lnTo>
                  <a:pt x="204637" y="155205"/>
                </a:lnTo>
                <a:lnTo>
                  <a:pt x="242107" y="155205"/>
                </a:lnTo>
                <a:lnTo>
                  <a:pt x="242107" y="190990"/>
                </a:lnTo>
                <a:lnTo>
                  <a:pt x="345150" y="190990"/>
                </a:lnTo>
                <a:lnTo>
                  <a:pt x="345150" y="155205"/>
                </a:lnTo>
                <a:lnTo>
                  <a:pt x="382621" y="155205"/>
                </a:lnTo>
                <a:lnTo>
                  <a:pt x="382621" y="127102"/>
                </a:lnTo>
                <a:close/>
                <a:moveTo>
                  <a:pt x="293056" y="0"/>
                </a:moveTo>
                <a:cubicBezTo>
                  <a:pt x="454899" y="0"/>
                  <a:pt x="586112" y="131281"/>
                  <a:pt x="586112" y="293225"/>
                </a:cubicBezTo>
                <a:cubicBezTo>
                  <a:pt x="586112" y="455169"/>
                  <a:pt x="454899" y="586450"/>
                  <a:pt x="293056" y="586450"/>
                </a:cubicBezTo>
                <a:cubicBezTo>
                  <a:pt x="131213" y="586450"/>
                  <a:pt x="0" y="455169"/>
                  <a:pt x="0" y="293225"/>
                </a:cubicBezTo>
                <a:cubicBezTo>
                  <a:pt x="0" y="131281"/>
                  <a:pt x="131213" y="0"/>
                  <a:pt x="293056" y="0"/>
                </a:cubicBezTo>
                <a:close/>
              </a:path>
            </a:pathLst>
          </a:custGeom>
          <a:solidFill>
            <a:srgbClr val="FFFFFF"/>
          </a:solidFill>
          <a:ln w="3364" cap="flat">
            <a:noFill/>
            <a:prstDash val="solid"/>
            <a:miter/>
          </a:ln>
        </p:spPr>
        <p:txBody>
          <a:bodyPr wrap="square" rtlCol="0" anchor="ctr">
            <a:noAutofit/>
          </a:bodyPr>
          <a:lstStyle/>
          <a:p>
            <a:endParaRPr lang="en-GB"/>
          </a:p>
        </p:txBody>
      </p:sp>
    </p:spTree>
    <p:extLst>
      <p:ext uri="{BB962C8B-B14F-4D97-AF65-F5344CB8AC3E}">
        <p14:creationId xmlns:p14="http://schemas.microsoft.com/office/powerpoint/2010/main" val="1253446730"/>
      </p:ext>
    </p:extLst>
  </p:cSld>
  <p:clrMapOvr>
    <a:masterClrMapping/>
  </p:clrMapOvr>
  <p:transition spd="med">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Quotes &amp; Stats">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r>
              <a:rPr lang="en-GB"/>
              <a:t>INSERT FOOTER HERE</a:t>
            </a:r>
          </a:p>
        </p:txBody>
      </p:sp>
      <p:sp>
        <p:nvSpPr>
          <p:cNvPr id="5" name="Slide Number Placeholder 4"/>
          <p:cNvSpPr>
            <a:spLocks noGrp="1"/>
          </p:cNvSpPr>
          <p:nvPr>
            <p:ph type="sldNum" sz="quarter" idx="12"/>
          </p:nvPr>
        </p:nvSpPr>
        <p:spPr/>
        <p:txBody>
          <a:bodyPr/>
          <a:lstStyle/>
          <a:p>
            <a:fld id="{8CFE0557-AA98-4E6C-B0C3-581794696B68}" type="slidenum">
              <a:rPr lang="en-GB" smtClean="0"/>
              <a:t>‹#›</a:t>
            </a:fld>
            <a:endParaRPr lang="en-GB"/>
          </a:p>
        </p:txBody>
      </p:sp>
      <p:sp>
        <p:nvSpPr>
          <p:cNvPr id="17" name="Rectangle 16">
            <a:extLst>
              <a:ext uri="{FF2B5EF4-FFF2-40B4-BE49-F238E27FC236}">
                <a16:creationId xmlns:a16="http://schemas.microsoft.com/office/drawing/2014/main" id="{A8A4E3AE-7EDD-04A0-8326-F556CD643DA2}"/>
              </a:ext>
            </a:extLst>
          </p:cNvPr>
          <p:cNvSpPr/>
          <p:nvPr userDrawn="1"/>
        </p:nvSpPr>
        <p:spPr>
          <a:xfrm>
            <a:off x="7967665" y="3715969"/>
            <a:ext cx="3714748" cy="250385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Rectangle 13">
            <a:extLst>
              <a:ext uri="{FF2B5EF4-FFF2-40B4-BE49-F238E27FC236}">
                <a16:creationId xmlns:a16="http://schemas.microsoft.com/office/drawing/2014/main" id="{BD754D4C-C7C7-7E0F-EE4B-926C1E33AADD}"/>
              </a:ext>
            </a:extLst>
          </p:cNvPr>
          <p:cNvSpPr/>
          <p:nvPr userDrawn="1"/>
        </p:nvSpPr>
        <p:spPr>
          <a:xfrm>
            <a:off x="4225926" y="3715969"/>
            <a:ext cx="3741738" cy="250385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8922540E-5424-544C-F10E-EB343FA02202}"/>
              </a:ext>
            </a:extLst>
          </p:cNvPr>
          <p:cNvSpPr/>
          <p:nvPr userDrawn="1"/>
        </p:nvSpPr>
        <p:spPr>
          <a:xfrm>
            <a:off x="4067174" y="1212112"/>
            <a:ext cx="7615239" cy="250385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a:extLst>
              <a:ext uri="{FF2B5EF4-FFF2-40B4-BE49-F238E27FC236}">
                <a16:creationId xmlns:a16="http://schemas.microsoft.com/office/drawing/2014/main" id="{ECFEF303-2023-767D-ED27-D7D14628156C}"/>
              </a:ext>
            </a:extLst>
          </p:cNvPr>
          <p:cNvSpPr/>
          <p:nvPr userDrawn="1"/>
        </p:nvSpPr>
        <p:spPr>
          <a:xfrm>
            <a:off x="507999" y="3715969"/>
            <a:ext cx="3717925" cy="250385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Rectangle 10">
            <a:extLst>
              <a:ext uri="{FF2B5EF4-FFF2-40B4-BE49-F238E27FC236}">
                <a16:creationId xmlns:a16="http://schemas.microsoft.com/office/drawing/2014/main" id="{8EC842C4-12E2-C1F1-17C5-8476122C5DB4}"/>
              </a:ext>
            </a:extLst>
          </p:cNvPr>
          <p:cNvSpPr/>
          <p:nvPr userDrawn="1"/>
        </p:nvSpPr>
        <p:spPr>
          <a:xfrm>
            <a:off x="508000" y="1212112"/>
            <a:ext cx="3714748" cy="250385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Title 5">
            <a:extLst>
              <a:ext uri="{FF2B5EF4-FFF2-40B4-BE49-F238E27FC236}">
                <a16:creationId xmlns:a16="http://schemas.microsoft.com/office/drawing/2014/main" id="{4BF5D049-4DB0-98EE-9B73-4BA7460E4D5B}"/>
              </a:ext>
            </a:extLst>
          </p:cNvPr>
          <p:cNvSpPr>
            <a:spLocks noGrp="1"/>
          </p:cNvSpPr>
          <p:nvPr userDrawn="1">
            <p:ph type="title" hasCustomPrompt="1"/>
          </p:nvPr>
        </p:nvSpPr>
        <p:spPr>
          <a:xfrm>
            <a:off x="508000" y="454013"/>
            <a:ext cx="11174413" cy="758099"/>
          </a:xfrm>
        </p:spPr>
        <p:txBody>
          <a:bodyPr/>
          <a:lstStyle/>
          <a:p>
            <a:r>
              <a:rPr lang="en-US" dirty="0"/>
              <a:t>TITLE: subtitle</a:t>
            </a:r>
            <a:endParaRPr lang="en-GB" dirty="0"/>
          </a:p>
        </p:txBody>
      </p:sp>
      <p:sp>
        <p:nvSpPr>
          <p:cNvPr id="12" name="Content Placeholder 2">
            <a:extLst>
              <a:ext uri="{FF2B5EF4-FFF2-40B4-BE49-F238E27FC236}">
                <a16:creationId xmlns:a16="http://schemas.microsoft.com/office/drawing/2014/main" id="{ED7D8372-218F-2AB4-014B-0BD74CE082C0}"/>
              </a:ext>
            </a:extLst>
          </p:cNvPr>
          <p:cNvSpPr>
            <a:spLocks noGrp="1"/>
          </p:cNvSpPr>
          <p:nvPr userDrawn="1">
            <p:ph idx="34" hasCustomPrompt="1"/>
          </p:nvPr>
        </p:nvSpPr>
        <p:spPr>
          <a:xfrm>
            <a:off x="942749" y="4462316"/>
            <a:ext cx="2814088" cy="461665"/>
          </a:xfrm>
        </p:spPr>
        <p:txBody>
          <a:bodyPr vert="horz" lIns="0" tIns="0" rIns="0" bIns="0" numCol="1" spcCol="288000" rtlCol="0" anchor="b" anchorCtr="0">
            <a:noAutofit/>
          </a:bodyPr>
          <a:lstStyle>
            <a:lvl1pPr>
              <a:lnSpc>
                <a:spcPct val="100000"/>
              </a:lnSpc>
              <a:spcBef>
                <a:spcPts val="0"/>
              </a:spcBef>
              <a:spcAft>
                <a:spcPts val="0"/>
              </a:spcAft>
              <a:defRPr lang="en-US" sz="2400" cap="all" baseline="0" dirty="0" smtClean="0">
                <a:solidFill>
                  <a:schemeClr val="bg1"/>
                </a:solidFill>
                <a:latin typeface="+mj-lt"/>
              </a:defRPr>
            </a:lvl1pPr>
            <a:lvl2pPr>
              <a:lnSpc>
                <a:spcPct val="100000"/>
              </a:lnSpc>
              <a:spcBef>
                <a:spcPts val="0"/>
              </a:spcBef>
              <a:spcAft>
                <a:spcPts val="0"/>
              </a:spcAft>
              <a:defRPr lang="en-US" sz="2400" cap="all" baseline="0" dirty="0">
                <a:solidFill>
                  <a:schemeClr val="tx2"/>
                </a:solidFill>
                <a:latin typeface="+mj-lt"/>
              </a:defRPr>
            </a:lvl2pPr>
            <a:lvl3pPr>
              <a:spcBef>
                <a:spcPts val="400"/>
              </a:spcBef>
              <a:spcAft>
                <a:spcPts val="400"/>
              </a:spcAft>
              <a:buClr>
                <a:schemeClr val="bg1"/>
              </a:buClr>
              <a:defRPr lang="en-US" sz="1000" dirty="0">
                <a:solidFill>
                  <a:schemeClr val="bg1"/>
                </a:solidFill>
              </a:defRPr>
            </a:lvl3pPr>
            <a:lvl4pPr>
              <a:spcBef>
                <a:spcPts val="400"/>
              </a:spcBef>
              <a:spcAft>
                <a:spcPts val="400"/>
              </a:spcAft>
              <a:buClr>
                <a:schemeClr val="bg1"/>
              </a:buClr>
              <a:defRPr lang="en-US" sz="900" dirty="0">
                <a:solidFill>
                  <a:schemeClr val="bg1"/>
                </a:solidFill>
              </a:defRPr>
            </a:lvl4pPr>
            <a:lvl5pPr>
              <a:spcBef>
                <a:spcPts val="400"/>
              </a:spcBef>
              <a:spcAft>
                <a:spcPts val="400"/>
              </a:spcAft>
              <a:buClr>
                <a:schemeClr val="bg1"/>
              </a:buClr>
              <a:defRPr lang="en-US" sz="900" dirty="0">
                <a:solidFill>
                  <a:schemeClr val="bg1"/>
                </a:solidFill>
              </a:defRPr>
            </a:lvl5pPr>
          </a:lstStyle>
          <a:p>
            <a:r>
              <a:rPr lang="en-GB" dirty="0"/>
              <a:t>CHAMBERS 2023</a:t>
            </a:r>
          </a:p>
        </p:txBody>
      </p:sp>
      <p:sp>
        <p:nvSpPr>
          <p:cNvPr id="13" name="Content Placeholder 27">
            <a:extLst>
              <a:ext uri="{FF2B5EF4-FFF2-40B4-BE49-F238E27FC236}">
                <a16:creationId xmlns:a16="http://schemas.microsoft.com/office/drawing/2014/main" id="{039396DF-57EE-6104-7FAB-641173C8C27A}"/>
              </a:ext>
            </a:extLst>
          </p:cNvPr>
          <p:cNvSpPr txBox="1">
            <a:spLocks/>
          </p:cNvSpPr>
          <p:nvPr userDrawn="1"/>
        </p:nvSpPr>
        <p:spPr>
          <a:xfrm>
            <a:off x="965623" y="1980016"/>
            <a:ext cx="2665228" cy="568833"/>
          </a:xfrm>
          <a:prstGeom prst="rect">
            <a:avLst/>
          </a:prstGeom>
        </p:spPr>
        <p:txBody>
          <a:bodyPr vert="horz" lIns="0" tIns="45720" rIns="0" bIns="45720" numCol="1" spcCol="288000" rtlCol="0" anchor="ctr" anchorCtr="0">
            <a:noAutofit/>
          </a:bodyPr>
          <a:lstStyle>
            <a:lvl1pPr marL="0" indent="0" algn="l" defTabSz="914400" rtl="0" eaLnBrk="1" latinLnBrk="0" hangingPunct="1">
              <a:lnSpc>
                <a:spcPct val="80000"/>
              </a:lnSpc>
              <a:spcBef>
                <a:spcPts val="0"/>
              </a:spcBef>
              <a:spcAft>
                <a:spcPts val="0"/>
              </a:spcAft>
              <a:buFont typeface="Arial" panose="020B0604020202020204" pitchFamily="34" charset="0"/>
              <a:buNone/>
              <a:defRPr lang="en-US" sz="6600" kern="1200" dirty="0" smtClean="0">
                <a:solidFill>
                  <a:schemeClr val="bg1"/>
                </a:solidFill>
                <a:latin typeface="+mj-lt"/>
                <a:ea typeface="+mn-ea"/>
                <a:cs typeface="+mn-cs"/>
              </a:defRPr>
            </a:lvl1pPr>
            <a:lvl2pPr marL="0" indent="0" algn="l" defTabSz="914400" rtl="0" eaLnBrk="1" latinLnBrk="0" hangingPunct="1">
              <a:lnSpc>
                <a:spcPct val="80000"/>
              </a:lnSpc>
              <a:spcBef>
                <a:spcPts val="0"/>
              </a:spcBef>
              <a:spcAft>
                <a:spcPts val="0"/>
              </a:spcAft>
              <a:buFont typeface="Arial" panose="020B0604020202020204" pitchFamily="34" charset="0"/>
              <a:buNone/>
              <a:defRPr lang="en-US" sz="3200" kern="1200" dirty="0">
                <a:solidFill>
                  <a:schemeClr val="accent3"/>
                </a:solidFill>
                <a:latin typeface="+mn-lt"/>
                <a:ea typeface="+mn-ea"/>
                <a:cs typeface="+mn-cs"/>
              </a:defRPr>
            </a:lvl2pPr>
            <a:lvl3pPr marL="180975" indent="-180975" algn="l" defTabSz="914400" rtl="0" eaLnBrk="1" latinLnBrk="0" hangingPunct="1">
              <a:lnSpc>
                <a:spcPct val="130000"/>
              </a:lnSpc>
              <a:spcBef>
                <a:spcPts val="400"/>
              </a:spcBef>
              <a:spcAft>
                <a:spcPts val="400"/>
              </a:spcAft>
              <a:buClr>
                <a:schemeClr val="bg1"/>
              </a:buClr>
              <a:buSzPct val="105000"/>
              <a:buFont typeface="Arial" panose="020B0604020202020204" pitchFamily="34" charset="0"/>
              <a:buChar char="•"/>
              <a:defRPr lang="en-US" sz="1000" kern="1200" dirty="0">
                <a:solidFill>
                  <a:schemeClr val="bg1"/>
                </a:solidFill>
                <a:latin typeface="+mn-lt"/>
                <a:ea typeface="+mn-ea"/>
                <a:cs typeface="+mn-cs"/>
              </a:defRPr>
            </a:lvl3pPr>
            <a:lvl4pPr marL="539750" indent="-180975" algn="l" defTabSz="914400" rtl="0" eaLnBrk="1" latinLnBrk="0" hangingPunct="1">
              <a:lnSpc>
                <a:spcPct val="130000"/>
              </a:lnSpc>
              <a:spcBef>
                <a:spcPts val="400"/>
              </a:spcBef>
              <a:spcAft>
                <a:spcPts val="400"/>
              </a:spcAft>
              <a:buClr>
                <a:schemeClr val="bg1"/>
              </a:buClr>
              <a:buSzPct val="105000"/>
              <a:buFont typeface="Arial" panose="020B0604020202020204" pitchFamily="34" charset="0"/>
              <a:buChar char="•"/>
              <a:defRPr lang="en-US" sz="900" kern="1200" dirty="0">
                <a:solidFill>
                  <a:schemeClr val="bg1"/>
                </a:solidFill>
                <a:latin typeface="+mn-lt"/>
                <a:ea typeface="+mn-ea"/>
                <a:cs typeface="+mn-cs"/>
              </a:defRPr>
            </a:lvl4pPr>
            <a:lvl5pPr marL="898525" indent="-180975" algn="l" defTabSz="914400" rtl="0" eaLnBrk="1" latinLnBrk="0" hangingPunct="1">
              <a:lnSpc>
                <a:spcPct val="130000"/>
              </a:lnSpc>
              <a:spcBef>
                <a:spcPts val="400"/>
              </a:spcBef>
              <a:spcAft>
                <a:spcPts val="400"/>
              </a:spcAft>
              <a:buClr>
                <a:schemeClr val="bg1"/>
              </a:buClr>
              <a:buSzPct val="105000"/>
              <a:buFont typeface="Arial" panose="020B0604020202020204" pitchFamily="34" charset="0"/>
              <a:buChar char="•"/>
              <a:defRPr lang="en-US" sz="900" kern="1200" dirty="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600+</a:t>
            </a:r>
          </a:p>
        </p:txBody>
      </p:sp>
      <p:sp>
        <p:nvSpPr>
          <p:cNvPr id="16" name="Content Placeholder 48">
            <a:extLst>
              <a:ext uri="{FF2B5EF4-FFF2-40B4-BE49-F238E27FC236}">
                <a16:creationId xmlns:a16="http://schemas.microsoft.com/office/drawing/2014/main" id="{ABDB8991-355D-F58A-DF82-1083734AE34D}"/>
              </a:ext>
            </a:extLst>
          </p:cNvPr>
          <p:cNvSpPr txBox="1">
            <a:spLocks/>
          </p:cNvSpPr>
          <p:nvPr userDrawn="1"/>
        </p:nvSpPr>
        <p:spPr>
          <a:xfrm>
            <a:off x="965623" y="2578358"/>
            <a:ext cx="2665228" cy="568833"/>
          </a:xfrm>
          <a:prstGeom prst="rect">
            <a:avLst/>
          </a:prstGeom>
        </p:spPr>
        <p:txBody>
          <a:bodyPr vert="horz" lIns="0" tIns="45720" rIns="0" bIns="45720" numCol="1" spcCol="288000" rtlCol="0" anchor="ctr" anchorCtr="0">
            <a:noAutofit/>
          </a:bodyPr>
          <a:lstStyle>
            <a:lvl1pPr marL="0" indent="0" algn="l" defTabSz="914400" rtl="0" eaLnBrk="1" latinLnBrk="0" hangingPunct="1">
              <a:lnSpc>
                <a:spcPct val="80000"/>
              </a:lnSpc>
              <a:spcBef>
                <a:spcPts val="0"/>
              </a:spcBef>
              <a:spcAft>
                <a:spcPts val="0"/>
              </a:spcAft>
              <a:buFont typeface="Arial" panose="020B0604020202020204" pitchFamily="34" charset="0"/>
              <a:buNone/>
              <a:defRPr lang="en-US" sz="3200" kern="1200" dirty="0" smtClean="0">
                <a:solidFill>
                  <a:schemeClr val="accent3"/>
                </a:solidFill>
                <a:latin typeface="+mn-lt"/>
                <a:ea typeface="+mn-ea"/>
                <a:cs typeface="+mn-cs"/>
              </a:defRPr>
            </a:lvl1pPr>
            <a:lvl2pPr marL="0" indent="0" algn="l" defTabSz="914400" rtl="0" eaLnBrk="1" latinLnBrk="0" hangingPunct="1">
              <a:lnSpc>
                <a:spcPct val="80000"/>
              </a:lnSpc>
              <a:spcBef>
                <a:spcPts val="0"/>
              </a:spcBef>
              <a:spcAft>
                <a:spcPts val="0"/>
              </a:spcAft>
              <a:buFont typeface="Arial" panose="020B0604020202020204" pitchFamily="34" charset="0"/>
              <a:buNone/>
              <a:defRPr lang="en-US" sz="3200" kern="1200" dirty="0">
                <a:solidFill>
                  <a:schemeClr val="accent3"/>
                </a:solidFill>
                <a:latin typeface="+mn-lt"/>
                <a:ea typeface="+mn-ea"/>
                <a:cs typeface="+mn-cs"/>
              </a:defRPr>
            </a:lvl2pPr>
            <a:lvl3pPr marL="180975" indent="-180975" algn="l" defTabSz="914400" rtl="0" eaLnBrk="1" latinLnBrk="0" hangingPunct="1">
              <a:lnSpc>
                <a:spcPct val="130000"/>
              </a:lnSpc>
              <a:spcBef>
                <a:spcPts val="400"/>
              </a:spcBef>
              <a:spcAft>
                <a:spcPts val="400"/>
              </a:spcAft>
              <a:buClr>
                <a:schemeClr val="bg1"/>
              </a:buClr>
              <a:buSzPct val="105000"/>
              <a:buFont typeface="Arial" panose="020B0604020202020204" pitchFamily="34" charset="0"/>
              <a:buChar char="•"/>
              <a:defRPr lang="en-US" sz="1000" kern="1200" dirty="0">
                <a:solidFill>
                  <a:schemeClr val="bg1"/>
                </a:solidFill>
                <a:latin typeface="+mn-lt"/>
                <a:ea typeface="+mn-ea"/>
                <a:cs typeface="+mn-cs"/>
              </a:defRPr>
            </a:lvl3pPr>
            <a:lvl4pPr marL="539750" indent="-180975" algn="l" defTabSz="914400" rtl="0" eaLnBrk="1" latinLnBrk="0" hangingPunct="1">
              <a:lnSpc>
                <a:spcPct val="130000"/>
              </a:lnSpc>
              <a:spcBef>
                <a:spcPts val="400"/>
              </a:spcBef>
              <a:spcAft>
                <a:spcPts val="400"/>
              </a:spcAft>
              <a:buClr>
                <a:schemeClr val="bg1"/>
              </a:buClr>
              <a:buSzPct val="105000"/>
              <a:buFont typeface="Arial" panose="020B0604020202020204" pitchFamily="34" charset="0"/>
              <a:buChar char="•"/>
              <a:defRPr lang="en-US" sz="900" kern="1200" dirty="0">
                <a:solidFill>
                  <a:schemeClr val="bg1"/>
                </a:solidFill>
                <a:latin typeface="+mn-lt"/>
                <a:ea typeface="+mn-ea"/>
                <a:cs typeface="+mn-cs"/>
              </a:defRPr>
            </a:lvl4pPr>
            <a:lvl5pPr marL="898525" indent="-180975" algn="l" defTabSz="914400" rtl="0" eaLnBrk="1" latinLnBrk="0" hangingPunct="1">
              <a:lnSpc>
                <a:spcPct val="130000"/>
              </a:lnSpc>
              <a:spcBef>
                <a:spcPts val="400"/>
              </a:spcBef>
              <a:spcAft>
                <a:spcPts val="400"/>
              </a:spcAft>
              <a:buClr>
                <a:schemeClr val="bg1"/>
              </a:buClr>
              <a:buSzPct val="105000"/>
              <a:buFont typeface="Arial" panose="020B0604020202020204" pitchFamily="34" charset="0"/>
              <a:buChar char="•"/>
              <a:defRPr lang="en-US" sz="900" kern="1200" dirty="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GB" dirty="0">
                <a:solidFill>
                  <a:schemeClr val="accent2"/>
                </a:solidFill>
              </a:rPr>
              <a:t>lawyers</a:t>
            </a:r>
          </a:p>
        </p:txBody>
      </p:sp>
      <p:sp>
        <p:nvSpPr>
          <p:cNvPr id="20" name="Content Placeholder 64">
            <a:extLst>
              <a:ext uri="{FF2B5EF4-FFF2-40B4-BE49-F238E27FC236}">
                <a16:creationId xmlns:a16="http://schemas.microsoft.com/office/drawing/2014/main" id="{ACB125A7-0B70-D19B-0A4C-26F6232841A3}"/>
              </a:ext>
            </a:extLst>
          </p:cNvPr>
          <p:cNvSpPr txBox="1">
            <a:spLocks/>
          </p:cNvSpPr>
          <p:nvPr userDrawn="1"/>
        </p:nvSpPr>
        <p:spPr>
          <a:xfrm>
            <a:off x="4837828" y="4460928"/>
            <a:ext cx="2665228" cy="568833"/>
          </a:xfrm>
          <a:prstGeom prst="rect">
            <a:avLst/>
          </a:prstGeom>
        </p:spPr>
        <p:txBody>
          <a:bodyPr vert="horz" lIns="0" tIns="45720" rIns="0" bIns="45720" numCol="1" spcCol="288000" rtlCol="0" anchor="ctr" anchorCtr="0">
            <a:noAutofit/>
          </a:bodyPr>
          <a:lstStyle>
            <a:lvl1pPr marL="0" indent="0" algn="l" defTabSz="914400" rtl="0" eaLnBrk="1" latinLnBrk="0" hangingPunct="1">
              <a:lnSpc>
                <a:spcPct val="80000"/>
              </a:lnSpc>
              <a:spcBef>
                <a:spcPts val="0"/>
              </a:spcBef>
              <a:spcAft>
                <a:spcPts val="0"/>
              </a:spcAft>
              <a:buFont typeface="Arial" panose="020B0604020202020204" pitchFamily="34" charset="0"/>
              <a:buNone/>
              <a:defRPr lang="en-US" sz="6600" kern="1200" dirty="0" smtClean="0">
                <a:solidFill>
                  <a:schemeClr val="bg1"/>
                </a:solidFill>
                <a:latin typeface="+mj-lt"/>
                <a:ea typeface="+mn-ea"/>
                <a:cs typeface="+mn-cs"/>
              </a:defRPr>
            </a:lvl1pPr>
            <a:lvl2pPr marL="0" indent="0" algn="l" defTabSz="914400" rtl="0" eaLnBrk="1" latinLnBrk="0" hangingPunct="1">
              <a:lnSpc>
                <a:spcPct val="80000"/>
              </a:lnSpc>
              <a:spcBef>
                <a:spcPts val="0"/>
              </a:spcBef>
              <a:spcAft>
                <a:spcPts val="0"/>
              </a:spcAft>
              <a:buFont typeface="Arial" panose="020B0604020202020204" pitchFamily="34" charset="0"/>
              <a:buNone/>
              <a:defRPr lang="en-US" sz="3200" kern="1200" dirty="0">
                <a:solidFill>
                  <a:schemeClr val="accent3"/>
                </a:solidFill>
                <a:latin typeface="+mn-lt"/>
                <a:ea typeface="+mn-ea"/>
                <a:cs typeface="+mn-cs"/>
              </a:defRPr>
            </a:lvl2pPr>
            <a:lvl3pPr marL="180975" indent="-180975" algn="l" defTabSz="914400" rtl="0" eaLnBrk="1" latinLnBrk="0" hangingPunct="1">
              <a:lnSpc>
                <a:spcPct val="130000"/>
              </a:lnSpc>
              <a:spcBef>
                <a:spcPts val="400"/>
              </a:spcBef>
              <a:spcAft>
                <a:spcPts val="400"/>
              </a:spcAft>
              <a:buClr>
                <a:schemeClr val="bg1"/>
              </a:buClr>
              <a:buSzPct val="105000"/>
              <a:buFont typeface="Arial" panose="020B0604020202020204" pitchFamily="34" charset="0"/>
              <a:buChar char="•"/>
              <a:defRPr lang="en-US" sz="1000" kern="1200" dirty="0">
                <a:solidFill>
                  <a:schemeClr val="bg1"/>
                </a:solidFill>
                <a:latin typeface="+mn-lt"/>
                <a:ea typeface="+mn-ea"/>
                <a:cs typeface="+mn-cs"/>
              </a:defRPr>
            </a:lvl3pPr>
            <a:lvl4pPr marL="539750" indent="-180975" algn="l" defTabSz="914400" rtl="0" eaLnBrk="1" latinLnBrk="0" hangingPunct="1">
              <a:lnSpc>
                <a:spcPct val="130000"/>
              </a:lnSpc>
              <a:spcBef>
                <a:spcPts val="400"/>
              </a:spcBef>
              <a:spcAft>
                <a:spcPts val="400"/>
              </a:spcAft>
              <a:buClr>
                <a:schemeClr val="bg1"/>
              </a:buClr>
              <a:buSzPct val="105000"/>
              <a:buFont typeface="Arial" panose="020B0604020202020204" pitchFamily="34" charset="0"/>
              <a:buChar char="•"/>
              <a:defRPr lang="en-US" sz="900" kern="1200" dirty="0">
                <a:solidFill>
                  <a:schemeClr val="bg1"/>
                </a:solidFill>
                <a:latin typeface="+mn-lt"/>
                <a:ea typeface="+mn-ea"/>
                <a:cs typeface="+mn-cs"/>
              </a:defRPr>
            </a:lvl4pPr>
            <a:lvl5pPr marL="898525" indent="-180975" algn="l" defTabSz="914400" rtl="0" eaLnBrk="1" latinLnBrk="0" hangingPunct="1">
              <a:lnSpc>
                <a:spcPct val="130000"/>
              </a:lnSpc>
              <a:spcBef>
                <a:spcPts val="400"/>
              </a:spcBef>
              <a:spcAft>
                <a:spcPts val="400"/>
              </a:spcAft>
              <a:buClr>
                <a:schemeClr val="bg1"/>
              </a:buClr>
              <a:buSzPct val="105000"/>
              <a:buFont typeface="Arial" panose="020B0604020202020204" pitchFamily="34" charset="0"/>
              <a:buChar char="•"/>
              <a:defRPr lang="en-US" sz="900" kern="1200" dirty="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20</a:t>
            </a:r>
          </a:p>
        </p:txBody>
      </p:sp>
      <p:sp>
        <p:nvSpPr>
          <p:cNvPr id="21" name="Content Placeholder 22">
            <a:extLst>
              <a:ext uri="{FF2B5EF4-FFF2-40B4-BE49-F238E27FC236}">
                <a16:creationId xmlns:a16="http://schemas.microsoft.com/office/drawing/2014/main" id="{5E041775-2368-D345-9708-DCF899DFBC66}"/>
              </a:ext>
            </a:extLst>
          </p:cNvPr>
          <p:cNvSpPr txBox="1">
            <a:spLocks/>
          </p:cNvSpPr>
          <p:nvPr userDrawn="1"/>
        </p:nvSpPr>
        <p:spPr>
          <a:xfrm>
            <a:off x="4837828" y="5094950"/>
            <a:ext cx="2665228" cy="1008005"/>
          </a:xfrm>
          <a:prstGeom prst="rect">
            <a:avLst/>
          </a:prstGeom>
        </p:spPr>
        <p:txBody>
          <a:bodyPr vert="horz" lIns="0" tIns="45720" rIns="0" bIns="45720" numCol="1" spcCol="288000" rtlCol="0" anchor="t" anchorCtr="0">
            <a:noAutofit/>
          </a:bodyPr>
          <a:lstStyle>
            <a:lvl1pPr marL="0" indent="0" algn="l" defTabSz="914400" rtl="0" eaLnBrk="1" latinLnBrk="0" hangingPunct="1">
              <a:lnSpc>
                <a:spcPct val="80000"/>
              </a:lnSpc>
              <a:spcBef>
                <a:spcPts val="0"/>
              </a:spcBef>
              <a:spcAft>
                <a:spcPts val="0"/>
              </a:spcAft>
              <a:buFont typeface="Arial" panose="020B0604020202020204" pitchFamily="34" charset="0"/>
              <a:buNone/>
              <a:defRPr lang="en-US" sz="3200" kern="1200" dirty="0" smtClean="0">
                <a:solidFill>
                  <a:schemeClr val="accent3"/>
                </a:solidFill>
                <a:latin typeface="+mn-lt"/>
                <a:ea typeface="+mn-ea"/>
                <a:cs typeface="+mn-cs"/>
              </a:defRPr>
            </a:lvl1pPr>
            <a:lvl2pPr marL="0" indent="0" algn="l" defTabSz="914400" rtl="0" eaLnBrk="1" latinLnBrk="0" hangingPunct="1">
              <a:lnSpc>
                <a:spcPct val="80000"/>
              </a:lnSpc>
              <a:spcBef>
                <a:spcPts val="0"/>
              </a:spcBef>
              <a:spcAft>
                <a:spcPts val="0"/>
              </a:spcAft>
              <a:buFont typeface="Arial" panose="020B0604020202020204" pitchFamily="34" charset="0"/>
              <a:buNone/>
              <a:defRPr lang="en-US" sz="3200" kern="1200" dirty="0">
                <a:solidFill>
                  <a:schemeClr val="accent3"/>
                </a:solidFill>
                <a:latin typeface="+mn-lt"/>
                <a:ea typeface="+mn-ea"/>
                <a:cs typeface="+mn-cs"/>
              </a:defRPr>
            </a:lvl2pPr>
            <a:lvl3pPr marL="180975" indent="-180975" algn="l" defTabSz="914400" rtl="0" eaLnBrk="1" latinLnBrk="0" hangingPunct="1">
              <a:lnSpc>
                <a:spcPct val="130000"/>
              </a:lnSpc>
              <a:spcBef>
                <a:spcPts val="400"/>
              </a:spcBef>
              <a:spcAft>
                <a:spcPts val="400"/>
              </a:spcAft>
              <a:buClr>
                <a:schemeClr val="bg1"/>
              </a:buClr>
              <a:buSzPct val="105000"/>
              <a:buFont typeface="Arial" panose="020B0604020202020204" pitchFamily="34" charset="0"/>
              <a:buChar char="•"/>
              <a:defRPr lang="en-US" sz="1000" kern="1200" dirty="0">
                <a:solidFill>
                  <a:schemeClr val="bg1"/>
                </a:solidFill>
                <a:latin typeface="+mn-lt"/>
                <a:ea typeface="+mn-ea"/>
                <a:cs typeface="+mn-cs"/>
              </a:defRPr>
            </a:lvl3pPr>
            <a:lvl4pPr marL="539750" indent="-180975" algn="l" defTabSz="914400" rtl="0" eaLnBrk="1" latinLnBrk="0" hangingPunct="1">
              <a:lnSpc>
                <a:spcPct val="130000"/>
              </a:lnSpc>
              <a:spcBef>
                <a:spcPts val="400"/>
              </a:spcBef>
              <a:spcAft>
                <a:spcPts val="400"/>
              </a:spcAft>
              <a:buClr>
                <a:schemeClr val="bg1"/>
              </a:buClr>
              <a:buSzPct val="105000"/>
              <a:buFont typeface="Arial" panose="020B0604020202020204" pitchFamily="34" charset="0"/>
              <a:buChar char="•"/>
              <a:defRPr lang="en-US" sz="900" kern="1200" dirty="0">
                <a:solidFill>
                  <a:schemeClr val="bg1"/>
                </a:solidFill>
                <a:latin typeface="+mn-lt"/>
                <a:ea typeface="+mn-ea"/>
                <a:cs typeface="+mn-cs"/>
              </a:defRPr>
            </a:lvl4pPr>
            <a:lvl5pPr marL="898525" indent="-180975" algn="l" defTabSz="914400" rtl="0" eaLnBrk="1" latinLnBrk="0" hangingPunct="1">
              <a:lnSpc>
                <a:spcPct val="130000"/>
              </a:lnSpc>
              <a:spcBef>
                <a:spcPts val="400"/>
              </a:spcBef>
              <a:spcAft>
                <a:spcPts val="400"/>
              </a:spcAft>
              <a:buClr>
                <a:schemeClr val="bg1"/>
              </a:buClr>
              <a:buSzPct val="105000"/>
              <a:buFont typeface="Arial" panose="020B0604020202020204" pitchFamily="34" charset="0"/>
              <a:buChar char="•"/>
              <a:defRPr lang="en-US" sz="900" kern="1200" dirty="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GB" dirty="0">
                <a:solidFill>
                  <a:schemeClr val="accent2"/>
                </a:solidFill>
              </a:rPr>
              <a:t>offices</a:t>
            </a:r>
          </a:p>
        </p:txBody>
      </p:sp>
      <p:sp>
        <p:nvSpPr>
          <p:cNvPr id="22" name="Content Placeholder 23">
            <a:extLst>
              <a:ext uri="{FF2B5EF4-FFF2-40B4-BE49-F238E27FC236}">
                <a16:creationId xmlns:a16="http://schemas.microsoft.com/office/drawing/2014/main" id="{A0D3A6FB-3F38-60BE-87D0-452AE9B3D8F7}"/>
              </a:ext>
            </a:extLst>
          </p:cNvPr>
          <p:cNvSpPr txBox="1">
            <a:spLocks/>
          </p:cNvSpPr>
          <p:nvPr userDrawn="1"/>
        </p:nvSpPr>
        <p:spPr>
          <a:xfrm>
            <a:off x="8754136" y="4460928"/>
            <a:ext cx="2665228" cy="568833"/>
          </a:xfrm>
          <a:prstGeom prst="rect">
            <a:avLst/>
          </a:prstGeom>
        </p:spPr>
        <p:txBody>
          <a:bodyPr vert="horz" lIns="0" tIns="45720" rIns="0" bIns="45720" numCol="1" spcCol="288000" rtlCol="0" anchor="ctr" anchorCtr="0">
            <a:noAutofit/>
          </a:bodyPr>
          <a:lstStyle>
            <a:lvl1pPr marL="0" indent="0" algn="l" defTabSz="914400" rtl="0" eaLnBrk="1" latinLnBrk="0" hangingPunct="1">
              <a:lnSpc>
                <a:spcPct val="80000"/>
              </a:lnSpc>
              <a:spcBef>
                <a:spcPts val="0"/>
              </a:spcBef>
              <a:spcAft>
                <a:spcPts val="0"/>
              </a:spcAft>
              <a:buFont typeface="Arial" panose="020B0604020202020204" pitchFamily="34" charset="0"/>
              <a:buNone/>
              <a:defRPr lang="en-US" sz="6600" kern="1200" dirty="0" smtClean="0">
                <a:solidFill>
                  <a:schemeClr val="bg1"/>
                </a:solidFill>
                <a:latin typeface="+mj-lt"/>
                <a:ea typeface="+mn-ea"/>
                <a:cs typeface="+mn-cs"/>
              </a:defRPr>
            </a:lvl1pPr>
            <a:lvl2pPr marL="0" indent="0" algn="l" defTabSz="914400" rtl="0" eaLnBrk="1" latinLnBrk="0" hangingPunct="1">
              <a:lnSpc>
                <a:spcPct val="80000"/>
              </a:lnSpc>
              <a:spcBef>
                <a:spcPts val="0"/>
              </a:spcBef>
              <a:spcAft>
                <a:spcPts val="0"/>
              </a:spcAft>
              <a:buFont typeface="Arial" panose="020B0604020202020204" pitchFamily="34" charset="0"/>
              <a:buNone/>
              <a:defRPr lang="en-US" sz="3200" kern="1200" dirty="0">
                <a:solidFill>
                  <a:schemeClr val="accent3"/>
                </a:solidFill>
                <a:latin typeface="+mn-lt"/>
                <a:ea typeface="+mn-ea"/>
                <a:cs typeface="+mn-cs"/>
              </a:defRPr>
            </a:lvl2pPr>
            <a:lvl3pPr marL="180975" indent="-180975" algn="l" defTabSz="914400" rtl="0" eaLnBrk="1" latinLnBrk="0" hangingPunct="1">
              <a:lnSpc>
                <a:spcPct val="130000"/>
              </a:lnSpc>
              <a:spcBef>
                <a:spcPts val="400"/>
              </a:spcBef>
              <a:spcAft>
                <a:spcPts val="400"/>
              </a:spcAft>
              <a:buClr>
                <a:schemeClr val="bg1"/>
              </a:buClr>
              <a:buSzPct val="105000"/>
              <a:buFont typeface="Arial" panose="020B0604020202020204" pitchFamily="34" charset="0"/>
              <a:buChar char="•"/>
              <a:defRPr lang="en-US" sz="1000" kern="1200" dirty="0">
                <a:solidFill>
                  <a:schemeClr val="bg1"/>
                </a:solidFill>
                <a:latin typeface="+mn-lt"/>
                <a:ea typeface="+mn-ea"/>
                <a:cs typeface="+mn-cs"/>
              </a:defRPr>
            </a:lvl3pPr>
            <a:lvl4pPr marL="539750" indent="-180975" algn="l" defTabSz="914400" rtl="0" eaLnBrk="1" latinLnBrk="0" hangingPunct="1">
              <a:lnSpc>
                <a:spcPct val="130000"/>
              </a:lnSpc>
              <a:spcBef>
                <a:spcPts val="400"/>
              </a:spcBef>
              <a:spcAft>
                <a:spcPts val="400"/>
              </a:spcAft>
              <a:buClr>
                <a:schemeClr val="bg1"/>
              </a:buClr>
              <a:buSzPct val="105000"/>
              <a:buFont typeface="Arial" panose="020B0604020202020204" pitchFamily="34" charset="0"/>
              <a:buChar char="•"/>
              <a:defRPr lang="en-US" sz="900" kern="1200" dirty="0">
                <a:solidFill>
                  <a:schemeClr val="bg1"/>
                </a:solidFill>
                <a:latin typeface="+mn-lt"/>
                <a:ea typeface="+mn-ea"/>
                <a:cs typeface="+mn-cs"/>
              </a:defRPr>
            </a:lvl4pPr>
            <a:lvl5pPr marL="898525" indent="-180975" algn="l" defTabSz="914400" rtl="0" eaLnBrk="1" latinLnBrk="0" hangingPunct="1">
              <a:lnSpc>
                <a:spcPct val="130000"/>
              </a:lnSpc>
              <a:spcBef>
                <a:spcPts val="400"/>
              </a:spcBef>
              <a:spcAft>
                <a:spcPts val="400"/>
              </a:spcAft>
              <a:buClr>
                <a:schemeClr val="bg1"/>
              </a:buClr>
              <a:buSzPct val="105000"/>
              <a:buFont typeface="Arial" panose="020B0604020202020204" pitchFamily="34" charset="0"/>
              <a:buChar char="•"/>
              <a:defRPr lang="en-US" sz="900" kern="1200" dirty="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180+</a:t>
            </a:r>
          </a:p>
        </p:txBody>
      </p:sp>
      <p:sp>
        <p:nvSpPr>
          <p:cNvPr id="23" name="Content Placeholder 24">
            <a:extLst>
              <a:ext uri="{FF2B5EF4-FFF2-40B4-BE49-F238E27FC236}">
                <a16:creationId xmlns:a16="http://schemas.microsoft.com/office/drawing/2014/main" id="{98F8FBE6-D3C4-DD6C-B210-B0DBF5C19771}"/>
              </a:ext>
            </a:extLst>
          </p:cNvPr>
          <p:cNvSpPr txBox="1">
            <a:spLocks/>
          </p:cNvSpPr>
          <p:nvPr userDrawn="1"/>
        </p:nvSpPr>
        <p:spPr>
          <a:xfrm>
            <a:off x="8754136" y="5094950"/>
            <a:ext cx="2665228" cy="1008005"/>
          </a:xfrm>
          <a:prstGeom prst="rect">
            <a:avLst/>
          </a:prstGeom>
        </p:spPr>
        <p:txBody>
          <a:bodyPr vert="horz" lIns="0" tIns="45720" rIns="0" bIns="45720" numCol="1" spcCol="288000" rtlCol="0" anchor="t" anchorCtr="0">
            <a:noAutofit/>
          </a:bodyPr>
          <a:lstStyle>
            <a:lvl1pPr marL="0" indent="0" algn="l" defTabSz="914400" rtl="0" eaLnBrk="1" latinLnBrk="0" hangingPunct="1">
              <a:lnSpc>
                <a:spcPct val="80000"/>
              </a:lnSpc>
              <a:spcBef>
                <a:spcPts val="0"/>
              </a:spcBef>
              <a:spcAft>
                <a:spcPts val="0"/>
              </a:spcAft>
              <a:buFont typeface="Arial" panose="020B0604020202020204" pitchFamily="34" charset="0"/>
              <a:buNone/>
              <a:defRPr lang="en-US" sz="3200" kern="1200" dirty="0" smtClean="0">
                <a:solidFill>
                  <a:schemeClr val="accent3"/>
                </a:solidFill>
                <a:latin typeface="+mn-lt"/>
                <a:ea typeface="+mn-ea"/>
                <a:cs typeface="+mn-cs"/>
              </a:defRPr>
            </a:lvl1pPr>
            <a:lvl2pPr marL="0" indent="0" algn="l" defTabSz="914400" rtl="0" eaLnBrk="1" latinLnBrk="0" hangingPunct="1">
              <a:lnSpc>
                <a:spcPct val="80000"/>
              </a:lnSpc>
              <a:spcBef>
                <a:spcPts val="0"/>
              </a:spcBef>
              <a:spcAft>
                <a:spcPts val="0"/>
              </a:spcAft>
              <a:buFont typeface="Arial" panose="020B0604020202020204" pitchFamily="34" charset="0"/>
              <a:buNone/>
              <a:defRPr lang="en-US" sz="3200" kern="1200" dirty="0">
                <a:solidFill>
                  <a:schemeClr val="accent3"/>
                </a:solidFill>
                <a:latin typeface="+mn-lt"/>
                <a:ea typeface="+mn-ea"/>
                <a:cs typeface="+mn-cs"/>
              </a:defRPr>
            </a:lvl2pPr>
            <a:lvl3pPr marL="180975" indent="-180975" algn="l" defTabSz="914400" rtl="0" eaLnBrk="1" latinLnBrk="0" hangingPunct="1">
              <a:lnSpc>
                <a:spcPct val="130000"/>
              </a:lnSpc>
              <a:spcBef>
                <a:spcPts val="400"/>
              </a:spcBef>
              <a:spcAft>
                <a:spcPts val="400"/>
              </a:spcAft>
              <a:buClr>
                <a:schemeClr val="bg1"/>
              </a:buClr>
              <a:buSzPct val="105000"/>
              <a:buFont typeface="Arial" panose="020B0604020202020204" pitchFamily="34" charset="0"/>
              <a:buChar char="•"/>
              <a:defRPr lang="en-US" sz="1000" kern="1200" dirty="0">
                <a:solidFill>
                  <a:schemeClr val="bg1"/>
                </a:solidFill>
                <a:latin typeface="+mn-lt"/>
                <a:ea typeface="+mn-ea"/>
                <a:cs typeface="+mn-cs"/>
              </a:defRPr>
            </a:lvl3pPr>
            <a:lvl4pPr marL="539750" indent="-180975" algn="l" defTabSz="914400" rtl="0" eaLnBrk="1" latinLnBrk="0" hangingPunct="1">
              <a:lnSpc>
                <a:spcPct val="130000"/>
              </a:lnSpc>
              <a:spcBef>
                <a:spcPts val="400"/>
              </a:spcBef>
              <a:spcAft>
                <a:spcPts val="400"/>
              </a:spcAft>
              <a:buClr>
                <a:schemeClr val="bg1"/>
              </a:buClr>
              <a:buSzPct val="105000"/>
              <a:buFont typeface="Arial" panose="020B0604020202020204" pitchFamily="34" charset="0"/>
              <a:buChar char="•"/>
              <a:defRPr lang="en-US" sz="900" kern="1200" dirty="0">
                <a:solidFill>
                  <a:schemeClr val="bg1"/>
                </a:solidFill>
                <a:latin typeface="+mn-lt"/>
                <a:ea typeface="+mn-ea"/>
                <a:cs typeface="+mn-cs"/>
              </a:defRPr>
            </a:lvl4pPr>
            <a:lvl5pPr marL="898525" indent="-180975" algn="l" defTabSz="914400" rtl="0" eaLnBrk="1" latinLnBrk="0" hangingPunct="1">
              <a:lnSpc>
                <a:spcPct val="130000"/>
              </a:lnSpc>
              <a:spcBef>
                <a:spcPts val="400"/>
              </a:spcBef>
              <a:spcAft>
                <a:spcPts val="400"/>
              </a:spcAft>
              <a:buClr>
                <a:schemeClr val="bg1"/>
              </a:buClr>
              <a:buSzPct val="105000"/>
              <a:buFont typeface="Arial" panose="020B0604020202020204" pitchFamily="34" charset="0"/>
              <a:buChar char="•"/>
              <a:defRPr lang="en-US" sz="900" kern="1200" dirty="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accent2"/>
                </a:solidFill>
              </a:rPr>
              <a:t>partners</a:t>
            </a:r>
          </a:p>
          <a:p>
            <a:endParaRPr lang="en-GB" dirty="0">
              <a:solidFill>
                <a:schemeClr val="accent2"/>
              </a:solidFill>
            </a:endParaRPr>
          </a:p>
        </p:txBody>
      </p:sp>
      <p:sp>
        <p:nvSpPr>
          <p:cNvPr id="2" name="Content Placeholder 2">
            <a:extLst>
              <a:ext uri="{FF2B5EF4-FFF2-40B4-BE49-F238E27FC236}">
                <a16:creationId xmlns:a16="http://schemas.microsoft.com/office/drawing/2014/main" id="{81857656-D8B8-C1BB-38A1-2333E5F82416}"/>
              </a:ext>
            </a:extLst>
          </p:cNvPr>
          <p:cNvSpPr>
            <a:spLocks noGrp="1"/>
          </p:cNvSpPr>
          <p:nvPr>
            <p:ph idx="35" hasCustomPrompt="1"/>
          </p:nvPr>
        </p:nvSpPr>
        <p:spPr>
          <a:xfrm>
            <a:off x="942749" y="4888421"/>
            <a:ext cx="2814088" cy="460028"/>
          </a:xfrm>
        </p:spPr>
        <p:txBody>
          <a:bodyPr vert="horz" lIns="0" tIns="0" rIns="0" bIns="0" numCol="1" spcCol="288000" rtlCol="0" anchor="t" anchorCtr="0">
            <a:noAutofit/>
          </a:bodyPr>
          <a:lstStyle>
            <a:lvl1pPr>
              <a:lnSpc>
                <a:spcPct val="100000"/>
              </a:lnSpc>
              <a:spcBef>
                <a:spcPts val="0"/>
              </a:spcBef>
              <a:spcAft>
                <a:spcPts val="0"/>
              </a:spcAft>
              <a:defRPr lang="en-US" sz="2400" cap="all" baseline="0" dirty="0" smtClean="0">
                <a:solidFill>
                  <a:schemeClr val="tx2"/>
                </a:solidFill>
                <a:latin typeface="+mj-lt"/>
              </a:defRPr>
            </a:lvl1pPr>
            <a:lvl2pPr>
              <a:lnSpc>
                <a:spcPct val="100000"/>
              </a:lnSpc>
              <a:spcBef>
                <a:spcPts val="0"/>
              </a:spcBef>
              <a:spcAft>
                <a:spcPts val="0"/>
              </a:spcAft>
              <a:defRPr lang="en-US" sz="2400" cap="all" baseline="0" dirty="0">
                <a:solidFill>
                  <a:schemeClr val="tx2"/>
                </a:solidFill>
                <a:latin typeface="+mj-lt"/>
              </a:defRPr>
            </a:lvl2pPr>
            <a:lvl3pPr>
              <a:spcBef>
                <a:spcPts val="400"/>
              </a:spcBef>
              <a:spcAft>
                <a:spcPts val="400"/>
              </a:spcAft>
              <a:buClr>
                <a:schemeClr val="bg1"/>
              </a:buClr>
              <a:defRPr lang="en-US" sz="1000" dirty="0">
                <a:solidFill>
                  <a:schemeClr val="bg1"/>
                </a:solidFill>
              </a:defRPr>
            </a:lvl3pPr>
            <a:lvl4pPr>
              <a:spcBef>
                <a:spcPts val="400"/>
              </a:spcBef>
              <a:spcAft>
                <a:spcPts val="400"/>
              </a:spcAft>
              <a:buClr>
                <a:schemeClr val="bg1"/>
              </a:buClr>
              <a:defRPr lang="en-US" sz="900" dirty="0">
                <a:solidFill>
                  <a:schemeClr val="bg1"/>
                </a:solidFill>
              </a:defRPr>
            </a:lvl4pPr>
            <a:lvl5pPr>
              <a:spcBef>
                <a:spcPts val="400"/>
              </a:spcBef>
              <a:spcAft>
                <a:spcPts val="400"/>
              </a:spcAft>
              <a:buClr>
                <a:schemeClr val="bg1"/>
              </a:buClr>
              <a:defRPr lang="en-US" sz="900" dirty="0">
                <a:solidFill>
                  <a:schemeClr val="bg1"/>
                </a:solidFill>
              </a:defRPr>
            </a:lvl5pPr>
          </a:lstStyle>
          <a:p>
            <a:pPr lvl="0"/>
            <a:r>
              <a:rPr lang="en-GB" dirty="0"/>
              <a:t>AWARD NAME</a:t>
            </a:r>
          </a:p>
        </p:txBody>
      </p:sp>
      <p:sp>
        <p:nvSpPr>
          <p:cNvPr id="3" name="Content Placeholder 47">
            <a:extLst>
              <a:ext uri="{FF2B5EF4-FFF2-40B4-BE49-F238E27FC236}">
                <a16:creationId xmlns:a16="http://schemas.microsoft.com/office/drawing/2014/main" id="{05BBDB83-2669-D504-E684-C032A2D4D3A2}"/>
              </a:ext>
            </a:extLst>
          </p:cNvPr>
          <p:cNvSpPr txBox="1">
            <a:spLocks/>
          </p:cNvSpPr>
          <p:nvPr userDrawn="1"/>
        </p:nvSpPr>
        <p:spPr>
          <a:xfrm>
            <a:off x="4596221" y="1389321"/>
            <a:ext cx="6749642" cy="2138082"/>
          </a:xfrm>
          <a:prstGeom prst="rect">
            <a:avLst/>
          </a:prstGeom>
        </p:spPr>
        <p:txBody>
          <a:bodyPr vert="horz" lIns="0" tIns="45720" rIns="0" bIns="0" rtlCol="0" anchor="ctr" anchorCtr="0">
            <a:noAutofit/>
          </a:bodyPr>
          <a:lstStyle>
            <a:lvl1pPr marL="144000" indent="-144000" algn="l" defTabSz="914400" rtl="0" eaLnBrk="1" latinLnBrk="0" hangingPunct="1">
              <a:lnSpc>
                <a:spcPct val="100000"/>
              </a:lnSpc>
              <a:spcBef>
                <a:spcPts val="200"/>
              </a:spcBef>
              <a:spcAft>
                <a:spcPts val="200"/>
              </a:spcAft>
              <a:buFont typeface="Arial" panose="020B0604020202020204" pitchFamily="34" charset="0"/>
              <a:buNone/>
              <a:defRPr sz="2400" kern="1200">
                <a:solidFill>
                  <a:schemeClr val="bg1"/>
                </a:solidFill>
                <a:latin typeface="+mj-lt"/>
                <a:ea typeface="+mn-ea"/>
                <a:cs typeface="+mn-cs"/>
              </a:defRPr>
            </a:lvl1pPr>
            <a:lvl2pPr marL="144000" indent="0" algn="l" defTabSz="914400" rtl="0" eaLnBrk="1" latinLnBrk="0" hangingPunct="1">
              <a:lnSpc>
                <a:spcPct val="100000"/>
              </a:lnSpc>
              <a:spcBef>
                <a:spcPts val="200"/>
              </a:spcBef>
              <a:spcAft>
                <a:spcPts val="200"/>
              </a:spcAft>
              <a:buFont typeface="Arial" panose="020B0604020202020204" pitchFamily="34" charset="0"/>
              <a:buNone/>
              <a:defRPr sz="1400" kern="1200" cap="all" baseline="0">
                <a:solidFill>
                  <a:schemeClr val="tx2"/>
                </a:solidFill>
                <a:latin typeface="+mj-lt"/>
                <a:ea typeface="+mn-ea"/>
                <a:cs typeface="+mn-cs"/>
              </a:defRPr>
            </a:lvl2pPr>
            <a:lvl3pPr marL="180975" indent="-180975" algn="l" defTabSz="914400" rtl="0" eaLnBrk="1" latinLnBrk="0" hangingPunct="1">
              <a:lnSpc>
                <a:spcPct val="130000"/>
              </a:lnSpc>
              <a:spcBef>
                <a:spcPts val="300"/>
              </a:spcBef>
              <a:spcAft>
                <a:spcPts val="300"/>
              </a:spcAft>
              <a:buClr>
                <a:schemeClr val="tx2"/>
              </a:buClr>
              <a:buSzPct val="105000"/>
              <a:buFont typeface="Arial" panose="020B0604020202020204" pitchFamily="34" charset="0"/>
              <a:buChar char="•"/>
              <a:defRPr sz="1100" kern="1200">
                <a:solidFill>
                  <a:schemeClr val="tx1"/>
                </a:solidFill>
                <a:latin typeface="+mn-lt"/>
                <a:ea typeface="+mn-ea"/>
                <a:cs typeface="+mn-cs"/>
              </a:defRPr>
            </a:lvl3pPr>
            <a:lvl4pPr marL="539750" indent="-180975" algn="l" defTabSz="914400" rtl="0" eaLnBrk="1" latinLnBrk="0" hangingPunct="1">
              <a:lnSpc>
                <a:spcPct val="130000"/>
              </a:lnSpc>
              <a:spcBef>
                <a:spcPts val="300"/>
              </a:spcBef>
              <a:spcAft>
                <a:spcPts val="300"/>
              </a:spcAft>
              <a:buClr>
                <a:schemeClr val="tx2"/>
              </a:buClr>
              <a:buSzPct val="105000"/>
              <a:buFont typeface="Arial" panose="020B0604020202020204" pitchFamily="34" charset="0"/>
              <a:buChar char="•"/>
              <a:defRPr sz="1050" kern="1200">
                <a:solidFill>
                  <a:schemeClr val="tx1"/>
                </a:solidFill>
                <a:latin typeface="+mn-lt"/>
                <a:ea typeface="+mn-ea"/>
                <a:cs typeface="+mn-cs"/>
              </a:defRPr>
            </a:lvl4pPr>
            <a:lvl5pPr marL="898525" indent="-180975" algn="l" defTabSz="914400" rtl="0" eaLnBrk="1" latinLnBrk="0" hangingPunct="1">
              <a:lnSpc>
                <a:spcPct val="130000"/>
              </a:lnSpc>
              <a:spcBef>
                <a:spcPts val="300"/>
              </a:spcBef>
              <a:spcAft>
                <a:spcPts val="300"/>
              </a:spcAft>
              <a:buClr>
                <a:schemeClr val="tx2"/>
              </a:buClr>
              <a:buSzPct val="105000"/>
              <a:buFont typeface="Arial" panose="020B0604020202020204" pitchFamily="34" charset="0"/>
              <a:buChar char="•"/>
              <a:defRPr sz="105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A global leader in advising clients in the Aerospace, Commodities, Construction, Energy, Insurance and Shipping sectors.”</a:t>
            </a:r>
          </a:p>
          <a:p>
            <a:pPr lvl="1"/>
            <a:r>
              <a:rPr lang="en-US" dirty="0"/>
              <a:t>THE TIMES</a:t>
            </a:r>
          </a:p>
        </p:txBody>
      </p:sp>
    </p:spTree>
    <p:extLst>
      <p:ext uri="{BB962C8B-B14F-4D97-AF65-F5344CB8AC3E}">
        <p14:creationId xmlns:p14="http://schemas.microsoft.com/office/powerpoint/2010/main" val="153955824"/>
      </p:ext>
    </p:extLst>
  </p:cSld>
  <p:clrMapOvr>
    <a:masterClrMapping/>
  </p:clrMapOvr>
  <p:transition spd="med">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_Quotes &amp; Stats">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BD754D4C-C7C7-7E0F-EE4B-926C1E33AADD}"/>
              </a:ext>
            </a:extLst>
          </p:cNvPr>
          <p:cNvSpPr/>
          <p:nvPr userDrawn="1"/>
        </p:nvSpPr>
        <p:spPr>
          <a:xfrm>
            <a:off x="3813173" y="3715969"/>
            <a:ext cx="4618413" cy="250385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8922540E-5424-544C-F10E-EB343FA02202}"/>
              </a:ext>
            </a:extLst>
          </p:cNvPr>
          <p:cNvSpPr/>
          <p:nvPr userDrawn="1"/>
        </p:nvSpPr>
        <p:spPr>
          <a:xfrm>
            <a:off x="3813174" y="1212112"/>
            <a:ext cx="4814359" cy="250385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6">
            <a:extLst>
              <a:ext uri="{FF2B5EF4-FFF2-40B4-BE49-F238E27FC236}">
                <a16:creationId xmlns:a16="http://schemas.microsoft.com/office/drawing/2014/main" id="{F2EDCDFA-E7C0-EE2C-6CEE-958F3AA4C1AB}"/>
              </a:ext>
            </a:extLst>
          </p:cNvPr>
          <p:cNvSpPr/>
          <p:nvPr userDrawn="1"/>
        </p:nvSpPr>
        <p:spPr>
          <a:xfrm>
            <a:off x="8283575" y="1212112"/>
            <a:ext cx="3398838" cy="254936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Footer Placeholder 3"/>
          <p:cNvSpPr>
            <a:spLocks noGrp="1"/>
          </p:cNvSpPr>
          <p:nvPr>
            <p:ph type="ftr" sz="quarter" idx="11"/>
          </p:nvPr>
        </p:nvSpPr>
        <p:spPr/>
        <p:txBody>
          <a:bodyPr/>
          <a:lstStyle/>
          <a:p>
            <a:r>
              <a:rPr lang="en-GB"/>
              <a:t>INSERT FOOTER HERE</a:t>
            </a:r>
          </a:p>
        </p:txBody>
      </p:sp>
      <p:sp>
        <p:nvSpPr>
          <p:cNvPr id="5" name="Slide Number Placeholder 4"/>
          <p:cNvSpPr>
            <a:spLocks noGrp="1"/>
          </p:cNvSpPr>
          <p:nvPr>
            <p:ph type="sldNum" sz="quarter" idx="12"/>
          </p:nvPr>
        </p:nvSpPr>
        <p:spPr/>
        <p:txBody>
          <a:bodyPr/>
          <a:lstStyle/>
          <a:p>
            <a:fld id="{8CFE0557-AA98-4E6C-B0C3-581794696B68}" type="slidenum">
              <a:rPr lang="en-GB" smtClean="0"/>
              <a:t>‹#›</a:t>
            </a:fld>
            <a:endParaRPr lang="en-GB"/>
          </a:p>
        </p:txBody>
      </p:sp>
      <p:sp>
        <p:nvSpPr>
          <p:cNvPr id="17" name="Rectangle 16">
            <a:extLst>
              <a:ext uri="{FF2B5EF4-FFF2-40B4-BE49-F238E27FC236}">
                <a16:creationId xmlns:a16="http://schemas.microsoft.com/office/drawing/2014/main" id="{A8A4E3AE-7EDD-04A0-8326-F556CD643DA2}"/>
              </a:ext>
            </a:extLst>
          </p:cNvPr>
          <p:cNvSpPr/>
          <p:nvPr userDrawn="1"/>
        </p:nvSpPr>
        <p:spPr>
          <a:xfrm>
            <a:off x="8283575" y="3715969"/>
            <a:ext cx="3398838" cy="250385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a:extLst>
              <a:ext uri="{FF2B5EF4-FFF2-40B4-BE49-F238E27FC236}">
                <a16:creationId xmlns:a16="http://schemas.microsoft.com/office/drawing/2014/main" id="{ECFEF303-2023-767D-ED27-D7D14628156C}"/>
              </a:ext>
            </a:extLst>
          </p:cNvPr>
          <p:cNvSpPr/>
          <p:nvPr userDrawn="1"/>
        </p:nvSpPr>
        <p:spPr>
          <a:xfrm>
            <a:off x="507999" y="3715969"/>
            <a:ext cx="3403333" cy="250385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Rectangle 10">
            <a:extLst>
              <a:ext uri="{FF2B5EF4-FFF2-40B4-BE49-F238E27FC236}">
                <a16:creationId xmlns:a16="http://schemas.microsoft.com/office/drawing/2014/main" id="{8EC842C4-12E2-C1F1-17C5-8476122C5DB4}"/>
              </a:ext>
            </a:extLst>
          </p:cNvPr>
          <p:cNvSpPr/>
          <p:nvPr userDrawn="1"/>
        </p:nvSpPr>
        <p:spPr>
          <a:xfrm>
            <a:off x="508000" y="1212112"/>
            <a:ext cx="3400425" cy="250385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Title 5">
            <a:extLst>
              <a:ext uri="{FF2B5EF4-FFF2-40B4-BE49-F238E27FC236}">
                <a16:creationId xmlns:a16="http://schemas.microsoft.com/office/drawing/2014/main" id="{4BF5D049-4DB0-98EE-9B73-4BA7460E4D5B}"/>
              </a:ext>
            </a:extLst>
          </p:cNvPr>
          <p:cNvSpPr>
            <a:spLocks noGrp="1"/>
          </p:cNvSpPr>
          <p:nvPr userDrawn="1">
            <p:ph type="title" hasCustomPrompt="1"/>
          </p:nvPr>
        </p:nvSpPr>
        <p:spPr>
          <a:xfrm>
            <a:off x="508000" y="454013"/>
            <a:ext cx="11174413" cy="758099"/>
          </a:xfrm>
        </p:spPr>
        <p:txBody>
          <a:bodyPr/>
          <a:lstStyle/>
          <a:p>
            <a:r>
              <a:rPr lang="en-US" dirty="0"/>
              <a:t>TITLE: subtitle</a:t>
            </a:r>
            <a:endParaRPr lang="en-GB" dirty="0"/>
          </a:p>
        </p:txBody>
      </p:sp>
    </p:spTree>
    <p:extLst>
      <p:ext uri="{BB962C8B-B14F-4D97-AF65-F5344CB8AC3E}">
        <p14:creationId xmlns:p14="http://schemas.microsoft.com/office/powerpoint/2010/main" val="3750939818"/>
      </p:ext>
    </p:extLst>
  </p:cSld>
  <p:clrMapOvr>
    <a:masterClrMapping/>
  </p:clrMapOvr>
  <p:transition spd="med">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ICONS 01">
    <p:bg>
      <p:bgPr>
        <a:solidFill>
          <a:schemeClr val="tx2"/>
        </a:solidFill>
        <a:effectLst/>
      </p:bgPr>
    </p:bg>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lvl1pPr>
              <a:defRPr>
                <a:solidFill>
                  <a:schemeClr val="bg1"/>
                </a:solidFill>
              </a:defRPr>
            </a:lvl1pPr>
          </a:lstStyle>
          <a:p>
            <a:r>
              <a:rPr lang="en-GB"/>
              <a:t>INSERT FOOTER HERE</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8CFE0557-AA98-4E6C-B0C3-581794696B68}" type="slidenum">
              <a:rPr lang="en-GB" smtClean="0"/>
              <a:pPr/>
              <a:t>‹#›</a:t>
            </a:fld>
            <a:endParaRPr lang="en-GB"/>
          </a:p>
        </p:txBody>
      </p:sp>
      <p:sp>
        <p:nvSpPr>
          <p:cNvPr id="7" name="Title 6">
            <a:extLst>
              <a:ext uri="{FF2B5EF4-FFF2-40B4-BE49-F238E27FC236}">
                <a16:creationId xmlns:a16="http://schemas.microsoft.com/office/drawing/2014/main" id="{09CC86E0-2505-47CF-936D-4E8EE3095494}"/>
              </a:ext>
            </a:extLst>
          </p:cNvPr>
          <p:cNvSpPr>
            <a:spLocks noGrp="1"/>
          </p:cNvSpPr>
          <p:nvPr>
            <p:ph type="title" hasCustomPrompt="1"/>
          </p:nvPr>
        </p:nvSpPr>
        <p:spPr/>
        <p:txBody>
          <a:bodyPr/>
          <a:lstStyle>
            <a:lvl1pPr>
              <a:defRPr>
                <a:solidFill>
                  <a:schemeClr val="bg1"/>
                </a:solidFill>
              </a:defRPr>
            </a:lvl1pPr>
          </a:lstStyle>
          <a:p>
            <a:r>
              <a:rPr lang="en-US" dirty="0"/>
              <a:t>TITLE: subtitle</a:t>
            </a:r>
            <a:endParaRPr lang="en-GB" dirty="0"/>
          </a:p>
        </p:txBody>
      </p:sp>
      <p:sp>
        <p:nvSpPr>
          <p:cNvPr id="2" name="Freeform: Shape 1">
            <a:extLst>
              <a:ext uri="{FF2B5EF4-FFF2-40B4-BE49-F238E27FC236}">
                <a16:creationId xmlns:a16="http://schemas.microsoft.com/office/drawing/2014/main" id="{07B280A8-5D6E-C5B3-94A0-60CF66056A95}"/>
              </a:ext>
            </a:extLst>
          </p:cNvPr>
          <p:cNvSpPr/>
          <p:nvPr userDrawn="1"/>
        </p:nvSpPr>
        <p:spPr>
          <a:xfrm>
            <a:off x="5141754" y="1752093"/>
            <a:ext cx="1925990" cy="1925990"/>
          </a:xfrm>
          <a:custGeom>
            <a:avLst/>
            <a:gdLst>
              <a:gd name="connsiteX0" fmla="*/ 962997 w 1925990"/>
              <a:gd name="connsiteY0" fmla="*/ 0 h 1925990"/>
              <a:gd name="connsiteX1" fmla="*/ 1925990 w 1925990"/>
              <a:gd name="connsiteY1" fmla="*/ 962995 h 1925990"/>
              <a:gd name="connsiteX2" fmla="*/ 962997 w 1925990"/>
              <a:gd name="connsiteY2" fmla="*/ 1925990 h 1925990"/>
              <a:gd name="connsiteX3" fmla="*/ 0 w 1925990"/>
              <a:gd name="connsiteY3" fmla="*/ 962995 h 1925990"/>
              <a:gd name="connsiteX4" fmla="*/ 962997 w 1925990"/>
              <a:gd name="connsiteY4" fmla="*/ 0 h 19259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5990" h="1925990">
                <a:moveTo>
                  <a:pt x="962997" y="0"/>
                </a:moveTo>
                <a:cubicBezTo>
                  <a:pt x="1494846" y="0"/>
                  <a:pt x="1925990" y="431147"/>
                  <a:pt x="1925990" y="962995"/>
                </a:cubicBezTo>
                <a:cubicBezTo>
                  <a:pt x="1925990" y="1494844"/>
                  <a:pt x="1494846" y="1925990"/>
                  <a:pt x="962997" y="1925990"/>
                </a:cubicBezTo>
                <a:cubicBezTo>
                  <a:pt x="431147" y="1925990"/>
                  <a:pt x="0" y="1494844"/>
                  <a:pt x="0" y="962995"/>
                </a:cubicBezTo>
                <a:cubicBezTo>
                  <a:pt x="0" y="431147"/>
                  <a:pt x="431147" y="0"/>
                  <a:pt x="962997"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963D0851-8197-6E42-9927-79B30A11C21B}"/>
              </a:ext>
            </a:extLst>
          </p:cNvPr>
          <p:cNvSpPr/>
          <p:nvPr userDrawn="1"/>
        </p:nvSpPr>
        <p:spPr>
          <a:xfrm>
            <a:off x="7382034" y="1752093"/>
            <a:ext cx="1925990" cy="1925990"/>
          </a:xfrm>
          <a:custGeom>
            <a:avLst/>
            <a:gdLst>
              <a:gd name="connsiteX0" fmla="*/ 962997 w 1925990"/>
              <a:gd name="connsiteY0" fmla="*/ 0 h 1925990"/>
              <a:gd name="connsiteX1" fmla="*/ 1925990 w 1925990"/>
              <a:gd name="connsiteY1" fmla="*/ 962995 h 1925990"/>
              <a:gd name="connsiteX2" fmla="*/ 962997 w 1925990"/>
              <a:gd name="connsiteY2" fmla="*/ 1925990 h 1925990"/>
              <a:gd name="connsiteX3" fmla="*/ 0 w 1925990"/>
              <a:gd name="connsiteY3" fmla="*/ 962995 h 1925990"/>
              <a:gd name="connsiteX4" fmla="*/ 962997 w 1925990"/>
              <a:gd name="connsiteY4" fmla="*/ 0 h 19259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5990" h="1925990">
                <a:moveTo>
                  <a:pt x="962997" y="0"/>
                </a:moveTo>
                <a:cubicBezTo>
                  <a:pt x="1494846" y="0"/>
                  <a:pt x="1925990" y="431147"/>
                  <a:pt x="1925990" y="962995"/>
                </a:cubicBezTo>
                <a:cubicBezTo>
                  <a:pt x="1925990" y="1494844"/>
                  <a:pt x="1494846" y="1925990"/>
                  <a:pt x="962997" y="1925990"/>
                </a:cubicBezTo>
                <a:cubicBezTo>
                  <a:pt x="431147" y="1925990"/>
                  <a:pt x="0" y="1494844"/>
                  <a:pt x="0" y="962995"/>
                </a:cubicBezTo>
                <a:cubicBezTo>
                  <a:pt x="0" y="431147"/>
                  <a:pt x="431147" y="0"/>
                  <a:pt x="962997"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6" name="Freeform: Shape 5">
            <a:extLst>
              <a:ext uri="{FF2B5EF4-FFF2-40B4-BE49-F238E27FC236}">
                <a16:creationId xmlns:a16="http://schemas.microsoft.com/office/drawing/2014/main" id="{9B8BAA69-8FFD-A89A-736B-1E2DF175DBF5}"/>
              </a:ext>
            </a:extLst>
          </p:cNvPr>
          <p:cNvSpPr/>
          <p:nvPr userDrawn="1"/>
        </p:nvSpPr>
        <p:spPr>
          <a:xfrm>
            <a:off x="2891314" y="3931413"/>
            <a:ext cx="1925990" cy="1925990"/>
          </a:xfrm>
          <a:custGeom>
            <a:avLst/>
            <a:gdLst>
              <a:gd name="connsiteX0" fmla="*/ 962997 w 1925990"/>
              <a:gd name="connsiteY0" fmla="*/ 0 h 1925990"/>
              <a:gd name="connsiteX1" fmla="*/ 1925990 w 1925990"/>
              <a:gd name="connsiteY1" fmla="*/ 962995 h 1925990"/>
              <a:gd name="connsiteX2" fmla="*/ 962997 w 1925990"/>
              <a:gd name="connsiteY2" fmla="*/ 1925990 h 1925990"/>
              <a:gd name="connsiteX3" fmla="*/ 0 w 1925990"/>
              <a:gd name="connsiteY3" fmla="*/ 962995 h 1925990"/>
              <a:gd name="connsiteX4" fmla="*/ 962997 w 1925990"/>
              <a:gd name="connsiteY4" fmla="*/ 0 h 19259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5990" h="1925990">
                <a:moveTo>
                  <a:pt x="962997" y="0"/>
                </a:moveTo>
                <a:cubicBezTo>
                  <a:pt x="1494846" y="0"/>
                  <a:pt x="1925990" y="431147"/>
                  <a:pt x="1925990" y="962995"/>
                </a:cubicBezTo>
                <a:cubicBezTo>
                  <a:pt x="1925990" y="1494844"/>
                  <a:pt x="1494846" y="1925990"/>
                  <a:pt x="962997" y="1925990"/>
                </a:cubicBezTo>
                <a:cubicBezTo>
                  <a:pt x="431147" y="1925990"/>
                  <a:pt x="0" y="1494844"/>
                  <a:pt x="0" y="962995"/>
                </a:cubicBezTo>
                <a:cubicBezTo>
                  <a:pt x="0" y="431147"/>
                  <a:pt x="431147" y="0"/>
                  <a:pt x="962997"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8" name="Freeform: Shape 7">
            <a:extLst>
              <a:ext uri="{FF2B5EF4-FFF2-40B4-BE49-F238E27FC236}">
                <a16:creationId xmlns:a16="http://schemas.microsoft.com/office/drawing/2014/main" id="{80574189-6802-7B68-04C4-DEF410BE16D7}"/>
              </a:ext>
            </a:extLst>
          </p:cNvPr>
          <p:cNvSpPr/>
          <p:nvPr userDrawn="1"/>
        </p:nvSpPr>
        <p:spPr>
          <a:xfrm>
            <a:off x="5141754" y="3931413"/>
            <a:ext cx="1925990" cy="1925990"/>
          </a:xfrm>
          <a:custGeom>
            <a:avLst/>
            <a:gdLst>
              <a:gd name="connsiteX0" fmla="*/ 962997 w 1925990"/>
              <a:gd name="connsiteY0" fmla="*/ 0 h 1925990"/>
              <a:gd name="connsiteX1" fmla="*/ 1925990 w 1925990"/>
              <a:gd name="connsiteY1" fmla="*/ 962995 h 1925990"/>
              <a:gd name="connsiteX2" fmla="*/ 962997 w 1925990"/>
              <a:gd name="connsiteY2" fmla="*/ 1925990 h 1925990"/>
              <a:gd name="connsiteX3" fmla="*/ 0 w 1925990"/>
              <a:gd name="connsiteY3" fmla="*/ 962995 h 1925990"/>
              <a:gd name="connsiteX4" fmla="*/ 962997 w 1925990"/>
              <a:gd name="connsiteY4" fmla="*/ 0 h 19259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5990" h="1925990">
                <a:moveTo>
                  <a:pt x="962997" y="0"/>
                </a:moveTo>
                <a:cubicBezTo>
                  <a:pt x="1494846" y="0"/>
                  <a:pt x="1925990" y="431147"/>
                  <a:pt x="1925990" y="962995"/>
                </a:cubicBezTo>
                <a:cubicBezTo>
                  <a:pt x="1925990" y="1494844"/>
                  <a:pt x="1494846" y="1925990"/>
                  <a:pt x="962997" y="1925990"/>
                </a:cubicBezTo>
                <a:cubicBezTo>
                  <a:pt x="431147" y="1925990"/>
                  <a:pt x="0" y="1494844"/>
                  <a:pt x="0" y="962995"/>
                </a:cubicBezTo>
                <a:cubicBezTo>
                  <a:pt x="0" y="431147"/>
                  <a:pt x="431147" y="0"/>
                  <a:pt x="962997"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9" name="Freeform: Shape 8">
            <a:extLst>
              <a:ext uri="{FF2B5EF4-FFF2-40B4-BE49-F238E27FC236}">
                <a16:creationId xmlns:a16="http://schemas.microsoft.com/office/drawing/2014/main" id="{4216A95F-A999-0D16-2AC0-AAEFC8B99F31}"/>
              </a:ext>
            </a:extLst>
          </p:cNvPr>
          <p:cNvSpPr/>
          <p:nvPr userDrawn="1"/>
        </p:nvSpPr>
        <p:spPr>
          <a:xfrm>
            <a:off x="7382034" y="3931413"/>
            <a:ext cx="1925990" cy="1925990"/>
          </a:xfrm>
          <a:custGeom>
            <a:avLst/>
            <a:gdLst>
              <a:gd name="connsiteX0" fmla="*/ 962997 w 1925990"/>
              <a:gd name="connsiteY0" fmla="*/ 0 h 1925990"/>
              <a:gd name="connsiteX1" fmla="*/ 1925990 w 1925990"/>
              <a:gd name="connsiteY1" fmla="*/ 962995 h 1925990"/>
              <a:gd name="connsiteX2" fmla="*/ 962997 w 1925990"/>
              <a:gd name="connsiteY2" fmla="*/ 1925990 h 1925990"/>
              <a:gd name="connsiteX3" fmla="*/ 0 w 1925990"/>
              <a:gd name="connsiteY3" fmla="*/ 962995 h 1925990"/>
              <a:gd name="connsiteX4" fmla="*/ 962997 w 1925990"/>
              <a:gd name="connsiteY4" fmla="*/ 0 h 19259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5990" h="1925990">
                <a:moveTo>
                  <a:pt x="962997" y="0"/>
                </a:moveTo>
                <a:cubicBezTo>
                  <a:pt x="1494846" y="0"/>
                  <a:pt x="1925990" y="431147"/>
                  <a:pt x="1925990" y="962995"/>
                </a:cubicBezTo>
                <a:cubicBezTo>
                  <a:pt x="1925990" y="1494844"/>
                  <a:pt x="1494846" y="1925990"/>
                  <a:pt x="962997" y="1925990"/>
                </a:cubicBezTo>
                <a:cubicBezTo>
                  <a:pt x="431147" y="1925990"/>
                  <a:pt x="0" y="1494844"/>
                  <a:pt x="0" y="962995"/>
                </a:cubicBezTo>
                <a:cubicBezTo>
                  <a:pt x="0" y="431147"/>
                  <a:pt x="431147" y="0"/>
                  <a:pt x="962997"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0" name="Freeform: Shape 9">
            <a:extLst>
              <a:ext uri="{FF2B5EF4-FFF2-40B4-BE49-F238E27FC236}">
                <a16:creationId xmlns:a16="http://schemas.microsoft.com/office/drawing/2014/main" id="{DB0DD03D-8FB8-0FB6-C4DC-742B988A8DE0}"/>
              </a:ext>
            </a:extLst>
          </p:cNvPr>
          <p:cNvSpPr/>
          <p:nvPr userDrawn="1"/>
        </p:nvSpPr>
        <p:spPr>
          <a:xfrm>
            <a:off x="2891314" y="1752093"/>
            <a:ext cx="1925990" cy="1925990"/>
          </a:xfrm>
          <a:custGeom>
            <a:avLst/>
            <a:gdLst>
              <a:gd name="connsiteX0" fmla="*/ 962997 w 1925990"/>
              <a:gd name="connsiteY0" fmla="*/ 0 h 1925990"/>
              <a:gd name="connsiteX1" fmla="*/ 1925990 w 1925990"/>
              <a:gd name="connsiteY1" fmla="*/ 962995 h 1925990"/>
              <a:gd name="connsiteX2" fmla="*/ 962997 w 1925990"/>
              <a:gd name="connsiteY2" fmla="*/ 1925990 h 1925990"/>
              <a:gd name="connsiteX3" fmla="*/ 0 w 1925990"/>
              <a:gd name="connsiteY3" fmla="*/ 962995 h 1925990"/>
              <a:gd name="connsiteX4" fmla="*/ 962997 w 1925990"/>
              <a:gd name="connsiteY4" fmla="*/ 0 h 19259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5990" h="1925990">
                <a:moveTo>
                  <a:pt x="962997" y="0"/>
                </a:moveTo>
                <a:cubicBezTo>
                  <a:pt x="1494846" y="0"/>
                  <a:pt x="1925990" y="431147"/>
                  <a:pt x="1925990" y="962995"/>
                </a:cubicBezTo>
                <a:cubicBezTo>
                  <a:pt x="1925990" y="1494844"/>
                  <a:pt x="1494846" y="1925990"/>
                  <a:pt x="962997" y="1925990"/>
                </a:cubicBezTo>
                <a:cubicBezTo>
                  <a:pt x="431147" y="1925990"/>
                  <a:pt x="0" y="1494844"/>
                  <a:pt x="0" y="962995"/>
                </a:cubicBezTo>
                <a:cubicBezTo>
                  <a:pt x="0" y="431147"/>
                  <a:pt x="431147" y="0"/>
                  <a:pt x="962997"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1" name="Freeform: Shape 10">
            <a:extLst>
              <a:ext uri="{FF2B5EF4-FFF2-40B4-BE49-F238E27FC236}">
                <a16:creationId xmlns:a16="http://schemas.microsoft.com/office/drawing/2014/main" id="{1FC2279A-1754-3071-8D9B-85CD02CE1804}"/>
              </a:ext>
            </a:extLst>
          </p:cNvPr>
          <p:cNvSpPr/>
          <p:nvPr userDrawn="1"/>
        </p:nvSpPr>
        <p:spPr>
          <a:xfrm>
            <a:off x="5376289" y="2200893"/>
            <a:ext cx="1443609" cy="902639"/>
          </a:xfrm>
          <a:custGeom>
            <a:avLst/>
            <a:gdLst>
              <a:gd name="connsiteX0" fmla="*/ 279477 w 437916"/>
              <a:gd name="connsiteY0" fmla="*/ 0 h 273815"/>
              <a:gd name="connsiteX1" fmla="*/ 279477 w 437916"/>
              <a:gd name="connsiteY1" fmla="*/ 124979 h 273815"/>
              <a:gd name="connsiteX2" fmla="*/ 320889 w 437916"/>
              <a:gd name="connsiteY2" fmla="*/ 124979 h 273815"/>
              <a:gd name="connsiteX3" fmla="*/ 279477 w 437916"/>
              <a:gd name="connsiteY3" fmla="*/ 0 h 273815"/>
              <a:gd name="connsiteX4" fmla="*/ 257877 w 437916"/>
              <a:gd name="connsiteY4" fmla="*/ 0 h 273815"/>
              <a:gd name="connsiteX5" fmla="*/ 257877 w 437916"/>
              <a:gd name="connsiteY5" fmla="*/ 124979 h 273815"/>
              <a:gd name="connsiteX6" fmla="*/ 114870 w 437916"/>
              <a:gd name="connsiteY6" fmla="*/ 124979 h 273815"/>
              <a:gd name="connsiteX7" fmla="*/ 143041 w 437916"/>
              <a:gd name="connsiteY7" fmla="*/ 39896 h 273815"/>
              <a:gd name="connsiteX8" fmla="*/ 147286 w 437916"/>
              <a:gd name="connsiteY8" fmla="*/ 26991 h 273815"/>
              <a:gd name="connsiteX9" fmla="*/ 156249 w 437916"/>
              <a:gd name="connsiteY9" fmla="*/ 0 h 273815"/>
              <a:gd name="connsiteX10" fmla="*/ 257844 w 437916"/>
              <a:gd name="connsiteY10" fmla="*/ 0 h 273815"/>
              <a:gd name="connsiteX11" fmla="*/ 396504 w 437916"/>
              <a:gd name="connsiteY11" fmla="*/ 148735 h 273815"/>
              <a:gd name="connsiteX12" fmla="*/ 396504 w 437916"/>
              <a:gd name="connsiteY12" fmla="*/ 273782 h 273815"/>
              <a:gd name="connsiteX13" fmla="*/ 437916 w 437916"/>
              <a:gd name="connsiteY13" fmla="*/ 273782 h 273815"/>
              <a:gd name="connsiteX14" fmla="*/ 396504 w 437916"/>
              <a:gd name="connsiteY14" fmla="*/ 148735 h 273815"/>
              <a:gd name="connsiteX15" fmla="*/ 206019 w 437916"/>
              <a:gd name="connsiteY15" fmla="*/ 272973 h 273815"/>
              <a:gd name="connsiteX16" fmla="*/ 164606 w 437916"/>
              <a:gd name="connsiteY16" fmla="*/ 272973 h 273815"/>
              <a:gd name="connsiteX17" fmla="*/ 164606 w 437916"/>
              <a:gd name="connsiteY17" fmla="*/ 147994 h 273815"/>
              <a:gd name="connsiteX18" fmla="*/ 206019 w 437916"/>
              <a:gd name="connsiteY18" fmla="*/ 272973 h 273815"/>
              <a:gd name="connsiteX19" fmla="*/ 41413 w 437916"/>
              <a:gd name="connsiteY19" fmla="*/ 147994 h 273815"/>
              <a:gd name="connsiteX20" fmla="*/ 0 w 437916"/>
              <a:gd name="connsiteY20" fmla="*/ 272973 h 273815"/>
              <a:gd name="connsiteX21" fmla="*/ 143007 w 437916"/>
              <a:gd name="connsiteY21" fmla="*/ 272973 h 273815"/>
              <a:gd name="connsiteX22" fmla="*/ 143007 w 437916"/>
              <a:gd name="connsiteY22" fmla="*/ 147994 h 273815"/>
              <a:gd name="connsiteX23" fmla="*/ 41413 w 437916"/>
              <a:gd name="connsiteY23" fmla="*/ 147994 h 273815"/>
              <a:gd name="connsiteX24" fmla="*/ 273310 w 437916"/>
              <a:gd name="connsiteY24" fmla="*/ 148769 h 273815"/>
              <a:gd name="connsiteX25" fmla="*/ 374904 w 437916"/>
              <a:gd name="connsiteY25" fmla="*/ 148769 h 273815"/>
              <a:gd name="connsiteX26" fmla="*/ 374904 w 437916"/>
              <a:gd name="connsiteY26" fmla="*/ 273816 h 273815"/>
              <a:gd name="connsiteX27" fmla="*/ 231898 w 437916"/>
              <a:gd name="connsiteY27" fmla="*/ 273816 h 273815"/>
              <a:gd name="connsiteX28" fmla="*/ 273310 w 437916"/>
              <a:gd name="connsiteY28" fmla="*/ 148769 h 273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37916" h="273815">
                <a:moveTo>
                  <a:pt x="279477" y="0"/>
                </a:moveTo>
                <a:lnTo>
                  <a:pt x="279477" y="124979"/>
                </a:lnTo>
                <a:lnTo>
                  <a:pt x="320889" y="124979"/>
                </a:lnTo>
                <a:lnTo>
                  <a:pt x="279477" y="0"/>
                </a:lnTo>
                <a:close/>
                <a:moveTo>
                  <a:pt x="257877" y="0"/>
                </a:moveTo>
                <a:lnTo>
                  <a:pt x="257877" y="124979"/>
                </a:lnTo>
                <a:lnTo>
                  <a:pt x="114870" y="124979"/>
                </a:lnTo>
                <a:lnTo>
                  <a:pt x="143041" y="39896"/>
                </a:lnTo>
                <a:lnTo>
                  <a:pt x="147286" y="26991"/>
                </a:lnTo>
                <a:lnTo>
                  <a:pt x="156249" y="0"/>
                </a:lnTo>
                <a:lnTo>
                  <a:pt x="257844" y="0"/>
                </a:lnTo>
                <a:close/>
                <a:moveTo>
                  <a:pt x="396504" y="148735"/>
                </a:moveTo>
                <a:lnTo>
                  <a:pt x="396504" y="273782"/>
                </a:lnTo>
                <a:lnTo>
                  <a:pt x="437916" y="273782"/>
                </a:lnTo>
                <a:lnTo>
                  <a:pt x="396504" y="148735"/>
                </a:lnTo>
                <a:close/>
                <a:moveTo>
                  <a:pt x="206019" y="272973"/>
                </a:moveTo>
                <a:lnTo>
                  <a:pt x="164606" y="272973"/>
                </a:lnTo>
                <a:lnTo>
                  <a:pt x="164606" y="147994"/>
                </a:lnTo>
                <a:lnTo>
                  <a:pt x="206019" y="272973"/>
                </a:lnTo>
                <a:close/>
                <a:moveTo>
                  <a:pt x="41413" y="147994"/>
                </a:moveTo>
                <a:lnTo>
                  <a:pt x="0" y="272973"/>
                </a:lnTo>
                <a:lnTo>
                  <a:pt x="143007" y="272973"/>
                </a:lnTo>
                <a:lnTo>
                  <a:pt x="143007" y="147994"/>
                </a:lnTo>
                <a:lnTo>
                  <a:pt x="41413" y="147994"/>
                </a:lnTo>
                <a:close/>
                <a:moveTo>
                  <a:pt x="273310" y="148769"/>
                </a:moveTo>
                <a:lnTo>
                  <a:pt x="374904" y="148769"/>
                </a:lnTo>
                <a:lnTo>
                  <a:pt x="374904" y="273816"/>
                </a:lnTo>
                <a:lnTo>
                  <a:pt x="231898" y="273816"/>
                </a:lnTo>
                <a:lnTo>
                  <a:pt x="273310" y="148769"/>
                </a:lnTo>
                <a:close/>
              </a:path>
            </a:pathLst>
          </a:custGeom>
          <a:solidFill>
            <a:schemeClr val="tx2"/>
          </a:solidFill>
          <a:ln w="3364" cap="flat">
            <a:noFill/>
            <a:prstDash val="solid"/>
            <a:miter/>
          </a:ln>
        </p:spPr>
        <p:txBody>
          <a:bodyPr rtlCol="0" anchor="ctr"/>
          <a:lstStyle/>
          <a:p>
            <a:endParaRPr lang="en-GB"/>
          </a:p>
        </p:txBody>
      </p:sp>
      <p:sp>
        <p:nvSpPr>
          <p:cNvPr id="12" name="Freeform: Shape 11">
            <a:extLst>
              <a:ext uri="{FF2B5EF4-FFF2-40B4-BE49-F238E27FC236}">
                <a16:creationId xmlns:a16="http://schemas.microsoft.com/office/drawing/2014/main" id="{1A2AF1EA-C150-20DF-7FE3-F62DD24B7178}"/>
              </a:ext>
            </a:extLst>
          </p:cNvPr>
          <p:cNvSpPr/>
          <p:nvPr userDrawn="1"/>
        </p:nvSpPr>
        <p:spPr>
          <a:xfrm>
            <a:off x="7928483" y="1989673"/>
            <a:ext cx="831111" cy="1504811"/>
          </a:xfrm>
          <a:custGeom>
            <a:avLst/>
            <a:gdLst>
              <a:gd name="connsiteX0" fmla="*/ 126192 w 252115"/>
              <a:gd name="connsiteY0" fmla="*/ 245545 h 456483"/>
              <a:gd name="connsiteX1" fmla="*/ 63079 w 252115"/>
              <a:gd name="connsiteY1" fmla="*/ 182432 h 456483"/>
              <a:gd name="connsiteX2" fmla="*/ 126192 w 252115"/>
              <a:gd name="connsiteY2" fmla="*/ 119352 h 456483"/>
              <a:gd name="connsiteX3" fmla="*/ 189305 w 252115"/>
              <a:gd name="connsiteY3" fmla="*/ 182432 h 456483"/>
              <a:gd name="connsiteX4" fmla="*/ 126192 w 252115"/>
              <a:gd name="connsiteY4" fmla="*/ 245545 h 456483"/>
              <a:gd name="connsiteX5" fmla="*/ 0 w 252115"/>
              <a:gd name="connsiteY5" fmla="*/ 99000 h 456483"/>
              <a:gd name="connsiteX6" fmla="*/ 37773 w 252115"/>
              <a:gd name="connsiteY6" fmla="*/ 268290 h 456483"/>
              <a:gd name="connsiteX7" fmla="*/ 214308 w 252115"/>
              <a:gd name="connsiteY7" fmla="*/ 268290 h 456483"/>
              <a:gd name="connsiteX8" fmla="*/ 252115 w 252115"/>
              <a:gd name="connsiteY8" fmla="*/ 99000 h 456483"/>
              <a:gd name="connsiteX9" fmla="*/ 34 w 252115"/>
              <a:gd name="connsiteY9" fmla="*/ 99000 h 456483"/>
              <a:gd name="connsiteX10" fmla="*/ 165011 w 252115"/>
              <a:gd name="connsiteY10" fmla="*/ 182465 h 456483"/>
              <a:gd name="connsiteX11" fmla="*/ 126192 w 252115"/>
              <a:gd name="connsiteY11" fmla="*/ 221283 h 456483"/>
              <a:gd name="connsiteX12" fmla="*/ 87341 w 252115"/>
              <a:gd name="connsiteY12" fmla="*/ 182465 h 456483"/>
              <a:gd name="connsiteX13" fmla="*/ 126192 w 252115"/>
              <a:gd name="connsiteY13" fmla="*/ 143613 h 456483"/>
              <a:gd name="connsiteX14" fmla="*/ 165011 w 252115"/>
              <a:gd name="connsiteY14" fmla="*/ 182465 h 456483"/>
              <a:gd name="connsiteX15" fmla="*/ 198302 w 252115"/>
              <a:gd name="connsiteY15" fmla="*/ 74907 h 456483"/>
              <a:gd name="connsiteX16" fmla="*/ 198302 w 252115"/>
              <a:gd name="connsiteY16" fmla="*/ 0 h 456483"/>
              <a:gd name="connsiteX17" fmla="*/ 173906 w 252115"/>
              <a:gd name="connsiteY17" fmla="*/ 0 h 456483"/>
              <a:gd name="connsiteX18" fmla="*/ 173906 w 252115"/>
              <a:gd name="connsiteY18" fmla="*/ 74873 h 456483"/>
              <a:gd name="connsiteX19" fmla="*/ 198302 w 252115"/>
              <a:gd name="connsiteY19" fmla="*/ 74873 h 456483"/>
              <a:gd name="connsiteX20" fmla="*/ 53813 w 252115"/>
              <a:gd name="connsiteY20" fmla="*/ 74907 h 456483"/>
              <a:gd name="connsiteX21" fmla="*/ 53813 w 252115"/>
              <a:gd name="connsiteY21" fmla="*/ 0 h 456483"/>
              <a:gd name="connsiteX22" fmla="*/ 78243 w 252115"/>
              <a:gd name="connsiteY22" fmla="*/ 0 h 456483"/>
              <a:gd name="connsiteX23" fmla="*/ 78243 w 252115"/>
              <a:gd name="connsiteY23" fmla="*/ 74873 h 456483"/>
              <a:gd name="connsiteX24" fmla="*/ 53813 w 252115"/>
              <a:gd name="connsiteY24" fmla="*/ 74873 h 456483"/>
              <a:gd name="connsiteX25" fmla="*/ 126058 w 252115"/>
              <a:gd name="connsiteY25" fmla="*/ 456450 h 456483"/>
              <a:gd name="connsiteX26" fmla="*/ 53813 w 252115"/>
              <a:gd name="connsiteY26" fmla="*/ 385148 h 456483"/>
              <a:gd name="connsiteX27" fmla="*/ 78209 w 252115"/>
              <a:gd name="connsiteY27" fmla="*/ 385148 h 456483"/>
              <a:gd name="connsiteX28" fmla="*/ 126058 w 252115"/>
              <a:gd name="connsiteY28" fmla="*/ 432357 h 456483"/>
              <a:gd name="connsiteX29" fmla="*/ 173906 w 252115"/>
              <a:gd name="connsiteY29" fmla="*/ 385148 h 456483"/>
              <a:gd name="connsiteX30" fmla="*/ 126058 w 252115"/>
              <a:gd name="connsiteY30" fmla="*/ 337940 h 456483"/>
              <a:gd name="connsiteX31" fmla="*/ 113860 w 252115"/>
              <a:gd name="connsiteY31" fmla="*/ 337940 h 456483"/>
              <a:gd name="connsiteX32" fmla="*/ 113860 w 252115"/>
              <a:gd name="connsiteY32" fmla="*/ 292618 h 456483"/>
              <a:gd name="connsiteX33" fmla="*/ 138256 w 252115"/>
              <a:gd name="connsiteY33" fmla="*/ 292618 h 456483"/>
              <a:gd name="connsiteX34" fmla="*/ 138256 w 252115"/>
              <a:gd name="connsiteY34" fmla="*/ 314892 h 456483"/>
              <a:gd name="connsiteX35" fmla="*/ 198302 w 252115"/>
              <a:gd name="connsiteY35" fmla="*/ 385182 h 456483"/>
              <a:gd name="connsiteX36" fmla="*/ 126058 w 252115"/>
              <a:gd name="connsiteY36" fmla="*/ 456483 h 456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52115" h="456483">
                <a:moveTo>
                  <a:pt x="126192" y="245545"/>
                </a:moveTo>
                <a:cubicBezTo>
                  <a:pt x="91317" y="245545"/>
                  <a:pt x="63079" y="217307"/>
                  <a:pt x="63079" y="182432"/>
                </a:cubicBezTo>
                <a:cubicBezTo>
                  <a:pt x="63079" y="147556"/>
                  <a:pt x="91317" y="119352"/>
                  <a:pt x="126192" y="119352"/>
                </a:cubicBezTo>
                <a:cubicBezTo>
                  <a:pt x="161068" y="119352"/>
                  <a:pt x="189305" y="147590"/>
                  <a:pt x="189305" y="182432"/>
                </a:cubicBezTo>
                <a:cubicBezTo>
                  <a:pt x="189305" y="217274"/>
                  <a:pt x="161068" y="245545"/>
                  <a:pt x="126192" y="245545"/>
                </a:cubicBezTo>
                <a:moveTo>
                  <a:pt x="0" y="99000"/>
                </a:moveTo>
                <a:lnTo>
                  <a:pt x="37773" y="268290"/>
                </a:lnTo>
                <a:lnTo>
                  <a:pt x="214308" y="268290"/>
                </a:lnTo>
                <a:lnTo>
                  <a:pt x="252115" y="99000"/>
                </a:lnTo>
                <a:lnTo>
                  <a:pt x="34" y="99000"/>
                </a:lnTo>
                <a:close/>
                <a:moveTo>
                  <a:pt x="165011" y="182465"/>
                </a:moveTo>
                <a:cubicBezTo>
                  <a:pt x="165011" y="203896"/>
                  <a:pt x="147623" y="221283"/>
                  <a:pt x="126192" y="221283"/>
                </a:cubicBezTo>
                <a:cubicBezTo>
                  <a:pt x="104762" y="221283"/>
                  <a:pt x="87341" y="203896"/>
                  <a:pt x="87341" y="182465"/>
                </a:cubicBezTo>
                <a:cubicBezTo>
                  <a:pt x="87341" y="161034"/>
                  <a:pt x="104728" y="143613"/>
                  <a:pt x="126192" y="143613"/>
                </a:cubicBezTo>
                <a:cubicBezTo>
                  <a:pt x="147657" y="143613"/>
                  <a:pt x="165011" y="161001"/>
                  <a:pt x="165011" y="182465"/>
                </a:cubicBezTo>
                <a:moveTo>
                  <a:pt x="198302" y="74907"/>
                </a:moveTo>
                <a:lnTo>
                  <a:pt x="198302" y="0"/>
                </a:lnTo>
                <a:lnTo>
                  <a:pt x="173906" y="0"/>
                </a:lnTo>
                <a:lnTo>
                  <a:pt x="173906" y="74873"/>
                </a:lnTo>
                <a:cubicBezTo>
                  <a:pt x="173906" y="74873"/>
                  <a:pt x="198302" y="74873"/>
                  <a:pt x="198302" y="74873"/>
                </a:cubicBezTo>
                <a:close/>
                <a:moveTo>
                  <a:pt x="53813" y="74907"/>
                </a:moveTo>
                <a:lnTo>
                  <a:pt x="53813" y="0"/>
                </a:lnTo>
                <a:lnTo>
                  <a:pt x="78243" y="0"/>
                </a:lnTo>
                <a:lnTo>
                  <a:pt x="78243" y="74873"/>
                </a:lnTo>
                <a:lnTo>
                  <a:pt x="53813" y="74873"/>
                </a:lnTo>
                <a:close/>
                <a:moveTo>
                  <a:pt x="126058" y="456450"/>
                </a:moveTo>
                <a:cubicBezTo>
                  <a:pt x="86229" y="456450"/>
                  <a:pt x="53813" y="424472"/>
                  <a:pt x="53813" y="385148"/>
                </a:cubicBezTo>
                <a:lnTo>
                  <a:pt x="78209" y="385148"/>
                </a:lnTo>
                <a:cubicBezTo>
                  <a:pt x="78209" y="411162"/>
                  <a:pt x="99673" y="432357"/>
                  <a:pt x="126058" y="432357"/>
                </a:cubicBezTo>
                <a:cubicBezTo>
                  <a:pt x="152442" y="432357"/>
                  <a:pt x="173906" y="411162"/>
                  <a:pt x="173906" y="385148"/>
                </a:cubicBezTo>
                <a:cubicBezTo>
                  <a:pt x="173906" y="359135"/>
                  <a:pt x="152442" y="337940"/>
                  <a:pt x="126058" y="337940"/>
                </a:cubicBezTo>
                <a:lnTo>
                  <a:pt x="113860" y="337940"/>
                </a:lnTo>
                <a:lnTo>
                  <a:pt x="113860" y="292618"/>
                </a:lnTo>
                <a:lnTo>
                  <a:pt x="138256" y="292618"/>
                </a:lnTo>
                <a:lnTo>
                  <a:pt x="138256" y="314892"/>
                </a:lnTo>
                <a:cubicBezTo>
                  <a:pt x="172289" y="320620"/>
                  <a:pt x="198302" y="349969"/>
                  <a:pt x="198302" y="385182"/>
                </a:cubicBezTo>
                <a:cubicBezTo>
                  <a:pt x="198302" y="424472"/>
                  <a:pt x="165887" y="456483"/>
                  <a:pt x="126058" y="456483"/>
                </a:cubicBezTo>
              </a:path>
            </a:pathLst>
          </a:custGeom>
          <a:solidFill>
            <a:schemeClr val="tx2"/>
          </a:solidFill>
          <a:ln w="3364" cap="flat">
            <a:noFill/>
            <a:prstDash val="solid"/>
            <a:miter/>
          </a:ln>
        </p:spPr>
        <p:txBody>
          <a:bodyPr rtlCol="0" anchor="ctr"/>
          <a:lstStyle/>
          <a:p>
            <a:endParaRPr lang="en-GB"/>
          </a:p>
        </p:txBody>
      </p:sp>
      <p:sp>
        <p:nvSpPr>
          <p:cNvPr id="13" name="Freeform: Shape 12">
            <a:extLst>
              <a:ext uri="{FF2B5EF4-FFF2-40B4-BE49-F238E27FC236}">
                <a16:creationId xmlns:a16="http://schemas.microsoft.com/office/drawing/2014/main" id="{8C17A01F-EE70-736D-B63F-1AE0C0516117}"/>
              </a:ext>
            </a:extLst>
          </p:cNvPr>
          <p:cNvSpPr/>
          <p:nvPr userDrawn="1"/>
        </p:nvSpPr>
        <p:spPr>
          <a:xfrm>
            <a:off x="3407106" y="4162927"/>
            <a:ext cx="880428" cy="1484483"/>
          </a:xfrm>
          <a:custGeom>
            <a:avLst/>
            <a:gdLst>
              <a:gd name="connsiteX0" fmla="*/ 155407 w 267076"/>
              <a:gd name="connsiteY0" fmla="*/ 176265 h 450316"/>
              <a:gd name="connsiteX1" fmla="*/ 83971 w 267076"/>
              <a:gd name="connsiteY1" fmla="*/ 450317 h 450316"/>
              <a:gd name="connsiteX2" fmla="*/ 267076 w 267076"/>
              <a:gd name="connsiteY2" fmla="*/ 205345 h 450316"/>
              <a:gd name="connsiteX3" fmla="*/ 155441 w 267076"/>
              <a:gd name="connsiteY3" fmla="*/ 176265 h 450316"/>
              <a:gd name="connsiteX4" fmla="*/ 174041 w 267076"/>
              <a:gd name="connsiteY4" fmla="*/ 34 h 450316"/>
              <a:gd name="connsiteX5" fmla="*/ 106143 w 267076"/>
              <a:gd name="connsiteY5" fmla="*/ 260438 h 450316"/>
              <a:gd name="connsiteX6" fmla="*/ 0 w 267076"/>
              <a:gd name="connsiteY6" fmla="*/ 232807 h 450316"/>
              <a:gd name="connsiteX7" fmla="*/ 174041 w 267076"/>
              <a:gd name="connsiteY7" fmla="*/ 0 h 450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7076" h="450316">
                <a:moveTo>
                  <a:pt x="155407" y="176265"/>
                </a:moveTo>
                <a:lnTo>
                  <a:pt x="83971" y="450317"/>
                </a:lnTo>
                <a:lnTo>
                  <a:pt x="267076" y="205345"/>
                </a:lnTo>
                <a:lnTo>
                  <a:pt x="155441" y="176265"/>
                </a:lnTo>
                <a:close/>
                <a:moveTo>
                  <a:pt x="174041" y="34"/>
                </a:moveTo>
                <a:lnTo>
                  <a:pt x="106143" y="260438"/>
                </a:lnTo>
                <a:lnTo>
                  <a:pt x="0" y="232807"/>
                </a:lnTo>
                <a:lnTo>
                  <a:pt x="174041" y="0"/>
                </a:lnTo>
                <a:close/>
              </a:path>
            </a:pathLst>
          </a:custGeom>
          <a:solidFill>
            <a:schemeClr val="tx2"/>
          </a:solidFill>
          <a:ln w="3364"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453DC2E4-BD93-CADB-3651-779B940B591B}"/>
              </a:ext>
            </a:extLst>
          </p:cNvPr>
          <p:cNvSpPr/>
          <p:nvPr userDrawn="1"/>
        </p:nvSpPr>
        <p:spPr>
          <a:xfrm>
            <a:off x="5678419" y="4331046"/>
            <a:ext cx="838991" cy="1078373"/>
          </a:xfrm>
          <a:custGeom>
            <a:avLst/>
            <a:gdLst>
              <a:gd name="connsiteX0" fmla="*/ 155003 w 254507"/>
              <a:gd name="connsiteY0" fmla="*/ 199010 h 327123"/>
              <a:gd name="connsiteX1" fmla="*/ 155003 w 254507"/>
              <a:gd name="connsiteY1" fmla="*/ 199145 h 327123"/>
              <a:gd name="connsiteX2" fmla="*/ 144422 w 254507"/>
              <a:gd name="connsiteY2" fmla="*/ 220980 h 327123"/>
              <a:gd name="connsiteX3" fmla="*/ 140480 w 254507"/>
              <a:gd name="connsiteY3" fmla="*/ 224046 h 327123"/>
              <a:gd name="connsiteX4" fmla="*/ 144692 w 254507"/>
              <a:gd name="connsiteY4" fmla="*/ 259697 h 327123"/>
              <a:gd name="connsiteX5" fmla="*/ 109681 w 254507"/>
              <a:gd name="connsiteY5" fmla="*/ 259697 h 327123"/>
              <a:gd name="connsiteX6" fmla="*/ 113826 w 254507"/>
              <a:gd name="connsiteY6" fmla="*/ 224046 h 327123"/>
              <a:gd name="connsiteX7" fmla="*/ 109951 w 254507"/>
              <a:gd name="connsiteY7" fmla="*/ 220980 h 327123"/>
              <a:gd name="connsiteX8" fmla="*/ 99370 w 254507"/>
              <a:gd name="connsiteY8" fmla="*/ 199145 h 327123"/>
              <a:gd name="connsiteX9" fmla="*/ 99370 w 254507"/>
              <a:gd name="connsiteY9" fmla="*/ 199010 h 327123"/>
              <a:gd name="connsiteX10" fmla="*/ 100887 w 254507"/>
              <a:gd name="connsiteY10" fmla="*/ 190148 h 327123"/>
              <a:gd name="connsiteX11" fmla="*/ 105941 w 254507"/>
              <a:gd name="connsiteY11" fmla="*/ 181286 h 327123"/>
              <a:gd name="connsiteX12" fmla="*/ 127237 w 254507"/>
              <a:gd name="connsiteY12" fmla="*/ 171346 h 327123"/>
              <a:gd name="connsiteX13" fmla="*/ 148499 w 254507"/>
              <a:gd name="connsiteY13" fmla="*/ 181286 h 327123"/>
              <a:gd name="connsiteX14" fmla="*/ 153554 w 254507"/>
              <a:gd name="connsiteY14" fmla="*/ 190148 h 327123"/>
              <a:gd name="connsiteX15" fmla="*/ 155070 w 254507"/>
              <a:gd name="connsiteY15" fmla="*/ 199010 h 327123"/>
              <a:gd name="connsiteX16" fmla="*/ 172794 w 254507"/>
              <a:gd name="connsiteY16" fmla="*/ 199010 h 327123"/>
              <a:gd name="connsiteX17" fmla="*/ 171918 w 254507"/>
              <a:gd name="connsiteY17" fmla="*/ 190148 h 327123"/>
              <a:gd name="connsiteX18" fmla="*/ 169121 w 254507"/>
              <a:gd name="connsiteY18" fmla="*/ 181286 h 327123"/>
              <a:gd name="connsiteX19" fmla="*/ 127237 w 254507"/>
              <a:gd name="connsiteY19" fmla="*/ 153621 h 327123"/>
              <a:gd name="connsiteX20" fmla="*/ 85353 w 254507"/>
              <a:gd name="connsiteY20" fmla="*/ 181286 h 327123"/>
              <a:gd name="connsiteX21" fmla="*/ 82556 w 254507"/>
              <a:gd name="connsiteY21" fmla="*/ 190148 h 327123"/>
              <a:gd name="connsiteX22" fmla="*/ 81646 w 254507"/>
              <a:gd name="connsiteY22" fmla="*/ 199010 h 327123"/>
              <a:gd name="connsiteX23" fmla="*/ 81646 w 254507"/>
              <a:gd name="connsiteY23" fmla="*/ 199145 h 327123"/>
              <a:gd name="connsiteX24" fmla="*/ 95158 w 254507"/>
              <a:gd name="connsiteY24" fmla="*/ 231493 h 327123"/>
              <a:gd name="connsiteX25" fmla="*/ 89800 w 254507"/>
              <a:gd name="connsiteY25" fmla="*/ 277455 h 327123"/>
              <a:gd name="connsiteX26" fmla="*/ 164674 w 254507"/>
              <a:gd name="connsiteY26" fmla="*/ 277455 h 327123"/>
              <a:gd name="connsiteX27" fmla="*/ 159282 w 254507"/>
              <a:gd name="connsiteY27" fmla="*/ 231493 h 327123"/>
              <a:gd name="connsiteX28" fmla="*/ 172794 w 254507"/>
              <a:gd name="connsiteY28" fmla="*/ 199145 h 327123"/>
              <a:gd name="connsiteX29" fmla="*/ 172794 w 254507"/>
              <a:gd name="connsiteY29" fmla="*/ 199010 h 327123"/>
              <a:gd name="connsiteX30" fmla="*/ 0 w 254507"/>
              <a:gd name="connsiteY30" fmla="*/ 117431 h 327123"/>
              <a:gd name="connsiteX31" fmla="*/ 254508 w 254507"/>
              <a:gd name="connsiteY31" fmla="*/ 117431 h 327123"/>
              <a:gd name="connsiteX32" fmla="*/ 254508 w 254507"/>
              <a:gd name="connsiteY32" fmla="*/ 327123 h 327123"/>
              <a:gd name="connsiteX33" fmla="*/ 0 w 254507"/>
              <a:gd name="connsiteY33" fmla="*/ 327123 h 327123"/>
              <a:gd name="connsiteX34" fmla="*/ 0 w 254507"/>
              <a:gd name="connsiteY34" fmla="*/ 117431 h 327123"/>
              <a:gd name="connsiteX35" fmla="*/ 226776 w 254507"/>
              <a:gd name="connsiteY35" fmla="*/ 99539 h 327123"/>
              <a:gd name="connsiteX36" fmla="*/ 226776 w 254507"/>
              <a:gd name="connsiteY36" fmla="*/ 99707 h 327123"/>
              <a:gd name="connsiteX37" fmla="*/ 209051 w 254507"/>
              <a:gd name="connsiteY37" fmla="*/ 99707 h 327123"/>
              <a:gd name="connsiteX38" fmla="*/ 209051 w 254507"/>
              <a:gd name="connsiteY38" fmla="*/ 99539 h 327123"/>
              <a:gd name="connsiteX39" fmla="*/ 127237 w 254507"/>
              <a:gd name="connsiteY39" fmla="*/ 17724 h 327123"/>
              <a:gd name="connsiteX40" fmla="*/ 45456 w 254507"/>
              <a:gd name="connsiteY40" fmla="*/ 99539 h 327123"/>
              <a:gd name="connsiteX41" fmla="*/ 45456 w 254507"/>
              <a:gd name="connsiteY41" fmla="*/ 99707 h 327123"/>
              <a:gd name="connsiteX42" fmla="*/ 27732 w 254507"/>
              <a:gd name="connsiteY42" fmla="*/ 99707 h 327123"/>
              <a:gd name="connsiteX43" fmla="*/ 27732 w 254507"/>
              <a:gd name="connsiteY43" fmla="*/ 99539 h 327123"/>
              <a:gd name="connsiteX44" fmla="*/ 127237 w 254507"/>
              <a:gd name="connsiteY44" fmla="*/ 0 h 327123"/>
              <a:gd name="connsiteX45" fmla="*/ 226776 w 254507"/>
              <a:gd name="connsiteY45" fmla="*/ 99539 h 327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54507" h="327123">
                <a:moveTo>
                  <a:pt x="155003" y="199010"/>
                </a:moveTo>
                <a:lnTo>
                  <a:pt x="155003" y="199145"/>
                </a:lnTo>
                <a:cubicBezTo>
                  <a:pt x="155003" y="207737"/>
                  <a:pt x="151128" y="215656"/>
                  <a:pt x="144422" y="220980"/>
                </a:cubicBezTo>
                <a:lnTo>
                  <a:pt x="140480" y="224046"/>
                </a:lnTo>
                <a:lnTo>
                  <a:pt x="144692" y="259697"/>
                </a:lnTo>
                <a:lnTo>
                  <a:pt x="109681" y="259697"/>
                </a:lnTo>
                <a:lnTo>
                  <a:pt x="113826" y="224046"/>
                </a:lnTo>
                <a:lnTo>
                  <a:pt x="109951" y="220980"/>
                </a:lnTo>
                <a:cubicBezTo>
                  <a:pt x="103212" y="215656"/>
                  <a:pt x="99370" y="207737"/>
                  <a:pt x="99370" y="199145"/>
                </a:cubicBezTo>
                <a:lnTo>
                  <a:pt x="99370" y="199010"/>
                </a:lnTo>
                <a:cubicBezTo>
                  <a:pt x="99370" y="195910"/>
                  <a:pt x="99876" y="192945"/>
                  <a:pt x="100887" y="190148"/>
                </a:cubicBezTo>
                <a:cubicBezTo>
                  <a:pt x="101999" y="186879"/>
                  <a:pt x="103717" y="183914"/>
                  <a:pt x="105941" y="181286"/>
                </a:cubicBezTo>
                <a:cubicBezTo>
                  <a:pt x="111063" y="175221"/>
                  <a:pt x="118678" y="171346"/>
                  <a:pt x="127237" y="171346"/>
                </a:cubicBezTo>
                <a:cubicBezTo>
                  <a:pt x="135796" y="171346"/>
                  <a:pt x="143411" y="175221"/>
                  <a:pt x="148499" y="181286"/>
                </a:cubicBezTo>
                <a:cubicBezTo>
                  <a:pt x="150723" y="183914"/>
                  <a:pt x="152442" y="186879"/>
                  <a:pt x="153554" y="190148"/>
                </a:cubicBezTo>
                <a:cubicBezTo>
                  <a:pt x="154531" y="192945"/>
                  <a:pt x="155070" y="195910"/>
                  <a:pt x="155070" y="199010"/>
                </a:cubicBezTo>
                <a:moveTo>
                  <a:pt x="172794" y="199010"/>
                </a:moveTo>
                <a:cubicBezTo>
                  <a:pt x="172794" y="196011"/>
                  <a:pt x="172491" y="193012"/>
                  <a:pt x="171918" y="190148"/>
                </a:cubicBezTo>
                <a:cubicBezTo>
                  <a:pt x="171312" y="187115"/>
                  <a:pt x="170368" y="184083"/>
                  <a:pt x="169121" y="181286"/>
                </a:cubicBezTo>
                <a:cubicBezTo>
                  <a:pt x="162180" y="165011"/>
                  <a:pt x="146039" y="153621"/>
                  <a:pt x="127237" y="153621"/>
                </a:cubicBezTo>
                <a:cubicBezTo>
                  <a:pt x="108434" y="153621"/>
                  <a:pt x="92328" y="165011"/>
                  <a:pt x="85353" y="181286"/>
                </a:cubicBezTo>
                <a:cubicBezTo>
                  <a:pt x="84106" y="184083"/>
                  <a:pt x="83196" y="187115"/>
                  <a:pt x="82556" y="190148"/>
                </a:cubicBezTo>
                <a:cubicBezTo>
                  <a:pt x="81983" y="193012"/>
                  <a:pt x="81646" y="196011"/>
                  <a:pt x="81646" y="199010"/>
                </a:cubicBezTo>
                <a:lnTo>
                  <a:pt x="81646" y="199145"/>
                </a:lnTo>
                <a:cubicBezTo>
                  <a:pt x="81646" y="211444"/>
                  <a:pt x="86532" y="222968"/>
                  <a:pt x="95158" y="231493"/>
                </a:cubicBezTo>
                <a:lnTo>
                  <a:pt x="89800" y="277455"/>
                </a:lnTo>
                <a:lnTo>
                  <a:pt x="164674" y="277455"/>
                </a:lnTo>
                <a:lnTo>
                  <a:pt x="159282" y="231493"/>
                </a:lnTo>
                <a:cubicBezTo>
                  <a:pt x="167908" y="222968"/>
                  <a:pt x="172794" y="211478"/>
                  <a:pt x="172794" y="199145"/>
                </a:cubicBezTo>
                <a:lnTo>
                  <a:pt x="172794" y="199010"/>
                </a:lnTo>
                <a:close/>
                <a:moveTo>
                  <a:pt x="0" y="117431"/>
                </a:moveTo>
                <a:lnTo>
                  <a:pt x="254508" y="117431"/>
                </a:lnTo>
                <a:lnTo>
                  <a:pt x="254508" y="327123"/>
                </a:lnTo>
                <a:lnTo>
                  <a:pt x="0" y="327123"/>
                </a:lnTo>
                <a:lnTo>
                  <a:pt x="0" y="117431"/>
                </a:lnTo>
                <a:close/>
                <a:moveTo>
                  <a:pt x="226776" y="99539"/>
                </a:moveTo>
                <a:lnTo>
                  <a:pt x="226776" y="99707"/>
                </a:lnTo>
                <a:lnTo>
                  <a:pt x="209051" y="99707"/>
                </a:lnTo>
                <a:lnTo>
                  <a:pt x="209051" y="99539"/>
                </a:lnTo>
                <a:cubicBezTo>
                  <a:pt x="209051" y="54419"/>
                  <a:pt x="172356" y="17724"/>
                  <a:pt x="127237" y="17724"/>
                </a:cubicBezTo>
                <a:cubicBezTo>
                  <a:pt x="82118" y="17724"/>
                  <a:pt x="45456" y="54419"/>
                  <a:pt x="45456" y="99539"/>
                </a:cubicBezTo>
                <a:lnTo>
                  <a:pt x="45456" y="99707"/>
                </a:lnTo>
                <a:lnTo>
                  <a:pt x="27732" y="99707"/>
                </a:lnTo>
                <a:lnTo>
                  <a:pt x="27732" y="99539"/>
                </a:lnTo>
                <a:cubicBezTo>
                  <a:pt x="27732" y="44681"/>
                  <a:pt x="72379" y="0"/>
                  <a:pt x="127237" y="0"/>
                </a:cubicBezTo>
                <a:cubicBezTo>
                  <a:pt x="182094" y="0"/>
                  <a:pt x="226776" y="44681"/>
                  <a:pt x="226776" y="99539"/>
                </a:cubicBezTo>
              </a:path>
            </a:pathLst>
          </a:custGeom>
          <a:solidFill>
            <a:schemeClr val="tx2"/>
          </a:solidFill>
          <a:ln w="3364" cap="flat">
            <a:no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768D7C16-1543-AC80-A0B2-B88C9795B92C}"/>
              </a:ext>
            </a:extLst>
          </p:cNvPr>
          <p:cNvSpPr/>
          <p:nvPr userDrawn="1"/>
        </p:nvSpPr>
        <p:spPr>
          <a:xfrm>
            <a:off x="7741827" y="4345337"/>
            <a:ext cx="1207598" cy="1081480"/>
          </a:xfrm>
          <a:custGeom>
            <a:avLst/>
            <a:gdLst>
              <a:gd name="connsiteX0" fmla="*/ 365709 w 366323"/>
              <a:gd name="connsiteY0" fmla="*/ 195674 h 328066"/>
              <a:gd name="connsiteX1" fmla="*/ 301113 w 366323"/>
              <a:gd name="connsiteY1" fmla="*/ 328067 h 328066"/>
              <a:gd name="connsiteX2" fmla="*/ 65273 w 366323"/>
              <a:gd name="connsiteY2" fmla="*/ 328067 h 328066"/>
              <a:gd name="connsiteX3" fmla="*/ 610 w 366323"/>
              <a:gd name="connsiteY3" fmla="*/ 195674 h 328066"/>
              <a:gd name="connsiteX4" fmla="*/ 4047 w 366323"/>
              <a:gd name="connsiteY4" fmla="*/ 188868 h 328066"/>
              <a:gd name="connsiteX5" fmla="*/ 7316 w 366323"/>
              <a:gd name="connsiteY5" fmla="*/ 188531 h 328066"/>
              <a:gd name="connsiteX6" fmla="*/ 181458 w 366323"/>
              <a:gd name="connsiteY6" fmla="*/ 170166 h 328066"/>
              <a:gd name="connsiteX7" fmla="*/ 182233 w 366323"/>
              <a:gd name="connsiteY7" fmla="*/ 170267 h 328066"/>
              <a:gd name="connsiteX8" fmla="*/ 360722 w 366323"/>
              <a:gd name="connsiteY8" fmla="*/ 188733 h 328066"/>
              <a:gd name="connsiteX9" fmla="*/ 362238 w 366323"/>
              <a:gd name="connsiteY9" fmla="*/ 188868 h 328066"/>
              <a:gd name="connsiteX10" fmla="*/ 365709 w 366323"/>
              <a:gd name="connsiteY10" fmla="*/ 195674 h 328066"/>
              <a:gd name="connsiteX11" fmla="*/ 172899 w 366323"/>
              <a:gd name="connsiteY11" fmla="*/ 118139 h 328066"/>
              <a:gd name="connsiteX12" fmla="*/ 108640 w 366323"/>
              <a:gd name="connsiteY12" fmla="*/ 118139 h 328066"/>
              <a:gd name="connsiteX13" fmla="*/ 108640 w 366323"/>
              <a:gd name="connsiteY13" fmla="*/ 82623 h 328066"/>
              <a:gd name="connsiteX14" fmla="*/ 172899 w 366323"/>
              <a:gd name="connsiteY14" fmla="*/ 82623 h 328066"/>
              <a:gd name="connsiteX15" fmla="*/ 172899 w 366323"/>
              <a:gd name="connsiteY15" fmla="*/ 118139 h 328066"/>
              <a:gd name="connsiteX16" fmla="*/ 108640 w 366323"/>
              <a:gd name="connsiteY16" fmla="*/ 136874 h 328066"/>
              <a:gd name="connsiteX17" fmla="*/ 108640 w 366323"/>
              <a:gd name="connsiteY17" fmla="*/ 158979 h 328066"/>
              <a:gd name="connsiteX18" fmla="*/ 111639 w 366323"/>
              <a:gd name="connsiteY18" fmla="*/ 158709 h 328066"/>
              <a:gd name="connsiteX19" fmla="*/ 172933 w 366323"/>
              <a:gd name="connsiteY19" fmla="*/ 152240 h 328066"/>
              <a:gd name="connsiteX20" fmla="*/ 172933 w 366323"/>
              <a:gd name="connsiteY20" fmla="*/ 136874 h 328066"/>
              <a:gd name="connsiteX21" fmla="*/ 108674 w 366323"/>
              <a:gd name="connsiteY21" fmla="*/ 136874 h 328066"/>
              <a:gd name="connsiteX22" fmla="*/ 89905 w 366323"/>
              <a:gd name="connsiteY22" fmla="*/ 118139 h 328066"/>
              <a:gd name="connsiteX23" fmla="*/ 26118 w 366323"/>
              <a:gd name="connsiteY23" fmla="*/ 118139 h 328066"/>
              <a:gd name="connsiteX24" fmla="*/ 26118 w 366323"/>
              <a:gd name="connsiteY24" fmla="*/ 82623 h 328066"/>
              <a:gd name="connsiteX25" fmla="*/ 89905 w 366323"/>
              <a:gd name="connsiteY25" fmla="*/ 82623 h 328066"/>
              <a:gd name="connsiteX26" fmla="*/ 89905 w 366323"/>
              <a:gd name="connsiteY26" fmla="*/ 118139 h 328066"/>
              <a:gd name="connsiteX27" fmla="*/ 26085 w 366323"/>
              <a:gd name="connsiteY27" fmla="*/ 136874 h 328066"/>
              <a:gd name="connsiteX28" fmla="*/ 26085 w 366323"/>
              <a:gd name="connsiteY28" fmla="*/ 167706 h 328066"/>
              <a:gd name="connsiteX29" fmla="*/ 89872 w 366323"/>
              <a:gd name="connsiteY29" fmla="*/ 161001 h 328066"/>
              <a:gd name="connsiteX30" fmla="*/ 89872 w 366323"/>
              <a:gd name="connsiteY30" fmla="*/ 136874 h 328066"/>
              <a:gd name="connsiteX31" fmla="*/ 26085 w 366323"/>
              <a:gd name="connsiteY31" fmla="*/ 136874 h 328066"/>
              <a:gd name="connsiteX32" fmla="*/ 272910 w 366323"/>
              <a:gd name="connsiteY32" fmla="*/ 0 h 328066"/>
              <a:gd name="connsiteX33" fmla="*/ 272910 w 366323"/>
              <a:gd name="connsiteY33" fmla="*/ 28103 h 328066"/>
              <a:gd name="connsiteX34" fmla="*/ 235439 w 366323"/>
              <a:gd name="connsiteY34" fmla="*/ 28103 h 328066"/>
              <a:gd name="connsiteX35" fmla="*/ 235439 w 366323"/>
              <a:gd name="connsiteY35" fmla="*/ 63888 h 328066"/>
              <a:gd name="connsiteX36" fmla="*/ 132396 w 366323"/>
              <a:gd name="connsiteY36" fmla="*/ 63888 h 328066"/>
              <a:gd name="connsiteX37" fmla="*/ 132396 w 366323"/>
              <a:gd name="connsiteY37" fmla="*/ 28103 h 328066"/>
              <a:gd name="connsiteX38" fmla="*/ 94926 w 366323"/>
              <a:gd name="connsiteY38" fmla="*/ 28103 h 328066"/>
              <a:gd name="connsiteX39" fmla="*/ 94926 w 366323"/>
              <a:gd name="connsiteY39" fmla="*/ 0 h 328066"/>
              <a:gd name="connsiteX40" fmla="*/ 272943 w 366323"/>
              <a:gd name="connsiteY40" fmla="*/ 0 h 328066"/>
              <a:gd name="connsiteX41" fmla="*/ 342021 w 366323"/>
              <a:gd name="connsiteY41" fmla="*/ 82623 h 328066"/>
              <a:gd name="connsiteX42" fmla="*/ 275167 w 366323"/>
              <a:gd name="connsiteY42" fmla="*/ 82623 h 328066"/>
              <a:gd name="connsiteX43" fmla="*/ 275167 w 366323"/>
              <a:gd name="connsiteY43" fmla="*/ 118139 h 328066"/>
              <a:gd name="connsiteX44" fmla="*/ 342021 w 366323"/>
              <a:gd name="connsiteY44" fmla="*/ 118139 h 328066"/>
              <a:gd name="connsiteX45" fmla="*/ 342021 w 366323"/>
              <a:gd name="connsiteY45" fmla="*/ 82623 h 328066"/>
              <a:gd name="connsiteX46" fmla="*/ 342021 w 366323"/>
              <a:gd name="connsiteY46" fmla="*/ 136874 h 328066"/>
              <a:gd name="connsiteX47" fmla="*/ 342021 w 366323"/>
              <a:gd name="connsiteY47" fmla="*/ 167976 h 328066"/>
              <a:gd name="connsiteX48" fmla="*/ 277223 w 366323"/>
              <a:gd name="connsiteY48" fmla="*/ 161270 h 328066"/>
              <a:gd name="connsiteX49" fmla="*/ 275167 w 366323"/>
              <a:gd name="connsiteY49" fmla="*/ 161034 h 328066"/>
              <a:gd name="connsiteX50" fmla="*/ 275167 w 366323"/>
              <a:gd name="connsiteY50" fmla="*/ 136874 h 328066"/>
              <a:gd name="connsiteX51" fmla="*/ 342021 w 366323"/>
              <a:gd name="connsiteY51" fmla="*/ 136874 h 328066"/>
              <a:gd name="connsiteX52" fmla="*/ 256432 w 366323"/>
              <a:gd name="connsiteY52" fmla="*/ 82623 h 328066"/>
              <a:gd name="connsiteX53" fmla="*/ 191634 w 366323"/>
              <a:gd name="connsiteY53" fmla="*/ 82623 h 328066"/>
              <a:gd name="connsiteX54" fmla="*/ 191634 w 366323"/>
              <a:gd name="connsiteY54" fmla="*/ 118139 h 328066"/>
              <a:gd name="connsiteX55" fmla="*/ 256432 w 366323"/>
              <a:gd name="connsiteY55" fmla="*/ 118139 h 328066"/>
              <a:gd name="connsiteX56" fmla="*/ 256432 w 366323"/>
              <a:gd name="connsiteY56" fmla="*/ 82623 h 328066"/>
              <a:gd name="connsiteX57" fmla="*/ 256432 w 366323"/>
              <a:gd name="connsiteY57" fmla="*/ 136874 h 328066"/>
              <a:gd name="connsiteX58" fmla="*/ 256432 w 366323"/>
              <a:gd name="connsiteY58" fmla="*/ 159147 h 328066"/>
              <a:gd name="connsiteX59" fmla="*/ 194161 w 366323"/>
              <a:gd name="connsiteY59" fmla="*/ 152678 h 328066"/>
              <a:gd name="connsiteX60" fmla="*/ 191634 w 366323"/>
              <a:gd name="connsiteY60" fmla="*/ 152408 h 328066"/>
              <a:gd name="connsiteX61" fmla="*/ 191634 w 366323"/>
              <a:gd name="connsiteY61" fmla="*/ 136908 h 328066"/>
              <a:gd name="connsiteX62" fmla="*/ 256432 w 366323"/>
              <a:gd name="connsiteY62" fmla="*/ 136908 h 328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366323" h="328066">
                <a:moveTo>
                  <a:pt x="365709" y="195674"/>
                </a:moveTo>
                <a:lnTo>
                  <a:pt x="301113" y="328067"/>
                </a:lnTo>
                <a:lnTo>
                  <a:pt x="65273" y="328067"/>
                </a:lnTo>
                <a:lnTo>
                  <a:pt x="610" y="195674"/>
                </a:lnTo>
                <a:cubicBezTo>
                  <a:pt x="-1007" y="192877"/>
                  <a:pt x="745" y="189272"/>
                  <a:pt x="4047" y="188868"/>
                </a:cubicBezTo>
                <a:lnTo>
                  <a:pt x="7316" y="188531"/>
                </a:lnTo>
                <a:lnTo>
                  <a:pt x="181458" y="170166"/>
                </a:lnTo>
                <a:lnTo>
                  <a:pt x="182233" y="170267"/>
                </a:lnTo>
                <a:lnTo>
                  <a:pt x="360722" y="188733"/>
                </a:lnTo>
                <a:lnTo>
                  <a:pt x="362238" y="188868"/>
                </a:lnTo>
                <a:cubicBezTo>
                  <a:pt x="365507" y="189238"/>
                  <a:pt x="367360" y="192844"/>
                  <a:pt x="365709" y="195674"/>
                </a:cubicBezTo>
                <a:moveTo>
                  <a:pt x="172899" y="118139"/>
                </a:moveTo>
                <a:lnTo>
                  <a:pt x="108640" y="118139"/>
                </a:lnTo>
                <a:lnTo>
                  <a:pt x="108640" y="82623"/>
                </a:lnTo>
                <a:lnTo>
                  <a:pt x="172899" y="82623"/>
                </a:lnTo>
                <a:lnTo>
                  <a:pt x="172899" y="118139"/>
                </a:lnTo>
                <a:close/>
                <a:moveTo>
                  <a:pt x="108640" y="136874"/>
                </a:moveTo>
                <a:lnTo>
                  <a:pt x="108640" y="158979"/>
                </a:lnTo>
                <a:lnTo>
                  <a:pt x="111639" y="158709"/>
                </a:lnTo>
                <a:lnTo>
                  <a:pt x="172933" y="152240"/>
                </a:lnTo>
                <a:lnTo>
                  <a:pt x="172933" y="136874"/>
                </a:lnTo>
                <a:lnTo>
                  <a:pt x="108674" y="136874"/>
                </a:lnTo>
                <a:close/>
                <a:moveTo>
                  <a:pt x="89905" y="118139"/>
                </a:moveTo>
                <a:lnTo>
                  <a:pt x="26118" y="118139"/>
                </a:lnTo>
                <a:lnTo>
                  <a:pt x="26118" y="82623"/>
                </a:lnTo>
                <a:lnTo>
                  <a:pt x="89905" y="82623"/>
                </a:lnTo>
                <a:lnTo>
                  <a:pt x="89905" y="118139"/>
                </a:lnTo>
                <a:close/>
                <a:moveTo>
                  <a:pt x="26085" y="136874"/>
                </a:moveTo>
                <a:lnTo>
                  <a:pt x="26085" y="167706"/>
                </a:lnTo>
                <a:lnTo>
                  <a:pt x="89872" y="161001"/>
                </a:lnTo>
                <a:lnTo>
                  <a:pt x="89872" y="136874"/>
                </a:lnTo>
                <a:lnTo>
                  <a:pt x="26085" y="136874"/>
                </a:lnTo>
                <a:close/>
                <a:moveTo>
                  <a:pt x="272910" y="0"/>
                </a:moveTo>
                <a:lnTo>
                  <a:pt x="272910" y="28103"/>
                </a:lnTo>
                <a:lnTo>
                  <a:pt x="235439" y="28103"/>
                </a:lnTo>
                <a:lnTo>
                  <a:pt x="235439" y="63888"/>
                </a:lnTo>
                <a:lnTo>
                  <a:pt x="132396" y="63888"/>
                </a:lnTo>
                <a:lnTo>
                  <a:pt x="132396" y="28103"/>
                </a:lnTo>
                <a:lnTo>
                  <a:pt x="94926" y="28103"/>
                </a:lnTo>
                <a:lnTo>
                  <a:pt x="94926" y="0"/>
                </a:lnTo>
                <a:lnTo>
                  <a:pt x="272943" y="0"/>
                </a:lnTo>
                <a:close/>
                <a:moveTo>
                  <a:pt x="342021" y="82623"/>
                </a:moveTo>
                <a:lnTo>
                  <a:pt x="275167" y="82623"/>
                </a:lnTo>
                <a:lnTo>
                  <a:pt x="275167" y="118139"/>
                </a:lnTo>
                <a:lnTo>
                  <a:pt x="342021" y="118139"/>
                </a:lnTo>
                <a:lnTo>
                  <a:pt x="342021" y="82623"/>
                </a:lnTo>
                <a:close/>
                <a:moveTo>
                  <a:pt x="342021" y="136874"/>
                </a:moveTo>
                <a:lnTo>
                  <a:pt x="342021" y="167976"/>
                </a:lnTo>
                <a:lnTo>
                  <a:pt x="277223" y="161270"/>
                </a:lnTo>
                <a:lnTo>
                  <a:pt x="275167" y="161034"/>
                </a:lnTo>
                <a:lnTo>
                  <a:pt x="275167" y="136874"/>
                </a:lnTo>
                <a:lnTo>
                  <a:pt x="342021" y="136874"/>
                </a:lnTo>
                <a:close/>
                <a:moveTo>
                  <a:pt x="256432" y="82623"/>
                </a:moveTo>
                <a:lnTo>
                  <a:pt x="191634" y="82623"/>
                </a:lnTo>
                <a:lnTo>
                  <a:pt x="191634" y="118139"/>
                </a:lnTo>
                <a:lnTo>
                  <a:pt x="256432" y="118139"/>
                </a:lnTo>
                <a:lnTo>
                  <a:pt x="256432" y="82623"/>
                </a:lnTo>
                <a:close/>
                <a:moveTo>
                  <a:pt x="256432" y="136874"/>
                </a:moveTo>
                <a:lnTo>
                  <a:pt x="256432" y="159147"/>
                </a:lnTo>
                <a:lnTo>
                  <a:pt x="194161" y="152678"/>
                </a:lnTo>
                <a:lnTo>
                  <a:pt x="191634" y="152408"/>
                </a:lnTo>
                <a:lnTo>
                  <a:pt x="191634" y="136908"/>
                </a:lnTo>
                <a:lnTo>
                  <a:pt x="256432" y="136908"/>
                </a:lnTo>
                <a:close/>
              </a:path>
            </a:pathLst>
          </a:custGeom>
          <a:solidFill>
            <a:schemeClr val="tx2"/>
          </a:solidFill>
          <a:ln w="3364" cap="flat">
            <a:noFill/>
            <a:prstDash val="solid"/>
            <a:miter/>
          </a:ln>
        </p:spPr>
        <p:txBody>
          <a:bodyPr rtlCol="0" anchor="ctr"/>
          <a:lstStyle/>
          <a:p>
            <a:endParaRPr lang="en-GB"/>
          </a:p>
        </p:txBody>
      </p:sp>
      <p:sp>
        <p:nvSpPr>
          <p:cNvPr id="16" name="Freeform: Shape 15">
            <a:extLst>
              <a:ext uri="{FF2B5EF4-FFF2-40B4-BE49-F238E27FC236}">
                <a16:creationId xmlns:a16="http://schemas.microsoft.com/office/drawing/2014/main" id="{DBFD911A-C19B-0CA1-9A02-132805971BB7}"/>
              </a:ext>
            </a:extLst>
          </p:cNvPr>
          <p:cNvSpPr/>
          <p:nvPr userDrawn="1"/>
        </p:nvSpPr>
        <p:spPr>
          <a:xfrm>
            <a:off x="3132709" y="2299174"/>
            <a:ext cx="1429447" cy="934645"/>
          </a:xfrm>
          <a:custGeom>
            <a:avLst/>
            <a:gdLst>
              <a:gd name="connsiteX0" fmla="*/ 247937 w 433620"/>
              <a:gd name="connsiteY0" fmla="*/ 170002 h 283524"/>
              <a:gd name="connsiteX1" fmla="*/ 248004 w 433620"/>
              <a:gd name="connsiteY1" fmla="*/ 171215 h 283524"/>
              <a:gd name="connsiteX2" fmla="*/ 247937 w 433620"/>
              <a:gd name="connsiteY2" fmla="*/ 171249 h 283524"/>
              <a:gd name="connsiteX3" fmla="*/ 254575 w 433620"/>
              <a:gd name="connsiteY3" fmla="*/ 283525 h 283524"/>
              <a:gd name="connsiteX4" fmla="*/ 257709 w 433620"/>
              <a:gd name="connsiteY4" fmla="*/ 281773 h 283524"/>
              <a:gd name="connsiteX5" fmla="*/ 277556 w 433620"/>
              <a:gd name="connsiteY5" fmla="*/ 248380 h 283524"/>
              <a:gd name="connsiteX6" fmla="*/ 293595 w 433620"/>
              <a:gd name="connsiteY6" fmla="*/ 147662 h 283524"/>
              <a:gd name="connsiteX7" fmla="*/ 293360 w 433620"/>
              <a:gd name="connsiteY7" fmla="*/ 147763 h 283524"/>
              <a:gd name="connsiteX8" fmla="*/ 293595 w 433620"/>
              <a:gd name="connsiteY8" fmla="*/ 146381 h 283524"/>
              <a:gd name="connsiteX9" fmla="*/ 247971 w 433620"/>
              <a:gd name="connsiteY9" fmla="*/ 169968 h 283524"/>
              <a:gd name="connsiteX10" fmla="*/ 174007 w 433620"/>
              <a:gd name="connsiteY10" fmla="*/ 89637 h 283524"/>
              <a:gd name="connsiteX11" fmla="*/ 239917 w 433620"/>
              <a:gd name="connsiteY11" fmla="*/ 54626 h 283524"/>
              <a:gd name="connsiteX12" fmla="*/ 80703 w 433620"/>
              <a:gd name="connsiteY12" fmla="*/ 5901 h 283524"/>
              <a:gd name="connsiteX13" fmla="*/ 42188 w 433620"/>
              <a:gd name="connsiteY13" fmla="*/ 8530 h 283524"/>
              <a:gd name="connsiteX14" fmla="*/ 39357 w 433620"/>
              <a:gd name="connsiteY14" fmla="*/ 11057 h 283524"/>
              <a:gd name="connsiteX15" fmla="*/ 174007 w 433620"/>
              <a:gd name="connsiteY15" fmla="*/ 89670 h 283524"/>
              <a:gd name="connsiteX16" fmla="*/ 430267 w 433620"/>
              <a:gd name="connsiteY16" fmla="*/ 16314 h 283524"/>
              <a:gd name="connsiteX17" fmla="*/ 389663 w 433620"/>
              <a:gd name="connsiteY17" fmla="*/ 3374 h 283524"/>
              <a:gd name="connsiteX18" fmla="*/ 97348 w 433620"/>
              <a:gd name="connsiteY18" fmla="*/ 154435 h 283524"/>
              <a:gd name="connsiteX19" fmla="*/ 80366 w 433620"/>
              <a:gd name="connsiteY19" fmla="*/ 155479 h 283524"/>
              <a:gd name="connsiteX20" fmla="*/ 15804 w 433620"/>
              <a:gd name="connsiteY20" fmla="*/ 136306 h 283524"/>
              <a:gd name="connsiteX21" fmla="*/ 0 w 433620"/>
              <a:gd name="connsiteY21" fmla="*/ 144494 h 283524"/>
              <a:gd name="connsiteX22" fmla="*/ 96034 w 433620"/>
              <a:gd name="connsiteY22" fmla="*/ 209562 h 283524"/>
              <a:gd name="connsiteX23" fmla="*/ 120835 w 433620"/>
              <a:gd name="connsiteY23" fmla="*/ 210101 h 283524"/>
              <a:gd name="connsiteX24" fmla="*/ 417328 w 433620"/>
              <a:gd name="connsiteY24" fmla="*/ 56884 h 283524"/>
              <a:gd name="connsiteX25" fmla="*/ 430267 w 433620"/>
              <a:gd name="connsiteY25" fmla="*/ 16314 h 283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33620" h="283524">
                <a:moveTo>
                  <a:pt x="247937" y="170002"/>
                </a:moveTo>
                <a:cubicBezTo>
                  <a:pt x="247937" y="170272"/>
                  <a:pt x="248004" y="170878"/>
                  <a:pt x="248004" y="171215"/>
                </a:cubicBezTo>
                <a:cubicBezTo>
                  <a:pt x="248004" y="171215"/>
                  <a:pt x="247937" y="171215"/>
                  <a:pt x="247937" y="171249"/>
                </a:cubicBezTo>
                <a:cubicBezTo>
                  <a:pt x="248914" y="187052"/>
                  <a:pt x="253261" y="260477"/>
                  <a:pt x="254575" y="283525"/>
                </a:cubicBezTo>
                <a:cubicBezTo>
                  <a:pt x="255586" y="282918"/>
                  <a:pt x="256597" y="282346"/>
                  <a:pt x="257709" y="281773"/>
                </a:cubicBezTo>
                <a:cubicBezTo>
                  <a:pt x="269738" y="275539"/>
                  <a:pt x="275096" y="266475"/>
                  <a:pt x="277556" y="248380"/>
                </a:cubicBezTo>
                <a:cubicBezTo>
                  <a:pt x="282375" y="212156"/>
                  <a:pt x="287800" y="180583"/>
                  <a:pt x="293595" y="147662"/>
                </a:cubicBezTo>
                <a:cubicBezTo>
                  <a:pt x="293528" y="147662"/>
                  <a:pt x="293427" y="147763"/>
                  <a:pt x="293360" y="147763"/>
                </a:cubicBezTo>
                <a:cubicBezTo>
                  <a:pt x="293461" y="147325"/>
                  <a:pt x="293528" y="146853"/>
                  <a:pt x="293595" y="146381"/>
                </a:cubicBezTo>
                <a:cubicBezTo>
                  <a:pt x="284127" y="151267"/>
                  <a:pt x="253733" y="166970"/>
                  <a:pt x="247971" y="169968"/>
                </a:cubicBezTo>
                <a:moveTo>
                  <a:pt x="174007" y="89637"/>
                </a:moveTo>
                <a:lnTo>
                  <a:pt x="239917" y="54626"/>
                </a:lnTo>
                <a:cubicBezTo>
                  <a:pt x="226506" y="50616"/>
                  <a:pt x="95428" y="10821"/>
                  <a:pt x="80703" y="5901"/>
                </a:cubicBezTo>
                <a:cubicBezTo>
                  <a:pt x="63416" y="106"/>
                  <a:pt x="53105" y="409"/>
                  <a:pt x="42188" y="8530"/>
                </a:cubicBezTo>
                <a:cubicBezTo>
                  <a:pt x="41244" y="9204"/>
                  <a:pt x="40402" y="9979"/>
                  <a:pt x="39357" y="11057"/>
                </a:cubicBezTo>
                <a:cubicBezTo>
                  <a:pt x="39357" y="11057"/>
                  <a:pt x="149342" y="75787"/>
                  <a:pt x="174007" y="89670"/>
                </a:cubicBezTo>
                <a:moveTo>
                  <a:pt x="430267" y="16314"/>
                </a:moveTo>
                <a:cubicBezTo>
                  <a:pt x="422618" y="1521"/>
                  <a:pt x="404456" y="-4275"/>
                  <a:pt x="389663" y="3374"/>
                </a:cubicBezTo>
                <a:cubicBezTo>
                  <a:pt x="389023" y="3711"/>
                  <a:pt x="120397" y="142540"/>
                  <a:pt x="97348" y="154435"/>
                </a:cubicBezTo>
                <a:cubicBezTo>
                  <a:pt x="90340" y="158040"/>
                  <a:pt x="82556" y="156086"/>
                  <a:pt x="80366" y="155479"/>
                </a:cubicBezTo>
                <a:cubicBezTo>
                  <a:pt x="69819" y="152345"/>
                  <a:pt x="15804" y="136306"/>
                  <a:pt x="15804" y="136306"/>
                </a:cubicBezTo>
                <a:cubicBezTo>
                  <a:pt x="10041" y="139305"/>
                  <a:pt x="5425" y="141664"/>
                  <a:pt x="0" y="144494"/>
                </a:cubicBezTo>
                <a:cubicBezTo>
                  <a:pt x="0" y="144494"/>
                  <a:pt x="68639" y="190961"/>
                  <a:pt x="96034" y="209562"/>
                </a:cubicBezTo>
                <a:cubicBezTo>
                  <a:pt x="104088" y="215020"/>
                  <a:pt x="110625" y="215324"/>
                  <a:pt x="120835" y="210101"/>
                </a:cubicBezTo>
                <a:cubicBezTo>
                  <a:pt x="141052" y="199722"/>
                  <a:pt x="406175" y="62612"/>
                  <a:pt x="417328" y="56884"/>
                </a:cubicBezTo>
                <a:cubicBezTo>
                  <a:pt x="432087" y="49302"/>
                  <a:pt x="437883" y="31072"/>
                  <a:pt x="430267" y="16314"/>
                </a:cubicBezTo>
              </a:path>
            </a:pathLst>
          </a:custGeom>
          <a:solidFill>
            <a:schemeClr val="tx2"/>
          </a:solidFill>
          <a:ln w="3364" cap="flat">
            <a:noFill/>
            <a:prstDash val="solid"/>
            <a:miter/>
          </a:ln>
        </p:spPr>
        <p:txBody>
          <a:bodyPr rtlCol="0" anchor="ctr"/>
          <a:lstStyle/>
          <a:p>
            <a:endParaRPr lang="en-GB"/>
          </a:p>
        </p:txBody>
      </p:sp>
    </p:spTree>
    <p:extLst>
      <p:ext uri="{BB962C8B-B14F-4D97-AF65-F5344CB8AC3E}">
        <p14:creationId xmlns:p14="http://schemas.microsoft.com/office/powerpoint/2010/main" val="843754379"/>
      </p:ext>
    </p:extLst>
  </p:cSld>
  <p:clrMapOvr>
    <a:masterClrMapping/>
  </p:clrMapOvr>
  <p:transition spd="med">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ICONS 02">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r>
              <a:rPr lang="en-GB"/>
              <a:t>INSERT FOOTER HERE</a:t>
            </a:r>
          </a:p>
        </p:txBody>
      </p:sp>
      <p:sp>
        <p:nvSpPr>
          <p:cNvPr id="5" name="Slide Number Placeholder 4"/>
          <p:cNvSpPr>
            <a:spLocks noGrp="1"/>
          </p:cNvSpPr>
          <p:nvPr>
            <p:ph type="sldNum" sz="quarter" idx="12"/>
          </p:nvPr>
        </p:nvSpPr>
        <p:spPr/>
        <p:txBody>
          <a:bodyPr/>
          <a:lstStyle/>
          <a:p>
            <a:fld id="{8CFE0557-AA98-4E6C-B0C3-581794696B68}" type="slidenum">
              <a:rPr lang="en-GB" smtClean="0"/>
              <a:t>‹#›</a:t>
            </a:fld>
            <a:endParaRPr lang="en-GB"/>
          </a:p>
        </p:txBody>
      </p:sp>
      <p:sp>
        <p:nvSpPr>
          <p:cNvPr id="3" name="Title 2">
            <a:extLst>
              <a:ext uri="{FF2B5EF4-FFF2-40B4-BE49-F238E27FC236}">
                <a16:creationId xmlns:a16="http://schemas.microsoft.com/office/drawing/2014/main" id="{C9EBEC53-9C11-EEAE-E79E-4AC3EDC2843D}"/>
              </a:ext>
            </a:extLst>
          </p:cNvPr>
          <p:cNvSpPr>
            <a:spLocks noGrp="1"/>
          </p:cNvSpPr>
          <p:nvPr>
            <p:ph type="title" hasCustomPrompt="1"/>
          </p:nvPr>
        </p:nvSpPr>
        <p:spPr/>
        <p:txBody>
          <a:bodyPr/>
          <a:lstStyle/>
          <a:p>
            <a:r>
              <a:rPr lang="en-US" dirty="0"/>
              <a:t>TITLE: subtitle</a:t>
            </a:r>
            <a:endParaRPr lang="en-GB" dirty="0"/>
          </a:p>
        </p:txBody>
      </p:sp>
      <p:sp>
        <p:nvSpPr>
          <p:cNvPr id="2" name="Freeform: Shape 1">
            <a:extLst>
              <a:ext uri="{FF2B5EF4-FFF2-40B4-BE49-F238E27FC236}">
                <a16:creationId xmlns:a16="http://schemas.microsoft.com/office/drawing/2014/main" id="{48F0768B-0EA8-76DE-1A30-3D6307C55644}"/>
              </a:ext>
            </a:extLst>
          </p:cNvPr>
          <p:cNvSpPr/>
          <p:nvPr userDrawn="1"/>
        </p:nvSpPr>
        <p:spPr>
          <a:xfrm>
            <a:off x="5141754" y="1752093"/>
            <a:ext cx="1925990" cy="1925990"/>
          </a:xfrm>
          <a:custGeom>
            <a:avLst/>
            <a:gdLst>
              <a:gd name="connsiteX0" fmla="*/ 962997 w 1925990"/>
              <a:gd name="connsiteY0" fmla="*/ 0 h 1925990"/>
              <a:gd name="connsiteX1" fmla="*/ 1925990 w 1925990"/>
              <a:gd name="connsiteY1" fmla="*/ 962995 h 1925990"/>
              <a:gd name="connsiteX2" fmla="*/ 962997 w 1925990"/>
              <a:gd name="connsiteY2" fmla="*/ 1925990 h 1925990"/>
              <a:gd name="connsiteX3" fmla="*/ 0 w 1925990"/>
              <a:gd name="connsiteY3" fmla="*/ 962995 h 1925990"/>
              <a:gd name="connsiteX4" fmla="*/ 962997 w 1925990"/>
              <a:gd name="connsiteY4" fmla="*/ 0 h 19259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5990" h="1925990">
                <a:moveTo>
                  <a:pt x="962997" y="0"/>
                </a:moveTo>
                <a:cubicBezTo>
                  <a:pt x="1494846" y="0"/>
                  <a:pt x="1925990" y="431147"/>
                  <a:pt x="1925990" y="962995"/>
                </a:cubicBezTo>
                <a:cubicBezTo>
                  <a:pt x="1925990" y="1494844"/>
                  <a:pt x="1494846" y="1925990"/>
                  <a:pt x="962997" y="1925990"/>
                </a:cubicBezTo>
                <a:cubicBezTo>
                  <a:pt x="431147" y="1925990"/>
                  <a:pt x="0" y="1494844"/>
                  <a:pt x="0" y="962995"/>
                </a:cubicBezTo>
                <a:cubicBezTo>
                  <a:pt x="0" y="431147"/>
                  <a:pt x="431147" y="0"/>
                  <a:pt x="962997"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6" name="Freeform: Shape 5">
            <a:extLst>
              <a:ext uri="{FF2B5EF4-FFF2-40B4-BE49-F238E27FC236}">
                <a16:creationId xmlns:a16="http://schemas.microsoft.com/office/drawing/2014/main" id="{79AE0363-E68A-69C7-D9AE-038699C4BC1F}"/>
              </a:ext>
            </a:extLst>
          </p:cNvPr>
          <p:cNvSpPr/>
          <p:nvPr userDrawn="1"/>
        </p:nvSpPr>
        <p:spPr>
          <a:xfrm>
            <a:off x="7382034" y="1752093"/>
            <a:ext cx="1925990" cy="1925990"/>
          </a:xfrm>
          <a:custGeom>
            <a:avLst/>
            <a:gdLst>
              <a:gd name="connsiteX0" fmla="*/ 962997 w 1925990"/>
              <a:gd name="connsiteY0" fmla="*/ 0 h 1925990"/>
              <a:gd name="connsiteX1" fmla="*/ 1925990 w 1925990"/>
              <a:gd name="connsiteY1" fmla="*/ 962995 h 1925990"/>
              <a:gd name="connsiteX2" fmla="*/ 962997 w 1925990"/>
              <a:gd name="connsiteY2" fmla="*/ 1925990 h 1925990"/>
              <a:gd name="connsiteX3" fmla="*/ 0 w 1925990"/>
              <a:gd name="connsiteY3" fmla="*/ 962995 h 1925990"/>
              <a:gd name="connsiteX4" fmla="*/ 962997 w 1925990"/>
              <a:gd name="connsiteY4" fmla="*/ 0 h 19259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5990" h="1925990">
                <a:moveTo>
                  <a:pt x="962997" y="0"/>
                </a:moveTo>
                <a:cubicBezTo>
                  <a:pt x="1494846" y="0"/>
                  <a:pt x="1925990" y="431147"/>
                  <a:pt x="1925990" y="962995"/>
                </a:cubicBezTo>
                <a:cubicBezTo>
                  <a:pt x="1925990" y="1494844"/>
                  <a:pt x="1494846" y="1925990"/>
                  <a:pt x="962997" y="1925990"/>
                </a:cubicBezTo>
                <a:cubicBezTo>
                  <a:pt x="431147" y="1925990"/>
                  <a:pt x="0" y="1494844"/>
                  <a:pt x="0" y="962995"/>
                </a:cubicBezTo>
                <a:cubicBezTo>
                  <a:pt x="0" y="431147"/>
                  <a:pt x="431147" y="0"/>
                  <a:pt x="962997"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7" name="Freeform: Shape 6">
            <a:extLst>
              <a:ext uri="{FF2B5EF4-FFF2-40B4-BE49-F238E27FC236}">
                <a16:creationId xmlns:a16="http://schemas.microsoft.com/office/drawing/2014/main" id="{F38BFB3E-40CB-269F-5F37-94AF015C7F3A}"/>
              </a:ext>
            </a:extLst>
          </p:cNvPr>
          <p:cNvSpPr/>
          <p:nvPr userDrawn="1"/>
        </p:nvSpPr>
        <p:spPr>
          <a:xfrm>
            <a:off x="2891314" y="3931413"/>
            <a:ext cx="1925990" cy="1925990"/>
          </a:xfrm>
          <a:custGeom>
            <a:avLst/>
            <a:gdLst>
              <a:gd name="connsiteX0" fmla="*/ 962997 w 1925990"/>
              <a:gd name="connsiteY0" fmla="*/ 0 h 1925990"/>
              <a:gd name="connsiteX1" fmla="*/ 1925990 w 1925990"/>
              <a:gd name="connsiteY1" fmla="*/ 962995 h 1925990"/>
              <a:gd name="connsiteX2" fmla="*/ 962997 w 1925990"/>
              <a:gd name="connsiteY2" fmla="*/ 1925990 h 1925990"/>
              <a:gd name="connsiteX3" fmla="*/ 0 w 1925990"/>
              <a:gd name="connsiteY3" fmla="*/ 962995 h 1925990"/>
              <a:gd name="connsiteX4" fmla="*/ 962997 w 1925990"/>
              <a:gd name="connsiteY4" fmla="*/ 0 h 19259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5990" h="1925990">
                <a:moveTo>
                  <a:pt x="962997" y="0"/>
                </a:moveTo>
                <a:cubicBezTo>
                  <a:pt x="1494846" y="0"/>
                  <a:pt x="1925990" y="431147"/>
                  <a:pt x="1925990" y="962995"/>
                </a:cubicBezTo>
                <a:cubicBezTo>
                  <a:pt x="1925990" y="1494844"/>
                  <a:pt x="1494846" y="1925990"/>
                  <a:pt x="962997" y="1925990"/>
                </a:cubicBezTo>
                <a:cubicBezTo>
                  <a:pt x="431147" y="1925990"/>
                  <a:pt x="0" y="1494844"/>
                  <a:pt x="0" y="962995"/>
                </a:cubicBezTo>
                <a:cubicBezTo>
                  <a:pt x="0" y="431147"/>
                  <a:pt x="431147" y="0"/>
                  <a:pt x="962997"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8" name="Freeform: Shape 7">
            <a:extLst>
              <a:ext uri="{FF2B5EF4-FFF2-40B4-BE49-F238E27FC236}">
                <a16:creationId xmlns:a16="http://schemas.microsoft.com/office/drawing/2014/main" id="{622D47F6-B014-EC63-0F21-CAB3CD0F16F0}"/>
              </a:ext>
            </a:extLst>
          </p:cNvPr>
          <p:cNvSpPr/>
          <p:nvPr userDrawn="1"/>
        </p:nvSpPr>
        <p:spPr>
          <a:xfrm>
            <a:off x="5141754" y="3931413"/>
            <a:ext cx="1925990" cy="1925990"/>
          </a:xfrm>
          <a:custGeom>
            <a:avLst/>
            <a:gdLst>
              <a:gd name="connsiteX0" fmla="*/ 962997 w 1925990"/>
              <a:gd name="connsiteY0" fmla="*/ 0 h 1925990"/>
              <a:gd name="connsiteX1" fmla="*/ 1925990 w 1925990"/>
              <a:gd name="connsiteY1" fmla="*/ 962995 h 1925990"/>
              <a:gd name="connsiteX2" fmla="*/ 962997 w 1925990"/>
              <a:gd name="connsiteY2" fmla="*/ 1925990 h 1925990"/>
              <a:gd name="connsiteX3" fmla="*/ 0 w 1925990"/>
              <a:gd name="connsiteY3" fmla="*/ 962995 h 1925990"/>
              <a:gd name="connsiteX4" fmla="*/ 962997 w 1925990"/>
              <a:gd name="connsiteY4" fmla="*/ 0 h 19259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5990" h="1925990">
                <a:moveTo>
                  <a:pt x="962997" y="0"/>
                </a:moveTo>
                <a:cubicBezTo>
                  <a:pt x="1494846" y="0"/>
                  <a:pt x="1925990" y="431147"/>
                  <a:pt x="1925990" y="962995"/>
                </a:cubicBezTo>
                <a:cubicBezTo>
                  <a:pt x="1925990" y="1494844"/>
                  <a:pt x="1494846" y="1925990"/>
                  <a:pt x="962997" y="1925990"/>
                </a:cubicBezTo>
                <a:cubicBezTo>
                  <a:pt x="431147" y="1925990"/>
                  <a:pt x="0" y="1494844"/>
                  <a:pt x="0" y="962995"/>
                </a:cubicBezTo>
                <a:cubicBezTo>
                  <a:pt x="0" y="431147"/>
                  <a:pt x="431147" y="0"/>
                  <a:pt x="962997"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9" name="Freeform: Shape 8">
            <a:extLst>
              <a:ext uri="{FF2B5EF4-FFF2-40B4-BE49-F238E27FC236}">
                <a16:creationId xmlns:a16="http://schemas.microsoft.com/office/drawing/2014/main" id="{E0ED72FA-8192-7DA4-890F-6A997F9C0357}"/>
              </a:ext>
            </a:extLst>
          </p:cNvPr>
          <p:cNvSpPr/>
          <p:nvPr userDrawn="1"/>
        </p:nvSpPr>
        <p:spPr>
          <a:xfrm>
            <a:off x="7382034" y="3931413"/>
            <a:ext cx="1925990" cy="1925990"/>
          </a:xfrm>
          <a:custGeom>
            <a:avLst/>
            <a:gdLst>
              <a:gd name="connsiteX0" fmla="*/ 962997 w 1925990"/>
              <a:gd name="connsiteY0" fmla="*/ 0 h 1925990"/>
              <a:gd name="connsiteX1" fmla="*/ 1925990 w 1925990"/>
              <a:gd name="connsiteY1" fmla="*/ 962995 h 1925990"/>
              <a:gd name="connsiteX2" fmla="*/ 962997 w 1925990"/>
              <a:gd name="connsiteY2" fmla="*/ 1925990 h 1925990"/>
              <a:gd name="connsiteX3" fmla="*/ 0 w 1925990"/>
              <a:gd name="connsiteY3" fmla="*/ 962995 h 1925990"/>
              <a:gd name="connsiteX4" fmla="*/ 962997 w 1925990"/>
              <a:gd name="connsiteY4" fmla="*/ 0 h 19259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5990" h="1925990">
                <a:moveTo>
                  <a:pt x="962997" y="0"/>
                </a:moveTo>
                <a:cubicBezTo>
                  <a:pt x="1494846" y="0"/>
                  <a:pt x="1925990" y="431147"/>
                  <a:pt x="1925990" y="962995"/>
                </a:cubicBezTo>
                <a:cubicBezTo>
                  <a:pt x="1925990" y="1494844"/>
                  <a:pt x="1494846" y="1925990"/>
                  <a:pt x="962997" y="1925990"/>
                </a:cubicBezTo>
                <a:cubicBezTo>
                  <a:pt x="431147" y="1925990"/>
                  <a:pt x="0" y="1494844"/>
                  <a:pt x="0" y="962995"/>
                </a:cubicBezTo>
                <a:cubicBezTo>
                  <a:pt x="0" y="431147"/>
                  <a:pt x="431147" y="0"/>
                  <a:pt x="962997"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0" name="Freeform: Shape 9">
            <a:extLst>
              <a:ext uri="{FF2B5EF4-FFF2-40B4-BE49-F238E27FC236}">
                <a16:creationId xmlns:a16="http://schemas.microsoft.com/office/drawing/2014/main" id="{1D615F04-C196-E3BA-831A-DFE282670464}"/>
              </a:ext>
            </a:extLst>
          </p:cNvPr>
          <p:cNvSpPr/>
          <p:nvPr userDrawn="1"/>
        </p:nvSpPr>
        <p:spPr>
          <a:xfrm>
            <a:off x="2891314" y="1752093"/>
            <a:ext cx="1925990" cy="1925990"/>
          </a:xfrm>
          <a:custGeom>
            <a:avLst/>
            <a:gdLst>
              <a:gd name="connsiteX0" fmla="*/ 962997 w 1925990"/>
              <a:gd name="connsiteY0" fmla="*/ 0 h 1925990"/>
              <a:gd name="connsiteX1" fmla="*/ 1925990 w 1925990"/>
              <a:gd name="connsiteY1" fmla="*/ 962995 h 1925990"/>
              <a:gd name="connsiteX2" fmla="*/ 962997 w 1925990"/>
              <a:gd name="connsiteY2" fmla="*/ 1925990 h 1925990"/>
              <a:gd name="connsiteX3" fmla="*/ 0 w 1925990"/>
              <a:gd name="connsiteY3" fmla="*/ 962995 h 1925990"/>
              <a:gd name="connsiteX4" fmla="*/ 962997 w 1925990"/>
              <a:gd name="connsiteY4" fmla="*/ 0 h 19259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5990" h="1925990">
                <a:moveTo>
                  <a:pt x="962997" y="0"/>
                </a:moveTo>
                <a:cubicBezTo>
                  <a:pt x="1494846" y="0"/>
                  <a:pt x="1925990" y="431147"/>
                  <a:pt x="1925990" y="962995"/>
                </a:cubicBezTo>
                <a:cubicBezTo>
                  <a:pt x="1925990" y="1494844"/>
                  <a:pt x="1494846" y="1925990"/>
                  <a:pt x="962997" y="1925990"/>
                </a:cubicBezTo>
                <a:cubicBezTo>
                  <a:pt x="431147" y="1925990"/>
                  <a:pt x="0" y="1494844"/>
                  <a:pt x="0" y="962995"/>
                </a:cubicBezTo>
                <a:cubicBezTo>
                  <a:pt x="0" y="431147"/>
                  <a:pt x="431147" y="0"/>
                  <a:pt x="962997"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1" name="Freeform: Shape 10">
            <a:extLst>
              <a:ext uri="{FF2B5EF4-FFF2-40B4-BE49-F238E27FC236}">
                <a16:creationId xmlns:a16="http://schemas.microsoft.com/office/drawing/2014/main" id="{ABB96292-D9AA-F06F-71B4-BFF5E95411CB}"/>
              </a:ext>
            </a:extLst>
          </p:cNvPr>
          <p:cNvSpPr/>
          <p:nvPr userDrawn="1"/>
        </p:nvSpPr>
        <p:spPr>
          <a:xfrm>
            <a:off x="5376289" y="2200893"/>
            <a:ext cx="1443609" cy="902639"/>
          </a:xfrm>
          <a:custGeom>
            <a:avLst/>
            <a:gdLst>
              <a:gd name="connsiteX0" fmla="*/ 279477 w 437916"/>
              <a:gd name="connsiteY0" fmla="*/ 0 h 273815"/>
              <a:gd name="connsiteX1" fmla="*/ 279477 w 437916"/>
              <a:gd name="connsiteY1" fmla="*/ 124979 h 273815"/>
              <a:gd name="connsiteX2" fmla="*/ 320889 w 437916"/>
              <a:gd name="connsiteY2" fmla="*/ 124979 h 273815"/>
              <a:gd name="connsiteX3" fmla="*/ 279477 w 437916"/>
              <a:gd name="connsiteY3" fmla="*/ 0 h 273815"/>
              <a:gd name="connsiteX4" fmla="*/ 257877 w 437916"/>
              <a:gd name="connsiteY4" fmla="*/ 0 h 273815"/>
              <a:gd name="connsiteX5" fmla="*/ 257877 w 437916"/>
              <a:gd name="connsiteY5" fmla="*/ 124979 h 273815"/>
              <a:gd name="connsiteX6" fmla="*/ 114870 w 437916"/>
              <a:gd name="connsiteY6" fmla="*/ 124979 h 273815"/>
              <a:gd name="connsiteX7" fmla="*/ 143041 w 437916"/>
              <a:gd name="connsiteY7" fmla="*/ 39896 h 273815"/>
              <a:gd name="connsiteX8" fmla="*/ 147286 w 437916"/>
              <a:gd name="connsiteY8" fmla="*/ 26991 h 273815"/>
              <a:gd name="connsiteX9" fmla="*/ 156249 w 437916"/>
              <a:gd name="connsiteY9" fmla="*/ 0 h 273815"/>
              <a:gd name="connsiteX10" fmla="*/ 257844 w 437916"/>
              <a:gd name="connsiteY10" fmla="*/ 0 h 273815"/>
              <a:gd name="connsiteX11" fmla="*/ 396504 w 437916"/>
              <a:gd name="connsiteY11" fmla="*/ 148735 h 273815"/>
              <a:gd name="connsiteX12" fmla="*/ 396504 w 437916"/>
              <a:gd name="connsiteY12" fmla="*/ 273782 h 273815"/>
              <a:gd name="connsiteX13" fmla="*/ 437916 w 437916"/>
              <a:gd name="connsiteY13" fmla="*/ 273782 h 273815"/>
              <a:gd name="connsiteX14" fmla="*/ 396504 w 437916"/>
              <a:gd name="connsiteY14" fmla="*/ 148735 h 273815"/>
              <a:gd name="connsiteX15" fmla="*/ 206019 w 437916"/>
              <a:gd name="connsiteY15" fmla="*/ 272973 h 273815"/>
              <a:gd name="connsiteX16" fmla="*/ 164606 w 437916"/>
              <a:gd name="connsiteY16" fmla="*/ 272973 h 273815"/>
              <a:gd name="connsiteX17" fmla="*/ 164606 w 437916"/>
              <a:gd name="connsiteY17" fmla="*/ 147994 h 273815"/>
              <a:gd name="connsiteX18" fmla="*/ 206019 w 437916"/>
              <a:gd name="connsiteY18" fmla="*/ 272973 h 273815"/>
              <a:gd name="connsiteX19" fmla="*/ 41413 w 437916"/>
              <a:gd name="connsiteY19" fmla="*/ 147994 h 273815"/>
              <a:gd name="connsiteX20" fmla="*/ 0 w 437916"/>
              <a:gd name="connsiteY20" fmla="*/ 272973 h 273815"/>
              <a:gd name="connsiteX21" fmla="*/ 143007 w 437916"/>
              <a:gd name="connsiteY21" fmla="*/ 272973 h 273815"/>
              <a:gd name="connsiteX22" fmla="*/ 143007 w 437916"/>
              <a:gd name="connsiteY22" fmla="*/ 147994 h 273815"/>
              <a:gd name="connsiteX23" fmla="*/ 41413 w 437916"/>
              <a:gd name="connsiteY23" fmla="*/ 147994 h 273815"/>
              <a:gd name="connsiteX24" fmla="*/ 273310 w 437916"/>
              <a:gd name="connsiteY24" fmla="*/ 148769 h 273815"/>
              <a:gd name="connsiteX25" fmla="*/ 374904 w 437916"/>
              <a:gd name="connsiteY25" fmla="*/ 148769 h 273815"/>
              <a:gd name="connsiteX26" fmla="*/ 374904 w 437916"/>
              <a:gd name="connsiteY26" fmla="*/ 273816 h 273815"/>
              <a:gd name="connsiteX27" fmla="*/ 231898 w 437916"/>
              <a:gd name="connsiteY27" fmla="*/ 273816 h 273815"/>
              <a:gd name="connsiteX28" fmla="*/ 273310 w 437916"/>
              <a:gd name="connsiteY28" fmla="*/ 148769 h 273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37916" h="273815">
                <a:moveTo>
                  <a:pt x="279477" y="0"/>
                </a:moveTo>
                <a:lnTo>
                  <a:pt x="279477" y="124979"/>
                </a:lnTo>
                <a:lnTo>
                  <a:pt x="320889" y="124979"/>
                </a:lnTo>
                <a:lnTo>
                  <a:pt x="279477" y="0"/>
                </a:lnTo>
                <a:close/>
                <a:moveTo>
                  <a:pt x="257877" y="0"/>
                </a:moveTo>
                <a:lnTo>
                  <a:pt x="257877" y="124979"/>
                </a:lnTo>
                <a:lnTo>
                  <a:pt x="114870" y="124979"/>
                </a:lnTo>
                <a:lnTo>
                  <a:pt x="143041" y="39896"/>
                </a:lnTo>
                <a:lnTo>
                  <a:pt x="147286" y="26991"/>
                </a:lnTo>
                <a:lnTo>
                  <a:pt x="156249" y="0"/>
                </a:lnTo>
                <a:lnTo>
                  <a:pt x="257844" y="0"/>
                </a:lnTo>
                <a:close/>
                <a:moveTo>
                  <a:pt x="396504" y="148735"/>
                </a:moveTo>
                <a:lnTo>
                  <a:pt x="396504" y="273782"/>
                </a:lnTo>
                <a:lnTo>
                  <a:pt x="437916" y="273782"/>
                </a:lnTo>
                <a:lnTo>
                  <a:pt x="396504" y="148735"/>
                </a:lnTo>
                <a:close/>
                <a:moveTo>
                  <a:pt x="206019" y="272973"/>
                </a:moveTo>
                <a:lnTo>
                  <a:pt x="164606" y="272973"/>
                </a:lnTo>
                <a:lnTo>
                  <a:pt x="164606" y="147994"/>
                </a:lnTo>
                <a:lnTo>
                  <a:pt x="206019" y="272973"/>
                </a:lnTo>
                <a:close/>
                <a:moveTo>
                  <a:pt x="41413" y="147994"/>
                </a:moveTo>
                <a:lnTo>
                  <a:pt x="0" y="272973"/>
                </a:lnTo>
                <a:lnTo>
                  <a:pt x="143007" y="272973"/>
                </a:lnTo>
                <a:lnTo>
                  <a:pt x="143007" y="147994"/>
                </a:lnTo>
                <a:lnTo>
                  <a:pt x="41413" y="147994"/>
                </a:lnTo>
                <a:close/>
                <a:moveTo>
                  <a:pt x="273310" y="148769"/>
                </a:moveTo>
                <a:lnTo>
                  <a:pt x="374904" y="148769"/>
                </a:lnTo>
                <a:lnTo>
                  <a:pt x="374904" y="273816"/>
                </a:lnTo>
                <a:lnTo>
                  <a:pt x="231898" y="273816"/>
                </a:lnTo>
                <a:lnTo>
                  <a:pt x="273310" y="148769"/>
                </a:lnTo>
                <a:close/>
              </a:path>
            </a:pathLst>
          </a:custGeom>
          <a:solidFill>
            <a:schemeClr val="bg1"/>
          </a:solidFill>
          <a:ln w="3364" cap="flat">
            <a:noFill/>
            <a:prstDash val="solid"/>
            <a:miter/>
          </a:ln>
        </p:spPr>
        <p:txBody>
          <a:bodyPr rtlCol="0" anchor="ctr"/>
          <a:lstStyle/>
          <a:p>
            <a:endParaRPr lang="en-GB"/>
          </a:p>
        </p:txBody>
      </p:sp>
      <p:sp>
        <p:nvSpPr>
          <p:cNvPr id="12" name="Freeform: Shape 11">
            <a:extLst>
              <a:ext uri="{FF2B5EF4-FFF2-40B4-BE49-F238E27FC236}">
                <a16:creationId xmlns:a16="http://schemas.microsoft.com/office/drawing/2014/main" id="{EB0BFD96-8A31-D23E-2B5D-680ABFC5006C}"/>
              </a:ext>
            </a:extLst>
          </p:cNvPr>
          <p:cNvSpPr/>
          <p:nvPr userDrawn="1"/>
        </p:nvSpPr>
        <p:spPr>
          <a:xfrm>
            <a:off x="7928483" y="1989673"/>
            <a:ext cx="831111" cy="1504811"/>
          </a:xfrm>
          <a:custGeom>
            <a:avLst/>
            <a:gdLst>
              <a:gd name="connsiteX0" fmla="*/ 126192 w 252115"/>
              <a:gd name="connsiteY0" fmla="*/ 245545 h 456483"/>
              <a:gd name="connsiteX1" fmla="*/ 63079 w 252115"/>
              <a:gd name="connsiteY1" fmla="*/ 182432 h 456483"/>
              <a:gd name="connsiteX2" fmla="*/ 126192 w 252115"/>
              <a:gd name="connsiteY2" fmla="*/ 119352 h 456483"/>
              <a:gd name="connsiteX3" fmla="*/ 189305 w 252115"/>
              <a:gd name="connsiteY3" fmla="*/ 182432 h 456483"/>
              <a:gd name="connsiteX4" fmla="*/ 126192 w 252115"/>
              <a:gd name="connsiteY4" fmla="*/ 245545 h 456483"/>
              <a:gd name="connsiteX5" fmla="*/ 0 w 252115"/>
              <a:gd name="connsiteY5" fmla="*/ 99000 h 456483"/>
              <a:gd name="connsiteX6" fmla="*/ 37773 w 252115"/>
              <a:gd name="connsiteY6" fmla="*/ 268290 h 456483"/>
              <a:gd name="connsiteX7" fmla="*/ 214308 w 252115"/>
              <a:gd name="connsiteY7" fmla="*/ 268290 h 456483"/>
              <a:gd name="connsiteX8" fmla="*/ 252115 w 252115"/>
              <a:gd name="connsiteY8" fmla="*/ 99000 h 456483"/>
              <a:gd name="connsiteX9" fmla="*/ 34 w 252115"/>
              <a:gd name="connsiteY9" fmla="*/ 99000 h 456483"/>
              <a:gd name="connsiteX10" fmla="*/ 165011 w 252115"/>
              <a:gd name="connsiteY10" fmla="*/ 182465 h 456483"/>
              <a:gd name="connsiteX11" fmla="*/ 126192 w 252115"/>
              <a:gd name="connsiteY11" fmla="*/ 221283 h 456483"/>
              <a:gd name="connsiteX12" fmla="*/ 87341 w 252115"/>
              <a:gd name="connsiteY12" fmla="*/ 182465 h 456483"/>
              <a:gd name="connsiteX13" fmla="*/ 126192 w 252115"/>
              <a:gd name="connsiteY13" fmla="*/ 143613 h 456483"/>
              <a:gd name="connsiteX14" fmla="*/ 165011 w 252115"/>
              <a:gd name="connsiteY14" fmla="*/ 182465 h 456483"/>
              <a:gd name="connsiteX15" fmla="*/ 198302 w 252115"/>
              <a:gd name="connsiteY15" fmla="*/ 74907 h 456483"/>
              <a:gd name="connsiteX16" fmla="*/ 198302 w 252115"/>
              <a:gd name="connsiteY16" fmla="*/ 0 h 456483"/>
              <a:gd name="connsiteX17" fmla="*/ 173906 w 252115"/>
              <a:gd name="connsiteY17" fmla="*/ 0 h 456483"/>
              <a:gd name="connsiteX18" fmla="*/ 173906 w 252115"/>
              <a:gd name="connsiteY18" fmla="*/ 74873 h 456483"/>
              <a:gd name="connsiteX19" fmla="*/ 198302 w 252115"/>
              <a:gd name="connsiteY19" fmla="*/ 74873 h 456483"/>
              <a:gd name="connsiteX20" fmla="*/ 53813 w 252115"/>
              <a:gd name="connsiteY20" fmla="*/ 74907 h 456483"/>
              <a:gd name="connsiteX21" fmla="*/ 53813 w 252115"/>
              <a:gd name="connsiteY21" fmla="*/ 0 h 456483"/>
              <a:gd name="connsiteX22" fmla="*/ 78243 w 252115"/>
              <a:gd name="connsiteY22" fmla="*/ 0 h 456483"/>
              <a:gd name="connsiteX23" fmla="*/ 78243 w 252115"/>
              <a:gd name="connsiteY23" fmla="*/ 74873 h 456483"/>
              <a:gd name="connsiteX24" fmla="*/ 53813 w 252115"/>
              <a:gd name="connsiteY24" fmla="*/ 74873 h 456483"/>
              <a:gd name="connsiteX25" fmla="*/ 126058 w 252115"/>
              <a:gd name="connsiteY25" fmla="*/ 456450 h 456483"/>
              <a:gd name="connsiteX26" fmla="*/ 53813 w 252115"/>
              <a:gd name="connsiteY26" fmla="*/ 385148 h 456483"/>
              <a:gd name="connsiteX27" fmla="*/ 78209 w 252115"/>
              <a:gd name="connsiteY27" fmla="*/ 385148 h 456483"/>
              <a:gd name="connsiteX28" fmla="*/ 126058 w 252115"/>
              <a:gd name="connsiteY28" fmla="*/ 432357 h 456483"/>
              <a:gd name="connsiteX29" fmla="*/ 173906 w 252115"/>
              <a:gd name="connsiteY29" fmla="*/ 385148 h 456483"/>
              <a:gd name="connsiteX30" fmla="*/ 126058 w 252115"/>
              <a:gd name="connsiteY30" fmla="*/ 337940 h 456483"/>
              <a:gd name="connsiteX31" fmla="*/ 113860 w 252115"/>
              <a:gd name="connsiteY31" fmla="*/ 337940 h 456483"/>
              <a:gd name="connsiteX32" fmla="*/ 113860 w 252115"/>
              <a:gd name="connsiteY32" fmla="*/ 292618 h 456483"/>
              <a:gd name="connsiteX33" fmla="*/ 138256 w 252115"/>
              <a:gd name="connsiteY33" fmla="*/ 292618 h 456483"/>
              <a:gd name="connsiteX34" fmla="*/ 138256 w 252115"/>
              <a:gd name="connsiteY34" fmla="*/ 314892 h 456483"/>
              <a:gd name="connsiteX35" fmla="*/ 198302 w 252115"/>
              <a:gd name="connsiteY35" fmla="*/ 385182 h 456483"/>
              <a:gd name="connsiteX36" fmla="*/ 126058 w 252115"/>
              <a:gd name="connsiteY36" fmla="*/ 456483 h 456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52115" h="456483">
                <a:moveTo>
                  <a:pt x="126192" y="245545"/>
                </a:moveTo>
                <a:cubicBezTo>
                  <a:pt x="91317" y="245545"/>
                  <a:pt x="63079" y="217307"/>
                  <a:pt x="63079" y="182432"/>
                </a:cubicBezTo>
                <a:cubicBezTo>
                  <a:pt x="63079" y="147556"/>
                  <a:pt x="91317" y="119352"/>
                  <a:pt x="126192" y="119352"/>
                </a:cubicBezTo>
                <a:cubicBezTo>
                  <a:pt x="161068" y="119352"/>
                  <a:pt x="189305" y="147590"/>
                  <a:pt x="189305" y="182432"/>
                </a:cubicBezTo>
                <a:cubicBezTo>
                  <a:pt x="189305" y="217274"/>
                  <a:pt x="161068" y="245545"/>
                  <a:pt x="126192" y="245545"/>
                </a:cubicBezTo>
                <a:moveTo>
                  <a:pt x="0" y="99000"/>
                </a:moveTo>
                <a:lnTo>
                  <a:pt x="37773" y="268290"/>
                </a:lnTo>
                <a:lnTo>
                  <a:pt x="214308" y="268290"/>
                </a:lnTo>
                <a:lnTo>
                  <a:pt x="252115" y="99000"/>
                </a:lnTo>
                <a:lnTo>
                  <a:pt x="34" y="99000"/>
                </a:lnTo>
                <a:close/>
                <a:moveTo>
                  <a:pt x="165011" y="182465"/>
                </a:moveTo>
                <a:cubicBezTo>
                  <a:pt x="165011" y="203896"/>
                  <a:pt x="147623" y="221283"/>
                  <a:pt x="126192" y="221283"/>
                </a:cubicBezTo>
                <a:cubicBezTo>
                  <a:pt x="104762" y="221283"/>
                  <a:pt x="87341" y="203896"/>
                  <a:pt x="87341" y="182465"/>
                </a:cubicBezTo>
                <a:cubicBezTo>
                  <a:pt x="87341" y="161034"/>
                  <a:pt x="104728" y="143613"/>
                  <a:pt x="126192" y="143613"/>
                </a:cubicBezTo>
                <a:cubicBezTo>
                  <a:pt x="147657" y="143613"/>
                  <a:pt x="165011" y="161001"/>
                  <a:pt x="165011" y="182465"/>
                </a:cubicBezTo>
                <a:moveTo>
                  <a:pt x="198302" y="74907"/>
                </a:moveTo>
                <a:lnTo>
                  <a:pt x="198302" y="0"/>
                </a:lnTo>
                <a:lnTo>
                  <a:pt x="173906" y="0"/>
                </a:lnTo>
                <a:lnTo>
                  <a:pt x="173906" y="74873"/>
                </a:lnTo>
                <a:cubicBezTo>
                  <a:pt x="173906" y="74873"/>
                  <a:pt x="198302" y="74873"/>
                  <a:pt x="198302" y="74873"/>
                </a:cubicBezTo>
                <a:close/>
                <a:moveTo>
                  <a:pt x="53813" y="74907"/>
                </a:moveTo>
                <a:lnTo>
                  <a:pt x="53813" y="0"/>
                </a:lnTo>
                <a:lnTo>
                  <a:pt x="78243" y="0"/>
                </a:lnTo>
                <a:lnTo>
                  <a:pt x="78243" y="74873"/>
                </a:lnTo>
                <a:lnTo>
                  <a:pt x="53813" y="74873"/>
                </a:lnTo>
                <a:close/>
                <a:moveTo>
                  <a:pt x="126058" y="456450"/>
                </a:moveTo>
                <a:cubicBezTo>
                  <a:pt x="86229" y="456450"/>
                  <a:pt x="53813" y="424472"/>
                  <a:pt x="53813" y="385148"/>
                </a:cubicBezTo>
                <a:lnTo>
                  <a:pt x="78209" y="385148"/>
                </a:lnTo>
                <a:cubicBezTo>
                  <a:pt x="78209" y="411162"/>
                  <a:pt x="99673" y="432357"/>
                  <a:pt x="126058" y="432357"/>
                </a:cubicBezTo>
                <a:cubicBezTo>
                  <a:pt x="152442" y="432357"/>
                  <a:pt x="173906" y="411162"/>
                  <a:pt x="173906" y="385148"/>
                </a:cubicBezTo>
                <a:cubicBezTo>
                  <a:pt x="173906" y="359135"/>
                  <a:pt x="152442" y="337940"/>
                  <a:pt x="126058" y="337940"/>
                </a:cubicBezTo>
                <a:lnTo>
                  <a:pt x="113860" y="337940"/>
                </a:lnTo>
                <a:lnTo>
                  <a:pt x="113860" y="292618"/>
                </a:lnTo>
                <a:lnTo>
                  <a:pt x="138256" y="292618"/>
                </a:lnTo>
                <a:lnTo>
                  <a:pt x="138256" y="314892"/>
                </a:lnTo>
                <a:cubicBezTo>
                  <a:pt x="172289" y="320620"/>
                  <a:pt x="198302" y="349969"/>
                  <a:pt x="198302" y="385182"/>
                </a:cubicBezTo>
                <a:cubicBezTo>
                  <a:pt x="198302" y="424472"/>
                  <a:pt x="165887" y="456483"/>
                  <a:pt x="126058" y="456483"/>
                </a:cubicBezTo>
              </a:path>
            </a:pathLst>
          </a:custGeom>
          <a:solidFill>
            <a:schemeClr val="bg1"/>
          </a:solidFill>
          <a:ln w="3364" cap="flat">
            <a:noFill/>
            <a:prstDash val="solid"/>
            <a:miter/>
          </a:ln>
        </p:spPr>
        <p:txBody>
          <a:bodyPr rtlCol="0" anchor="ctr"/>
          <a:lstStyle/>
          <a:p>
            <a:endParaRPr lang="en-GB"/>
          </a:p>
        </p:txBody>
      </p:sp>
      <p:sp>
        <p:nvSpPr>
          <p:cNvPr id="13" name="Freeform: Shape 12">
            <a:extLst>
              <a:ext uri="{FF2B5EF4-FFF2-40B4-BE49-F238E27FC236}">
                <a16:creationId xmlns:a16="http://schemas.microsoft.com/office/drawing/2014/main" id="{4ACB6BE1-3E86-6DA5-D5AD-75C05BC370AE}"/>
              </a:ext>
            </a:extLst>
          </p:cNvPr>
          <p:cNvSpPr/>
          <p:nvPr userDrawn="1"/>
        </p:nvSpPr>
        <p:spPr>
          <a:xfrm>
            <a:off x="3407106" y="4162927"/>
            <a:ext cx="880428" cy="1484483"/>
          </a:xfrm>
          <a:custGeom>
            <a:avLst/>
            <a:gdLst>
              <a:gd name="connsiteX0" fmla="*/ 155407 w 267076"/>
              <a:gd name="connsiteY0" fmla="*/ 176265 h 450316"/>
              <a:gd name="connsiteX1" fmla="*/ 83971 w 267076"/>
              <a:gd name="connsiteY1" fmla="*/ 450317 h 450316"/>
              <a:gd name="connsiteX2" fmla="*/ 267076 w 267076"/>
              <a:gd name="connsiteY2" fmla="*/ 205345 h 450316"/>
              <a:gd name="connsiteX3" fmla="*/ 155441 w 267076"/>
              <a:gd name="connsiteY3" fmla="*/ 176265 h 450316"/>
              <a:gd name="connsiteX4" fmla="*/ 174041 w 267076"/>
              <a:gd name="connsiteY4" fmla="*/ 34 h 450316"/>
              <a:gd name="connsiteX5" fmla="*/ 106143 w 267076"/>
              <a:gd name="connsiteY5" fmla="*/ 260438 h 450316"/>
              <a:gd name="connsiteX6" fmla="*/ 0 w 267076"/>
              <a:gd name="connsiteY6" fmla="*/ 232807 h 450316"/>
              <a:gd name="connsiteX7" fmla="*/ 174041 w 267076"/>
              <a:gd name="connsiteY7" fmla="*/ 0 h 450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7076" h="450316">
                <a:moveTo>
                  <a:pt x="155407" y="176265"/>
                </a:moveTo>
                <a:lnTo>
                  <a:pt x="83971" y="450317"/>
                </a:lnTo>
                <a:lnTo>
                  <a:pt x="267076" y="205345"/>
                </a:lnTo>
                <a:lnTo>
                  <a:pt x="155441" y="176265"/>
                </a:lnTo>
                <a:close/>
                <a:moveTo>
                  <a:pt x="174041" y="34"/>
                </a:moveTo>
                <a:lnTo>
                  <a:pt x="106143" y="260438"/>
                </a:lnTo>
                <a:lnTo>
                  <a:pt x="0" y="232807"/>
                </a:lnTo>
                <a:lnTo>
                  <a:pt x="174041" y="0"/>
                </a:lnTo>
                <a:close/>
              </a:path>
            </a:pathLst>
          </a:custGeom>
          <a:solidFill>
            <a:schemeClr val="bg1"/>
          </a:solidFill>
          <a:ln w="3364"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7AE9A71C-BF9C-6A04-F8F0-6533C0B321CD}"/>
              </a:ext>
            </a:extLst>
          </p:cNvPr>
          <p:cNvSpPr/>
          <p:nvPr userDrawn="1"/>
        </p:nvSpPr>
        <p:spPr>
          <a:xfrm>
            <a:off x="5678419" y="4331046"/>
            <a:ext cx="838991" cy="1078373"/>
          </a:xfrm>
          <a:custGeom>
            <a:avLst/>
            <a:gdLst>
              <a:gd name="connsiteX0" fmla="*/ 155003 w 254507"/>
              <a:gd name="connsiteY0" fmla="*/ 199010 h 327123"/>
              <a:gd name="connsiteX1" fmla="*/ 155003 w 254507"/>
              <a:gd name="connsiteY1" fmla="*/ 199145 h 327123"/>
              <a:gd name="connsiteX2" fmla="*/ 144422 w 254507"/>
              <a:gd name="connsiteY2" fmla="*/ 220980 h 327123"/>
              <a:gd name="connsiteX3" fmla="*/ 140480 w 254507"/>
              <a:gd name="connsiteY3" fmla="*/ 224046 h 327123"/>
              <a:gd name="connsiteX4" fmla="*/ 144692 w 254507"/>
              <a:gd name="connsiteY4" fmla="*/ 259697 h 327123"/>
              <a:gd name="connsiteX5" fmla="*/ 109681 w 254507"/>
              <a:gd name="connsiteY5" fmla="*/ 259697 h 327123"/>
              <a:gd name="connsiteX6" fmla="*/ 113826 w 254507"/>
              <a:gd name="connsiteY6" fmla="*/ 224046 h 327123"/>
              <a:gd name="connsiteX7" fmla="*/ 109951 w 254507"/>
              <a:gd name="connsiteY7" fmla="*/ 220980 h 327123"/>
              <a:gd name="connsiteX8" fmla="*/ 99370 w 254507"/>
              <a:gd name="connsiteY8" fmla="*/ 199145 h 327123"/>
              <a:gd name="connsiteX9" fmla="*/ 99370 w 254507"/>
              <a:gd name="connsiteY9" fmla="*/ 199010 h 327123"/>
              <a:gd name="connsiteX10" fmla="*/ 100887 w 254507"/>
              <a:gd name="connsiteY10" fmla="*/ 190148 h 327123"/>
              <a:gd name="connsiteX11" fmla="*/ 105941 w 254507"/>
              <a:gd name="connsiteY11" fmla="*/ 181286 h 327123"/>
              <a:gd name="connsiteX12" fmla="*/ 127237 w 254507"/>
              <a:gd name="connsiteY12" fmla="*/ 171346 h 327123"/>
              <a:gd name="connsiteX13" fmla="*/ 148499 w 254507"/>
              <a:gd name="connsiteY13" fmla="*/ 181286 h 327123"/>
              <a:gd name="connsiteX14" fmla="*/ 153554 w 254507"/>
              <a:gd name="connsiteY14" fmla="*/ 190148 h 327123"/>
              <a:gd name="connsiteX15" fmla="*/ 155070 w 254507"/>
              <a:gd name="connsiteY15" fmla="*/ 199010 h 327123"/>
              <a:gd name="connsiteX16" fmla="*/ 172794 w 254507"/>
              <a:gd name="connsiteY16" fmla="*/ 199010 h 327123"/>
              <a:gd name="connsiteX17" fmla="*/ 171918 w 254507"/>
              <a:gd name="connsiteY17" fmla="*/ 190148 h 327123"/>
              <a:gd name="connsiteX18" fmla="*/ 169121 w 254507"/>
              <a:gd name="connsiteY18" fmla="*/ 181286 h 327123"/>
              <a:gd name="connsiteX19" fmla="*/ 127237 w 254507"/>
              <a:gd name="connsiteY19" fmla="*/ 153621 h 327123"/>
              <a:gd name="connsiteX20" fmla="*/ 85353 w 254507"/>
              <a:gd name="connsiteY20" fmla="*/ 181286 h 327123"/>
              <a:gd name="connsiteX21" fmla="*/ 82556 w 254507"/>
              <a:gd name="connsiteY21" fmla="*/ 190148 h 327123"/>
              <a:gd name="connsiteX22" fmla="*/ 81646 w 254507"/>
              <a:gd name="connsiteY22" fmla="*/ 199010 h 327123"/>
              <a:gd name="connsiteX23" fmla="*/ 81646 w 254507"/>
              <a:gd name="connsiteY23" fmla="*/ 199145 h 327123"/>
              <a:gd name="connsiteX24" fmla="*/ 95158 w 254507"/>
              <a:gd name="connsiteY24" fmla="*/ 231493 h 327123"/>
              <a:gd name="connsiteX25" fmla="*/ 89800 w 254507"/>
              <a:gd name="connsiteY25" fmla="*/ 277455 h 327123"/>
              <a:gd name="connsiteX26" fmla="*/ 164674 w 254507"/>
              <a:gd name="connsiteY26" fmla="*/ 277455 h 327123"/>
              <a:gd name="connsiteX27" fmla="*/ 159282 w 254507"/>
              <a:gd name="connsiteY27" fmla="*/ 231493 h 327123"/>
              <a:gd name="connsiteX28" fmla="*/ 172794 w 254507"/>
              <a:gd name="connsiteY28" fmla="*/ 199145 h 327123"/>
              <a:gd name="connsiteX29" fmla="*/ 172794 w 254507"/>
              <a:gd name="connsiteY29" fmla="*/ 199010 h 327123"/>
              <a:gd name="connsiteX30" fmla="*/ 0 w 254507"/>
              <a:gd name="connsiteY30" fmla="*/ 117431 h 327123"/>
              <a:gd name="connsiteX31" fmla="*/ 254508 w 254507"/>
              <a:gd name="connsiteY31" fmla="*/ 117431 h 327123"/>
              <a:gd name="connsiteX32" fmla="*/ 254508 w 254507"/>
              <a:gd name="connsiteY32" fmla="*/ 327123 h 327123"/>
              <a:gd name="connsiteX33" fmla="*/ 0 w 254507"/>
              <a:gd name="connsiteY33" fmla="*/ 327123 h 327123"/>
              <a:gd name="connsiteX34" fmla="*/ 0 w 254507"/>
              <a:gd name="connsiteY34" fmla="*/ 117431 h 327123"/>
              <a:gd name="connsiteX35" fmla="*/ 226776 w 254507"/>
              <a:gd name="connsiteY35" fmla="*/ 99539 h 327123"/>
              <a:gd name="connsiteX36" fmla="*/ 226776 w 254507"/>
              <a:gd name="connsiteY36" fmla="*/ 99707 h 327123"/>
              <a:gd name="connsiteX37" fmla="*/ 209051 w 254507"/>
              <a:gd name="connsiteY37" fmla="*/ 99707 h 327123"/>
              <a:gd name="connsiteX38" fmla="*/ 209051 w 254507"/>
              <a:gd name="connsiteY38" fmla="*/ 99539 h 327123"/>
              <a:gd name="connsiteX39" fmla="*/ 127237 w 254507"/>
              <a:gd name="connsiteY39" fmla="*/ 17724 h 327123"/>
              <a:gd name="connsiteX40" fmla="*/ 45456 w 254507"/>
              <a:gd name="connsiteY40" fmla="*/ 99539 h 327123"/>
              <a:gd name="connsiteX41" fmla="*/ 45456 w 254507"/>
              <a:gd name="connsiteY41" fmla="*/ 99707 h 327123"/>
              <a:gd name="connsiteX42" fmla="*/ 27732 w 254507"/>
              <a:gd name="connsiteY42" fmla="*/ 99707 h 327123"/>
              <a:gd name="connsiteX43" fmla="*/ 27732 w 254507"/>
              <a:gd name="connsiteY43" fmla="*/ 99539 h 327123"/>
              <a:gd name="connsiteX44" fmla="*/ 127237 w 254507"/>
              <a:gd name="connsiteY44" fmla="*/ 0 h 327123"/>
              <a:gd name="connsiteX45" fmla="*/ 226776 w 254507"/>
              <a:gd name="connsiteY45" fmla="*/ 99539 h 327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54507" h="327123">
                <a:moveTo>
                  <a:pt x="155003" y="199010"/>
                </a:moveTo>
                <a:lnTo>
                  <a:pt x="155003" y="199145"/>
                </a:lnTo>
                <a:cubicBezTo>
                  <a:pt x="155003" y="207737"/>
                  <a:pt x="151128" y="215656"/>
                  <a:pt x="144422" y="220980"/>
                </a:cubicBezTo>
                <a:lnTo>
                  <a:pt x="140480" y="224046"/>
                </a:lnTo>
                <a:lnTo>
                  <a:pt x="144692" y="259697"/>
                </a:lnTo>
                <a:lnTo>
                  <a:pt x="109681" y="259697"/>
                </a:lnTo>
                <a:lnTo>
                  <a:pt x="113826" y="224046"/>
                </a:lnTo>
                <a:lnTo>
                  <a:pt x="109951" y="220980"/>
                </a:lnTo>
                <a:cubicBezTo>
                  <a:pt x="103212" y="215656"/>
                  <a:pt x="99370" y="207737"/>
                  <a:pt x="99370" y="199145"/>
                </a:cubicBezTo>
                <a:lnTo>
                  <a:pt x="99370" y="199010"/>
                </a:lnTo>
                <a:cubicBezTo>
                  <a:pt x="99370" y="195910"/>
                  <a:pt x="99876" y="192945"/>
                  <a:pt x="100887" y="190148"/>
                </a:cubicBezTo>
                <a:cubicBezTo>
                  <a:pt x="101999" y="186879"/>
                  <a:pt x="103717" y="183914"/>
                  <a:pt x="105941" y="181286"/>
                </a:cubicBezTo>
                <a:cubicBezTo>
                  <a:pt x="111063" y="175221"/>
                  <a:pt x="118678" y="171346"/>
                  <a:pt x="127237" y="171346"/>
                </a:cubicBezTo>
                <a:cubicBezTo>
                  <a:pt x="135796" y="171346"/>
                  <a:pt x="143411" y="175221"/>
                  <a:pt x="148499" y="181286"/>
                </a:cubicBezTo>
                <a:cubicBezTo>
                  <a:pt x="150723" y="183914"/>
                  <a:pt x="152442" y="186879"/>
                  <a:pt x="153554" y="190148"/>
                </a:cubicBezTo>
                <a:cubicBezTo>
                  <a:pt x="154531" y="192945"/>
                  <a:pt x="155070" y="195910"/>
                  <a:pt x="155070" y="199010"/>
                </a:cubicBezTo>
                <a:moveTo>
                  <a:pt x="172794" y="199010"/>
                </a:moveTo>
                <a:cubicBezTo>
                  <a:pt x="172794" y="196011"/>
                  <a:pt x="172491" y="193012"/>
                  <a:pt x="171918" y="190148"/>
                </a:cubicBezTo>
                <a:cubicBezTo>
                  <a:pt x="171312" y="187115"/>
                  <a:pt x="170368" y="184083"/>
                  <a:pt x="169121" y="181286"/>
                </a:cubicBezTo>
                <a:cubicBezTo>
                  <a:pt x="162180" y="165011"/>
                  <a:pt x="146039" y="153621"/>
                  <a:pt x="127237" y="153621"/>
                </a:cubicBezTo>
                <a:cubicBezTo>
                  <a:pt x="108434" y="153621"/>
                  <a:pt x="92328" y="165011"/>
                  <a:pt x="85353" y="181286"/>
                </a:cubicBezTo>
                <a:cubicBezTo>
                  <a:pt x="84106" y="184083"/>
                  <a:pt x="83196" y="187115"/>
                  <a:pt x="82556" y="190148"/>
                </a:cubicBezTo>
                <a:cubicBezTo>
                  <a:pt x="81983" y="193012"/>
                  <a:pt x="81646" y="196011"/>
                  <a:pt x="81646" y="199010"/>
                </a:cubicBezTo>
                <a:lnTo>
                  <a:pt x="81646" y="199145"/>
                </a:lnTo>
                <a:cubicBezTo>
                  <a:pt x="81646" y="211444"/>
                  <a:pt x="86532" y="222968"/>
                  <a:pt x="95158" y="231493"/>
                </a:cubicBezTo>
                <a:lnTo>
                  <a:pt x="89800" y="277455"/>
                </a:lnTo>
                <a:lnTo>
                  <a:pt x="164674" y="277455"/>
                </a:lnTo>
                <a:lnTo>
                  <a:pt x="159282" y="231493"/>
                </a:lnTo>
                <a:cubicBezTo>
                  <a:pt x="167908" y="222968"/>
                  <a:pt x="172794" y="211478"/>
                  <a:pt x="172794" y="199145"/>
                </a:cubicBezTo>
                <a:lnTo>
                  <a:pt x="172794" y="199010"/>
                </a:lnTo>
                <a:close/>
                <a:moveTo>
                  <a:pt x="0" y="117431"/>
                </a:moveTo>
                <a:lnTo>
                  <a:pt x="254508" y="117431"/>
                </a:lnTo>
                <a:lnTo>
                  <a:pt x="254508" y="327123"/>
                </a:lnTo>
                <a:lnTo>
                  <a:pt x="0" y="327123"/>
                </a:lnTo>
                <a:lnTo>
                  <a:pt x="0" y="117431"/>
                </a:lnTo>
                <a:close/>
                <a:moveTo>
                  <a:pt x="226776" y="99539"/>
                </a:moveTo>
                <a:lnTo>
                  <a:pt x="226776" y="99707"/>
                </a:lnTo>
                <a:lnTo>
                  <a:pt x="209051" y="99707"/>
                </a:lnTo>
                <a:lnTo>
                  <a:pt x="209051" y="99539"/>
                </a:lnTo>
                <a:cubicBezTo>
                  <a:pt x="209051" y="54419"/>
                  <a:pt x="172356" y="17724"/>
                  <a:pt x="127237" y="17724"/>
                </a:cubicBezTo>
                <a:cubicBezTo>
                  <a:pt x="82118" y="17724"/>
                  <a:pt x="45456" y="54419"/>
                  <a:pt x="45456" y="99539"/>
                </a:cubicBezTo>
                <a:lnTo>
                  <a:pt x="45456" y="99707"/>
                </a:lnTo>
                <a:lnTo>
                  <a:pt x="27732" y="99707"/>
                </a:lnTo>
                <a:lnTo>
                  <a:pt x="27732" y="99539"/>
                </a:lnTo>
                <a:cubicBezTo>
                  <a:pt x="27732" y="44681"/>
                  <a:pt x="72379" y="0"/>
                  <a:pt x="127237" y="0"/>
                </a:cubicBezTo>
                <a:cubicBezTo>
                  <a:pt x="182094" y="0"/>
                  <a:pt x="226776" y="44681"/>
                  <a:pt x="226776" y="99539"/>
                </a:cubicBezTo>
              </a:path>
            </a:pathLst>
          </a:custGeom>
          <a:solidFill>
            <a:schemeClr val="bg1"/>
          </a:solidFill>
          <a:ln w="3364" cap="flat">
            <a:no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96FD4237-C92B-A91D-04BA-786EC8BA41C8}"/>
              </a:ext>
            </a:extLst>
          </p:cNvPr>
          <p:cNvSpPr/>
          <p:nvPr userDrawn="1"/>
        </p:nvSpPr>
        <p:spPr>
          <a:xfrm>
            <a:off x="7741827" y="4345337"/>
            <a:ext cx="1207598" cy="1081480"/>
          </a:xfrm>
          <a:custGeom>
            <a:avLst/>
            <a:gdLst>
              <a:gd name="connsiteX0" fmla="*/ 365709 w 366323"/>
              <a:gd name="connsiteY0" fmla="*/ 195674 h 328066"/>
              <a:gd name="connsiteX1" fmla="*/ 301113 w 366323"/>
              <a:gd name="connsiteY1" fmla="*/ 328067 h 328066"/>
              <a:gd name="connsiteX2" fmla="*/ 65273 w 366323"/>
              <a:gd name="connsiteY2" fmla="*/ 328067 h 328066"/>
              <a:gd name="connsiteX3" fmla="*/ 610 w 366323"/>
              <a:gd name="connsiteY3" fmla="*/ 195674 h 328066"/>
              <a:gd name="connsiteX4" fmla="*/ 4047 w 366323"/>
              <a:gd name="connsiteY4" fmla="*/ 188868 h 328066"/>
              <a:gd name="connsiteX5" fmla="*/ 7316 w 366323"/>
              <a:gd name="connsiteY5" fmla="*/ 188531 h 328066"/>
              <a:gd name="connsiteX6" fmla="*/ 181458 w 366323"/>
              <a:gd name="connsiteY6" fmla="*/ 170166 h 328066"/>
              <a:gd name="connsiteX7" fmla="*/ 182233 w 366323"/>
              <a:gd name="connsiteY7" fmla="*/ 170267 h 328066"/>
              <a:gd name="connsiteX8" fmla="*/ 360722 w 366323"/>
              <a:gd name="connsiteY8" fmla="*/ 188733 h 328066"/>
              <a:gd name="connsiteX9" fmla="*/ 362238 w 366323"/>
              <a:gd name="connsiteY9" fmla="*/ 188868 h 328066"/>
              <a:gd name="connsiteX10" fmla="*/ 365709 w 366323"/>
              <a:gd name="connsiteY10" fmla="*/ 195674 h 328066"/>
              <a:gd name="connsiteX11" fmla="*/ 172899 w 366323"/>
              <a:gd name="connsiteY11" fmla="*/ 118139 h 328066"/>
              <a:gd name="connsiteX12" fmla="*/ 108640 w 366323"/>
              <a:gd name="connsiteY12" fmla="*/ 118139 h 328066"/>
              <a:gd name="connsiteX13" fmla="*/ 108640 w 366323"/>
              <a:gd name="connsiteY13" fmla="*/ 82623 h 328066"/>
              <a:gd name="connsiteX14" fmla="*/ 172899 w 366323"/>
              <a:gd name="connsiteY14" fmla="*/ 82623 h 328066"/>
              <a:gd name="connsiteX15" fmla="*/ 172899 w 366323"/>
              <a:gd name="connsiteY15" fmla="*/ 118139 h 328066"/>
              <a:gd name="connsiteX16" fmla="*/ 108640 w 366323"/>
              <a:gd name="connsiteY16" fmla="*/ 136874 h 328066"/>
              <a:gd name="connsiteX17" fmla="*/ 108640 w 366323"/>
              <a:gd name="connsiteY17" fmla="*/ 158979 h 328066"/>
              <a:gd name="connsiteX18" fmla="*/ 111639 w 366323"/>
              <a:gd name="connsiteY18" fmla="*/ 158709 h 328066"/>
              <a:gd name="connsiteX19" fmla="*/ 172933 w 366323"/>
              <a:gd name="connsiteY19" fmla="*/ 152240 h 328066"/>
              <a:gd name="connsiteX20" fmla="*/ 172933 w 366323"/>
              <a:gd name="connsiteY20" fmla="*/ 136874 h 328066"/>
              <a:gd name="connsiteX21" fmla="*/ 108674 w 366323"/>
              <a:gd name="connsiteY21" fmla="*/ 136874 h 328066"/>
              <a:gd name="connsiteX22" fmla="*/ 89905 w 366323"/>
              <a:gd name="connsiteY22" fmla="*/ 118139 h 328066"/>
              <a:gd name="connsiteX23" fmla="*/ 26118 w 366323"/>
              <a:gd name="connsiteY23" fmla="*/ 118139 h 328066"/>
              <a:gd name="connsiteX24" fmla="*/ 26118 w 366323"/>
              <a:gd name="connsiteY24" fmla="*/ 82623 h 328066"/>
              <a:gd name="connsiteX25" fmla="*/ 89905 w 366323"/>
              <a:gd name="connsiteY25" fmla="*/ 82623 h 328066"/>
              <a:gd name="connsiteX26" fmla="*/ 89905 w 366323"/>
              <a:gd name="connsiteY26" fmla="*/ 118139 h 328066"/>
              <a:gd name="connsiteX27" fmla="*/ 26085 w 366323"/>
              <a:gd name="connsiteY27" fmla="*/ 136874 h 328066"/>
              <a:gd name="connsiteX28" fmla="*/ 26085 w 366323"/>
              <a:gd name="connsiteY28" fmla="*/ 167706 h 328066"/>
              <a:gd name="connsiteX29" fmla="*/ 89872 w 366323"/>
              <a:gd name="connsiteY29" fmla="*/ 161001 h 328066"/>
              <a:gd name="connsiteX30" fmla="*/ 89872 w 366323"/>
              <a:gd name="connsiteY30" fmla="*/ 136874 h 328066"/>
              <a:gd name="connsiteX31" fmla="*/ 26085 w 366323"/>
              <a:gd name="connsiteY31" fmla="*/ 136874 h 328066"/>
              <a:gd name="connsiteX32" fmla="*/ 272910 w 366323"/>
              <a:gd name="connsiteY32" fmla="*/ 0 h 328066"/>
              <a:gd name="connsiteX33" fmla="*/ 272910 w 366323"/>
              <a:gd name="connsiteY33" fmla="*/ 28103 h 328066"/>
              <a:gd name="connsiteX34" fmla="*/ 235439 w 366323"/>
              <a:gd name="connsiteY34" fmla="*/ 28103 h 328066"/>
              <a:gd name="connsiteX35" fmla="*/ 235439 w 366323"/>
              <a:gd name="connsiteY35" fmla="*/ 63888 h 328066"/>
              <a:gd name="connsiteX36" fmla="*/ 132396 w 366323"/>
              <a:gd name="connsiteY36" fmla="*/ 63888 h 328066"/>
              <a:gd name="connsiteX37" fmla="*/ 132396 w 366323"/>
              <a:gd name="connsiteY37" fmla="*/ 28103 h 328066"/>
              <a:gd name="connsiteX38" fmla="*/ 94926 w 366323"/>
              <a:gd name="connsiteY38" fmla="*/ 28103 h 328066"/>
              <a:gd name="connsiteX39" fmla="*/ 94926 w 366323"/>
              <a:gd name="connsiteY39" fmla="*/ 0 h 328066"/>
              <a:gd name="connsiteX40" fmla="*/ 272943 w 366323"/>
              <a:gd name="connsiteY40" fmla="*/ 0 h 328066"/>
              <a:gd name="connsiteX41" fmla="*/ 342021 w 366323"/>
              <a:gd name="connsiteY41" fmla="*/ 82623 h 328066"/>
              <a:gd name="connsiteX42" fmla="*/ 275167 w 366323"/>
              <a:gd name="connsiteY42" fmla="*/ 82623 h 328066"/>
              <a:gd name="connsiteX43" fmla="*/ 275167 w 366323"/>
              <a:gd name="connsiteY43" fmla="*/ 118139 h 328066"/>
              <a:gd name="connsiteX44" fmla="*/ 342021 w 366323"/>
              <a:gd name="connsiteY44" fmla="*/ 118139 h 328066"/>
              <a:gd name="connsiteX45" fmla="*/ 342021 w 366323"/>
              <a:gd name="connsiteY45" fmla="*/ 82623 h 328066"/>
              <a:gd name="connsiteX46" fmla="*/ 342021 w 366323"/>
              <a:gd name="connsiteY46" fmla="*/ 136874 h 328066"/>
              <a:gd name="connsiteX47" fmla="*/ 342021 w 366323"/>
              <a:gd name="connsiteY47" fmla="*/ 167976 h 328066"/>
              <a:gd name="connsiteX48" fmla="*/ 277223 w 366323"/>
              <a:gd name="connsiteY48" fmla="*/ 161270 h 328066"/>
              <a:gd name="connsiteX49" fmla="*/ 275167 w 366323"/>
              <a:gd name="connsiteY49" fmla="*/ 161034 h 328066"/>
              <a:gd name="connsiteX50" fmla="*/ 275167 w 366323"/>
              <a:gd name="connsiteY50" fmla="*/ 136874 h 328066"/>
              <a:gd name="connsiteX51" fmla="*/ 342021 w 366323"/>
              <a:gd name="connsiteY51" fmla="*/ 136874 h 328066"/>
              <a:gd name="connsiteX52" fmla="*/ 256432 w 366323"/>
              <a:gd name="connsiteY52" fmla="*/ 82623 h 328066"/>
              <a:gd name="connsiteX53" fmla="*/ 191634 w 366323"/>
              <a:gd name="connsiteY53" fmla="*/ 82623 h 328066"/>
              <a:gd name="connsiteX54" fmla="*/ 191634 w 366323"/>
              <a:gd name="connsiteY54" fmla="*/ 118139 h 328066"/>
              <a:gd name="connsiteX55" fmla="*/ 256432 w 366323"/>
              <a:gd name="connsiteY55" fmla="*/ 118139 h 328066"/>
              <a:gd name="connsiteX56" fmla="*/ 256432 w 366323"/>
              <a:gd name="connsiteY56" fmla="*/ 82623 h 328066"/>
              <a:gd name="connsiteX57" fmla="*/ 256432 w 366323"/>
              <a:gd name="connsiteY57" fmla="*/ 136874 h 328066"/>
              <a:gd name="connsiteX58" fmla="*/ 256432 w 366323"/>
              <a:gd name="connsiteY58" fmla="*/ 159147 h 328066"/>
              <a:gd name="connsiteX59" fmla="*/ 194161 w 366323"/>
              <a:gd name="connsiteY59" fmla="*/ 152678 h 328066"/>
              <a:gd name="connsiteX60" fmla="*/ 191634 w 366323"/>
              <a:gd name="connsiteY60" fmla="*/ 152408 h 328066"/>
              <a:gd name="connsiteX61" fmla="*/ 191634 w 366323"/>
              <a:gd name="connsiteY61" fmla="*/ 136908 h 328066"/>
              <a:gd name="connsiteX62" fmla="*/ 256432 w 366323"/>
              <a:gd name="connsiteY62" fmla="*/ 136908 h 328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366323" h="328066">
                <a:moveTo>
                  <a:pt x="365709" y="195674"/>
                </a:moveTo>
                <a:lnTo>
                  <a:pt x="301113" y="328067"/>
                </a:lnTo>
                <a:lnTo>
                  <a:pt x="65273" y="328067"/>
                </a:lnTo>
                <a:lnTo>
                  <a:pt x="610" y="195674"/>
                </a:lnTo>
                <a:cubicBezTo>
                  <a:pt x="-1007" y="192877"/>
                  <a:pt x="745" y="189272"/>
                  <a:pt x="4047" y="188868"/>
                </a:cubicBezTo>
                <a:lnTo>
                  <a:pt x="7316" y="188531"/>
                </a:lnTo>
                <a:lnTo>
                  <a:pt x="181458" y="170166"/>
                </a:lnTo>
                <a:lnTo>
                  <a:pt x="182233" y="170267"/>
                </a:lnTo>
                <a:lnTo>
                  <a:pt x="360722" y="188733"/>
                </a:lnTo>
                <a:lnTo>
                  <a:pt x="362238" y="188868"/>
                </a:lnTo>
                <a:cubicBezTo>
                  <a:pt x="365507" y="189238"/>
                  <a:pt x="367360" y="192844"/>
                  <a:pt x="365709" y="195674"/>
                </a:cubicBezTo>
                <a:moveTo>
                  <a:pt x="172899" y="118139"/>
                </a:moveTo>
                <a:lnTo>
                  <a:pt x="108640" y="118139"/>
                </a:lnTo>
                <a:lnTo>
                  <a:pt x="108640" y="82623"/>
                </a:lnTo>
                <a:lnTo>
                  <a:pt x="172899" y="82623"/>
                </a:lnTo>
                <a:lnTo>
                  <a:pt x="172899" y="118139"/>
                </a:lnTo>
                <a:close/>
                <a:moveTo>
                  <a:pt x="108640" y="136874"/>
                </a:moveTo>
                <a:lnTo>
                  <a:pt x="108640" y="158979"/>
                </a:lnTo>
                <a:lnTo>
                  <a:pt x="111639" y="158709"/>
                </a:lnTo>
                <a:lnTo>
                  <a:pt x="172933" y="152240"/>
                </a:lnTo>
                <a:lnTo>
                  <a:pt x="172933" y="136874"/>
                </a:lnTo>
                <a:lnTo>
                  <a:pt x="108674" y="136874"/>
                </a:lnTo>
                <a:close/>
                <a:moveTo>
                  <a:pt x="89905" y="118139"/>
                </a:moveTo>
                <a:lnTo>
                  <a:pt x="26118" y="118139"/>
                </a:lnTo>
                <a:lnTo>
                  <a:pt x="26118" y="82623"/>
                </a:lnTo>
                <a:lnTo>
                  <a:pt x="89905" y="82623"/>
                </a:lnTo>
                <a:lnTo>
                  <a:pt x="89905" y="118139"/>
                </a:lnTo>
                <a:close/>
                <a:moveTo>
                  <a:pt x="26085" y="136874"/>
                </a:moveTo>
                <a:lnTo>
                  <a:pt x="26085" y="167706"/>
                </a:lnTo>
                <a:lnTo>
                  <a:pt x="89872" y="161001"/>
                </a:lnTo>
                <a:lnTo>
                  <a:pt x="89872" y="136874"/>
                </a:lnTo>
                <a:lnTo>
                  <a:pt x="26085" y="136874"/>
                </a:lnTo>
                <a:close/>
                <a:moveTo>
                  <a:pt x="272910" y="0"/>
                </a:moveTo>
                <a:lnTo>
                  <a:pt x="272910" y="28103"/>
                </a:lnTo>
                <a:lnTo>
                  <a:pt x="235439" y="28103"/>
                </a:lnTo>
                <a:lnTo>
                  <a:pt x="235439" y="63888"/>
                </a:lnTo>
                <a:lnTo>
                  <a:pt x="132396" y="63888"/>
                </a:lnTo>
                <a:lnTo>
                  <a:pt x="132396" y="28103"/>
                </a:lnTo>
                <a:lnTo>
                  <a:pt x="94926" y="28103"/>
                </a:lnTo>
                <a:lnTo>
                  <a:pt x="94926" y="0"/>
                </a:lnTo>
                <a:lnTo>
                  <a:pt x="272943" y="0"/>
                </a:lnTo>
                <a:close/>
                <a:moveTo>
                  <a:pt x="342021" y="82623"/>
                </a:moveTo>
                <a:lnTo>
                  <a:pt x="275167" y="82623"/>
                </a:lnTo>
                <a:lnTo>
                  <a:pt x="275167" y="118139"/>
                </a:lnTo>
                <a:lnTo>
                  <a:pt x="342021" y="118139"/>
                </a:lnTo>
                <a:lnTo>
                  <a:pt x="342021" y="82623"/>
                </a:lnTo>
                <a:close/>
                <a:moveTo>
                  <a:pt x="342021" y="136874"/>
                </a:moveTo>
                <a:lnTo>
                  <a:pt x="342021" y="167976"/>
                </a:lnTo>
                <a:lnTo>
                  <a:pt x="277223" y="161270"/>
                </a:lnTo>
                <a:lnTo>
                  <a:pt x="275167" y="161034"/>
                </a:lnTo>
                <a:lnTo>
                  <a:pt x="275167" y="136874"/>
                </a:lnTo>
                <a:lnTo>
                  <a:pt x="342021" y="136874"/>
                </a:lnTo>
                <a:close/>
                <a:moveTo>
                  <a:pt x="256432" y="82623"/>
                </a:moveTo>
                <a:lnTo>
                  <a:pt x="191634" y="82623"/>
                </a:lnTo>
                <a:lnTo>
                  <a:pt x="191634" y="118139"/>
                </a:lnTo>
                <a:lnTo>
                  <a:pt x="256432" y="118139"/>
                </a:lnTo>
                <a:lnTo>
                  <a:pt x="256432" y="82623"/>
                </a:lnTo>
                <a:close/>
                <a:moveTo>
                  <a:pt x="256432" y="136874"/>
                </a:moveTo>
                <a:lnTo>
                  <a:pt x="256432" y="159147"/>
                </a:lnTo>
                <a:lnTo>
                  <a:pt x="194161" y="152678"/>
                </a:lnTo>
                <a:lnTo>
                  <a:pt x="191634" y="152408"/>
                </a:lnTo>
                <a:lnTo>
                  <a:pt x="191634" y="136908"/>
                </a:lnTo>
                <a:lnTo>
                  <a:pt x="256432" y="136908"/>
                </a:lnTo>
                <a:close/>
              </a:path>
            </a:pathLst>
          </a:custGeom>
          <a:solidFill>
            <a:schemeClr val="bg1"/>
          </a:solidFill>
          <a:ln w="3364" cap="flat">
            <a:noFill/>
            <a:prstDash val="solid"/>
            <a:miter/>
          </a:ln>
        </p:spPr>
        <p:txBody>
          <a:bodyPr rtlCol="0" anchor="ctr"/>
          <a:lstStyle/>
          <a:p>
            <a:endParaRPr lang="en-GB"/>
          </a:p>
        </p:txBody>
      </p:sp>
      <p:sp>
        <p:nvSpPr>
          <p:cNvPr id="16" name="Freeform: Shape 15">
            <a:extLst>
              <a:ext uri="{FF2B5EF4-FFF2-40B4-BE49-F238E27FC236}">
                <a16:creationId xmlns:a16="http://schemas.microsoft.com/office/drawing/2014/main" id="{BA797398-EF3D-6868-25F2-536BA377037C}"/>
              </a:ext>
            </a:extLst>
          </p:cNvPr>
          <p:cNvSpPr/>
          <p:nvPr userDrawn="1"/>
        </p:nvSpPr>
        <p:spPr>
          <a:xfrm>
            <a:off x="3132709" y="2299174"/>
            <a:ext cx="1429447" cy="934645"/>
          </a:xfrm>
          <a:custGeom>
            <a:avLst/>
            <a:gdLst>
              <a:gd name="connsiteX0" fmla="*/ 247937 w 433620"/>
              <a:gd name="connsiteY0" fmla="*/ 170002 h 283524"/>
              <a:gd name="connsiteX1" fmla="*/ 248004 w 433620"/>
              <a:gd name="connsiteY1" fmla="*/ 171215 h 283524"/>
              <a:gd name="connsiteX2" fmla="*/ 247937 w 433620"/>
              <a:gd name="connsiteY2" fmla="*/ 171249 h 283524"/>
              <a:gd name="connsiteX3" fmla="*/ 254575 w 433620"/>
              <a:gd name="connsiteY3" fmla="*/ 283525 h 283524"/>
              <a:gd name="connsiteX4" fmla="*/ 257709 w 433620"/>
              <a:gd name="connsiteY4" fmla="*/ 281773 h 283524"/>
              <a:gd name="connsiteX5" fmla="*/ 277556 w 433620"/>
              <a:gd name="connsiteY5" fmla="*/ 248380 h 283524"/>
              <a:gd name="connsiteX6" fmla="*/ 293595 w 433620"/>
              <a:gd name="connsiteY6" fmla="*/ 147662 h 283524"/>
              <a:gd name="connsiteX7" fmla="*/ 293360 w 433620"/>
              <a:gd name="connsiteY7" fmla="*/ 147763 h 283524"/>
              <a:gd name="connsiteX8" fmla="*/ 293595 w 433620"/>
              <a:gd name="connsiteY8" fmla="*/ 146381 h 283524"/>
              <a:gd name="connsiteX9" fmla="*/ 247971 w 433620"/>
              <a:gd name="connsiteY9" fmla="*/ 169968 h 283524"/>
              <a:gd name="connsiteX10" fmla="*/ 174007 w 433620"/>
              <a:gd name="connsiteY10" fmla="*/ 89637 h 283524"/>
              <a:gd name="connsiteX11" fmla="*/ 239917 w 433620"/>
              <a:gd name="connsiteY11" fmla="*/ 54626 h 283524"/>
              <a:gd name="connsiteX12" fmla="*/ 80703 w 433620"/>
              <a:gd name="connsiteY12" fmla="*/ 5901 h 283524"/>
              <a:gd name="connsiteX13" fmla="*/ 42188 w 433620"/>
              <a:gd name="connsiteY13" fmla="*/ 8530 h 283524"/>
              <a:gd name="connsiteX14" fmla="*/ 39357 w 433620"/>
              <a:gd name="connsiteY14" fmla="*/ 11057 h 283524"/>
              <a:gd name="connsiteX15" fmla="*/ 174007 w 433620"/>
              <a:gd name="connsiteY15" fmla="*/ 89670 h 283524"/>
              <a:gd name="connsiteX16" fmla="*/ 430267 w 433620"/>
              <a:gd name="connsiteY16" fmla="*/ 16314 h 283524"/>
              <a:gd name="connsiteX17" fmla="*/ 389663 w 433620"/>
              <a:gd name="connsiteY17" fmla="*/ 3374 h 283524"/>
              <a:gd name="connsiteX18" fmla="*/ 97348 w 433620"/>
              <a:gd name="connsiteY18" fmla="*/ 154435 h 283524"/>
              <a:gd name="connsiteX19" fmla="*/ 80366 w 433620"/>
              <a:gd name="connsiteY19" fmla="*/ 155479 h 283524"/>
              <a:gd name="connsiteX20" fmla="*/ 15804 w 433620"/>
              <a:gd name="connsiteY20" fmla="*/ 136306 h 283524"/>
              <a:gd name="connsiteX21" fmla="*/ 0 w 433620"/>
              <a:gd name="connsiteY21" fmla="*/ 144494 h 283524"/>
              <a:gd name="connsiteX22" fmla="*/ 96034 w 433620"/>
              <a:gd name="connsiteY22" fmla="*/ 209562 h 283524"/>
              <a:gd name="connsiteX23" fmla="*/ 120835 w 433620"/>
              <a:gd name="connsiteY23" fmla="*/ 210101 h 283524"/>
              <a:gd name="connsiteX24" fmla="*/ 417328 w 433620"/>
              <a:gd name="connsiteY24" fmla="*/ 56884 h 283524"/>
              <a:gd name="connsiteX25" fmla="*/ 430267 w 433620"/>
              <a:gd name="connsiteY25" fmla="*/ 16314 h 283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33620" h="283524">
                <a:moveTo>
                  <a:pt x="247937" y="170002"/>
                </a:moveTo>
                <a:cubicBezTo>
                  <a:pt x="247937" y="170272"/>
                  <a:pt x="248004" y="170878"/>
                  <a:pt x="248004" y="171215"/>
                </a:cubicBezTo>
                <a:cubicBezTo>
                  <a:pt x="248004" y="171215"/>
                  <a:pt x="247937" y="171215"/>
                  <a:pt x="247937" y="171249"/>
                </a:cubicBezTo>
                <a:cubicBezTo>
                  <a:pt x="248914" y="187052"/>
                  <a:pt x="253261" y="260477"/>
                  <a:pt x="254575" y="283525"/>
                </a:cubicBezTo>
                <a:cubicBezTo>
                  <a:pt x="255586" y="282918"/>
                  <a:pt x="256597" y="282346"/>
                  <a:pt x="257709" y="281773"/>
                </a:cubicBezTo>
                <a:cubicBezTo>
                  <a:pt x="269738" y="275539"/>
                  <a:pt x="275096" y="266475"/>
                  <a:pt x="277556" y="248380"/>
                </a:cubicBezTo>
                <a:cubicBezTo>
                  <a:pt x="282375" y="212156"/>
                  <a:pt x="287800" y="180583"/>
                  <a:pt x="293595" y="147662"/>
                </a:cubicBezTo>
                <a:cubicBezTo>
                  <a:pt x="293528" y="147662"/>
                  <a:pt x="293427" y="147763"/>
                  <a:pt x="293360" y="147763"/>
                </a:cubicBezTo>
                <a:cubicBezTo>
                  <a:pt x="293461" y="147325"/>
                  <a:pt x="293528" y="146853"/>
                  <a:pt x="293595" y="146381"/>
                </a:cubicBezTo>
                <a:cubicBezTo>
                  <a:pt x="284127" y="151267"/>
                  <a:pt x="253733" y="166970"/>
                  <a:pt x="247971" y="169968"/>
                </a:cubicBezTo>
                <a:moveTo>
                  <a:pt x="174007" y="89637"/>
                </a:moveTo>
                <a:lnTo>
                  <a:pt x="239917" y="54626"/>
                </a:lnTo>
                <a:cubicBezTo>
                  <a:pt x="226506" y="50616"/>
                  <a:pt x="95428" y="10821"/>
                  <a:pt x="80703" y="5901"/>
                </a:cubicBezTo>
                <a:cubicBezTo>
                  <a:pt x="63416" y="106"/>
                  <a:pt x="53105" y="409"/>
                  <a:pt x="42188" y="8530"/>
                </a:cubicBezTo>
                <a:cubicBezTo>
                  <a:pt x="41244" y="9204"/>
                  <a:pt x="40402" y="9979"/>
                  <a:pt x="39357" y="11057"/>
                </a:cubicBezTo>
                <a:cubicBezTo>
                  <a:pt x="39357" y="11057"/>
                  <a:pt x="149342" y="75787"/>
                  <a:pt x="174007" y="89670"/>
                </a:cubicBezTo>
                <a:moveTo>
                  <a:pt x="430267" y="16314"/>
                </a:moveTo>
                <a:cubicBezTo>
                  <a:pt x="422618" y="1521"/>
                  <a:pt x="404456" y="-4275"/>
                  <a:pt x="389663" y="3374"/>
                </a:cubicBezTo>
                <a:cubicBezTo>
                  <a:pt x="389023" y="3711"/>
                  <a:pt x="120397" y="142540"/>
                  <a:pt x="97348" y="154435"/>
                </a:cubicBezTo>
                <a:cubicBezTo>
                  <a:pt x="90340" y="158040"/>
                  <a:pt x="82556" y="156086"/>
                  <a:pt x="80366" y="155479"/>
                </a:cubicBezTo>
                <a:cubicBezTo>
                  <a:pt x="69819" y="152345"/>
                  <a:pt x="15804" y="136306"/>
                  <a:pt x="15804" y="136306"/>
                </a:cubicBezTo>
                <a:cubicBezTo>
                  <a:pt x="10041" y="139305"/>
                  <a:pt x="5425" y="141664"/>
                  <a:pt x="0" y="144494"/>
                </a:cubicBezTo>
                <a:cubicBezTo>
                  <a:pt x="0" y="144494"/>
                  <a:pt x="68639" y="190961"/>
                  <a:pt x="96034" y="209562"/>
                </a:cubicBezTo>
                <a:cubicBezTo>
                  <a:pt x="104088" y="215020"/>
                  <a:pt x="110625" y="215324"/>
                  <a:pt x="120835" y="210101"/>
                </a:cubicBezTo>
                <a:cubicBezTo>
                  <a:pt x="141052" y="199722"/>
                  <a:pt x="406175" y="62612"/>
                  <a:pt x="417328" y="56884"/>
                </a:cubicBezTo>
                <a:cubicBezTo>
                  <a:pt x="432087" y="49302"/>
                  <a:pt x="437883" y="31072"/>
                  <a:pt x="430267" y="16314"/>
                </a:cubicBezTo>
              </a:path>
            </a:pathLst>
          </a:custGeom>
          <a:solidFill>
            <a:schemeClr val="bg1"/>
          </a:solidFill>
          <a:ln w="3364" cap="flat">
            <a:noFill/>
            <a:prstDash val="solid"/>
            <a:miter/>
          </a:ln>
        </p:spPr>
        <p:txBody>
          <a:bodyPr rtlCol="0" anchor="ctr"/>
          <a:lstStyle/>
          <a:p>
            <a:endParaRPr lang="en-GB"/>
          </a:p>
        </p:txBody>
      </p:sp>
    </p:spTree>
    <p:extLst>
      <p:ext uri="{BB962C8B-B14F-4D97-AF65-F5344CB8AC3E}">
        <p14:creationId xmlns:p14="http://schemas.microsoft.com/office/powerpoint/2010/main" val="1023764643"/>
      </p:ext>
    </p:extLst>
  </p:cSld>
  <p:clrMapOvr>
    <a:masterClrMapping/>
  </p:clrMapOvr>
  <p:transition spd="med">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OUR GLOBAL REACH">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GB"/>
              <a:t>INSERT FOOTER HERE</a:t>
            </a:r>
          </a:p>
        </p:txBody>
      </p:sp>
      <p:sp>
        <p:nvSpPr>
          <p:cNvPr id="4" name="Slide Number Placeholder 3"/>
          <p:cNvSpPr>
            <a:spLocks noGrp="1"/>
          </p:cNvSpPr>
          <p:nvPr>
            <p:ph type="sldNum" sz="quarter" idx="12"/>
          </p:nvPr>
        </p:nvSpPr>
        <p:spPr/>
        <p:txBody>
          <a:bodyPr/>
          <a:lstStyle/>
          <a:p>
            <a:fld id="{8CFE0557-AA98-4E6C-B0C3-581794696B68}" type="slidenum">
              <a:rPr lang="en-GB" smtClean="0"/>
              <a:t>‹#›</a:t>
            </a:fld>
            <a:endParaRPr lang="en-GB"/>
          </a:p>
        </p:txBody>
      </p:sp>
      <p:sp>
        <p:nvSpPr>
          <p:cNvPr id="2" name="Rectangle 1">
            <a:extLst>
              <a:ext uri="{FF2B5EF4-FFF2-40B4-BE49-F238E27FC236}">
                <a16:creationId xmlns:a16="http://schemas.microsoft.com/office/drawing/2014/main" id="{77CDF8D0-5BE7-D4D7-01B0-BF05BF98BAAF}"/>
              </a:ext>
            </a:extLst>
          </p:cNvPr>
          <p:cNvSpPr/>
          <p:nvPr userDrawn="1"/>
        </p:nvSpPr>
        <p:spPr>
          <a:xfrm>
            <a:off x="508000" y="506413"/>
            <a:ext cx="11174413" cy="57134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E737BA55-03EE-191A-6DE1-61114FA1A762}"/>
              </a:ext>
            </a:extLst>
          </p:cNvPr>
          <p:cNvSpPr txBox="1"/>
          <p:nvPr userDrawn="1"/>
        </p:nvSpPr>
        <p:spPr>
          <a:xfrm>
            <a:off x="1396409" y="2989875"/>
            <a:ext cx="1719982" cy="3035446"/>
          </a:xfrm>
          <a:prstGeom prst="rect">
            <a:avLst/>
          </a:prstGeom>
          <a:noFill/>
        </p:spPr>
        <p:txBody>
          <a:bodyPr wrap="square" rtlCol="0">
            <a:spAutoFit/>
          </a:bodyPr>
          <a:lstStyle/>
          <a:p>
            <a:pPr>
              <a:lnSpc>
                <a:spcPct val="120000"/>
              </a:lnSpc>
            </a:pPr>
            <a:r>
              <a:rPr lang="en-GB" sz="800" dirty="0"/>
              <a:t>Abu Dhabi</a:t>
            </a:r>
          </a:p>
          <a:p>
            <a:pPr>
              <a:lnSpc>
                <a:spcPct val="120000"/>
              </a:lnSpc>
            </a:pPr>
            <a:r>
              <a:rPr lang="en-GB" sz="800" dirty="0"/>
              <a:t>British Virgin Islands </a:t>
            </a:r>
          </a:p>
          <a:p>
            <a:pPr>
              <a:lnSpc>
                <a:spcPct val="120000"/>
              </a:lnSpc>
            </a:pPr>
            <a:r>
              <a:rPr lang="en-GB" sz="800" dirty="0"/>
              <a:t>Brussels</a:t>
            </a:r>
          </a:p>
          <a:p>
            <a:pPr>
              <a:lnSpc>
                <a:spcPct val="120000"/>
              </a:lnSpc>
            </a:pPr>
            <a:r>
              <a:rPr lang="en-GB" sz="800" dirty="0"/>
              <a:t>Dubai</a:t>
            </a:r>
          </a:p>
          <a:p>
            <a:pPr>
              <a:lnSpc>
                <a:spcPct val="120000"/>
              </a:lnSpc>
            </a:pPr>
            <a:r>
              <a:rPr lang="en-GB" sz="800" dirty="0"/>
              <a:t>Geneva</a:t>
            </a:r>
          </a:p>
          <a:p>
            <a:pPr>
              <a:lnSpc>
                <a:spcPct val="120000"/>
              </a:lnSpc>
            </a:pPr>
            <a:r>
              <a:rPr lang="en-GB" sz="800" dirty="0"/>
              <a:t>Hong Kong </a:t>
            </a:r>
          </a:p>
          <a:p>
            <a:pPr>
              <a:lnSpc>
                <a:spcPct val="120000"/>
              </a:lnSpc>
            </a:pPr>
            <a:r>
              <a:rPr lang="en-GB" sz="800" dirty="0"/>
              <a:t>Houston</a:t>
            </a:r>
          </a:p>
          <a:p>
            <a:pPr>
              <a:lnSpc>
                <a:spcPct val="120000"/>
              </a:lnSpc>
            </a:pPr>
            <a:r>
              <a:rPr lang="en-GB" sz="800" dirty="0"/>
              <a:t>Kuwait</a:t>
            </a:r>
          </a:p>
          <a:p>
            <a:pPr>
              <a:lnSpc>
                <a:spcPct val="120000"/>
              </a:lnSpc>
            </a:pPr>
            <a:r>
              <a:rPr lang="en-GB" sz="800" dirty="0"/>
              <a:t>London </a:t>
            </a:r>
          </a:p>
          <a:p>
            <a:pPr>
              <a:lnSpc>
                <a:spcPct val="120000"/>
              </a:lnSpc>
            </a:pPr>
            <a:r>
              <a:rPr lang="en-GB" sz="800" dirty="0"/>
              <a:t>Melbourne </a:t>
            </a:r>
          </a:p>
          <a:p>
            <a:pPr>
              <a:lnSpc>
                <a:spcPct val="120000"/>
              </a:lnSpc>
            </a:pPr>
            <a:r>
              <a:rPr lang="en-GB" sz="800" dirty="0"/>
              <a:t>Monaco</a:t>
            </a:r>
          </a:p>
          <a:p>
            <a:pPr>
              <a:lnSpc>
                <a:spcPct val="120000"/>
              </a:lnSpc>
            </a:pPr>
            <a:r>
              <a:rPr lang="en-GB" sz="800" dirty="0"/>
              <a:t>Paris</a:t>
            </a:r>
          </a:p>
          <a:p>
            <a:pPr>
              <a:lnSpc>
                <a:spcPct val="120000"/>
              </a:lnSpc>
            </a:pPr>
            <a:r>
              <a:rPr lang="en-GB" sz="800" dirty="0"/>
              <a:t>Perth</a:t>
            </a:r>
          </a:p>
          <a:p>
            <a:pPr>
              <a:lnSpc>
                <a:spcPct val="120000"/>
              </a:lnSpc>
            </a:pPr>
            <a:r>
              <a:rPr lang="en-GB" sz="800" dirty="0"/>
              <a:t>Piraeus</a:t>
            </a:r>
          </a:p>
          <a:p>
            <a:pPr>
              <a:lnSpc>
                <a:spcPct val="120000"/>
              </a:lnSpc>
            </a:pPr>
            <a:r>
              <a:rPr lang="en-GB" sz="800" dirty="0"/>
              <a:t>Rio de Janeiro </a:t>
            </a:r>
          </a:p>
          <a:p>
            <a:pPr>
              <a:lnSpc>
                <a:spcPct val="120000"/>
              </a:lnSpc>
            </a:pPr>
            <a:r>
              <a:rPr lang="en-GB" sz="800" dirty="0"/>
              <a:t>Riyadh</a:t>
            </a:r>
          </a:p>
          <a:p>
            <a:pPr>
              <a:lnSpc>
                <a:spcPct val="120000"/>
              </a:lnSpc>
            </a:pPr>
            <a:r>
              <a:rPr lang="en-GB" sz="800" dirty="0"/>
              <a:t>São Paulo </a:t>
            </a:r>
          </a:p>
          <a:p>
            <a:pPr>
              <a:lnSpc>
                <a:spcPct val="120000"/>
              </a:lnSpc>
            </a:pPr>
            <a:r>
              <a:rPr lang="en-GB" sz="800" dirty="0"/>
              <a:t>Shanghai </a:t>
            </a:r>
          </a:p>
          <a:p>
            <a:pPr>
              <a:lnSpc>
                <a:spcPct val="120000"/>
              </a:lnSpc>
            </a:pPr>
            <a:r>
              <a:rPr lang="en-GB" sz="800" dirty="0"/>
              <a:t>Singapore</a:t>
            </a:r>
          </a:p>
          <a:p>
            <a:pPr>
              <a:lnSpc>
                <a:spcPct val="120000"/>
              </a:lnSpc>
            </a:pPr>
            <a:r>
              <a:rPr lang="en-GB" sz="800" dirty="0"/>
              <a:t>Sydney</a:t>
            </a:r>
          </a:p>
        </p:txBody>
      </p:sp>
      <p:pic>
        <p:nvPicPr>
          <p:cNvPr id="6" name="Graphic 5">
            <a:extLst>
              <a:ext uri="{FF2B5EF4-FFF2-40B4-BE49-F238E27FC236}">
                <a16:creationId xmlns:a16="http://schemas.microsoft.com/office/drawing/2014/main" id="{3974C6FD-D4E1-83D7-4F7D-39874638AD7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438937" y="1445514"/>
            <a:ext cx="9399182" cy="4608159"/>
          </a:xfrm>
          <a:prstGeom prst="rect">
            <a:avLst/>
          </a:prstGeom>
        </p:spPr>
      </p:pic>
      <p:sp>
        <p:nvSpPr>
          <p:cNvPr id="7" name="Content Placeholder 7">
            <a:extLst>
              <a:ext uri="{FF2B5EF4-FFF2-40B4-BE49-F238E27FC236}">
                <a16:creationId xmlns:a16="http://schemas.microsoft.com/office/drawing/2014/main" id="{3C5DA1A9-AB20-2FFC-4C40-6DB064BC6E65}"/>
              </a:ext>
            </a:extLst>
          </p:cNvPr>
          <p:cNvSpPr txBox="1">
            <a:spLocks/>
          </p:cNvSpPr>
          <p:nvPr userDrawn="1"/>
        </p:nvSpPr>
        <p:spPr>
          <a:xfrm>
            <a:off x="834163" y="709290"/>
            <a:ext cx="7133499" cy="758003"/>
          </a:xfrm>
          <a:prstGeom prst="rect">
            <a:avLst/>
          </a:prstGeom>
        </p:spPr>
        <p:txBody>
          <a:bodyPr>
            <a:normAutofit/>
          </a:bodyPr>
          <a:lstStyle>
            <a:lvl1pPr marL="0" indent="0" algn="l" defTabSz="914400" rtl="0" eaLnBrk="1" latinLnBrk="0" hangingPunct="1">
              <a:lnSpc>
                <a:spcPct val="130000"/>
              </a:lnSpc>
              <a:spcBef>
                <a:spcPts val="300"/>
              </a:spcBef>
              <a:spcAft>
                <a:spcPts val="300"/>
              </a:spcAft>
              <a:buFont typeface="Arial" panose="020B0604020202020204" pitchFamily="34" charset="0"/>
              <a:buNone/>
              <a:defRPr sz="1400" kern="1200">
                <a:solidFill>
                  <a:schemeClr val="tx2"/>
                </a:solidFill>
                <a:latin typeface="+mj-lt"/>
                <a:ea typeface="+mn-ea"/>
                <a:cs typeface="+mn-cs"/>
              </a:defRPr>
            </a:lvl1pPr>
            <a:lvl2pPr marL="0" indent="0" algn="l" defTabSz="914400" rtl="0" eaLnBrk="1" latinLnBrk="0" hangingPunct="1">
              <a:lnSpc>
                <a:spcPct val="130000"/>
              </a:lnSpc>
              <a:spcBef>
                <a:spcPts val="300"/>
              </a:spcBef>
              <a:spcAft>
                <a:spcPts val="300"/>
              </a:spcAft>
              <a:buFont typeface="Arial" panose="020B0604020202020204" pitchFamily="34" charset="0"/>
              <a:buNone/>
              <a:defRPr sz="1100" kern="1200">
                <a:solidFill>
                  <a:schemeClr val="tx1"/>
                </a:solidFill>
                <a:latin typeface="+mn-lt"/>
                <a:ea typeface="+mn-ea"/>
                <a:cs typeface="+mn-cs"/>
              </a:defRPr>
            </a:lvl2pPr>
            <a:lvl3pPr marL="180975" indent="-180975" algn="l" defTabSz="914400" rtl="0" eaLnBrk="1" latinLnBrk="0" hangingPunct="1">
              <a:lnSpc>
                <a:spcPct val="130000"/>
              </a:lnSpc>
              <a:spcBef>
                <a:spcPts val="300"/>
              </a:spcBef>
              <a:spcAft>
                <a:spcPts val="300"/>
              </a:spcAft>
              <a:buClr>
                <a:schemeClr val="tx2"/>
              </a:buClr>
              <a:buSzPct val="105000"/>
              <a:buFont typeface="Arial" panose="020B0604020202020204" pitchFamily="34" charset="0"/>
              <a:buChar char="•"/>
              <a:defRPr sz="1100" kern="1200">
                <a:solidFill>
                  <a:schemeClr val="tx1"/>
                </a:solidFill>
                <a:latin typeface="+mn-lt"/>
                <a:ea typeface="+mn-ea"/>
                <a:cs typeface="+mn-cs"/>
              </a:defRPr>
            </a:lvl3pPr>
            <a:lvl4pPr marL="539750" indent="-180975" algn="l" defTabSz="914400" rtl="0" eaLnBrk="1" latinLnBrk="0" hangingPunct="1">
              <a:lnSpc>
                <a:spcPct val="130000"/>
              </a:lnSpc>
              <a:spcBef>
                <a:spcPts val="300"/>
              </a:spcBef>
              <a:spcAft>
                <a:spcPts val="300"/>
              </a:spcAft>
              <a:buClr>
                <a:schemeClr val="tx2"/>
              </a:buClr>
              <a:buSzPct val="105000"/>
              <a:buFont typeface="Arial" panose="020B0604020202020204" pitchFamily="34" charset="0"/>
              <a:buChar char="•"/>
              <a:defRPr sz="1050" kern="1200">
                <a:solidFill>
                  <a:schemeClr val="tx1"/>
                </a:solidFill>
                <a:latin typeface="+mn-lt"/>
                <a:ea typeface="+mn-ea"/>
                <a:cs typeface="+mn-cs"/>
              </a:defRPr>
            </a:lvl4pPr>
            <a:lvl5pPr marL="898525" indent="-180975" algn="l" defTabSz="914400" rtl="0" eaLnBrk="1" latinLnBrk="0" hangingPunct="1">
              <a:lnSpc>
                <a:spcPct val="130000"/>
              </a:lnSpc>
              <a:spcBef>
                <a:spcPts val="300"/>
              </a:spcBef>
              <a:spcAft>
                <a:spcPts val="300"/>
              </a:spcAft>
              <a:buClr>
                <a:schemeClr val="tx2"/>
              </a:buClr>
              <a:buSzPct val="105000"/>
              <a:buFont typeface="Arial" panose="020B0604020202020204" pitchFamily="34" charset="0"/>
              <a:buChar char="•"/>
              <a:defRPr sz="105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200"/>
              </a:spcBef>
              <a:spcAft>
                <a:spcPts val="200"/>
              </a:spcAft>
            </a:pPr>
            <a:r>
              <a:rPr lang="en-GB" dirty="0"/>
              <a:t>OUR GLOBAL REACH</a:t>
            </a:r>
          </a:p>
          <a:p>
            <a:pPr lvl="1">
              <a:spcBef>
                <a:spcPts val="200"/>
              </a:spcBef>
              <a:spcAft>
                <a:spcPts val="200"/>
              </a:spcAft>
            </a:pPr>
            <a:r>
              <a:rPr lang="en-US" dirty="0"/>
              <a:t>We have 20 offices around the world and also work with top local firms and experts.</a:t>
            </a:r>
            <a:endParaRPr lang="en-GB" dirty="0"/>
          </a:p>
        </p:txBody>
      </p:sp>
    </p:spTree>
    <p:extLst>
      <p:ext uri="{BB962C8B-B14F-4D97-AF65-F5344CB8AC3E}">
        <p14:creationId xmlns:p14="http://schemas.microsoft.com/office/powerpoint/2010/main" val="3351440207"/>
      </p:ext>
    </p:extLst>
  </p:cSld>
  <p:clrMapOvr>
    <a:masterClrMapping/>
  </p:clrMapOvr>
  <p:transition spd="med">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with Icons - INSURNACE">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057256A9-D668-6616-3E46-02AAE2AAF196}"/>
              </a:ext>
            </a:extLst>
          </p:cNvPr>
          <p:cNvSpPr>
            <a:spLocks noGrp="1"/>
          </p:cNvSpPr>
          <p:nvPr>
            <p:ph type="pic" sz="quarter" idx="13" hasCustomPrompt="1"/>
          </p:nvPr>
        </p:nvSpPr>
        <p:spPr>
          <a:xfrm>
            <a:off x="4067176" y="2"/>
            <a:ext cx="8124824" cy="6857999"/>
          </a:xfrm>
          <a:custGeom>
            <a:avLst/>
            <a:gdLst>
              <a:gd name="connsiteX0" fmla="*/ 3500648 w 8124824"/>
              <a:gd name="connsiteY0" fmla="*/ 1154291 h 6857999"/>
              <a:gd name="connsiteX1" fmla="*/ 3500648 w 8124824"/>
              <a:gd name="connsiteY1" fmla="*/ 1224425 h 6857999"/>
              <a:gd name="connsiteX2" fmla="*/ 3519525 w 8124824"/>
              <a:gd name="connsiteY2" fmla="*/ 1224425 h 6857999"/>
              <a:gd name="connsiteX3" fmla="*/ 3593568 w 8124824"/>
              <a:gd name="connsiteY3" fmla="*/ 1297478 h 6857999"/>
              <a:gd name="connsiteX4" fmla="*/ 3519525 w 8124824"/>
              <a:gd name="connsiteY4" fmla="*/ 1370533 h 6857999"/>
              <a:gd name="connsiteX5" fmla="*/ 3445479 w 8124824"/>
              <a:gd name="connsiteY5" fmla="*/ 1297478 h 6857999"/>
              <a:gd name="connsiteX6" fmla="*/ 3407727 w 8124824"/>
              <a:gd name="connsiteY6" fmla="*/ 1297478 h 6857999"/>
              <a:gd name="connsiteX7" fmla="*/ 3519525 w 8124824"/>
              <a:gd name="connsiteY7" fmla="*/ 1407816 h 6857999"/>
              <a:gd name="connsiteX8" fmla="*/ 3519525 w 8124824"/>
              <a:gd name="connsiteY8" fmla="*/ 1407868 h 6857999"/>
              <a:gd name="connsiteX9" fmla="*/ 3631321 w 8124824"/>
              <a:gd name="connsiteY9" fmla="*/ 1297531 h 6857999"/>
              <a:gd name="connsiteX10" fmla="*/ 3538401 w 8124824"/>
              <a:gd name="connsiteY10" fmla="*/ 1188759 h 6857999"/>
              <a:gd name="connsiteX11" fmla="*/ 3538401 w 8124824"/>
              <a:gd name="connsiteY11" fmla="*/ 1154291 h 6857999"/>
              <a:gd name="connsiteX12" fmla="*/ 1479209 w 8124824"/>
              <a:gd name="connsiteY12" fmla="*/ 1074105 h 6857999"/>
              <a:gd name="connsiteX13" fmla="*/ 1408607 w 8124824"/>
              <a:gd name="connsiteY13" fmla="*/ 1110605 h 6857999"/>
              <a:gd name="connsiteX14" fmla="*/ 1408554 w 8124824"/>
              <a:gd name="connsiteY14" fmla="*/ 1110658 h 6857999"/>
              <a:gd name="connsiteX15" fmla="*/ 1408658 w 8124824"/>
              <a:gd name="connsiteY15" fmla="*/ 1112535 h 6857999"/>
              <a:gd name="connsiteX16" fmla="*/ 1408554 w 8124824"/>
              <a:gd name="connsiteY16" fmla="*/ 1112587 h 6857999"/>
              <a:gd name="connsiteX17" fmla="*/ 1418827 w 8124824"/>
              <a:gd name="connsiteY17" fmla="*/ 1286331 h 6857999"/>
              <a:gd name="connsiteX18" fmla="*/ 1423676 w 8124824"/>
              <a:gd name="connsiteY18" fmla="*/ 1283620 h 6857999"/>
              <a:gd name="connsiteX19" fmla="*/ 1454389 w 8124824"/>
              <a:gd name="connsiteY19" fmla="*/ 1231945 h 6857999"/>
              <a:gd name="connsiteX20" fmla="*/ 1479209 w 8124824"/>
              <a:gd name="connsiteY20" fmla="*/ 1076087 h 6857999"/>
              <a:gd name="connsiteX21" fmla="*/ 1478845 w 8124824"/>
              <a:gd name="connsiteY21" fmla="*/ 1076244 h 6857999"/>
              <a:gd name="connsiteX22" fmla="*/ 1479209 w 8124824"/>
              <a:gd name="connsiteY22" fmla="*/ 1074105 h 6857999"/>
              <a:gd name="connsiteX23" fmla="*/ 6746854 w 8124824"/>
              <a:gd name="connsiteY23" fmla="*/ 1051836 h 6857999"/>
              <a:gd name="connsiteX24" fmla="*/ 6477373 w 8124824"/>
              <a:gd name="connsiteY24" fmla="*/ 1080255 h 6857999"/>
              <a:gd name="connsiteX25" fmla="*/ 6472315 w 8124824"/>
              <a:gd name="connsiteY25" fmla="*/ 1080777 h 6857999"/>
              <a:gd name="connsiteX26" fmla="*/ 6466996 w 8124824"/>
              <a:gd name="connsiteY26" fmla="*/ 1091309 h 6857999"/>
              <a:gd name="connsiteX27" fmla="*/ 6567060 w 8124824"/>
              <a:gd name="connsiteY27" fmla="*/ 1296184 h 6857999"/>
              <a:gd name="connsiteX28" fmla="*/ 6932017 w 8124824"/>
              <a:gd name="connsiteY28" fmla="*/ 1296184 h 6857999"/>
              <a:gd name="connsiteX29" fmla="*/ 7031978 w 8124824"/>
              <a:gd name="connsiteY29" fmla="*/ 1091309 h 6857999"/>
              <a:gd name="connsiteX30" fmla="*/ 7026607 w 8124824"/>
              <a:gd name="connsiteY30" fmla="*/ 1080777 h 6857999"/>
              <a:gd name="connsiteX31" fmla="*/ 7024261 w 8124824"/>
              <a:gd name="connsiteY31" fmla="*/ 1080568 h 6857999"/>
              <a:gd name="connsiteX32" fmla="*/ 6748053 w 8124824"/>
              <a:gd name="connsiteY32" fmla="*/ 1051992 h 6857999"/>
              <a:gd name="connsiteX33" fmla="*/ 5674131 w 8124824"/>
              <a:gd name="connsiteY33" fmla="*/ 1045050 h 6857999"/>
              <a:gd name="connsiteX34" fmla="*/ 5707034 w 8124824"/>
              <a:gd name="connsiteY34" fmla="*/ 1060432 h 6857999"/>
              <a:gd name="connsiteX35" fmla="*/ 5714856 w 8124824"/>
              <a:gd name="connsiteY35" fmla="*/ 1074146 h 6857999"/>
              <a:gd name="connsiteX36" fmla="*/ 5717202 w 8124824"/>
              <a:gd name="connsiteY36" fmla="*/ 1087859 h 6857999"/>
              <a:gd name="connsiteX37" fmla="*/ 5717099 w 8124824"/>
              <a:gd name="connsiteY37" fmla="*/ 1087859 h 6857999"/>
              <a:gd name="connsiteX38" fmla="*/ 5717099 w 8124824"/>
              <a:gd name="connsiteY38" fmla="*/ 1088068 h 6857999"/>
              <a:gd name="connsiteX39" fmla="*/ 5700725 w 8124824"/>
              <a:gd name="connsiteY39" fmla="*/ 1121857 h 6857999"/>
              <a:gd name="connsiteX40" fmla="*/ 5694625 w 8124824"/>
              <a:gd name="connsiteY40" fmla="*/ 1126602 h 6857999"/>
              <a:gd name="connsiteX41" fmla="*/ 5701143 w 8124824"/>
              <a:gd name="connsiteY41" fmla="*/ 1181771 h 6857999"/>
              <a:gd name="connsiteX42" fmla="*/ 5646964 w 8124824"/>
              <a:gd name="connsiteY42" fmla="*/ 1181771 h 6857999"/>
              <a:gd name="connsiteX43" fmla="*/ 5653378 w 8124824"/>
              <a:gd name="connsiteY43" fmla="*/ 1126602 h 6857999"/>
              <a:gd name="connsiteX44" fmla="*/ 5647382 w 8124824"/>
              <a:gd name="connsiteY44" fmla="*/ 1121857 h 6857999"/>
              <a:gd name="connsiteX45" fmla="*/ 5631008 w 8124824"/>
              <a:gd name="connsiteY45" fmla="*/ 1088068 h 6857999"/>
              <a:gd name="connsiteX46" fmla="*/ 5631008 w 8124824"/>
              <a:gd name="connsiteY46" fmla="*/ 1087859 h 6857999"/>
              <a:gd name="connsiteX47" fmla="*/ 5633355 w 8124824"/>
              <a:gd name="connsiteY47" fmla="*/ 1074146 h 6857999"/>
              <a:gd name="connsiteX48" fmla="*/ 5641176 w 8124824"/>
              <a:gd name="connsiteY48" fmla="*/ 1060432 h 6857999"/>
              <a:gd name="connsiteX49" fmla="*/ 5674131 w 8124824"/>
              <a:gd name="connsiteY49" fmla="*/ 1045050 h 6857999"/>
              <a:gd name="connsiteX50" fmla="*/ 2527407 w 8124824"/>
              <a:gd name="connsiteY50" fmla="*/ 1036166 h 6857999"/>
              <a:gd name="connsiteX51" fmla="*/ 2463323 w 8124824"/>
              <a:gd name="connsiteY51" fmla="*/ 1229673 h 6857999"/>
              <a:gd name="connsiteX52" fmla="*/ 2684621 w 8124824"/>
              <a:gd name="connsiteY52" fmla="*/ 1229673 h 6857999"/>
              <a:gd name="connsiteX53" fmla="*/ 2684621 w 8124824"/>
              <a:gd name="connsiteY53" fmla="*/ 1036166 h 6857999"/>
              <a:gd name="connsiteX54" fmla="*/ 2718046 w 8124824"/>
              <a:gd name="connsiteY54" fmla="*/ 1036114 h 6857999"/>
              <a:gd name="connsiteX55" fmla="*/ 2718046 w 8124824"/>
              <a:gd name="connsiteY55" fmla="*/ 1229620 h 6857999"/>
              <a:gd name="connsiteX56" fmla="*/ 2782130 w 8124824"/>
              <a:gd name="connsiteY56" fmla="*/ 1229620 h 6857999"/>
              <a:gd name="connsiteX57" fmla="*/ 2359190 w 8124824"/>
              <a:gd name="connsiteY57" fmla="*/ 1034967 h 6857999"/>
              <a:gd name="connsiteX58" fmla="*/ 2359190 w 8124824"/>
              <a:gd name="connsiteY58" fmla="*/ 1228368 h 6857999"/>
              <a:gd name="connsiteX59" fmla="*/ 2423275 w 8124824"/>
              <a:gd name="connsiteY59" fmla="*/ 1228368 h 6857999"/>
              <a:gd name="connsiteX60" fmla="*/ 2168552 w 8124824"/>
              <a:gd name="connsiteY60" fmla="*/ 1034967 h 6857999"/>
              <a:gd name="connsiteX61" fmla="*/ 2104466 w 8124824"/>
              <a:gd name="connsiteY61" fmla="*/ 1228368 h 6857999"/>
              <a:gd name="connsiteX62" fmla="*/ 2325766 w 8124824"/>
              <a:gd name="connsiteY62" fmla="*/ 1228368 h 6857999"/>
              <a:gd name="connsiteX63" fmla="*/ 2325766 w 8124824"/>
              <a:gd name="connsiteY63" fmla="*/ 1034967 h 6857999"/>
              <a:gd name="connsiteX64" fmla="*/ 5674131 w 8124824"/>
              <a:gd name="connsiteY64" fmla="*/ 1017621 h 6857999"/>
              <a:gd name="connsiteX65" fmla="*/ 5609317 w 8124824"/>
              <a:gd name="connsiteY65" fmla="*/ 1060432 h 6857999"/>
              <a:gd name="connsiteX66" fmla="*/ 5604989 w 8124824"/>
              <a:gd name="connsiteY66" fmla="*/ 1074146 h 6857999"/>
              <a:gd name="connsiteX67" fmla="*/ 5603580 w 8124824"/>
              <a:gd name="connsiteY67" fmla="*/ 1087859 h 6857999"/>
              <a:gd name="connsiteX68" fmla="*/ 5603580 w 8124824"/>
              <a:gd name="connsiteY68" fmla="*/ 1088068 h 6857999"/>
              <a:gd name="connsiteX69" fmla="*/ 5624490 w 8124824"/>
              <a:gd name="connsiteY69" fmla="*/ 1138126 h 6857999"/>
              <a:gd name="connsiteX70" fmla="*/ 5616198 w 8124824"/>
              <a:gd name="connsiteY70" fmla="*/ 1209251 h 6857999"/>
              <a:gd name="connsiteX71" fmla="*/ 5732064 w 8124824"/>
              <a:gd name="connsiteY71" fmla="*/ 1209251 h 6857999"/>
              <a:gd name="connsiteX72" fmla="*/ 5723720 w 8124824"/>
              <a:gd name="connsiteY72" fmla="*/ 1138126 h 6857999"/>
              <a:gd name="connsiteX73" fmla="*/ 5744630 w 8124824"/>
              <a:gd name="connsiteY73" fmla="*/ 1088068 h 6857999"/>
              <a:gd name="connsiteX74" fmla="*/ 5744630 w 8124824"/>
              <a:gd name="connsiteY74" fmla="*/ 1087859 h 6857999"/>
              <a:gd name="connsiteX75" fmla="*/ 5743274 w 8124824"/>
              <a:gd name="connsiteY75" fmla="*/ 1074146 h 6857999"/>
              <a:gd name="connsiteX76" fmla="*/ 5738946 w 8124824"/>
              <a:gd name="connsiteY76" fmla="*/ 1060432 h 6857999"/>
              <a:gd name="connsiteX77" fmla="*/ 5674131 w 8124824"/>
              <a:gd name="connsiteY77" fmla="*/ 1017621 h 6857999"/>
              <a:gd name="connsiteX78" fmla="*/ 6762601 w 8124824"/>
              <a:gd name="connsiteY78" fmla="*/ 1000370 h 6857999"/>
              <a:gd name="connsiteX79" fmla="*/ 6762601 w 8124824"/>
              <a:gd name="connsiteY79" fmla="*/ 1024356 h 6857999"/>
              <a:gd name="connsiteX80" fmla="*/ 6766511 w 8124824"/>
              <a:gd name="connsiteY80" fmla="*/ 1024774 h 6857999"/>
              <a:gd name="connsiteX81" fmla="*/ 6862874 w 8124824"/>
              <a:gd name="connsiteY81" fmla="*/ 1034784 h 6857999"/>
              <a:gd name="connsiteX82" fmla="*/ 6862874 w 8124824"/>
              <a:gd name="connsiteY82" fmla="*/ 1000370 h 6857999"/>
              <a:gd name="connsiteX83" fmla="*/ 6891866 w 8124824"/>
              <a:gd name="connsiteY83" fmla="*/ 1000317 h 6857999"/>
              <a:gd name="connsiteX84" fmla="*/ 6891866 w 8124824"/>
              <a:gd name="connsiteY84" fmla="*/ 1037704 h 6857999"/>
              <a:gd name="connsiteX85" fmla="*/ 6895048 w 8124824"/>
              <a:gd name="connsiteY85" fmla="*/ 1038069 h 6857999"/>
              <a:gd name="connsiteX86" fmla="*/ 6995321 w 8124824"/>
              <a:gd name="connsiteY86" fmla="*/ 1048447 h 6857999"/>
              <a:gd name="connsiteX87" fmla="*/ 6995321 w 8124824"/>
              <a:gd name="connsiteY87" fmla="*/ 1000317 h 6857999"/>
              <a:gd name="connsiteX88" fmla="*/ 6634170 w 8124824"/>
              <a:gd name="connsiteY88" fmla="*/ 1000317 h 6857999"/>
              <a:gd name="connsiteX89" fmla="*/ 6634170 w 8124824"/>
              <a:gd name="connsiteY89" fmla="*/ 1034524 h 6857999"/>
              <a:gd name="connsiteX90" fmla="*/ 6638811 w 8124824"/>
              <a:gd name="connsiteY90" fmla="*/ 1034106 h 6857999"/>
              <a:gd name="connsiteX91" fmla="*/ 6733662 w 8124824"/>
              <a:gd name="connsiteY91" fmla="*/ 1024096 h 6857999"/>
              <a:gd name="connsiteX92" fmla="*/ 6733662 w 8124824"/>
              <a:gd name="connsiteY92" fmla="*/ 1000317 h 6857999"/>
              <a:gd name="connsiteX93" fmla="*/ 6634222 w 8124824"/>
              <a:gd name="connsiteY93" fmla="*/ 1000317 h 6857999"/>
              <a:gd name="connsiteX94" fmla="*/ 6506418 w 8124824"/>
              <a:gd name="connsiteY94" fmla="*/ 1000317 h 6857999"/>
              <a:gd name="connsiteX95" fmla="*/ 6506418 w 8124824"/>
              <a:gd name="connsiteY95" fmla="*/ 1048029 h 6857999"/>
              <a:gd name="connsiteX96" fmla="*/ 6605127 w 8124824"/>
              <a:gd name="connsiteY96" fmla="*/ 1037653 h 6857999"/>
              <a:gd name="connsiteX97" fmla="*/ 6605127 w 8124824"/>
              <a:gd name="connsiteY97" fmla="*/ 1000317 h 6857999"/>
              <a:gd name="connsiteX98" fmla="*/ 4629579 w 8124824"/>
              <a:gd name="connsiteY98" fmla="*/ 974096 h 6857999"/>
              <a:gd name="connsiteX99" fmla="*/ 4519033 w 8124824"/>
              <a:gd name="connsiteY99" fmla="*/ 1398184 h 6857999"/>
              <a:gd name="connsiteX100" fmla="*/ 4802384 w 8124824"/>
              <a:gd name="connsiteY100" fmla="*/ 1019096 h 6857999"/>
              <a:gd name="connsiteX101" fmla="*/ 4629631 w 8124824"/>
              <a:gd name="connsiteY101" fmla="*/ 974096 h 6857999"/>
              <a:gd name="connsiteX102" fmla="*/ 5477235 w 8124824"/>
              <a:gd name="connsiteY102" fmla="*/ 961618 h 6857999"/>
              <a:gd name="connsiteX103" fmla="*/ 5871080 w 8124824"/>
              <a:gd name="connsiteY103" fmla="*/ 961618 h 6857999"/>
              <a:gd name="connsiteX104" fmla="*/ 5871080 w 8124824"/>
              <a:gd name="connsiteY104" fmla="*/ 1286111 h 6857999"/>
              <a:gd name="connsiteX105" fmla="*/ 5477235 w 8124824"/>
              <a:gd name="connsiteY105" fmla="*/ 1286111 h 6857999"/>
              <a:gd name="connsiteX106" fmla="*/ 3519732 w 8124824"/>
              <a:gd name="connsiteY106" fmla="*/ 923709 h 6857999"/>
              <a:gd name="connsiteX107" fmla="*/ 3459611 w 8124824"/>
              <a:gd name="connsiteY107" fmla="*/ 983831 h 6857999"/>
              <a:gd name="connsiteX108" fmla="*/ 3519732 w 8124824"/>
              <a:gd name="connsiteY108" fmla="*/ 1043901 h 6857999"/>
              <a:gd name="connsiteX109" fmla="*/ 3579804 w 8124824"/>
              <a:gd name="connsiteY109" fmla="*/ 983831 h 6857999"/>
              <a:gd name="connsiteX110" fmla="*/ 3519732 w 8124824"/>
              <a:gd name="connsiteY110" fmla="*/ 923709 h 6857999"/>
              <a:gd name="connsiteX111" fmla="*/ 6891866 w 8124824"/>
              <a:gd name="connsiteY111" fmla="*/ 916365 h 6857999"/>
              <a:gd name="connsiteX112" fmla="*/ 6891866 w 8124824"/>
              <a:gd name="connsiteY112" fmla="*/ 971325 h 6857999"/>
              <a:gd name="connsiteX113" fmla="*/ 6995321 w 8124824"/>
              <a:gd name="connsiteY113" fmla="*/ 971325 h 6857999"/>
              <a:gd name="connsiteX114" fmla="*/ 6995321 w 8124824"/>
              <a:gd name="connsiteY114" fmla="*/ 916365 h 6857999"/>
              <a:gd name="connsiteX115" fmla="*/ 6762601 w 8124824"/>
              <a:gd name="connsiteY115" fmla="*/ 916365 h 6857999"/>
              <a:gd name="connsiteX116" fmla="*/ 6762601 w 8124824"/>
              <a:gd name="connsiteY116" fmla="*/ 971325 h 6857999"/>
              <a:gd name="connsiteX117" fmla="*/ 6862874 w 8124824"/>
              <a:gd name="connsiteY117" fmla="*/ 971325 h 6857999"/>
              <a:gd name="connsiteX118" fmla="*/ 6862874 w 8124824"/>
              <a:gd name="connsiteY118" fmla="*/ 916365 h 6857999"/>
              <a:gd name="connsiteX119" fmla="*/ 6634170 w 8124824"/>
              <a:gd name="connsiteY119" fmla="*/ 916365 h 6857999"/>
              <a:gd name="connsiteX120" fmla="*/ 6634170 w 8124824"/>
              <a:gd name="connsiteY120" fmla="*/ 971325 h 6857999"/>
              <a:gd name="connsiteX121" fmla="*/ 6733609 w 8124824"/>
              <a:gd name="connsiteY121" fmla="*/ 971325 h 6857999"/>
              <a:gd name="connsiteX122" fmla="*/ 6733609 w 8124824"/>
              <a:gd name="connsiteY122" fmla="*/ 916365 h 6857999"/>
              <a:gd name="connsiteX123" fmla="*/ 6506469 w 8124824"/>
              <a:gd name="connsiteY123" fmla="*/ 916365 h 6857999"/>
              <a:gd name="connsiteX124" fmla="*/ 6506469 w 8124824"/>
              <a:gd name="connsiteY124" fmla="*/ 971325 h 6857999"/>
              <a:gd name="connsiteX125" fmla="*/ 6605178 w 8124824"/>
              <a:gd name="connsiteY125" fmla="*/ 971325 h 6857999"/>
              <a:gd name="connsiteX126" fmla="*/ 6605178 w 8124824"/>
              <a:gd name="connsiteY126" fmla="*/ 916365 h 6857999"/>
              <a:gd name="connsiteX127" fmla="*/ 3519732 w 8124824"/>
              <a:gd name="connsiteY127" fmla="*/ 886166 h 6857999"/>
              <a:gd name="connsiteX128" fmla="*/ 3617398 w 8124824"/>
              <a:gd name="connsiteY128" fmla="*/ 983780 h 6857999"/>
              <a:gd name="connsiteX129" fmla="*/ 3519732 w 8124824"/>
              <a:gd name="connsiteY129" fmla="*/ 1081446 h 6857999"/>
              <a:gd name="connsiteX130" fmla="*/ 3422066 w 8124824"/>
              <a:gd name="connsiteY130" fmla="*/ 983780 h 6857999"/>
              <a:gd name="connsiteX131" fmla="*/ 3519732 w 8124824"/>
              <a:gd name="connsiteY131" fmla="*/ 886166 h 6857999"/>
              <a:gd name="connsiteX132" fmla="*/ 3324452 w 8124824"/>
              <a:gd name="connsiteY132" fmla="*/ 854671 h 6857999"/>
              <a:gd name="connsiteX133" fmla="*/ 3382905 w 8124824"/>
              <a:gd name="connsiteY133" fmla="*/ 1116643 h 6857999"/>
              <a:gd name="connsiteX134" fmla="*/ 3656090 w 8124824"/>
              <a:gd name="connsiteY134" fmla="*/ 1116643 h 6857999"/>
              <a:gd name="connsiteX135" fmla="*/ 3714595 w 8124824"/>
              <a:gd name="connsiteY135" fmla="*/ 854671 h 6857999"/>
              <a:gd name="connsiteX136" fmla="*/ 3324505 w 8124824"/>
              <a:gd name="connsiteY136" fmla="*/ 854671 h 6857999"/>
              <a:gd name="connsiteX137" fmla="*/ 1116267 w 8124824"/>
              <a:gd name="connsiteY137" fmla="*/ 850675 h 6857999"/>
              <a:gd name="connsiteX138" fmla="*/ 1090163 w 8124824"/>
              <a:gd name="connsiteY138" fmla="*/ 860785 h 6857999"/>
              <a:gd name="connsiteX139" fmla="*/ 1085782 w 8124824"/>
              <a:gd name="connsiteY139" fmla="*/ 864695 h 6857999"/>
              <a:gd name="connsiteX140" fmla="*/ 1294150 w 8124824"/>
              <a:gd name="connsiteY140" fmla="*/ 986346 h 6857999"/>
              <a:gd name="connsiteX141" fmla="*/ 1294150 w 8124824"/>
              <a:gd name="connsiteY141" fmla="*/ 986295 h 6857999"/>
              <a:gd name="connsiteX142" fmla="*/ 1396144 w 8124824"/>
              <a:gd name="connsiteY142" fmla="*/ 932117 h 6857999"/>
              <a:gd name="connsiteX143" fmla="*/ 1149764 w 8124824"/>
              <a:gd name="connsiteY143" fmla="*/ 856716 h 6857999"/>
              <a:gd name="connsiteX144" fmla="*/ 1116267 w 8124824"/>
              <a:gd name="connsiteY144" fmla="*/ 850675 h 6857999"/>
              <a:gd name="connsiteX145" fmla="*/ 1645683 w 8124824"/>
              <a:gd name="connsiteY145" fmla="*/ 847722 h 6857999"/>
              <a:gd name="connsiteX146" fmla="*/ 1627872 w 8124824"/>
              <a:gd name="connsiteY146" fmla="*/ 852806 h 6857999"/>
              <a:gd name="connsiteX147" fmla="*/ 1175522 w 8124824"/>
              <a:gd name="connsiteY147" fmla="*/ 1086568 h 6857999"/>
              <a:gd name="connsiteX148" fmla="*/ 1149243 w 8124824"/>
              <a:gd name="connsiteY148" fmla="*/ 1088184 h 6857999"/>
              <a:gd name="connsiteX149" fmla="*/ 1049335 w 8124824"/>
              <a:gd name="connsiteY149" fmla="*/ 1058514 h 6857999"/>
              <a:gd name="connsiteX150" fmla="*/ 1024878 w 8124824"/>
              <a:gd name="connsiteY150" fmla="*/ 1071185 h 6857999"/>
              <a:gd name="connsiteX151" fmla="*/ 1173488 w 8124824"/>
              <a:gd name="connsiteY151" fmla="*/ 1171876 h 6857999"/>
              <a:gd name="connsiteX152" fmla="*/ 1211867 w 8124824"/>
              <a:gd name="connsiteY152" fmla="*/ 1172710 h 6857999"/>
              <a:gd name="connsiteX153" fmla="*/ 1670683 w 8124824"/>
              <a:gd name="connsiteY153" fmla="*/ 935611 h 6857999"/>
              <a:gd name="connsiteX154" fmla="*/ 1690706 w 8124824"/>
              <a:gd name="connsiteY154" fmla="*/ 872830 h 6857999"/>
              <a:gd name="connsiteX155" fmla="*/ 1645683 w 8124824"/>
              <a:gd name="connsiteY155" fmla="*/ 847722 h 6857999"/>
              <a:gd name="connsiteX156" fmla="*/ 2536950 w 8124824"/>
              <a:gd name="connsiteY156" fmla="*/ 805950 h 6857999"/>
              <a:gd name="connsiteX157" fmla="*/ 2536950 w 8124824"/>
              <a:gd name="connsiteY157" fmla="*/ 999352 h 6857999"/>
              <a:gd name="connsiteX158" fmla="*/ 2601034 w 8124824"/>
              <a:gd name="connsiteY158" fmla="*/ 999352 h 6857999"/>
              <a:gd name="connsiteX159" fmla="*/ 2346258 w 8124824"/>
              <a:gd name="connsiteY159" fmla="*/ 805950 h 6857999"/>
              <a:gd name="connsiteX160" fmla="*/ 2332388 w 8124824"/>
              <a:gd name="connsiteY160" fmla="*/ 847718 h 6857999"/>
              <a:gd name="connsiteX161" fmla="*/ 2325819 w 8124824"/>
              <a:gd name="connsiteY161" fmla="*/ 867688 h 6857999"/>
              <a:gd name="connsiteX162" fmla="*/ 2282225 w 8124824"/>
              <a:gd name="connsiteY162" fmla="*/ 999352 h 6857999"/>
              <a:gd name="connsiteX163" fmla="*/ 2503524 w 8124824"/>
              <a:gd name="connsiteY163" fmla="*/ 999352 h 6857999"/>
              <a:gd name="connsiteX164" fmla="*/ 2503524 w 8124824"/>
              <a:gd name="connsiteY164" fmla="*/ 805950 h 6857999"/>
              <a:gd name="connsiteX165" fmla="*/ 2503473 w 8124824"/>
              <a:gd name="connsiteY165" fmla="*/ 805950 h 6857999"/>
              <a:gd name="connsiteX166" fmla="*/ 6612948 w 8124824"/>
              <a:gd name="connsiteY166" fmla="*/ 788508 h 6857999"/>
              <a:gd name="connsiteX167" fmla="*/ 6612948 w 8124824"/>
              <a:gd name="connsiteY167" fmla="*/ 831997 h 6857999"/>
              <a:gd name="connsiteX168" fmla="*/ 6670932 w 8124824"/>
              <a:gd name="connsiteY168" fmla="*/ 831997 h 6857999"/>
              <a:gd name="connsiteX169" fmla="*/ 6670932 w 8124824"/>
              <a:gd name="connsiteY169" fmla="*/ 887373 h 6857999"/>
              <a:gd name="connsiteX170" fmla="*/ 6830388 w 8124824"/>
              <a:gd name="connsiteY170" fmla="*/ 887373 h 6857999"/>
              <a:gd name="connsiteX171" fmla="*/ 6830388 w 8124824"/>
              <a:gd name="connsiteY171" fmla="*/ 831997 h 6857999"/>
              <a:gd name="connsiteX172" fmla="*/ 6888374 w 8124824"/>
              <a:gd name="connsiteY172" fmla="*/ 831997 h 6857999"/>
              <a:gd name="connsiteX173" fmla="*/ 6888374 w 8124824"/>
              <a:gd name="connsiteY173" fmla="*/ 788508 h 6857999"/>
              <a:gd name="connsiteX174" fmla="*/ 5674131 w 8124824"/>
              <a:gd name="connsiteY174" fmla="*/ 779897 h 6857999"/>
              <a:gd name="connsiteX175" fmla="*/ 5828166 w 8124824"/>
              <a:gd name="connsiteY175" fmla="*/ 933931 h 6857999"/>
              <a:gd name="connsiteX176" fmla="*/ 5828166 w 8124824"/>
              <a:gd name="connsiteY176" fmla="*/ 934191 h 6857999"/>
              <a:gd name="connsiteX177" fmla="*/ 5800737 w 8124824"/>
              <a:gd name="connsiteY177" fmla="*/ 934191 h 6857999"/>
              <a:gd name="connsiteX178" fmla="*/ 5800737 w 8124824"/>
              <a:gd name="connsiteY178" fmla="*/ 933931 h 6857999"/>
              <a:gd name="connsiteX179" fmla="*/ 5674131 w 8124824"/>
              <a:gd name="connsiteY179" fmla="*/ 807324 h 6857999"/>
              <a:gd name="connsiteX180" fmla="*/ 5547577 w 8124824"/>
              <a:gd name="connsiteY180" fmla="*/ 933931 h 6857999"/>
              <a:gd name="connsiteX181" fmla="*/ 5547577 w 8124824"/>
              <a:gd name="connsiteY181" fmla="*/ 934191 h 6857999"/>
              <a:gd name="connsiteX182" fmla="*/ 5520150 w 8124824"/>
              <a:gd name="connsiteY182" fmla="*/ 934191 h 6857999"/>
              <a:gd name="connsiteX183" fmla="*/ 5520150 w 8124824"/>
              <a:gd name="connsiteY183" fmla="*/ 933931 h 6857999"/>
              <a:gd name="connsiteX184" fmla="*/ 5674131 w 8124824"/>
              <a:gd name="connsiteY184" fmla="*/ 779897 h 6857999"/>
              <a:gd name="connsiteX185" fmla="*/ 3593568 w 8124824"/>
              <a:gd name="connsiteY185" fmla="*/ 701471 h 6857999"/>
              <a:gd name="connsiteX186" fmla="*/ 3593568 w 8124824"/>
              <a:gd name="connsiteY186" fmla="*/ 817336 h 6857999"/>
              <a:gd name="connsiteX187" fmla="*/ 3631321 w 8124824"/>
              <a:gd name="connsiteY187" fmla="*/ 817336 h 6857999"/>
              <a:gd name="connsiteX188" fmla="*/ 3631321 w 8124824"/>
              <a:gd name="connsiteY188" fmla="*/ 701471 h 6857999"/>
              <a:gd name="connsiteX189" fmla="*/ 3407727 w 8124824"/>
              <a:gd name="connsiteY189" fmla="*/ 701471 h 6857999"/>
              <a:gd name="connsiteX190" fmla="*/ 3407727 w 8124824"/>
              <a:gd name="connsiteY190" fmla="*/ 817336 h 6857999"/>
              <a:gd name="connsiteX191" fmla="*/ 3445532 w 8124824"/>
              <a:gd name="connsiteY191" fmla="*/ 817336 h 6857999"/>
              <a:gd name="connsiteX192" fmla="*/ 3445532 w 8124824"/>
              <a:gd name="connsiteY192" fmla="*/ 701471 h 6857999"/>
              <a:gd name="connsiteX193" fmla="*/ 4658414 w 8124824"/>
              <a:gd name="connsiteY193" fmla="*/ 701330 h 6857999"/>
              <a:gd name="connsiteX194" fmla="*/ 4389090 w 8124824"/>
              <a:gd name="connsiteY194" fmla="*/ 1061593 h 6857999"/>
              <a:gd name="connsiteX195" fmla="*/ 4553344 w 8124824"/>
              <a:gd name="connsiteY195" fmla="*/ 1104351 h 6857999"/>
              <a:gd name="connsiteX196" fmla="*/ 4658414 w 8124824"/>
              <a:gd name="connsiteY196" fmla="*/ 701383 h 6857999"/>
              <a:gd name="connsiteX197" fmla="*/ 5673817 w 8124824"/>
              <a:gd name="connsiteY197" fmla="*/ 591083 h 6857999"/>
              <a:gd name="connsiteX198" fmla="*/ 5220320 w 8124824"/>
              <a:gd name="connsiteY198" fmla="*/ 1044841 h 6857999"/>
              <a:gd name="connsiteX199" fmla="*/ 5673817 w 8124824"/>
              <a:gd name="connsiteY199" fmla="*/ 1498599 h 6857999"/>
              <a:gd name="connsiteX200" fmla="*/ 6127316 w 8124824"/>
              <a:gd name="connsiteY200" fmla="*/ 1044841 h 6857999"/>
              <a:gd name="connsiteX201" fmla="*/ 5673817 w 8124824"/>
              <a:gd name="connsiteY201" fmla="*/ 591083 h 6857999"/>
              <a:gd name="connsiteX202" fmla="*/ 0 w 8124824"/>
              <a:gd name="connsiteY202" fmla="*/ 0 h 6857999"/>
              <a:gd name="connsiteX203" fmla="*/ 8124824 w 8124824"/>
              <a:gd name="connsiteY203" fmla="*/ 0 h 6857999"/>
              <a:gd name="connsiteX204" fmla="*/ 8124824 w 8124824"/>
              <a:gd name="connsiteY204" fmla="*/ 6857999 h 6857999"/>
              <a:gd name="connsiteX205" fmla="*/ 0 w 8124824"/>
              <a:gd name="connsiteY20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Lst>
            <a:rect l="l" t="t" r="r" b="b"/>
            <a:pathLst>
              <a:path w="8124824" h="6857999">
                <a:moveTo>
                  <a:pt x="3500648" y="1154291"/>
                </a:moveTo>
                <a:lnTo>
                  <a:pt x="3500648" y="1224425"/>
                </a:lnTo>
                <a:lnTo>
                  <a:pt x="3519525" y="1224425"/>
                </a:lnTo>
                <a:cubicBezTo>
                  <a:pt x="3560353" y="1224425"/>
                  <a:pt x="3593568" y="1257224"/>
                  <a:pt x="3593568" y="1297478"/>
                </a:cubicBezTo>
                <a:cubicBezTo>
                  <a:pt x="3593568" y="1337734"/>
                  <a:pt x="3560353" y="1370533"/>
                  <a:pt x="3519525" y="1370533"/>
                </a:cubicBezTo>
                <a:cubicBezTo>
                  <a:pt x="3478694" y="1370533"/>
                  <a:pt x="3445479" y="1337734"/>
                  <a:pt x="3445479" y="1297478"/>
                </a:cubicBezTo>
                <a:lnTo>
                  <a:pt x="3407727" y="1297478"/>
                </a:lnTo>
                <a:cubicBezTo>
                  <a:pt x="3407727" y="1358331"/>
                  <a:pt x="3457890" y="1407816"/>
                  <a:pt x="3519525" y="1407816"/>
                </a:cubicBezTo>
                <a:lnTo>
                  <a:pt x="3519525" y="1407868"/>
                </a:lnTo>
                <a:cubicBezTo>
                  <a:pt x="3581159" y="1407868"/>
                  <a:pt x="3631321" y="1358331"/>
                  <a:pt x="3631321" y="1297531"/>
                </a:cubicBezTo>
                <a:cubicBezTo>
                  <a:pt x="3631321" y="1243040"/>
                  <a:pt x="3591066" y="1197623"/>
                  <a:pt x="3538401" y="1188759"/>
                </a:cubicBezTo>
                <a:lnTo>
                  <a:pt x="3538401" y="1154291"/>
                </a:lnTo>
                <a:close/>
                <a:moveTo>
                  <a:pt x="1479209" y="1074105"/>
                </a:moveTo>
                <a:cubicBezTo>
                  <a:pt x="1464558" y="1081666"/>
                  <a:pt x="1417524" y="1105966"/>
                  <a:pt x="1408607" y="1110605"/>
                </a:cubicBezTo>
                <a:lnTo>
                  <a:pt x="1408554" y="1110658"/>
                </a:lnTo>
                <a:cubicBezTo>
                  <a:pt x="1408554" y="1111076"/>
                  <a:pt x="1408658" y="1112013"/>
                  <a:pt x="1408658" y="1112535"/>
                </a:cubicBezTo>
                <a:cubicBezTo>
                  <a:pt x="1408658" y="1112535"/>
                  <a:pt x="1408554" y="1112535"/>
                  <a:pt x="1408554" y="1112587"/>
                </a:cubicBezTo>
                <a:cubicBezTo>
                  <a:pt x="1410066" y="1137042"/>
                  <a:pt x="1416793" y="1250665"/>
                  <a:pt x="1418827" y="1286331"/>
                </a:cubicBezTo>
                <a:cubicBezTo>
                  <a:pt x="1420391" y="1285392"/>
                  <a:pt x="1421956" y="1284507"/>
                  <a:pt x="1423676" y="1283620"/>
                </a:cubicBezTo>
                <a:cubicBezTo>
                  <a:pt x="1442291" y="1273973"/>
                  <a:pt x="1450582" y="1259947"/>
                  <a:pt x="1454389" y="1231945"/>
                </a:cubicBezTo>
                <a:cubicBezTo>
                  <a:pt x="1461846" y="1175890"/>
                  <a:pt x="1470241" y="1127032"/>
                  <a:pt x="1479209" y="1076087"/>
                </a:cubicBezTo>
                <a:cubicBezTo>
                  <a:pt x="1479105" y="1076087"/>
                  <a:pt x="1478949" y="1076244"/>
                  <a:pt x="1478845" y="1076244"/>
                </a:cubicBezTo>
                <a:cubicBezTo>
                  <a:pt x="1479002" y="1075566"/>
                  <a:pt x="1479105" y="1074835"/>
                  <a:pt x="1479209" y="1074105"/>
                </a:cubicBezTo>
                <a:close/>
                <a:moveTo>
                  <a:pt x="6746854" y="1051836"/>
                </a:moveTo>
                <a:lnTo>
                  <a:pt x="6477373" y="1080255"/>
                </a:lnTo>
                <a:lnTo>
                  <a:pt x="6472315" y="1080777"/>
                </a:lnTo>
                <a:cubicBezTo>
                  <a:pt x="6467205" y="1081402"/>
                  <a:pt x="6464494" y="1086981"/>
                  <a:pt x="6466996" y="1091309"/>
                </a:cubicBezTo>
                <a:lnTo>
                  <a:pt x="6567060" y="1296184"/>
                </a:lnTo>
                <a:lnTo>
                  <a:pt x="6932017" y="1296184"/>
                </a:lnTo>
                <a:lnTo>
                  <a:pt x="7031978" y="1091309"/>
                </a:lnTo>
                <a:cubicBezTo>
                  <a:pt x="7034533" y="1086929"/>
                  <a:pt x="7031665" y="1081349"/>
                  <a:pt x="7026607" y="1080777"/>
                </a:cubicBezTo>
                <a:lnTo>
                  <a:pt x="7024261" y="1080568"/>
                </a:lnTo>
                <a:lnTo>
                  <a:pt x="6748053" y="1051992"/>
                </a:lnTo>
                <a:close/>
                <a:moveTo>
                  <a:pt x="5674131" y="1045050"/>
                </a:moveTo>
                <a:cubicBezTo>
                  <a:pt x="5687376" y="1045050"/>
                  <a:pt x="5699160" y="1051047"/>
                  <a:pt x="5707034" y="1060432"/>
                </a:cubicBezTo>
                <a:cubicBezTo>
                  <a:pt x="5710475" y="1064499"/>
                  <a:pt x="5713136" y="1069087"/>
                  <a:pt x="5714856" y="1074146"/>
                </a:cubicBezTo>
                <a:cubicBezTo>
                  <a:pt x="5716368" y="1078474"/>
                  <a:pt x="5717202" y="1083062"/>
                  <a:pt x="5717202" y="1087859"/>
                </a:cubicBezTo>
                <a:lnTo>
                  <a:pt x="5717099" y="1087859"/>
                </a:lnTo>
                <a:lnTo>
                  <a:pt x="5717099" y="1088068"/>
                </a:lnTo>
                <a:cubicBezTo>
                  <a:pt x="5717099" y="1101364"/>
                  <a:pt x="5711102" y="1113619"/>
                  <a:pt x="5700725" y="1121857"/>
                </a:cubicBezTo>
                <a:lnTo>
                  <a:pt x="5694625" y="1126602"/>
                </a:lnTo>
                <a:lnTo>
                  <a:pt x="5701143" y="1181771"/>
                </a:lnTo>
                <a:lnTo>
                  <a:pt x="5646964" y="1181771"/>
                </a:lnTo>
                <a:lnTo>
                  <a:pt x="5653378" y="1126602"/>
                </a:lnTo>
                <a:lnTo>
                  <a:pt x="5647382" y="1121857"/>
                </a:lnTo>
                <a:cubicBezTo>
                  <a:pt x="5636953" y="1113619"/>
                  <a:pt x="5631008" y="1101364"/>
                  <a:pt x="5631008" y="1088068"/>
                </a:cubicBezTo>
                <a:lnTo>
                  <a:pt x="5631008" y="1087859"/>
                </a:lnTo>
                <a:cubicBezTo>
                  <a:pt x="5631008" y="1083062"/>
                  <a:pt x="5631791" y="1078474"/>
                  <a:pt x="5633355" y="1074146"/>
                </a:cubicBezTo>
                <a:cubicBezTo>
                  <a:pt x="5635076" y="1069087"/>
                  <a:pt x="5637735" y="1064499"/>
                  <a:pt x="5641176" y="1060432"/>
                </a:cubicBezTo>
                <a:cubicBezTo>
                  <a:pt x="5649102" y="1051047"/>
                  <a:pt x="5660886" y="1045050"/>
                  <a:pt x="5674131" y="1045050"/>
                </a:cubicBezTo>
                <a:close/>
                <a:moveTo>
                  <a:pt x="2527407" y="1036166"/>
                </a:moveTo>
                <a:lnTo>
                  <a:pt x="2463323" y="1229673"/>
                </a:lnTo>
                <a:lnTo>
                  <a:pt x="2684621" y="1229673"/>
                </a:lnTo>
                <a:lnTo>
                  <a:pt x="2684621" y="1036166"/>
                </a:lnTo>
                <a:close/>
                <a:moveTo>
                  <a:pt x="2718046" y="1036114"/>
                </a:moveTo>
                <a:lnTo>
                  <a:pt x="2718046" y="1229620"/>
                </a:lnTo>
                <a:lnTo>
                  <a:pt x="2782130" y="1229620"/>
                </a:lnTo>
                <a:close/>
                <a:moveTo>
                  <a:pt x="2359190" y="1034967"/>
                </a:moveTo>
                <a:lnTo>
                  <a:pt x="2359190" y="1228368"/>
                </a:lnTo>
                <a:lnTo>
                  <a:pt x="2423275" y="1228368"/>
                </a:lnTo>
                <a:close/>
                <a:moveTo>
                  <a:pt x="2168552" y="1034967"/>
                </a:moveTo>
                <a:lnTo>
                  <a:pt x="2104466" y="1228368"/>
                </a:lnTo>
                <a:lnTo>
                  <a:pt x="2325766" y="1228368"/>
                </a:lnTo>
                <a:lnTo>
                  <a:pt x="2325766" y="1034967"/>
                </a:lnTo>
                <a:close/>
                <a:moveTo>
                  <a:pt x="5674131" y="1017621"/>
                </a:moveTo>
                <a:cubicBezTo>
                  <a:pt x="5645034" y="1017621"/>
                  <a:pt x="5620110" y="1035247"/>
                  <a:pt x="5609317" y="1060432"/>
                </a:cubicBezTo>
                <a:cubicBezTo>
                  <a:pt x="5607387" y="1064760"/>
                  <a:pt x="5605979" y="1069452"/>
                  <a:pt x="5604989" y="1074146"/>
                </a:cubicBezTo>
                <a:cubicBezTo>
                  <a:pt x="5604102" y="1078578"/>
                  <a:pt x="5603580" y="1083219"/>
                  <a:pt x="5603580" y="1087859"/>
                </a:cubicBezTo>
                <a:lnTo>
                  <a:pt x="5603580" y="1088068"/>
                </a:lnTo>
                <a:cubicBezTo>
                  <a:pt x="5603580" y="1107101"/>
                  <a:pt x="5611141" y="1124934"/>
                  <a:pt x="5624490" y="1138126"/>
                </a:cubicBezTo>
                <a:lnTo>
                  <a:pt x="5616198" y="1209251"/>
                </a:lnTo>
                <a:lnTo>
                  <a:pt x="5732064" y="1209251"/>
                </a:lnTo>
                <a:lnTo>
                  <a:pt x="5723720" y="1138126"/>
                </a:lnTo>
                <a:cubicBezTo>
                  <a:pt x="5737069" y="1124934"/>
                  <a:pt x="5744630" y="1107153"/>
                  <a:pt x="5744630" y="1088068"/>
                </a:cubicBezTo>
                <a:lnTo>
                  <a:pt x="5744630" y="1087859"/>
                </a:lnTo>
                <a:cubicBezTo>
                  <a:pt x="5744630" y="1083219"/>
                  <a:pt x="5744161" y="1078578"/>
                  <a:pt x="5743274" y="1074146"/>
                </a:cubicBezTo>
                <a:cubicBezTo>
                  <a:pt x="5742336" y="1069452"/>
                  <a:pt x="5740876" y="1064760"/>
                  <a:pt x="5738946" y="1060432"/>
                </a:cubicBezTo>
                <a:cubicBezTo>
                  <a:pt x="5728205" y="1035247"/>
                  <a:pt x="5703227" y="1017621"/>
                  <a:pt x="5674131" y="1017621"/>
                </a:cubicBezTo>
                <a:close/>
                <a:moveTo>
                  <a:pt x="6762601" y="1000370"/>
                </a:moveTo>
                <a:lnTo>
                  <a:pt x="6762601" y="1024356"/>
                </a:lnTo>
                <a:lnTo>
                  <a:pt x="6766511" y="1024774"/>
                </a:lnTo>
                <a:lnTo>
                  <a:pt x="6862874" y="1034784"/>
                </a:lnTo>
                <a:lnTo>
                  <a:pt x="6862874" y="1000370"/>
                </a:lnTo>
                <a:close/>
                <a:moveTo>
                  <a:pt x="6891866" y="1000317"/>
                </a:moveTo>
                <a:lnTo>
                  <a:pt x="6891866" y="1037704"/>
                </a:lnTo>
                <a:lnTo>
                  <a:pt x="6895048" y="1038069"/>
                </a:lnTo>
                <a:lnTo>
                  <a:pt x="6995321" y="1048447"/>
                </a:lnTo>
                <a:lnTo>
                  <a:pt x="6995321" y="1000317"/>
                </a:lnTo>
                <a:close/>
                <a:moveTo>
                  <a:pt x="6634170" y="1000317"/>
                </a:moveTo>
                <a:lnTo>
                  <a:pt x="6634170" y="1034524"/>
                </a:lnTo>
                <a:lnTo>
                  <a:pt x="6638811" y="1034106"/>
                </a:lnTo>
                <a:lnTo>
                  <a:pt x="6733662" y="1024096"/>
                </a:lnTo>
                <a:lnTo>
                  <a:pt x="6733662" y="1000317"/>
                </a:lnTo>
                <a:lnTo>
                  <a:pt x="6634222" y="1000317"/>
                </a:lnTo>
                <a:close/>
                <a:moveTo>
                  <a:pt x="6506418" y="1000317"/>
                </a:moveTo>
                <a:lnTo>
                  <a:pt x="6506418" y="1048029"/>
                </a:lnTo>
                <a:lnTo>
                  <a:pt x="6605127" y="1037653"/>
                </a:lnTo>
                <a:lnTo>
                  <a:pt x="6605127" y="1000317"/>
                </a:lnTo>
                <a:close/>
                <a:moveTo>
                  <a:pt x="4629579" y="974096"/>
                </a:moveTo>
                <a:lnTo>
                  <a:pt x="4519033" y="1398184"/>
                </a:lnTo>
                <a:lnTo>
                  <a:pt x="4802384" y="1019096"/>
                </a:lnTo>
                <a:lnTo>
                  <a:pt x="4629631" y="974096"/>
                </a:lnTo>
                <a:close/>
                <a:moveTo>
                  <a:pt x="5477235" y="961618"/>
                </a:moveTo>
                <a:lnTo>
                  <a:pt x="5871080" y="961618"/>
                </a:lnTo>
                <a:lnTo>
                  <a:pt x="5871080" y="1286111"/>
                </a:lnTo>
                <a:lnTo>
                  <a:pt x="5477235" y="1286111"/>
                </a:lnTo>
                <a:close/>
                <a:moveTo>
                  <a:pt x="3519732" y="923709"/>
                </a:moveTo>
                <a:cubicBezTo>
                  <a:pt x="3486517" y="923709"/>
                  <a:pt x="3459611" y="950667"/>
                  <a:pt x="3459611" y="983831"/>
                </a:cubicBezTo>
                <a:cubicBezTo>
                  <a:pt x="3459611" y="1016995"/>
                  <a:pt x="3486569" y="1043901"/>
                  <a:pt x="3519732" y="1043901"/>
                </a:cubicBezTo>
                <a:cubicBezTo>
                  <a:pt x="3552896" y="1043901"/>
                  <a:pt x="3579804" y="1016995"/>
                  <a:pt x="3579804" y="983831"/>
                </a:cubicBezTo>
                <a:cubicBezTo>
                  <a:pt x="3579804" y="950616"/>
                  <a:pt x="3552949" y="923709"/>
                  <a:pt x="3519732" y="923709"/>
                </a:cubicBezTo>
                <a:close/>
                <a:moveTo>
                  <a:pt x="6891866" y="916365"/>
                </a:moveTo>
                <a:lnTo>
                  <a:pt x="6891866" y="971325"/>
                </a:lnTo>
                <a:lnTo>
                  <a:pt x="6995321" y="971325"/>
                </a:lnTo>
                <a:lnTo>
                  <a:pt x="6995321" y="916365"/>
                </a:lnTo>
                <a:close/>
                <a:moveTo>
                  <a:pt x="6762601" y="916365"/>
                </a:moveTo>
                <a:lnTo>
                  <a:pt x="6762601" y="971325"/>
                </a:lnTo>
                <a:lnTo>
                  <a:pt x="6862874" y="971325"/>
                </a:lnTo>
                <a:lnTo>
                  <a:pt x="6862874" y="916365"/>
                </a:lnTo>
                <a:close/>
                <a:moveTo>
                  <a:pt x="6634170" y="916365"/>
                </a:moveTo>
                <a:lnTo>
                  <a:pt x="6634170" y="971325"/>
                </a:lnTo>
                <a:lnTo>
                  <a:pt x="6733609" y="971325"/>
                </a:lnTo>
                <a:lnTo>
                  <a:pt x="6733609" y="916365"/>
                </a:lnTo>
                <a:close/>
                <a:moveTo>
                  <a:pt x="6506469" y="916365"/>
                </a:moveTo>
                <a:lnTo>
                  <a:pt x="6506469" y="971325"/>
                </a:lnTo>
                <a:lnTo>
                  <a:pt x="6605178" y="971325"/>
                </a:lnTo>
                <a:lnTo>
                  <a:pt x="6605178" y="916365"/>
                </a:lnTo>
                <a:close/>
                <a:moveTo>
                  <a:pt x="3519732" y="886166"/>
                </a:moveTo>
                <a:cubicBezTo>
                  <a:pt x="3573702" y="886166"/>
                  <a:pt x="3617398" y="929863"/>
                  <a:pt x="3617398" y="983780"/>
                </a:cubicBezTo>
                <a:cubicBezTo>
                  <a:pt x="3617398" y="1037697"/>
                  <a:pt x="3573702" y="1081446"/>
                  <a:pt x="3519732" y="1081446"/>
                </a:cubicBezTo>
                <a:cubicBezTo>
                  <a:pt x="3465764" y="1081446"/>
                  <a:pt x="3422066" y="1037749"/>
                  <a:pt x="3422066" y="983780"/>
                </a:cubicBezTo>
                <a:cubicBezTo>
                  <a:pt x="3422066" y="929811"/>
                  <a:pt x="3465764" y="886166"/>
                  <a:pt x="3519732" y="886166"/>
                </a:cubicBezTo>
                <a:close/>
                <a:moveTo>
                  <a:pt x="3324452" y="854671"/>
                </a:moveTo>
                <a:lnTo>
                  <a:pt x="3382905" y="1116643"/>
                </a:lnTo>
                <a:lnTo>
                  <a:pt x="3656090" y="1116643"/>
                </a:lnTo>
                <a:lnTo>
                  <a:pt x="3714595" y="854671"/>
                </a:lnTo>
                <a:lnTo>
                  <a:pt x="3324505" y="854671"/>
                </a:lnTo>
                <a:close/>
                <a:moveTo>
                  <a:pt x="1116267" y="850675"/>
                </a:moveTo>
                <a:cubicBezTo>
                  <a:pt x="1106823" y="851242"/>
                  <a:pt x="1098610" y="854501"/>
                  <a:pt x="1090163" y="860785"/>
                </a:cubicBezTo>
                <a:cubicBezTo>
                  <a:pt x="1088702" y="861827"/>
                  <a:pt x="1087399" y="863027"/>
                  <a:pt x="1085782" y="864695"/>
                </a:cubicBezTo>
                <a:cubicBezTo>
                  <a:pt x="1085782" y="864695"/>
                  <a:pt x="1255981" y="964863"/>
                  <a:pt x="1294150" y="986346"/>
                </a:cubicBezTo>
                <a:lnTo>
                  <a:pt x="1294150" y="986295"/>
                </a:lnTo>
                <a:lnTo>
                  <a:pt x="1396144" y="932117"/>
                </a:lnTo>
                <a:cubicBezTo>
                  <a:pt x="1375391" y="925911"/>
                  <a:pt x="1172551" y="864330"/>
                  <a:pt x="1149764" y="856716"/>
                </a:cubicBezTo>
                <a:cubicBezTo>
                  <a:pt x="1136389" y="852232"/>
                  <a:pt x="1125712" y="850108"/>
                  <a:pt x="1116267" y="850675"/>
                </a:cubicBezTo>
                <a:close/>
                <a:moveTo>
                  <a:pt x="1645683" y="847722"/>
                </a:moveTo>
                <a:cubicBezTo>
                  <a:pt x="1639644" y="848188"/>
                  <a:pt x="1633595" y="849847"/>
                  <a:pt x="1627872" y="852806"/>
                </a:cubicBezTo>
                <a:cubicBezTo>
                  <a:pt x="1626881" y="853327"/>
                  <a:pt x="1211190" y="1068161"/>
                  <a:pt x="1175522" y="1086568"/>
                </a:cubicBezTo>
                <a:cubicBezTo>
                  <a:pt x="1164677" y="1092147"/>
                  <a:pt x="1152632" y="1089123"/>
                  <a:pt x="1149243" y="1088184"/>
                </a:cubicBezTo>
                <a:cubicBezTo>
                  <a:pt x="1132921" y="1083334"/>
                  <a:pt x="1049335" y="1058514"/>
                  <a:pt x="1049335" y="1058514"/>
                </a:cubicBezTo>
                <a:cubicBezTo>
                  <a:pt x="1040416" y="1063155"/>
                  <a:pt x="1033273" y="1066805"/>
                  <a:pt x="1024878" y="1071185"/>
                </a:cubicBezTo>
                <a:cubicBezTo>
                  <a:pt x="1024878" y="1071185"/>
                  <a:pt x="1131095" y="1143091"/>
                  <a:pt x="1173488" y="1171876"/>
                </a:cubicBezTo>
                <a:cubicBezTo>
                  <a:pt x="1185952" y="1180322"/>
                  <a:pt x="1196068" y="1180792"/>
                  <a:pt x="1211867" y="1172710"/>
                </a:cubicBezTo>
                <a:cubicBezTo>
                  <a:pt x="1243153" y="1156649"/>
                  <a:pt x="1653424" y="944475"/>
                  <a:pt x="1670683" y="935611"/>
                </a:cubicBezTo>
                <a:cubicBezTo>
                  <a:pt x="1693522" y="923878"/>
                  <a:pt x="1702491" y="895668"/>
                  <a:pt x="1690706" y="872830"/>
                </a:cubicBezTo>
                <a:cubicBezTo>
                  <a:pt x="1681828" y="855661"/>
                  <a:pt x="1663800" y="846324"/>
                  <a:pt x="1645683" y="847722"/>
                </a:cubicBezTo>
                <a:close/>
                <a:moveTo>
                  <a:pt x="2536950" y="805950"/>
                </a:moveTo>
                <a:lnTo>
                  <a:pt x="2536950" y="999352"/>
                </a:lnTo>
                <a:lnTo>
                  <a:pt x="2601034" y="999352"/>
                </a:lnTo>
                <a:close/>
                <a:moveTo>
                  <a:pt x="2346258" y="805950"/>
                </a:moveTo>
                <a:lnTo>
                  <a:pt x="2332388" y="847718"/>
                </a:lnTo>
                <a:lnTo>
                  <a:pt x="2325819" y="867688"/>
                </a:lnTo>
                <a:lnTo>
                  <a:pt x="2282225" y="999352"/>
                </a:lnTo>
                <a:lnTo>
                  <a:pt x="2503524" y="999352"/>
                </a:lnTo>
                <a:lnTo>
                  <a:pt x="2503524" y="805950"/>
                </a:lnTo>
                <a:lnTo>
                  <a:pt x="2503473" y="805950"/>
                </a:lnTo>
                <a:close/>
                <a:moveTo>
                  <a:pt x="6612948" y="788508"/>
                </a:moveTo>
                <a:lnTo>
                  <a:pt x="6612948" y="831997"/>
                </a:lnTo>
                <a:lnTo>
                  <a:pt x="6670932" y="831997"/>
                </a:lnTo>
                <a:lnTo>
                  <a:pt x="6670932" y="887373"/>
                </a:lnTo>
                <a:lnTo>
                  <a:pt x="6830388" y="887373"/>
                </a:lnTo>
                <a:lnTo>
                  <a:pt x="6830388" y="831997"/>
                </a:lnTo>
                <a:lnTo>
                  <a:pt x="6888374" y="831997"/>
                </a:lnTo>
                <a:lnTo>
                  <a:pt x="6888374" y="788508"/>
                </a:lnTo>
                <a:close/>
                <a:moveTo>
                  <a:pt x="5674131" y="779897"/>
                </a:moveTo>
                <a:cubicBezTo>
                  <a:pt x="5759021" y="779897"/>
                  <a:pt x="5828166" y="849039"/>
                  <a:pt x="5828166" y="933931"/>
                </a:cubicBezTo>
                <a:lnTo>
                  <a:pt x="5828166" y="934191"/>
                </a:lnTo>
                <a:lnTo>
                  <a:pt x="5800737" y="934191"/>
                </a:lnTo>
                <a:lnTo>
                  <a:pt x="5800737" y="933931"/>
                </a:lnTo>
                <a:cubicBezTo>
                  <a:pt x="5800737" y="864109"/>
                  <a:pt x="5743952" y="807324"/>
                  <a:pt x="5674131" y="807324"/>
                </a:cubicBezTo>
                <a:cubicBezTo>
                  <a:pt x="5604311" y="807324"/>
                  <a:pt x="5547577" y="864109"/>
                  <a:pt x="5547577" y="933931"/>
                </a:cubicBezTo>
                <a:lnTo>
                  <a:pt x="5547577" y="934191"/>
                </a:lnTo>
                <a:lnTo>
                  <a:pt x="5520150" y="934191"/>
                </a:lnTo>
                <a:lnTo>
                  <a:pt x="5520150" y="933931"/>
                </a:lnTo>
                <a:cubicBezTo>
                  <a:pt x="5520150" y="849039"/>
                  <a:pt x="5589240" y="779897"/>
                  <a:pt x="5674131" y="779897"/>
                </a:cubicBezTo>
                <a:close/>
                <a:moveTo>
                  <a:pt x="3593568" y="701471"/>
                </a:moveTo>
                <a:lnTo>
                  <a:pt x="3593568" y="817336"/>
                </a:lnTo>
                <a:cubicBezTo>
                  <a:pt x="3593568" y="817336"/>
                  <a:pt x="3631321" y="817336"/>
                  <a:pt x="3631321" y="817336"/>
                </a:cubicBezTo>
                <a:lnTo>
                  <a:pt x="3631321" y="701471"/>
                </a:lnTo>
                <a:close/>
                <a:moveTo>
                  <a:pt x="3407727" y="701471"/>
                </a:moveTo>
                <a:lnTo>
                  <a:pt x="3407727" y="817336"/>
                </a:lnTo>
                <a:lnTo>
                  <a:pt x="3445532" y="817336"/>
                </a:lnTo>
                <a:lnTo>
                  <a:pt x="3445532" y="701471"/>
                </a:lnTo>
                <a:close/>
                <a:moveTo>
                  <a:pt x="4658414" y="701330"/>
                </a:moveTo>
                <a:lnTo>
                  <a:pt x="4389090" y="1061593"/>
                </a:lnTo>
                <a:lnTo>
                  <a:pt x="4553344" y="1104351"/>
                </a:lnTo>
                <a:lnTo>
                  <a:pt x="4658414" y="701383"/>
                </a:lnTo>
                <a:close/>
                <a:moveTo>
                  <a:pt x="5673817" y="591083"/>
                </a:moveTo>
                <a:cubicBezTo>
                  <a:pt x="5423369" y="591083"/>
                  <a:pt x="5220320" y="794237"/>
                  <a:pt x="5220320" y="1044841"/>
                </a:cubicBezTo>
                <a:cubicBezTo>
                  <a:pt x="5220320" y="1295445"/>
                  <a:pt x="5423369" y="1498599"/>
                  <a:pt x="5673817" y="1498599"/>
                </a:cubicBezTo>
                <a:cubicBezTo>
                  <a:pt x="5924265" y="1498599"/>
                  <a:pt x="6127316" y="1295445"/>
                  <a:pt x="6127316" y="1044841"/>
                </a:cubicBezTo>
                <a:cubicBezTo>
                  <a:pt x="6127316" y="794237"/>
                  <a:pt x="5924265" y="591083"/>
                  <a:pt x="5673817" y="591083"/>
                </a:cubicBezTo>
                <a:close/>
                <a:moveTo>
                  <a:pt x="0" y="0"/>
                </a:moveTo>
                <a:lnTo>
                  <a:pt x="8124824" y="0"/>
                </a:lnTo>
                <a:lnTo>
                  <a:pt x="8124824" y="6857999"/>
                </a:lnTo>
                <a:lnTo>
                  <a:pt x="0" y="6857999"/>
                </a:lnTo>
                <a:close/>
              </a:path>
            </a:pathLst>
          </a:custGeom>
          <a:solidFill>
            <a:schemeClr val="tx1"/>
          </a:solidFill>
        </p:spPr>
        <p:txBody>
          <a:bodyPr vert="horz" wrap="square" lIns="0" tIns="45720" rIns="0" bIns="45720" rtlCol="0" anchor="ctr">
            <a:noAutofit/>
          </a:bodyPr>
          <a:lstStyle>
            <a:lvl1pPr algn="ctr">
              <a:defRPr lang="en-GB" sz="2800" b="0" dirty="0">
                <a:solidFill>
                  <a:schemeClr val="bg1"/>
                </a:solidFill>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US" dirty="0"/>
              <a:t>ADD RELATED IMAGE </a:t>
            </a:r>
            <a:br>
              <a:rPr lang="en-US" dirty="0"/>
            </a:br>
            <a:r>
              <a:rPr lang="en-US" dirty="0"/>
              <a:t>FROM HFW IMAGE LIBRARY</a:t>
            </a:r>
            <a:endParaRPr lang="en-GB" dirty="0"/>
          </a:p>
        </p:txBody>
      </p:sp>
      <p:sp>
        <p:nvSpPr>
          <p:cNvPr id="9" name="Rectangle 8">
            <a:extLst>
              <a:ext uri="{FF2B5EF4-FFF2-40B4-BE49-F238E27FC236}">
                <a16:creationId xmlns:a16="http://schemas.microsoft.com/office/drawing/2014/main" id="{708FD88D-9C74-4D94-62A5-47E768F9DCD7}"/>
              </a:ext>
            </a:extLst>
          </p:cNvPr>
          <p:cNvSpPr/>
          <p:nvPr userDrawn="1"/>
        </p:nvSpPr>
        <p:spPr>
          <a:xfrm>
            <a:off x="0" y="0"/>
            <a:ext cx="406717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Text Placeholder 12">
            <a:extLst>
              <a:ext uri="{FF2B5EF4-FFF2-40B4-BE49-F238E27FC236}">
                <a16:creationId xmlns:a16="http://schemas.microsoft.com/office/drawing/2014/main" id="{BBA3AA40-3440-5851-3972-390D3DEB2219}"/>
              </a:ext>
            </a:extLst>
          </p:cNvPr>
          <p:cNvSpPr>
            <a:spLocks noGrp="1"/>
          </p:cNvSpPr>
          <p:nvPr>
            <p:ph type="body" sz="quarter" idx="14" hasCustomPrompt="1"/>
          </p:nvPr>
        </p:nvSpPr>
        <p:spPr>
          <a:xfrm>
            <a:off x="508939" y="5989638"/>
            <a:ext cx="3387140" cy="230187"/>
          </a:xfrm>
        </p:spPr>
        <p:txBody>
          <a:bodyPr tIns="0" bIns="0">
            <a:noAutofit/>
          </a:bodyPr>
          <a:lstStyle>
            <a:lvl1pPr>
              <a:defRPr sz="1400">
                <a:solidFill>
                  <a:schemeClr val="accent2"/>
                </a:solidFill>
                <a:latin typeface="+mj-lt"/>
              </a:defRPr>
            </a:lvl1pPr>
            <a:lvl2pPr>
              <a:defRPr>
                <a:solidFill>
                  <a:schemeClr val="bg1"/>
                </a:solidFill>
                <a:latin typeface="+mn-lt"/>
              </a:defRPr>
            </a:lvl2pPr>
            <a:lvl3pPr>
              <a:defRPr>
                <a:solidFill>
                  <a:schemeClr val="bg1"/>
                </a:solidFill>
                <a:latin typeface="+mn-lt"/>
              </a:defRPr>
            </a:lvl3pPr>
            <a:lvl4pPr>
              <a:defRPr>
                <a:solidFill>
                  <a:schemeClr val="bg1"/>
                </a:solidFill>
                <a:latin typeface="+mn-lt"/>
              </a:defRPr>
            </a:lvl4pPr>
            <a:lvl5pPr>
              <a:defRPr>
                <a:solidFill>
                  <a:schemeClr val="bg1"/>
                </a:solidFill>
                <a:latin typeface="+mn-lt"/>
              </a:defRPr>
            </a:lvl5pPr>
          </a:lstStyle>
          <a:p>
            <a:pPr lvl="0"/>
            <a:r>
              <a:rPr lang="en-US" dirty="0"/>
              <a:t>DAY MONTH YEAR</a:t>
            </a:r>
            <a:endParaRPr lang="en-GB" dirty="0"/>
          </a:p>
        </p:txBody>
      </p:sp>
      <p:sp>
        <p:nvSpPr>
          <p:cNvPr id="4" name="TextBox 4">
            <a:extLst>
              <a:ext uri="{FF2B5EF4-FFF2-40B4-BE49-F238E27FC236}">
                <a16:creationId xmlns:a16="http://schemas.microsoft.com/office/drawing/2014/main" id="{265B2CA7-EDCD-E4A1-AC81-AB1BF0FA5D17}"/>
              </a:ext>
            </a:extLst>
          </p:cNvPr>
          <p:cNvSpPr txBox="1"/>
          <p:nvPr userDrawn="1"/>
        </p:nvSpPr>
        <p:spPr>
          <a:xfrm>
            <a:off x="12346713" y="109538"/>
            <a:ext cx="1934437" cy="31700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INSERTING IMAGES:</a:t>
            </a:r>
          </a:p>
          <a:p>
            <a:pPr marL="179388" indent="-179388">
              <a:spcBef>
                <a:spcPts val="200"/>
              </a:spcBef>
              <a:spcAft>
                <a:spcPts val="200"/>
              </a:spcAft>
              <a:buFont typeface="+mj-lt"/>
              <a:buAutoNum type="arabicPeriod"/>
            </a:pPr>
            <a:r>
              <a:rPr lang="en-US" sz="900" dirty="0">
                <a:solidFill>
                  <a:schemeClr val="tx1"/>
                </a:solidFill>
                <a:latin typeface="+mn-lt"/>
              </a:rPr>
              <a:t>Simply click the image placeholder and select your image.</a:t>
            </a:r>
          </a:p>
          <a:p>
            <a:pPr marL="179388" indent="-179388">
              <a:spcBef>
                <a:spcPts val="200"/>
              </a:spcBef>
              <a:spcAft>
                <a:spcPts val="200"/>
              </a:spcAft>
              <a:buFont typeface="+mj-lt"/>
              <a:buAutoNum type="arabicPeriod"/>
            </a:pPr>
            <a:r>
              <a:rPr lang="en-US" sz="900" dirty="0">
                <a:solidFill>
                  <a:schemeClr val="tx1"/>
                </a:solidFill>
                <a:latin typeface="+mn-lt"/>
              </a:rPr>
              <a:t>Once your image is inserted into the shape it may be distorted. (Stretched or Squashed)</a:t>
            </a:r>
          </a:p>
          <a:p>
            <a:pPr marL="179388" indent="-179388">
              <a:spcBef>
                <a:spcPts val="200"/>
              </a:spcBef>
              <a:spcAft>
                <a:spcPts val="200"/>
              </a:spcAft>
              <a:buFont typeface="+mj-lt"/>
              <a:buAutoNum type="arabicPeriod"/>
            </a:pPr>
            <a:endParaRPr lang="en-US" sz="900" dirty="0">
              <a:solidFill>
                <a:schemeClr val="tx1"/>
              </a:solidFill>
              <a:latin typeface="+mn-lt"/>
            </a:endParaRPr>
          </a:p>
          <a:p>
            <a:pPr>
              <a:spcBef>
                <a:spcPts val="200"/>
              </a:spcBef>
              <a:spcAft>
                <a:spcPts val="200"/>
              </a:spcAft>
            </a:pPr>
            <a:r>
              <a:rPr lang="en-US" sz="900" b="1" dirty="0">
                <a:solidFill>
                  <a:schemeClr val="tx1"/>
                </a:solidFill>
                <a:latin typeface="+mn-lt"/>
              </a:rPr>
              <a:t>To fix this:</a:t>
            </a:r>
          </a:p>
          <a:p>
            <a:pPr marL="179388" indent="-179388">
              <a:spcBef>
                <a:spcPts val="200"/>
              </a:spcBef>
              <a:spcAft>
                <a:spcPts val="200"/>
              </a:spcAft>
              <a:buFont typeface="+mj-lt"/>
              <a:buAutoNum type="arabicPeriod"/>
            </a:pPr>
            <a:r>
              <a:rPr lang="en-US" sz="900" dirty="0">
                <a:solidFill>
                  <a:schemeClr val="tx1"/>
                </a:solidFill>
                <a:latin typeface="+mn-lt"/>
              </a:rPr>
              <a:t>Click on the image and from the top menu under </a:t>
            </a:r>
            <a:r>
              <a:rPr lang="en-US" sz="900" b="1" dirty="0">
                <a:solidFill>
                  <a:schemeClr val="tx1"/>
                </a:solidFill>
                <a:latin typeface="+mn-lt"/>
              </a:rPr>
              <a:t>PICTURE FORMAT </a:t>
            </a:r>
            <a:r>
              <a:rPr lang="en-US" sz="900" dirty="0">
                <a:solidFill>
                  <a:schemeClr val="tx1"/>
                </a:solidFill>
                <a:latin typeface="+mn-lt"/>
              </a:rPr>
              <a:t>select the </a:t>
            </a:r>
            <a:r>
              <a:rPr lang="en-US" sz="900" b="1" dirty="0">
                <a:solidFill>
                  <a:schemeClr val="tx1"/>
                </a:solidFill>
                <a:latin typeface="+mn-lt"/>
              </a:rPr>
              <a:t>CROP</a:t>
            </a:r>
            <a:r>
              <a:rPr lang="en-US" sz="900" dirty="0">
                <a:solidFill>
                  <a:schemeClr val="tx1"/>
                </a:solidFill>
                <a:latin typeface="+mn-lt"/>
              </a:rPr>
              <a:t> on the right and from the drop down menu select </a:t>
            </a:r>
            <a:r>
              <a:rPr lang="en-US" sz="900" b="1" kern="1200" dirty="0">
                <a:solidFill>
                  <a:schemeClr val="tx1"/>
                </a:solidFill>
                <a:latin typeface="+mn-lt"/>
                <a:ea typeface="+mn-ea"/>
                <a:cs typeface="+mn-cs"/>
              </a:rPr>
              <a:t>FILL</a:t>
            </a:r>
          </a:p>
          <a:p>
            <a:pPr marL="179388" indent="-179388">
              <a:spcBef>
                <a:spcPts val="200"/>
              </a:spcBef>
              <a:spcAft>
                <a:spcPts val="200"/>
              </a:spcAft>
              <a:buFont typeface="+mj-lt"/>
              <a:buAutoNum type="arabicPeriod"/>
            </a:pPr>
            <a:r>
              <a:rPr lang="en-US" sz="900" b="0" kern="1200" dirty="0">
                <a:solidFill>
                  <a:schemeClr val="tx1"/>
                </a:solidFill>
                <a:latin typeface="+mn-lt"/>
                <a:ea typeface="+mn-ea"/>
                <a:cs typeface="+mn-cs"/>
              </a:rPr>
              <a:t>From here you can move the image within the shape for best visual appearance</a:t>
            </a:r>
          </a:p>
        </p:txBody>
      </p:sp>
      <p:sp>
        <p:nvSpPr>
          <p:cNvPr id="10" name="Title 1">
            <a:extLst>
              <a:ext uri="{FF2B5EF4-FFF2-40B4-BE49-F238E27FC236}">
                <a16:creationId xmlns:a16="http://schemas.microsoft.com/office/drawing/2014/main" id="{1D9960C9-AE88-FF64-7340-9EC8DF655E87}"/>
              </a:ext>
            </a:extLst>
          </p:cNvPr>
          <p:cNvSpPr>
            <a:spLocks noGrp="1"/>
          </p:cNvSpPr>
          <p:nvPr>
            <p:ph type="ctrTitle" hasCustomPrompt="1"/>
          </p:nvPr>
        </p:nvSpPr>
        <p:spPr>
          <a:xfrm>
            <a:off x="508939" y="2430692"/>
            <a:ext cx="2792526" cy="2387600"/>
          </a:xfrm>
        </p:spPr>
        <p:txBody>
          <a:bodyPr vert="horz" lIns="0" tIns="0" rIns="0" bIns="0" rtlCol="0" anchor="t" anchorCtr="0">
            <a:noAutofit/>
          </a:bodyPr>
          <a:lstStyle>
            <a:lvl1pPr>
              <a:lnSpc>
                <a:spcPct val="100000"/>
              </a:lnSpc>
              <a:defRPr lang="en-US" sz="3300" dirty="0">
                <a:solidFill>
                  <a:schemeClr val="bg1"/>
                </a:solidFill>
              </a:defRPr>
            </a:lvl1pPr>
          </a:lstStyle>
          <a:p>
            <a:pPr lvl="0"/>
            <a:r>
              <a:rPr lang="en-US" dirty="0"/>
              <a:t>PROPOSAL TO [CLIENT] FOR LEGAL SERVICES</a:t>
            </a:r>
          </a:p>
        </p:txBody>
      </p:sp>
      <p:sp>
        <p:nvSpPr>
          <p:cNvPr id="2" name="Graphic 13">
            <a:extLst>
              <a:ext uri="{FF2B5EF4-FFF2-40B4-BE49-F238E27FC236}">
                <a16:creationId xmlns:a16="http://schemas.microsoft.com/office/drawing/2014/main" id="{CFFA5D97-5066-3517-3222-0107BC454F60}"/>
              </a:ext>
            </a:extLst>
          </p:cNvPr>
          <p:cNvSpPr>
            <a:spLocks noGrp="1" noRot="1" noMove="1" noResize="1" noEditPoints="1" noAdjustHandles="1" noChangeArrowheads="1" noChangeShapeType="1"/>
          </p:cNvSpPr>
          <p:nvPr userDrawn="1"/>
        </p:nvSpPr>
        <p:spPr>
          <a:xfrm>
            <a:off x="585463" y="588011"/>
            <a:ext cx="1522695" cy="922576"/>
          </a:xfrm>
          <a:custGeom>
            <a:avLst/>
            <a:gdLst>
              <a:gd name="connsiteX0" fmla="*/ 618149 w 1522695"/>
              <a:gd name="connsiteY0" fmla="*/ 39943 h 922576"/>
              <a:gd name="connsiteX1" fmla="*/ 421345 w 1522695"/>
              <a:gd name="connsiteY1" fmla="*/ 876531 h 922576"/>
              <a:gd name="connsiteX2" fmla="*/ 388753 w 1522695"/>
              <a:gd name="connsiteY2" fmla="*/ 915365 h 922576"/>
              <a:gd name="connsiteX3" fmla="*/ 349364 w 1522695"/>
              <a:gd name="connsiteY3" fmla="*/ 922577 h 922576"/>
              <a:gd name="connsiteX4" fmla="*/ 328006 w 1522695"/>
              <a:gd name="connsiteY4" fmla="*/ 897196 h 922576"/>
              <a:gd name="connsiteX5" fmla="*/ 431608 w 1522695"/>
              <a:gd name="connsiteY5" fmla="*/ 465033 h 922576"/>
              <a:gd name="connsiteX6" fmla="*/ 224958 w 1522695"/>
              <a:gd name="connsiteY6" fmla="*/ 504838 h 922576"/>
              <a:gd name="connsiteX7" fmla="*/ 185292 w 1522695"/>
              <a:gd name="connsiteY7" fmla="*/ 702473 h 922576"/>
              <a:gd name="connsiteX8" fmla="*/ 159634 w 1522695"/>
              <a:gd name="connsiteY8" fmla="*/ 738117 h 922576"/>
              <a:gd name="connsiteX9" fmla="*/ 102771 w 1522695"/>
              <a:gd name="connsiteY9" fmla="*/ 719671 h 922576"/>
              <a:gd name="connsiteX10" fmla="*/ 150203 w 1522695"/>
              <a:gd name="connsiteY10" fmla="*/ 519816 h 922576"/>
              <a:gd name="connsiteX11" fmla="*/ 62411 w 1522695"/>
              <a:gd name="connsiteY11" fmla="*/ 533547 h 922576"/>
              <a:gd name="connsiteX12" fmla="*/ 0 w 1522695"/>
              <a:gd name="connsiteY12" fmla="*/ 507750 h 922576"/>
              <a:gd name="connsiteX13" fmla="*/ 163795 w 1522695"/>
              <a:gd name="connsiteY13" fmla="*/ 465588 h 922576"/>
              <a:gd name="connsiteX14" fmla="*/ 234805 w 1522695"/>
              <a:gd name="connsiteY14" fmla="*/ 162547 h 922576"/>
              <a:gd name="connsiteX15" fmla="*/ 258244 w 1522695"/>
              <a:gd name="connsiteY15" fmla="*/ 135502 h 922576"/>
              <a:gd name="connsiteX16" fmla="*/ 300961 w 1522695"/>
              <a:gd name="connsiteY16" fmla="*/ 126625 h 922576"/>
              <a:gd name="connsiteX17" fmla="*/ 316772 w 1522695"/>
              <a:gd name="connsiteY17" fmla="*/ 149232 h 922576"/>
              <a:gd name="connsiteX18" fmla="*/ 239104 w 1522695"/>
              <a:gd name="connsiteY18" fmla="*/ 449084 h 922576"/>
              <a:gd name="connsiteX19" fmla="*/ 447697 w 1522695"/>
              <a:gd name="connsiteY19" fmla="*/ 404564 h 922576"/>
              <a:gd name="connsiteX20" fmla="*/ 542839 w 1522695"/>
              <a:gd name="connsiteY20" fmla="*/ 34950 h 922576"/>
              <a:gd name="connsiteX21" fmla="*/ 557402 w 1522695"/>
              <a:gd name="connsiteY21" fmla="*/ 6935 h 922576"/>
              <a:gd name="connsiteX22" fmla="*/ 592907 w 1522695"/>
              <a:gd name="connsiteY22" fmla="*/ 0 h 922576"/>
              <a:gd name="connsiteX23" fmla="*/ 620506 w 1522695"/>
              <a:gd name="connsiteY23" fmla="*/ 25381 h 922576"/>
              <a:gd name="connsiteX24" fmla="*/ 618426 w 1522695"/>
              <a:gd name="connsiteY24" fmla="*/ 40359 h 922576"/>
              <a:gd name="connsiteX25" fmla="*/ 845048 w 1522695"/>
              <a:gd name="connsiteY25" fmla="*/ 445755 h 922576"/>
              <a:gd name="connsiteX26" fmla="*/ 684582 w 1522695"/>
              <a:gd name="connsiteY26" fmla="*/ 476544 h 922576"/>
              <a:gd name="connsiteX27" fmla="*/ 729241 w 1522695"/>
              <a:gd name="connsiteY27" fmla="*/ 311918 h 922576"/>
              <a:gd name="connsiteX28" fmla="*/ 1087204 w 1522695"/>
              <a:gd name="connsiteY28" fmla="*/ 231060 h 922576"/>
              <a:gd name="connsiteX29" fmla="*/ 1110643 w 1522695"/>
              <a:gd name="connsiteY29" fmla="*/ 218994 h 922576"/>
              <a:gd name="connsiteX30" fmla="*/ 1053363 w 1522695"/>
              <a:gd name="connsiteY30" fmla="*/ 185708 h 922576"/>
              <a:gd name="connsiteX31" fmla="*/ 1029785 w 1522695"/>
              <a:gd name="connsiteY31" fmla="*/ 187927 h 922576"/>
              <a:gd name="connsiteX32" fmla="*/ 636872 w 1522695"/>
              <a:gd name="connsiteY32" fmla="*/ 267536 h 922576"/>
              <a:gd name="connsiteX33" fmla="*/ 610798 w 1522695"/>
              <a:gd name="connsiteY33" fmla="*/ 284595 h 922576"/>
              <a:gd name="connsiteX34" fmla="*/ 652683 w 1522695"/>
              <a:gd name="connsiteY34" fmla="*/ 321210 h 922576"/>
              <a:gd name="connsiteX35" fmla="*/ 524948 w 1522695"/>
              <a:gd name="connsiteY35" fmla="*/ 802192 h 922576"/>
              <a:gd name="connsiteX36" fmla="*/ 537569 w 1522695"/>
              <a:gd name="connsiteY36" fmla="*/ 815646 h 922576"/>
              <a:gd name="connsiteX37" fmla="*/ 595542 w 1522695"/>
              <a:gd name="connsiteY37" fmla="*/ 802886 h 922576"/>
              <a:gd name="connsiteX38" fmla="*/ 616762 w 1522695"/>
              <a:gd name="connsiteY38" fmla="*/ 763914 h 922576"/>
              <a:gd name="connsiteX39" fmla="*/ 669603 w 1522695"/>
              <a:gd name="connsiteY39" fmla="*/ 537430 h 922576"/>
              <a:gd name="connsiteX40" fmla="*/ 808988 w 1522695"/>
              <a:gd name="connsiteY40" fmla="*/ 509276 h 922576"/>
              <a:gd name="connsiteX41" fmla="*/ 859611 w 1522695"/>
              <a:gd name="connsiteY41" fmla="*/ 477238 h 922576"/>
              <a:gd name="connsiteX42" fmla="*/ 872232 w 1522695"/>
              <a:gd name="connsiteY42" fmla="*/ 451996 h 922576"/>
              <a:gd name="connsiteX43" fmla="*/ 845187 w 1522695"/>
              <a:gd name="connsiteY43" fmla="*/ 445755 h 922576"/>
              <a:gd name="connsiteX44" fmla="*/ 1479701 w 1522695"/>
              <a:gd name="connsiteY44" fmla="*/ 159218 h 922576"/>
              <a:gd name="connsiteX45" fmla="*/ 1409801 w 1522695"/>
              <a:gd name="connsiteY45" fmla="*/ 217052 h 922576"/>
              <a:gd name="connsiteX46" fmla="*/ 1212442 w 1522695"/>
              <a:gd name="connsiteY46" fmla="*/ 666691 h 922576"/>
              <a:gd name="connsiteX47" fmla="*/ 1231721 w 1522695"/>
              <a:gd name="connsiteY47" fmla="*/ 323845 h 922576"/>
              <a:gd name="connsiteX48" fmla="*/ 1206895 w 1522695"/>
              <a:gd name="connsiteY48" fmla="*/ 300683 h 922576"/>
              <a:gd name="connsiteX49" fmla="*/ 1151002 w 1522695"/>
              <a:gd name="connsiteY49" fmla="*/ 324677 h 922576"/>
              <a:gd name="connsiteX50" fmla="*/ 1137549 w 1522695"/>
              <a:gd name="connsiteY50" fmla="*/ 353525 h 922576"/>
              <a:gd name="connsiteX51" fmla="*/ 980689 w 1522695"/>
              <a:gd name="connsiteY51" fmla="*/ 605528 h 922576"/>
              <a:gd name="connsiteX52" fmla="*/ 1041574 w 1522695"/>
              <a:gd name="connsiteY52" fmla="*/ 331196 h 922576"/>
              <a:gd name="connsiteX53" fmla="*/ 1029369 w 1522695"/>
              <a:gd name="connsiteY53" fmla="*/ 319962 h 922576"/>
              <a:gd name="connsiteX54" fmla="*/ 988871 w 1522695"/>
              <a:gd name="connsiteY54" fmla="*/ 327728 h 922576"/>
              <a:gd name="connsiteX55" fmla="*/ 954892 w 1522695"/>
              <a:gd name="connsiteY55" fmla="*/ 369752 h 922576"/>
              <a:gd name="connsiteX56" fmla="*/ 880553 w 1522695"/>
              <a:gd name="connsiteY56" fmla="*/ 711766 h 922576"/>
              <a:gd name="connsiteX57" fmla="*/ 902328 w 1522695"/>
              <a:gd name="connsiteY57" fmla="*/ 741862 h 922576"/>
              <a:gd name="connsiteX58" fmla="*/ 960024 w 1522695"/>
              <a:gd name="connsiteY58" fmla="*/ 718423 h 922576"/>
              <a:gd name="connsiteX59" fmla="*/ 1144483 w 1522695"/>
              <a:gd name="connsiteY59" fmla="*/ 419542 h 922576"/>
              <a:gd name="connsiteX60" fmla="*/ 1128950 w 1522695"/>
              <a:gd name="connsiteY60" fmla="*/ 709546 h 922576"/>
              <a:gd name="connsiteX61" fmla="*/ 1162375 w 1522695"/>
              <a:gd name="connsiteY61" fmla="*/ 786798 h 922576"/>
              <a:gd name="connsiteX62" fmla="*/ 1235049 w 1522695"/>
              <a:gd name="connsiteY62" fmla="*/ 740891 h 922576"/>
              <a:gd name="connsiteX63" fmla="*/ 1512016 w 1522695"/>
              <a:gd name="connsiteY63" fmla="*/ 203322 h 922576"/>
              <a:gd name="connsiteX64" fmla="*/ 1522696 w 1522695"/>
              <a:gd name="connsiteY64" fmla="*/ 183766 h 922576"/>
              <a:gd name="connsiteX65" fmla="*/ 1479840 w 1522695"/>
              <a:gd name="connsiteY65" fmla="*/ 159357 h 922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522695" h="922576">
                <a:moveTo>
                  <a:pt x="618149" y="39943"/>
                </a:moveTo>
                <a:cubicBezTo>
                  <a:pt x="568774" y="240214"/>
                  <a:pt x="450887" y="614404"/>
                  <a:pt x="421345" y="876531"/>
                </a:cubicBezTo>
                <a:cubicBezTo>
                  <a:pt x="418849" y="898167"/>
                  <a:pt x="420374" y="906627"/>
                  <a:pt x="388753" y="915365"/>
                </a:cubicBezTo>
                <a:cubicBezTo>
                  <a:pt x="373497" y="919526"/>
                  <a:pt x="359350" y="922577"/>
                  <a:pt x="349364" y="922577"/>
                </a:cubicBezTo>
                <a:cubicBezTo>
                  <a:pt x="333831" y="922577"/>
                  <a:pt x="328006" y="913978"/>
                  <a:pt x="328006" y="897196"/>
                </a:cubicBezTo>
                <a:cubicBezTo>
                  <a:pt x="328006" y="851567"/>
                  <a:pt x="390972" y="623280"/>
                  <a:pt x="431608" y="465033"/>
                </a:cubicBezTo>
                <a:cubicBezTo>
                  <a:pt x="377380" y="475296"/>
                  <a:pt x="300961" y="489998"/>
                  <a:pt x="224958" y="504838"/>
                </a:cubicBezTo>
                <a:cubicBezTo>
                  <a:pt x="206512" y="579870"/>
                  <a:pt x="193336" y="642697"/>
                  <a:pt x="185292" y="702473"/>
                </a:cubicBezTo>
                <a:cubicBezTo>
                  <a:pt x="183350" y="716897"/>
                  <a:pt x="185292" y="730489"/>
                  <a:pt x="159634" y="738117"/>
                </a:cubicBezTo>
                <a:cubicBezTo>
                  <a:pt x="116362" y="751015"/>
                  <a:pt x="100968" y="743803"/>
                  <a:pt x="102771" y="719671"/>
                </a:cubicBezTo>
                <a:cubicBezTo>
                  <a:pt x="105683" y="679589"/>
                  <a:pt x="118443" y="648661"/>
                  <a:pt x="150203" y="519816"/>
                </a:cubicBezTo>
                <a:cubicBezTo>
                  <a:pt x="110676" y="527722"/>
                  <a:pt x="79748" y="533547"/>
                  <a:pt x="62411" y="533547"/>
                </a:cubicBezTo>
                <a:cubicBezTo>
                  <a:pt x="38972" y="533547"/>
                  <a:pt x="0" y="517459"/>
                  <a:pt x="0" y="507750"/>
                </a:cubicBezTo>
                <a:cubicBezTo>
                  <a:pt x="0" y="496239"/>
                  <a:pt x="27184" y="496377"/>
                  <a:pt x="163795" y="465588"/>
                </a:cubicBezTo>
                <a:cubicBezTo>
                  <a:pt x="190146" y="360876"/>
                  <a:pt x="227038" y="219133"/>
                  <a:pt x="234805" y="162547"/>
                </a:cubicBezTo>
                <a:cubicBezTo>
                  <a:pt x="236192" y="152145"/>
                  <a:pt x="239798" y="140633"/>
                  <a:pt x="258244" y="135502"/>
                </a:cubicBezTo>
                <a:cubicBezTo>
                  <a:pt x="269339" y="132451"/>
                  <a:pt x="290004" y="126625"/>
                  <a:pt x="300961" y="126625"/>
                </a:cubicBezTo>
                <a:cubicBezTo>
                  <a:pt x="313304" y="126625"/>
                  <a:pt x="316772" y="137721"/>
                  <a:pt x="316772" y="149232"/>
                </a:cubicBezTo>
                <a:cubicBezTo>
                  <a:pt x="316772" y="170036"/>
                  <a:pt x="273916" y="298048"/>
                  <a:pt x="239104" y="449084"/>
                </a:cubicBezTo>
                <a:cubicBezTo>
                  <a:pt x="309837" y="433689"/>
                  <a:pt x="385424" y="417739"/>
                  <a:pt x="447697" y="404564"/>
                </a:cubicBezTo>
                <a:cubicBezTo>
                  <a:pt x="485421" y="261434"/>
                  <a:pt x="522313" y="121910"/>
                  <a:pt x="542839" y="34950"/>
                </a:cubicBezTo>
                <a:cubicBezTo>
                  <a:pt x="547277" y="16227"/>
                  <a:pt x="546445" y="10679"/>
                  <a:pt x="557402" y="6935"/>
                </a:cubicBezTo>
                <a:cubicBezTo>
                  <a:pt x="562533" y="5132"/>
                  <a:pt x="578205" y="0"/>
                  <a:pt x="592907" y="0"/>
                </a:cubicBezTo>
                <a:cubicBezTo>
                  <a:pt x="607608" y="0"/>
                  <a:pt x="620506" y="5548"/>
                  <a:pt x="620506" y="25381"/>
                </a:cubicBezTo>
                <a:cubicBezTo>
                  <a:pt x="620506" y="29680"/>
                  <a:pt x="619813" y="34673"/>
                  <a:pt x="618426" y="40359"/>
                </a:cubicBezTo>
                <a:close/>
                <a:moveTo>
                  <a:pt x="845048" y="445755"/>
                </a:moveTo>
                <a:cubicBezTo>
                  <a:pt x="796922" y="454076"/>
                  <a:pt x="739920" y="465865"/>
                  <a:pt x="684582" y="476544"/>
                </a:cubicBezTo>
                <a:cubicBezTo>
                  <a:pt x="700670" y="412608"/>
                  <a:pt x="716620" y="352970"/>
                  <a:pt x="729241" y="311918"/>
                </a:cubicBezTo>
                <a:cubicBezTo>
                  <a:pt x="838946" y="287092"/>
                  <a:pt x="1056276" y="236053"/>
                  <a:pt x="1087204" y="231060"/>
                </a:cubicBezTo>
                <a:cubicBezTo>
                  <a:pt x="1104679" y="228148"/>
                  <a:pt x="1110643" y="223155"/>
                  <a:pt x="1110643" y="218994"/>
                </a:cubicBezTo>
                <a:cubicBezTo>
                  <a:pt x="1110643" y="211089"/>
                  <a:pt x="1084985" y="185708"/>
                  <a:pt x="1053363" y="185708"/>
                </a:cubicBezTo>
                <a:cubicBezTo>
                  <a:pt x="1046428" y="185708"/>
                  <a:pt x="1038662" y="186402"/>
                  <a:pt x="1029785" y="187927"/>
                </a:cubicBezTo>
                <a:cubicBezTo>
                  <a:pt x="966542" y="199023"/>
                  <a:pt x="709269" y="252974"/>
                  <a:pt x="636872" y="267536"/>
                </a:cubicBezTo>
                <a:cubicBezTo>
                  <a:pt x="618842" y="271142"/>
                  <a:pt x="610798" y="277661"/>
                  <a:pt x="610798" y="284595"/>
                </a:cubicBezTo>
                <a:cubicBezTo>
                  <a:pt x="610798" y="295136"/>
                  <a:pt x="636317" y="316217"/>
                  <a:pt x="652683" y="321210"/>
                </a:cubicBezTo>
                <a:cubicBezTo>
                  <a:pt x="616623" y="461427"/>
                  <a:pt x="524948" y="770571"/>
                  <a:pt x="524948" y="802192"/>
                </a:cubicBezTo>
                <a:cubicBezTo>
                  <a:pt x="524948" y="809959"/>
                  <a:pt x="527583" y="815646"/>
                  <a:pt x="537569" y="815646"/>
                </a:cubicBezTo>
                <a:cubicBezTo>
                  <a:pt x="551299" y="815646"/>
                  <a:pt x="579176" y="809682"/>
                  <a:pt x="595542" y="802886"/>
                </a:cubicBezTo>
                <a:cubicBezTo>
                  <a:pt x="611908" y="795951"/>
                  <a:pt x="611630" y="787907"/>
                  <a:pt x="616762" y="763914"/>
                </a:cubicBezTo>
                <a:cubicBezTo>
                  <a:pt x="627996" y="712043"/>
                  <a:pt x="648106" y="624945"/>
                  <a:pt x="669603" y="537430"/>
                </a:cubicBezTo>
                <a:cubicBezTo>
                  <a:pt x="735620" y="523422"/>
                  <a:pt x="777505" y="516488"/>
                  <a:pt x="808988" y="509276"/>
                </a:cubicBezTo>
                <a:cubicBezTo>
                  <a:pt x="843661" y="501370"/>
                  <a:pt x="850180" y="491107"/>
                  <a:pt x="859611" y="477238"/>
                </a:cubicBezTo>
                <a:cubicBezTo>
                  <a:pt x="865852" y="468223"/>
                  <a:pt x="872232" y="456850"/>
                  <a:pt x="872232" y="451996"/>
                </a:cubicBezTo>
                <a:cubicBezTo>
                  <a:pt x="872232" y="444368"/>
                  <a:pt x="864742" y="442288"/>
                  <a:pt x="845187" y="445755"/>
                </a:cubicBezTo>
                <a:close/>
                <a:moveTo>
                  <a:pt x="1479701" y="159218"/>
                </a:moveTo>
                <a:cubicBezTo>
                  <a:pt x="1459452" y="159218"/>
                  <a:pt x="1437955" y="171978"/>
                  <a:pt x="1409801" y="217052"/>
                </a:cubicBezTo>
                <a:cubicBezTo>
                  <a:pt x="1369857" y="281128"/>
                  <a:pt x="1274854" y="509553"/>
                  <a:pt x="1212442" y="666691"/>
                </a:cubicBezTo>
                <a:cubicBezTo>
                  <a:pt x="1210639" y="502202"/>
                  <a:pt x="1231721" y="360598"/>
                  <a:pt x="1231721" y="323845"/>
                </a:cubicBezTo>
                <a:cubicBezTo>
                  <a:pt x="1231721" y="305399"/>
                  <a:pt x="1220348" y="300683"/>
                  <a:pt x="1206895" y="300683"/>
                </a:cubicBezTo>
                <a:cubicBezTo>
                  <a:pt x="1188310" y="300683"/>
                  <a:pt x="1160988" y="301516"/>
                  <a:pt x="1151002" y="324677"/>
                </a:cubicBezTo>
                <a:cubicBezTo>
                  <a:pt x="1144483" y="339795"/>
                  <a:pt x="1143374" y="343262"/>
                  <a:pt x="1137549" y="353525"/>
                </a:cubicBezTo>
                <a:cubicBezTo>
                  <a:pt x="1125205" y="375577"/>
                  <a:pt x="1053502" y="501786"/>
                  <a:pt x="980689" y="605528"/>
                </a:cubicBezTo>
                <a:cubicBezTo>
                  <a:pt x="1012588" y="432995"/>
                  <a:pt x="1041574" y="349087"/>
                  <a:pt x="1041574" y="331196"/>
                </a:cubicBezTo>
                <a:cubicBezTo>
                  <a:pt x="1041574" y="322874"/>
                  <a:pt x="1036165" y="319962"/>
                  <a:pt x="1029369" y="319962"/>
                </a:cubicBezTo>
                <a:cubicBezTo>
                  <a:pt x="1021325" y="319962"/>
                  <a:pt x="1000799" y="324816"/>
                  <a:pt x="988871" y="327728"/>
                </a:cubicBezTo>
                <a:cubicBezTo>
                  <a:pt x="974864" y="331196"/>
                  <a:pt x="963768" y="335772"/>
                  <a:pt x="954892" y="369752"/>
                </a:cubicBezTo>
                <a:cubicBezTo>
                  <a:pt x="925905" y="479734"/>
                  <a:pt x="880553" y="665720"/>
                  <a:pt x="880553" y="711766"/>
                </a:cubicBezTo>
                <a:cubicBezTo>
                  <a:pt x="880553" y="731876"/>
                  <a:pt x="884575" y="741862"/>
                  <a:pt x="902328" y="741862"/>
                </a:cubicBezTo>
                <a:cubicBezTo>
                  <a:pt x="921051" y="741862"/>
                  <a:pt x="947541" y="736591"/>
                  <a:pt x="960024" y="718423"/>
                </a:cubicBezTo>
                <a:cubicBezTo>
                  <a:pt x="1022851" y="626609"/>
                  <a:pt x="1086372" y="516349"/>
                  <a:pt x="1144483" y="419542"/>
                </a:cubicBezTo>
                <a:cubicBezTo>
                  <a:pt x="1135191" y="510801"/>
                  <a:pt x="1128950" y="628967"/>
                  <a:pt x="1128950" y="709546"/>
                </a:cubicBezTo>
                <a:cubicBezTo>
                  <a:pt x="1128950" y="765023"/>
                  <a:pt x="1130614" y="786798"/>
                  <a:pt x="1162375" y="786798"/>
                </a:cubicBezTo>
                <a:cubicBezTo>
                  <a:pt x="1191223" y="786798"/>
                  <a:pt x="1217019" y="781666"/>
                  <a:pt x="1235049" y="740891"/>
                </a:cubicBezTo>
                <a:cubicBezTo>
                  <a:pt x="1297599" y="599148"/>
                  <a:pt x="1429911" y="303735"/>
                  <a:pt x="1512016" y="203322"/>
                </a:cubicBezTo>
                <a:cubicBezTo>
                  <a:pt x="1517425" y="196803"/>
                  <a:pt x="1522696" y="191256"/>
                  <a:pt x="1522696" y="183766"/>
                </a:cubicBezTo>
                <a:cubicBezTo>
                  <a:pt x="1522696" y="173365"/>
                  <a:pt x="1498563" y="159357"/>
                  <a:pt x="1479840" y="159357"/>
                </a:cubicBezTo>
                <a:close/>
              </a:path>
            </a:pathLst>
          </a:custGeom>
          <a:solidFill>
            <a:schemeClr val="bg1"/>
          </a:solidFill>
          <a:ln w="13855" cap="flat">
            <a:noFill/>
            <a:prstDash val="solid"/>
            <a:miter/>
          </a:ln>
        </p:spPr>
        <p:txBody>
          <a:bodyPr rtlCol="0" anchor="ctr"/>
          <a:lstStyle/>
          <a:p>
            <a:endParaRPr lang="en-GB"/>
          </a:p>
        </p:txBody>
      </p:sp>
    </p:spTree>
    <p:extLst>
      <p:ext uri="{BB962C8B-B14F-4D97-AF65-F5344CB8AC3E}">
        <p14:creationId xmlns:p14="http://schemas.microsoft.com/office/powerpoint/2010/main" val="2228321561"/>
      </p:ext>
    </p:extLst>
  </p:cSld>
  <p:clrMapOvr>
    <a:masterClrMapping/>
  </p:clrMapOvr>
  <p:transition spd="med">
    <p:fade/>
  </p:transition>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ables TO BE COPIED FROM THE MASTER">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r>
              <a:rPr lang="en-GB"/>
              <a:t>INSERT FOOTER HERE</a:t>
            </a:r>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8CFE0557-AA98-4E6C-B0C3-581794696B68}" type="slidenum">
              <a:rPr lang="en-GB" smtClean="0"/>
              <a:pPr/>
              <a:t>‹#›</a:t>
            </a:fld>
            <a:endParaRPr lang="en-GB"/>
          </a:p>
        </p:txBody>
      </p:sp>
      <p:graphicFrame>
        <p:nvGraphicFramePr>
          <p:cNvPr id="2" name="Table 30">
            <a:extLst>
              <a:ext uri="{FF2B5EF4-FFF2-40B4-BE49-F238E27FC236}">
                <a16:creationId xmlns:a16="http://schemas.microsoft.com/office/drawing/2014/main" id="{66D6462F-CD6A-0381-5747-6AD736A7B3CA}"/>
              </a:ext>
            </a:extLst>
          </p:cNvPr>
          <p:cNvGraphicFramePr>
            <a:graphicFrameLocks noGrp="1"/>
          </p:cNvGraphicFramePr>
          <p:nvPr userDrawn="1">
            <p:extLst>
              <p:ext uri="{D42A27DB-BD31-4B8C-83A1-F6EECF244321}">
                <p14:modId xmlns:p14="http://schemas.microsoft.com/office/powerpoint/2010/main" val="4011700773"/>
              </p:ext>
            </p:extLst>
          </p:nvPr>
        </p:nvGraphicFramePr>
        <p:xfrm>
          <a:off x="6272212" y="1583267"/>
          <a:ext cx="5429250" cy="4636555"/>
        </p:xfrm>
        <a:graphic>
          <a:graphicData uri="http://schemas.openxmlformats.org/drawingml/2006/table">
            <a:tbl>
              <a:tblPr>
                <a:tableStyleId>{5C22544A-7EE6-4342-B048-85BDC9FD1C3A}</a:tableStyleId>
              </a:tblPr>
              <a:tblGrid>
                <a:gridCol w="2841334">
                  <a:extLst>
                    <a:ext uri="{9D8B030D-6E8A-4147-A177-3AD203B41FA5}">
                      <a16:colId xmlns:a16="http://schemas.microsoft.com/office/drawing/2014/main" val="1639631679"/>
                    </a:ext>
                  </a:extLst>
                </a:gridCol>
                <a:gridCol w="1293958">
                  <a:extLst>
                    <a:ext uri="{9D8B030D-6E8A-4147-A177-3AD203B41FA5}">
                      <a16:colId xmlns:a16="http://schemas.microsoft.com/office/drawing/2014/main" val="687887646"/>
                    </a:ext>
                  </a:extLst>
                </a:gridCol>
                <a:gridCol w="1293958">
                  <a:extLst>
                    <a:ext uri="{9D8B030D-6E8A-4147-A177-3AD203B41FA5}">
                      <a16:colId xmlns:a16="http://schemas.microsoft.com/office/drawing/2014/main" val="14803938"/>
                    </a:ext>
                  </a:extLst>
                </a:gridCol>
              </a:tblGrid>
              <a:tr h="567707">
                <a:tc>
                  <a:txBody>
                    <a:bodyPr/>
                    <a:lstStyle/>
                    <a:p>
                      <a:pPr algn="l"/>
                      <a:r>
                        <a:rPr lang="en-GB" sz="1000" kern="1200" cap="all" baseline="0" dirty="0">
                          <a:solidFill>
                            <a:schemeClr val="tx2"/>
                          </a:solidFill>
                          <a:latin typeface="+mj-lt"/>
                          <a:ea typeface="+mn-ea"/>
                          <a:cs typeface="+mn-cs"/>
                        </a:rPr>
                        <a:t>TITLE</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algn="ctr"/>
                      <a:r>
                        <a:rPr lang="en-GB" sz="1000" kern="1200" cap="all" baseline="0" dirty="0">
                          <a:solidFill>
                            <a:schemeClr val="tx2"/>
                          </a:solidFill>
                          <a:latin typeface="+mj-lt"/>
                          <a:ea typeface="+mn-ea"/>
                          <a:cs typeface="+mn-cs"/>
                        </a:rPr>
                        <a:t>column</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algn="ctr"/>
                      <a:r>
                        <a:rPr lang="en-GB" sz="1000" kern="1200" cap="all" baseline="0" dirty="0">
                          <a:solidFill>
                            <a:schemeClr val="tx2"/>
                          </a:solidFill>
                          <a:latin typeface="+mj-lt"/>
                          <a:ea typeface="+mn-ea"/>
                          <a:cs typeface="+mn-cs"/>
                        </a:rPr>
                        <a:t>column</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3952565638"/>
                  </a:ext>
                </a:extLst>
              </a:tr>
              <a:tr h="599340">
                <a:tc>
                  <a:txBody>
                    <a:bodyPr/>
                    <a:lstStyle/>
                    <a:p>
                      <a:pPr algn="l"/>
                      <a:r>
                        <a:rPr lang="en-GB" sz="1000" b="0" i="0" u="none" strike="noStrike" kern="1200" cap="all" baseline="0" dirty="0">
                          <a:solidFill>
                            <a:schemeClr val="tx1"/>
                          </a:solidFill>
                          <a:latin typeface="+mn-lt"/>
                          <a:ea typeface="+mn-ea"/>
                          <a:cs typeface="+mn-cs"/>
                        </a:rPr>
                        <a:t>Item 01</a:t>
                      </a:r>
                      <a:endParaRPr lang="en-GB" sz="1000" cap="all" baseline="0" dirty="0">
                        <a:solidFill>
                          <a:schemeClr val="tx1"/>
                        </a:solidFill>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2927525207"/>
                  </a:ext>
                </a:extLst>
              </a:tr>
              <a:tr h="5993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all" spc="0" normalizeH="0" baseline="0" noProof="0" dirty="0">
                          <a:ln>
                            <a:noFill/>
                          </a:ln>
                          <a:solidFill>
                            <a:srgbClr val="5B5D62"/>
                          </a:solidFill>
                          <a:effectLst/>
                          <a:uLnTx/>
                          <a:uFillTx/>
                          <a:latin typeface="Montserrat"/>
                          <a:ea typeface="+mn-ea"/>
                          <a:cs typeface="+mn-cs"/>
                        </a:rPr>
                        <a:t>Item 02</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1167671591"/>
                  </a:ext>
                </a:extLst>
              </a:tr>
              <a:tr h="5993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all" spc="0" normalizeH="0" baseline="0" noProof="0" dirty="0">
                          <a:ln>
                            <a:noFill/>
                          </a:ln>
                          <a:solidFill>
                            <a:srgbClr val="5B5D62"/>
                          </a:solidFill>
                          <a:effectLst/>
                          <a:uLnTx/>
                          <a:uFillTx/>
                          <a:latin typeface="Montserrat"/>
                          <a:ea typeface="+mn-ea"/>
                          <a:cs typeface="+mn-cs"/>
                        </a:rPr>
                        <a:t>Item 03</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2335492511"/>
                  </a:ext>
                </a:extLst>
              </a:tr>
              <a:tr h="567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all" spc="0" normalizeH="0" baseline="0" noProof="0" dirty="0">
                          <a:ln>
                            <a:noFill/>
                          </a:ln>
                          <a:solidFill>
                            <a:srgbClr val="5B5D62"/>
                          </a:solidFill>
                          <a:effectLst/>
                          <a:uLnTx/>
                          <a:uFillTx/>
                          <a:latin typeface="Montserrat"/>
                          <a:ea typeface="+mn-ea"/>
                          <a:cs typeface="+mn-cs"/>
                        </a:rPr>
                        <a:t>Item 04</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2029255895"/>
                  </a:ext>
                </a:extLst>
              </a:tr>
              <a:tr h="567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all" spc="0" normalizeH="0" baseline="0" noProof="0" dirty="0">
                          <a:ln>
                            <a:noFill/>
                          </a:ln>
                          <a:solidFill>
                            <a:srgbClr val="5B5D62"/>
                          </a:solidFill>
                          <a:effectLst/>
                          <a:uLnTx/>
                          <a:uFillTx/>
                          <a:latin typeface="Montserrat"/>
                          <a:ea typeface="+mn-ea"/>
                          <a:cs typeface="+mn-cs"/>
                        </a:rPr>
                        <a:t>Item 05</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3423255311"/>
                  </a:ext>
                </a:extLst>
              </a:tr>
              <a:tr h="567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all" spc="0" normalizeH="0" baseline="0" noProof="0" dirty="0">
                          <a:ln>
                            <a:noFill/>
                          </a:ln>
                          <a:solidFill>
                            <a:srgbClr val="5B5D62"/>
                          </a:solidFill>
                          <a:effectLst/>
                          <a:uLnTx/>
                          <a:uFillTx/>
                          <a:latin typeface="Montserrat"/>
                          <a:ea typeface="+mn-ea"/>
                          <a:cs typeface="+mn-cs"/>
                        </a:rPr>
                        <a:t>Item 06</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10539303"/>
                  </a:ext>
                </a:extLst>
              </a:tr>
              <a:tr h="567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all" spc="0" normalizeH="0" baseline="0" noProof="0" dirty="0">
                          <a:ln>
                            <a:noFill/>
                          </a:ln>
                          <a:solidFill>
                            <a:srgbClr val="5B5D62"/>
                          </a:solidFill>
                          <a:effectLst/>
                          <a:uLnTx/>
                          <a:uFillTx/>
                          <a:latin typeface="Montserrat"/>
                          <a:ea typeface="+mn-ea"/>
                          <a:cs typeface="+mn-cs"/>
                        </a:rPr>
                        <a:t>Item 07</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5B5D62"/>
                          </a:solidFill>
                          <a:effectLst/>
                          <a:uLnTx/>
                          <a:uFillTx/>
                          <a:latin typeface="Montserrat"/>
                          <a:ea typeface="+mn-ea"/>
                          <a:cs typeface="+mn-cs"/>
                        </a:rPr>
                        <a:t>00</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solidFill>
                      <a:schemeClr val="bg2"/>
                    </a:solidFill>
                  </a:tcPr>
                </a:tc>
                <a:extLst>
                  <a:ext uri="{0D108BD9-81ED-4DB2-BD59-A6C34878D82A}">
                    <a16:rowId xmlns:a16="http://schemas.microsoft.com/office/drawing/2014/main" val="748761887"/>
                  </a:ext>
                </a:extLst>
              </a:tr>
            </a:tbl>
          </a:graphicData>
        </a:graphic>
      </p:graphicFrame>
      <p:graphicFrame>
        <p:nvGraphicFramePr>
          <p:cNvPr id="3" name="Table 30">
            <a:extLst>
              <a:ext uri="{FF2B5EF4-FFF2-40B4-BE49-F238E27FC236}">
                <a16:creationId xmlns:a16="http://schemas.microsoft.com/office/drawing/2014/main" id="{E46799AA-7CAA-EAEE-1C01-71FAF399820A}"/>
              </a:ext>
            </a:extLst>
          </p:cNvPr>
          <p:cNvGraphicFramePr>
            <a:graphicFrameLocks noGrp="1"/>
          </p:cNvGraphicFramePr>
          <p:nvPr userDrawn="1">
            <p:extLst>
              <p:ext uri="{D42A27DB-BD31-4B8C-83A1-F6EECF244321}">
                <p14:modId xmlns:p14="http://schemas.microsoft.com/office/powerpoint/2010/main" val="4011700773"/>
              </p:ext>
            </p:extLst>
          </p:nvPr>
        </p:nvGraphicFramePr>
        <p:xfrm>
          <a:off x="514878" y="1583267"/>
          <a:ext cx="5429250" cy="4636555"/>
        </p:xfrm>
        <a:graphic>
          <a:graphicData uri="http://schemas.openxmlformats.org/drawingml/2006/table">
            <a:tbl>
              <a:tblPr>
                <a:tableStyleId>{5C22544A-7EE6-4342-B048-85BDC9FD1C3A}</a:tableStyleId>
              </a:tblPr>
              <a:tblGrid>
                <a:gridCol w="2841334">
                  <a:extLst>
                    <a:ext uri="{9D8B030D-6E8A-4147-A177-3AD203B41FA5}">
                      <a16:colId xmlns:a16="http://schemas.microsoft.com/office/drawing/2014/main" val="1639631679"/>
                    </a:ext>
                  </a:extLst>
                </a:gridCol>
                <a:gridCol w="1293958">
                  <a:extLst>
                    <a:ext uri="{9D8B030D-6E8A-4147-A177-3AD203B41FA5}">
                      <a16:colId xmlns:a16="http://schemas.microsoft.com/office/drawing/2014/main" val="687887646"/>
                    </a:ext>
                  </a:extLst>
                </a:gridCol>
                <a:gridCol w="1293958">
                  <a:extLst>
                    <a:ext uri="{9D8B030D-6E8A-4147-A177-3AD203B41FA5}">
                      <a16:colId xmlns:a16="http://schemas.microsoft.com/office/drawing/2014/main" val="14803938"/>
                    </a:ext>
                  </a:extLst>
                </a:gridCol>
              </a:tblGrid>
              <a:tr h="567707">
                <a:tc>
                  <a:txBody>
                    <a:bodyPr/>
                    <a:lstStyle/>
                    <a:p>
                      <a:pPr algn="l"/>
                      <a:r>
                        <a:rPr lang="en-GB" sz="1000" kern="1200" cap="all" baseline="0" dirty="0">
                          <a:solidFill>
                            <a:schemeClr val="tx2"/>
                          </a:solidFill>
                          <a:latin typeface="+mj-lt"/>
                          <a:ea typeface="+mn-ea"/>
                          <a:cs typeface="+mn-cs"/>
                        </a:rPr>
                        <a:t>TITLE</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algn="ctr"/>
                      <a:r>
                        <a:rPr lang="en-GB" sz="1000" kern="1200" cap="all" baseline="0" dirty="0">
                          <a:solidFill>
                            <a:schemeClr val="tx2"/>
                          </a:solidFill>
                          <a:latin typeface="+mj-lt"/>
                          <a:ea typeface="+mn-ea"/>
                          <a:cs typeface="+mn-cs"/>
                        </a:rPr>
                        <a:t>column</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algn="ctr"/>
                      <a:r>
                        <a:rPr lang="en-GB" sz="1000" kern="1200" cap="all" baseline="0" dirty="0">
                          <a:solidFill>
                            <a:schemeClr val="tx2"/>
                          </a:solidFill>
                          <a:latin typeface="+mj-lt"/>
                          <a:ea typeface="+mn-ea"/>
                          <a:cs typeface="+mn-cs"/>
                        </a:rPr>
                        <a:t>column</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3952565638"/>
                  </a:ext>
                </a:extLst>
              </a:tr>
              <a:tr h="599340">
                <a:tc>
                  <a:txBody>
                    <a:bodyPr/>
                    <a:lstStyle/>
                    <a:p>
                      <a:pPr algn="l"/>
                      <a:r>
                        <a:rPr lang="en-GB" sz="1000" b="0" i="0" u="none" strike="noStrike" kern="1200" cap="all" baseline="0" dirty="0">
                          <a:solidFill>
                            <a:schemeClr val="tx1"/>
                          </a:solidFill>
                          <a:latin typeface="+mn-lt"/>
                          <a:ea typeface="+mn-ea"/>
                          <a:cs typeface="+mn-cs"/>
                        </a:rPr>
                        <a:t>Item 01</a:t>
                      </a:r>
                      <a:endParaRPr lang="en-GB" sz="1000" cap="all" baseline="0" dirty="0">
                        <a:solidFill>
                          <a:schemeClr val="tx1"/>
                        </a:solidFill>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2927525207"/>
                  </a:ext>
                </a:extLst>
              </a:tr>
              <a:tr h="5993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all" spc="0" normalizeH="0" baseline="0" noProof="0" dirty="0">
                          <a:ln>
                            <a:noFill/>
                          </a:ln>
                          <a:solidFill>
                            <a:srgbClr val="5B5D62"/>
                          </a:solidFill>
                          <a:effectLst/>
                          <a:uLnTx/>
                          <a:uFillTx/>
                          <a:latin typeface="Montserrat"/>
                          <a:ea typeface="+mn-ea"/>
                          <a:cs typeface="+mn-cs"/>
                        </a:rPr>
                        <a:t>Item 02</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1167671591"/>
                  </a:ext>
                </a:extLst>
              </a:tr>
              <a:tr h="5993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all" spc="0" normalizeH="0" baseline="0" noProof="0" dirty="0">
                          <a:ln>
                            <a:noFill/>
                          </a:ln>
                          <a:solidFill>
                            <a:srgbClr val="5B5D62"/>
                          </a:solidFill>
                          <a:effectLst/>
                          <a:uLnTx/>
                          <a:uFillTx/>
                          <a:latin typeface="Montserrat"/>
                          <a:ea typeface="+mn-ea"/>
                          <a:cs typeface="+mn-cs"/>
                        </a:rPr>
                        <a:t>Item 03</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2335492511"/>
                  </a:ext>
                </a:extLst>
              </a:tr>
              <a:tr h="567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all" spc="0" normalizeH="0" baseline="0" noProof="0" dirty="0">
                          <a:ln>
                            <a:noFill/>
                          </a:ln>
                          <a:solidFill>
                            <a:srgbClr val="5B5D62"/>
                          </a:solidFill>
                          <a:effectLst/>
                          <a:uLnTx/>
                          <a:uFillTx/>
                          <a:latin typeface="Montserrat"/>
                          <a:ea typeface="+mn-ea"/>
                          <a:cs typeface="+mn-cs"/>
                        </a:rPr>
                        <a:t>Item 04</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2029255895"/>
                  </a:ext>
                </a:extLst>
              </a:tr>
              <a:tr h="567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all" spc="0" normalizeH="0" baseline="0" noProof="0" dirty="0">
                          <a:ln>
                            <a:noFill/>
                          </a:ln>
                          <a:solidFill>
                            <a:srgbClr val="5B5D62"/>
                          </a:solidFill>
                          <a:effectLst/>
                          <a:uLnTx/>
                          <a:uFillTx/>
                          <a:latin typeface="Montserrat"/>
                          <a:ea typeface="+mn-ea"/>
                          <a:cs typeface="+mn-cs"/>
                        </a:rPr>
                        <a:t>Item 05</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3423255311"/>
                  </a:ext>
                </a:extLst>
              </a:tr>
              <a:tr h="567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all" spc="0" normalizeH="0" baseline="0" noProof="0" dirty="0">
                          <a:ln>
                            <a:noFill/>
                          </a:ln>
                          <a:solidFill>
                            <a:srgbClr val="5B5D62"/>
                          </a:solidFill>
                          <a:effectLst/>
                          <a:uLnTx/>
                          <a:uFillTx/>
                          <a:latin typeface="Montserrat"/>
                          <a:ea typeface="+mn-ea"/>
                          <a:cs typeface="+mn-cs"/>
                        </a:rPr>
                        <a:t>Item 06</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10539303"/>
                  </a:ext>
                </a:extLst>
              </a:tr>
              <a:tr h="567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all" spc="0" normalizeH="0" baseline="0" noProof="0" dirty="0">
                          <a:ln>
                            <a:noFill/>
                          </a:ln>
                          <a:solidFill>
                            <a:srgbClr val="5B5D62"/>
                          </a:solidFill>
                          <a:effectLst/>
                          <a:uLnTx/>
                          <a:uFillTx/>
                          <a:latin typeface="Montserrat"/>
                          <a:ea typeface="+mn-ea"/>
                          <a:cs typeface="+mn-cs"/>
                        </a:rPr>
                        <a:t>Item 07</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5B5D62"/>
                          </a:solidFill>
                          <a:effectLst/>
                          <a:uLnTx/>
                          <a:uFillTx/>
                          <a:latin typeface="Montserrat"/>
                          <a:ea typeface="+mn-ea"/>
                          <a:cs typeface="+mn-cs"/>
                        </a:rPr>
                        <a:t>00</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solidFill>
                      <a:schemeClr val="bg2"/>
                    </a:solidFill>
                  </a:tcPr>
                </a:tc>
                <a:extLst>
                  <a:ext uri="{0D108BD9-81ED-4DB2-BD59-A6C34878D82A}">
                    <a16:rowId xmlns:a16="http://schemas.microsoft.com/office/drawing/2014/main" val="748761887"/>
                  </a:ext>
                </a:extLst>
              </a:tr>
            </a:tbl>
          </a:graphicData>
        </a:graphic>
      </p:graphicFrame>
      <p:sp>
        <p:nvSpPr>
          <p:cNvPr id="8" name="Title 3">
            <a:extLst>
              <a:ext uri="{FF2B5EF4-FFF2-40B4-BE49-F238E27FC236}">
                <a16:creationId xmlns:a16="http://schemas.microsoft.com/office/drawing/2014/main" id="{7B74FDB6-FBBB-A2F4-213F-6CF7F3FC869A}"/>
              </a:ext>
            </a:extLst>
          </p:cNvPr>
          <p:cNvSpPr txBox="1">
            <a:spLocks/>
          </p:cNvSpPr>
          <p:nvPr userDrawn="1"/>
        </p:nvSpPr>
        <p:spPr>
          <a:xfrm>
            <a:off x="508000" y="454014"/>
            <a:ext cx="11174413" cy="669934"/>
          </a:xfrm>
          <a:prstGeom prst="rect">
            <a:avLst/>
          </a:prstGeom>
        </p:spPr>
        <p:txBody>
          <a:bodyPr vert="horz" lIns="0" tIns="0" rIns="0" bIns="72000" rtlCol="0" anchor="t" anchorCtr="0">
            <a:noAutofit/>
          </a:bodyPr>
          <a:lstStyle>
            <a:lvl1pPr algn="l" defTabSz="914400" rtl="0" eaLnBrk="1" latinLnBrk="0" hangingPunct="1">
              <a:lnSpc>
                <a:spcPct val="90000"/>
              </a:lnSpc>
              <a:spcBef>
                <a:spcPct val="0"/>
              </a:spcBef>
              <a:buNone/>
              <a:defRPr sz="3200" kern="1200" cap="all" baseline="0">
                <a:solidFill>
                  <a:schemeClr val="tx2"/>
                </a:solidFill>
                <a:latin typeface="+mn-lt"/>
                <a:ea typeface="+mj-ea"/>
                <a:cs typeface="+mj-cs"/>
              </a:defRPr>
            </a:lvl1pPr>
          </a:lstStyle>
          <a:p>
            <a:r>
              <a:rPr lang="en-US" dirty="0"/>
              <a:t>Tables TO BE COPIED FROM THE MASTER</a:t>
            </a:r>
            <a:endParaRPr lang="en-GB" dirty="0"/>
          </a:p>
        </p:txBody>
      </p:sp>
      <p:sp>
        <p:nvSpPr>
          <p:cNvPr id="9" name="TextBox 4">
            <a:extLst>
              <a:ext uri="{FF2B5EF4-FFF2-40B4-BE49-F238E27FC236}">
                <a16:creationId xmlns:a16="http://schemas.microsoft.com/office/drawing/2014/main" id="{A0F1473B-A0C1-3FEE-4F6F-4F0EE0B62CCE}"/>
              </a:ext>
            </a:extLst>
          </p:cNvPr>
          <p:cNvSpPr txBox="1"/>
          <p:nvPr userDrawn="1"/>
        </p:nvSpPr>
        <p:spPr>
          <a:xfrm>
            <a:off x="12346713" y="109538"/>
            <a:ext cx="2199020" cy="2980303"/>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defTabSz="914400" rtl="0" eaLnBrk="1" latinLnBrk="0" hangingPunct="1">
              <a:spcBef>
                <a:spcPts val="200"/>
              </a:spcBef>
              <a:spcAft>
                <a:spcPts val="200"/>
              </a:spcAft>
              <a:buFont typeface="+mj-lt"/>
              <a:buNone/>
            </a:pPr>
            <a:r>
              <a:rPr lang="en-US" sz="1600" b="1" kern="1200" dirty="0">
                <a:solidFill>
                  <a:schemeClr val="accent1"/>
                </a:solidFill>
                <a:latin typeface="+mj-lt"/>
                <a:ea typeface="+mn-ea"/>
                <a:cs typeface="+mn-cs"/>
              </a:rPr>
              <a:t>TABLES:</a:t>
            </a:r>
          </a:p>
          <a:p>
            <a:pPr marL="0" indent="0">
              <a:spcBef>
                <a:spcPts val="200"/>
              </a:spcBef>
              <a:spcAft>
                <a:spcPts val="200"/>
              </a:spcAft>
              <a:buFont typeface="+mj-lt"/>
              <a:buNone/>
            </a:pPr>
            <a:r>
              <a:rPr lang="en-US" sz="1400" b="0" kern="1200" dirty="0">
                <a:solidFill>
                  <a:schemeClr val="tx1"/>
                </a:solidFill>
                <a:latin typeface="+mj-lt"/>
                <a:ea typeface="+mn-ea"/>
                <a:cs typeface="+mn-cs"/>
              </a:rPr>
              <a:t>DO NOT USE THIS SLIDE LAYPUT</a:t>
            </a:r>
          </a:p>
          <a:p>
            <a:pPr marL="0" indent="0">
              <a:spcBef>
                <a:spcPts val="200"/>
              </a:spcBef>
              <a:spcAft>
                <a:spcPts val="200"/>
              </a:spcAft>
              <a:buFont typeface="+mj-lt"/>
              <a:buNone/>
            </a:pPr>
            <a:endParaRPr lang="en-US" sz="900" b="0" kern="1200" dirty="0">
              <a:solidFill>
                <a:schemeClr val="tx1"/>
              </a:solidFill>
              <a:latin typeface="+mj-lt"/>
              <a:ea typeface="+mn-ea"/>
              <a:cs typeface="+mn-cs"/>
            </a:endParaRPr>
          </a:p>
          <a:p>
            <a:pPr marL="0" indent="0">
              <a:spcBef>
                <a:spcPts val="200"/>
              </a:spcBef>
              <a:spcAft>
                <a:spcPts val="200"/>
              </a:spcAft>
              <a:buFont typeface="+mj-lt"/>
              <a:buNone/>
            </a:pPr>
            <a:r>
              <a:rPr lang="en-US" sz="900" b="0" kern="1200" dirty="0">
                <a:solidFill>
                  <a:schemeClr val="tx1"/>
                </a:solidFill>
                <a:latin typeface="+mn-lt"/>
                <a:ea typeface="+mn-ea"/>
                <a:cs typeface="+mn-cs"/>
              </a:rPr>
              <a:t>This is simple a slide in the master for you to go to and copy tables from so we are consistent in the table style we use.</a:t>
            </a:r>
          </a:p>
          <a:p>
            <a:pPr marL="0" indent="0">
              <a:spcBef>
                <a:spcPts val="200"/>
              </a:spcBef>
              <a:spcAft>
                <a:spcPts val="200"/>
              </a:spcAft>
              <a:buFont typeface="+mj-lt"/>
              <a:buNone/>
            </a:pPr>
            <a:endParaRPr lang="en-US" sz="900" b="0" kern="1200" dirty="0">
              <a:solidFill>
                <a:schemeClr val="tx1"/>
              </a:solidFill>
              <a:latin typeface="+mn-lt"/>
              <a:ea typeface="+mn-ea"/>
              <a:cs typeface="+mn-cs"/>
            </a:endParaRPr>
          </a:p>
          <a:p>
            <a:pPr marL="228600" indent="-228600">
              <a:spcBef>
                <a:spcPts val="200"/>
              </a:spcBef>
              <a:spcAft>
                <a:spcPts val="200"/>
              </a:spcAft>
              <a:buFont typeface="+mj-lt"/>
              <a:buAutoNum type="arabicPeriod"/>
            </a:pPr>
            <a:r>
              <a:rPr lang="en-US" sz="900" b="0" kern="1200" dirty="0">
                <a:solidFill>
                  <a:schemeClr val="tx1"/>
                </a:solidFill>
                <a:latin typeface="+mn-lt"/>
                <a:ea typeface="+mn-ea"/>
                <a:cs typeface="+mn-cs"/>
              </a:rPr>
              <a:t>Select </a:t>
            </a:r>
            <a:r>
              <a:rPr lang="en-US" sz="900" b="0" kern="1200" dirty="0">
                <a:solidFill>
                  <a:schemeClr val="tx1"/>
                </a:solidFill>
                <a:latin typeface="+mj-lt"/>
                <a:ea typeface="+mn-ea"/>
                <a:cs typeface="+mn-cs"/>
              </a:rPr>
              <a:t>VIEW &gt; SLIDE MASTER</a:t>
            </a:r>
          </a:p>
          <a:p>
            <a:pPr marL="228600" indent="-228600">
              <a:spcBef>
                <a:spcPts val="200"/>
              </a:spcBef>
              <a:spcAft>
                <a:spcPts val="200"/>
              </a:spcAft>
              <a:buFont typeface="+mj-lt"/>
              <a:buAutoNum type="arabicPeriod"/>
            </a:pPr>
            <a:r>
              <a:rPr lang="en-US" sz="900" b="0" kern="1200" dirty="0">
                <a:solidFill>
                  <a:schemeClr val="tx1"/>
                </a:solidFill>
                <a:latin typeface="+mn-lt"/>
                <a:ea typeface="+mn-ea"/>
                <a:cs typeface="+mn-cs"/>
              </a:rPr>
              <a:t>Once in the MASTER select and copy a table</a:t>
            </a:r>
          </a:p>
          <a:p>
            <a:pPr marL="228600" indent="-228600">
              <a:spcBef>
                <a:spcPts val="200"/>
              </a:spcBef>
              <a:spcAft>
                <a:spcPts val="200"/>
              </a:spcAft>
              <a:buFont typeface="+mj-lt"/>
              <a:buAutoNum type="arabicPeriod"/>
            </a:pPr>
            <a:r>
              <a:rPr lang="en-US" sz="900" b="0" kern="1200" dirty="0">
                <a:solidFill>
                  <a:schemeClr val="tx1"/>
                </a:solidFill>
                <a:latin typeface="+mn-lt"/>
                <a:ea typeface="+mn-ea"/>
                <a:cs typeface="+mn-cs"/>
              </a:rPr>
              <a:t>Now select </a:t>
            </a:r>
            <a:r>
              <a:rPr lang="en-US" sz="900" b="0" kern="1200" dirty="0">
                <a:solidFill>
                  <a:schemeClr val="tx1"/>
                </a:solidFill>
                <a:latin typeface="+mj-lt"/>
                <a:ea typeface="+mn-ea"/>
                <a:cs typeface="+mn-cs"/>
              </a:rPr>
              <a:t>CLOSE MASTER VIEW</a:t>
            </a:r>
          </a:p>
          <a:p>
            <a:pPr marL="228600" indent="-228600">
              <a:spcBef>
                <a:spcPts val="200"/>
              </a:spcBef>
              <a:spcAft>
                <a:spcPts val="200"/>
              </a:spcAft>
              <a:buFont typeface="+mj-lt"/>
              <a:buAutoNum type="arabicPeriod"/>
            </a:pPr>
            <a:r>
              <a:rPr lang="en-US" sz="900" b="0" kern="1200" dirty="0">
                <a:solidFill>
                  <a:schemeClr val="tx1"/>
                </a:solidFill>
                <a:latin typeface="+mn-lt"/>
                <a:ea typeface="+mn-ea"/>
                <a:cs typeface="+mn-cs"/>
              </a:rPr>
              <a:t>And paste the table where you need it</a:t>
            </a:r>
          </a:p>
        </p:txBody>
      </p:sp>
    </p:spTree>
    <p:extLst>
      <p:ext uri="{BB962C8B-B14F-4D97-AF65-F5344CB8AC3E}">
        <p14:creationId xmlns:p14="http://schemas.microsoft.com/office/powerpoint/2010/main" val="1330677609"/>
      </p:ext>
    </p:extLst>
  </p:cSld>
  <p:clrMapOvr>
    <a:masterClrMapping/>
  </p:clrMapOvr>
  <p:transition spd="med">
    <p:fade/>
  </p:transition>
  <p:extLst>
    <p:ext uri="{DCECCB84-F9BA-43D5-87BE-67443E8EF086}">
      <p15:sldGuideLst xmlns:p15="http://schemas.microsoft.com/office/powerpoint/2012/main">
        <p15:guide id="1" pos="3840" userDrawn="1">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ables TO BE COPIED FROM THE MASTER">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r>
              <a:rPr lang="en-GB"/>
              <a:t>INSERT FOOTER HERE</a:t>
            </a:r>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8CFE0557-AA98-4E6C-B0C3-581794696B68}" type="slidenum">
              <a:rPr lang="en-GB" smtClean="0"/>
              <a:pPr/>
              <a:t>‹#›</a:t>
            </a:fld>
            <a:endParaRPr lang="en-GB"/>
          </a:p>
        </p:txBody>
      </p:sp>
      <p:sp>
        <p:nvSpPr>
          <p:cNvPr id="8" name="Title 3">
            <a:extLst>
              <a:ext uri="{FF2B5EF4-FFF2-40B4-BE49-F238E27FC236}">
                <a16:creationId xmlns:a16="http://schemas.microsoft.com/office/drawing/2014/main" id="{7B74FDB6-FBBB-A2F4-213F-6CF7F3FC869A}"/>
              </a:ext>
            </a:extLst>
          </p:cNvPr>
          <p:cNvSpPr txBox="1">
            <a:spLocks/>
          </p:cNvSpPr>
          <p:nvPr userDrawn="1"/>
        </p:nvSpPr>
        <p:spPr>
          <a:xfrm>
            <a:off x="508000" y="454014"/>
            <a:ext cx="11174413" cy="669934"/>
          </a:xfrm>
          <a:prstGeom prst="rect">
            <a:avLst/>
          </a:prstGeom>
        </p:spPr>
        <p:txBody>
          <a:bodyPr vert="horz" lIns="0" tIns="0" rIns="0" bIns="72000" rtlCol="0" anchor="t" anchorCtr="0">
            <a:noAutofit/>
          </a:bodyPr>
          <a:lstStyle>
            <a:lvl1pPr algn="l" defTabSz="914400" rtl="0" eaLnBrk="1" latinLnBrk="0" hangingPunct="1">
              <a:lnSpc>
                <a:spcPct val="90000"/>
              </a:lnSpc>
              <a:spcBef>
                <a:spcPct val="0"/>
              </a:spcBef>
              <a:buNone/>
              <a:defRPr sz="3200" kern="1200" cap="all" baseline="0">
                <a:solidFill>
                  <a:schemeClr val="tx2"/>
                </a:solidFill>
                <a:latin typeface="+mn-lt"/>
                <a:ea typeface="+mj-ea"/>
                <a:cs typeface="+mj-cs"/>
              </a:defRPr>
            </a:lvl1pPr>
          </a:lstStyle>
          <a:p>
            <a:r>
              <a:rPr lang="en-US" dirty="0"/>
              <a:t>Tables TO BE COPIED FROM THE MASTER</a:t>
            </a:r>
            <a:endParaRPr lang="en-GB" dirty="0"/>
          </a:p>
        </p:txBody>
      </p:sp>
      <p:sp>
        <p:nvSpPr>
          <p:cNvPr id="9" name="TextBox 4">
            <a:extLst>
              <a:ext uri="{FF2B5EF4-FFF2-40B4-BE49-F238E27FC236}">
                <a16:creationId xmlns:a16="http://schemas.microsoft.com/office/drawing/2014/main" id="{A0F1473B-A0C1-3FEE-4F6F-4F0EE0B62CCE}"/>
              </a:ext>
            </a:extLst>
          </p:cNvPr>
          <p:cNvSpPr txBox="1"/>
          <p:nvPr userDrawn="1"/>
        </p:nvSpPr>
        <p:spPr>
          <a:xfrm>
            <a:off x="12346713" y="109538"/>
            <a:ext cx="2199020" cy="2980303"/>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defTabSz="914400" rtl="0" eaLnBrk="1" latinLnBrk="0" hangingPunct="1">
              <a:spcBef>
                <a:spcPts val="200"/>
              </a:spcBef>
              <a:spcAft>
                <a:spcPts val="200"/>
              </a:spcAft>
              <a:buFont typeface="+mj-lt"/>
              <a:buNone/>
            </a:pPr>
            <a:r>
              <a:rPr lang="en-US" sz="1600" b="1" kern="1200" dirty="0">
                <a:solidFill>
                  <a:schemeClr val="accent1"/>
                </a:solidFill>
                <a:latin typeface="+mj-lt"/>
                <a:ea typeface="+mn-ea"/>
                <a:cs typeface="+mn-cs"/>
              </a:rPr>
              <a:t>TABLES:</a:t>
            </a:r>
          </a:p>
          <a:p>
            <a:pPr marL="0" indent="0">
              <a:spcBef>
                <a:spcPts val="200"/>
              </a:spcBef>
              <a:spcAft>
                <a:spcPts val="200"/>
              </a:spcAft>
              <a:buFont typeface="+mj-lt"/>
              <a:buNone/>
            </a:pPr>
            <a:r>
              <a:rPr lang="en-US" sz="1400" b="0" kern="1200" dirty="0">
                <a:solidFill>
                  <a:schemeClr val="tx1"/>
                </a:solidFill>
                <a:latin typeface="+mj-lt"/>
                <a:ea typeface="+mn-ea"/>
                <a:cs typeface="+mn-cs"/>
              </a:rPr>
              <a:t>DO NOT USE THIS SLIDE LAYPUT</a:t>
            </a:r>
          </a:p>
          <a:p>
            <a:pPr marL="0" indent="0">
              <a:spcBef>
                <a:spcPts val="200"/>
              </a:spcBef>
              <a:spcAft>
                <a:spcPts val="200"/>
              </a:spcAft>
              <a:buFont typeface="+mj-lt"/>
              <a:buNone/>
            </a:pPr>
            <a:endParaRPr lang="en-US" sz="900" b="0" kern="1200" dirty="0">
              <a:solidFill>
                <a:schemeClr val="tx1"/>
              </a:solidFill>
              <a:latin typeface="+mj-lt"/>
              <a:ea typeface="+mn-ea"/>
              <a:cs typeface="+mn-cs"/>
            </a:endParaRPr>
          </a:p>
          <a:p>
            <a:pPr marL="0" indent="0">
              <a:spcBef>
                <a:spcPts val="200"/>
              </a:spcBef>
              <a:spcAft>
                <a:spcPts val="200"/>
              </a:spcAft>
              <a:buFont typeface="+mj-lt"/>
              <a:buNone/>
            </a:pPr>
            <a:r>
              <a:rPr lang="en-US" sz="900" b="0" kern="1200" dirty="0">
                <a:solidFill>
                  <a:schemeClr val="tx1"/>
                </a:solidFill>
                <a:latin typeface="+mn-lt"/>
                <a:ea typeface="+mn-ea"/>
                <a:cs typeface="+mn-cs"/>
              </a:rPr>
              <a:t>This is simple a slide in the master for you to go to and copy tables from so we are consistent in the table style we use.</a:t>
            </a:r>
          </a:p>
          <a:p>
            <a:pPr marL="0" indent="0">
              <a:spcBef>
                <a:spcPts val="200"/>
              </a:spcBef>
              <a:spcAft>
                <a:spcPts val="200"/>
              </a:spcAft>
              <a:buFont typeface="+mj-lt"/>
              <a:buNone/>
            </a:pPr>
            <a:endParaRPr lang="en-US" sz="900" b="0" kern="1200" dirty="0">
              <a:solidFill>
                <a:schemeClr val="tx1"/>
              </a:solidFill>
              <a:latin typeface="+mn-lt"/>
              <a:ea typeface="+mn-ea"/>
              <a:cs typeface="+mn-cs"/>
            </a:endParaRPr>
          </a:p>
          <a:p>
            <a:pPr marL="228600" indent="-228600">
              <a:spcBef>
                <a:spcPts val="200"/>
              </a:spcBef>
              <a:spcAft>
                <a:spcPts val="200"/>
              </a:spcAft>
              <a:buFont typeface="+mj-lt"/>
              <a:buAutoNum type="arabicPeriod"/>
            </a:pPr>
            <a:r>
              <a:rPr lang="en-US" sz="900" b="0" kern="1200" dirty="0">
                <a:solidFill>
                  <a:schemeClr val="tx1"/>
                </a:solidFill>
                <a:latin typeface="+mn-lt"/>
                <a:ea typeface="+mn-ea"/>
                <a:cs typeface="+mn-cs"/>
              </a:rPr>
              <a:t>Select </a:t>
            </a:r>
            <a:r>
              <a:rPr lang="en-US" sz="900" b="0" kern="1200" dirty="0">
                <a:solidFill>
                  <a:schemeClr val="tx1"/>
                </a:solidFill>
                <a:latin typeface="+mj-lt"/>
                <a:ea typeface="+mn-ea"/>
                <a:cs typeface="+mn-cs"/>
              </a:rPr>
              <a:t>VIEW &gt; SLIDE MASTER</a:t>
            </a:r>
          </a:p>
          <a:p>
            <a:pPr marL="228600" indent="-228600">
              <a:spcBef>
                <a:spcPts val="200"/>
              </a:spcBef>
              <a:spcAft>
                <a:spcPts val="200"/>
              </a:spcAft>
              <a:buFont typeface="+mj-lt"/>
              <a:buAutoNum type="arabicPeriod"/>
            </a:pPr>
            <a:r>
              <a:rPr lang="en-US" sz="900" b="0" kern="1200" dirty="0">
                <a:solidFill>
                  <a:schemeClr val="tx1"/>
                </a:solidFill>
                <a:latin typeface="+mn-lt"/>
                <a:ea typeface="+mn-ea"/>
                <a:cs typeface="+mn-cs"/>
              </a:rPr>
              <a:t>Once in the MASTER select and copy a table</a:t>
            </a:r>
          </a:p>
          <a:p>
            <a:pPr marL="228600" indent="-228600">
              <a:spcBef>
                <a:spcPts val="200"/>
              </a:spcBef>
              <a:spcAft>
                <a:spcPts val="200"/>
              </a:spcAft>
              <a:buFont typeface="+mj-lt"/>
              <a:buAutoNum type="arabicPeriod"/>
            </a:pPr>
            <a:r>
              <a:rPr lang="en-US" sz="900" b="0" kern="1200" dirty="0">
                <a:solidFill>
                  <a:schemeClr val="tx1"/>
                </a:solidFill>
                <a:latin typeface="+mn-lt"/>
                <a:ea typeface="+mn-ea"/>
                <a:cs typeface="+mn-cs"/>
              </a:rPr>
              <a:t>Now select </a:t>
            </a:r>
            <a:r>
              <a:rPr lang="en-US" sz="900" b="0" kern="1200" dirty="0">
                <a:solidFill>
                  <a:schemeClr val="tx1"/>
                </a:solidFill>
                <a:latin typeface="+mj-lt"/>
                <a:ea typeface="+mn-ea"/>
                <a:cs typeface="+mn-cs"/>
              </a:rPr>
              <a:t>CLOSE MASTER VIEW</a:t>
            </a:r>
          </a:p>
          <a:p>
            <a:pPr marL="228600" indent="-228600">
              <a:spcBef>
                <a:spcPts val="200"/>
              </a:spcBef>
              <a:spcAft>
                <a:spcPts val="200"/>
              </a:spcAft>
              <a:buFont typeface="+mj-lt"/>
              <a:buAutoNum type="arabicPeriod"/>
            </a:pPr>
            <a:r>
              <a:rPr lang="en-US" sz="900" b="0" kern="1200" dirty="0">
                <a:solidFill>
                  <a:schemeClr val="tx1"/>
                </a:solidFill>
                <a:latin typeface="+mn-lt"/>
                <a:ea typeface="+mn-ea"/>
                <a:cs typeface="+mn-cs"/>
              </a:rPr>
              <a:t>And paste the table where you need it</a:t>
            </a:r>
          </a:p>
        </p:txBody>
      </p:sp>
      <p:graphicFrame>
        <p:nvGraphicFramePr>
          <p:cNvPr id="4" name="Table 30">
            <a:extLst>
              <a:ext uri="{FF2B5EF4-FFF2-40B4-BE49-F238E27FC236}">
                <a16:creationId xmlns:a16="http://schemas.microsoft.com/office/drawing/2014/main" id="{5F0D7813-4306-8E67-40CA-DFB52C9AFE5A}"/>
              </a:ext>
            </a:extLst>
          </p:cNvPr>
          <p:cNvGraphicFramePr>
            <a:graphicFrameLocks noGrp="1"/>
          </p:cNvGraphicFramePr>
          <p:nvPr userDrawn="1">
            <p:extLst>
              <p:ext uri="{D42A27DB-BD31-4B8C-83A1-F6EECF244321}">
                <p14:modId xmlns:p14="http://schemas.microsoft.com/office/powerpoint/2010/main" val="132582944"/>
              </p:ext>
            </p:extLst>
          </p:nvPr>
        </p:nvGraphicFramePr>
        <p:xfrm>
          <a:off x="4225926" y="1583267"/>
          <a:ext cx="7475536" cy="4636555"/>
        </p:xfrm>
        <a:graphic>
          <a:graphicData uri="http://schemas.openxmlformats.org/drawingml/2006/table">
            <a:tbl>
              <a:tblPr>
                <a:tableStyleId>{5C22544A-7EE6-4342-B048-85BDC9FD1C3A}</a:tableStyleId>
              </a:tblPr>
              <a:tblGrid>
                <a:gridCol w="3912234">
                  <a:extLst>
                    <a:ext uri="{9D8B030D-6E8A-4147-A177-3AD203B41FA5}">
                      <a16:colId xmlns:a16="http://schemas.microsoft.com/office/drawing/2014/main" val="1639631679"/>
                    </a:ext>
                  </a:extLst>
                </a:gridCol>
                <a:gridCol w="1781651">
                  <a:extLst>
                    <a:ext uri="{9D8B030D-6E8A-4147-A177-3AD203B41FA5}">
                      <a16:colId xmlns:a16="http://schemas.microsoft.com/office/drawing/2014/main" val="687887646"/>
                    </a:ext>
                  </a:extLst>
                </a:gridCol>
                <a:gridCol w="1781651">
                  <a:extLst>
                    <a:ext uri="{9D8B030D-6E8A-4147-A177-3AD203B41FA5}">
                      <a16:colId xmlns:a16="http://schemas.microsoft.com/office/drawing/2014/main" val="14803938"/>
                    </a:ext>
                  </a:extLst>
                </a:gridCol>
              </a:tblGrid>
              <a:tr h="567707">
                <a:tc>
                  <a:txBody>
                    <a:bodyPr/>
                    <a:lstStyle/>
                    <a:p>
                      <a:pPr algn="l"/>
                      <a:r>
                        <a:rPr lang="en-GB" sz="1000" kern="1200" cap="all" baseline="0" dirty="0">
                          <a:solidFill>
                            <a:schemeClr val="tx2"/>
                          </a:solidFill>
                          <a:latin typeface="+mj-lt"/>
                          <a:ea typeface="+mn-ea"/>
                          <a:cs typeface="+mn-cs"/>
                        </a:rPr>
                        <a:t>TITLE</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algn="ctr"/>
                      <a:r>
                        <a:rPr lang="en-GB" sz="1000" kern="1200" cap="all" baseline="0" dirty="0">
                          <a:solidFill>
                            <a:schemeClr val="tx2"/>
                          </a:solidFill>
                          <a:latin typeface="+mj-lt"/>
                          <a:ea typeface="+mn-ea"/>
                          <a:cs typeface="+mn-cs"/>
                        </a:rPr>
                        <a:t>column</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algn="ctr"/>
                      <a:r>
                        <a:rPr lang="en-GB" sz="1000" kern="1200" cap="all" baseline="0" dirty="0">
                          <a:solidFill>
                            <a:schemeClr val="tx2"/>
                          </a:solidFill>
                          <a:latin typeface="+mj-lt"/>
                          <a:ea typeface="+mn-ea"/>
                          <a:cs typeface="+mn-cs"/>
                        </a:rPr>
                        <a:t>column</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3952565638"/>
                  </a:ext>
                </a:extLst>
              </a:tr>
              <a:tr h="599340">
                <a:tc>
                  <a:txBody>
                    <a:bodyPr/>
                    <a:lstStyle/>
                    <a:p>
                      <a:pPr algn="l"/>
                      <a:r>
                        <a:rPr lang="en-GB" sz="1000" b="0" i="0" u="none" strike="noStrike" kern="1200" cap="all" baseline="0" dirty="0">
                          <a:solidFill>
                            <a:schemeClr val="tx1"/>
                          </a:solidFill>
                          <a:latin typeface="+mn-lt"/>
                          <a:ea typeface="+mn-ea"/>
                          <a:cs typeface="+mn-cs"/>
                        </a:rPr>
                        <a:t>Item 01</a:t>
                      </a:r>
                      <a:endParaRPr lang="en-GB" sz="1000" cap="all" baseline="0" dirty="0">
                        <a:solidFill>
                          <a:schemeClr val="tx1"/>
                        </a:solidFill>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2927525207"/>
                  </a:ext>
                </a:extLst>
              </a:tr>
              <a:tr h="5993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all" spc="0" normalizeH="0" baseline="0" noProof="0" dirty="0">
                          <a:ln>
                            <a:noFill/>
                          </a:ln>
                          <a:solidFill>
                            <a:srgbClr val="5B5D62"/>
                          </a:solidFill>
                          <a:effectLst/>
                          <a:uLnTx/>
                          <a:uFillTx/>
                          <a:latin typeface="Montserrat"/>
                          <a:ea typeface="+mn-ea"/>
                          <a:cs typeface="+mn-cs"/>
                        </a:rPr>
                        <a:t>Item 02</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1167671591"/>
                  </a:ext>
                </a:extLst>
              </a:tr>
              <a:tr h="5993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all" spc="0" normalizeH="0" baseline="0" noProof="0" dirty="0">
                          <a:ln>
                            <a:noFill/>
                          </a:ln>
                          <a:solidFill>
                            <a:srgbClr val="5B5D62"/>
                          </a:solidFill>
                          <a:effectLst/>
                          <a:uLnTx/>
                          <a:uFillTx/>
                          <a:latin typeface="Montserrat"/>
                          <a:ea typeface="+mn-ea"/>
                          <a:cs typeface="+mn-cs"/>
                        </a:rPr>
                        <a:t>Item 03</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2335492511"/>
                  </a:ext>
                </a:extLst>
              </a:tr>
              <a:tr h="567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all" spc="0" normalizeH="0" baseline="0" noProof="0" dirty="0">
                          <a:ln>
                            <a:noFill/>
                          </a:ln>
                          <a:solidFill>
                            <a:srgbClr val="5B5D62"/>
                          </a:solidFill>
                          <a:effectLst/>
                          <a:uLnTx/>
                          <a:uFillTx/>
                          <a:latin typeface="Montserrat"/>
                          <a:ea typeface="+mn-ea"/>
                          <a:cs typeface="+mn-cs"/>
                        </a:rPr>
                        <a:t>Item 04</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2029255895"/>
                  </a:ext>
                </a:extLst>
              </a:tr>
              <a:tr h="567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all" spc="0" normalizeH="0" baseline="0" noProof="0" dirty="0">
                          <a:ln>
                            <a:noFill/>
                          </a:ln>
                          <a:solidFill>
                            <a:srgbClr val="5B5D62"/>
                          </a:solidFill>
                          <a:effectLst/>
                          <a:uLnTx/>
                          <a:uFillTx/>
                          <a:latin typeface="Montserrat"/>
                          <a:ea typeface="+mn-ea"/>
                          <a:cs typeface="+mn-cs"/>
                        </a:rPr>
                        <a:t>Item 05</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3423255311"/>
                  </a:ext>
                </a:extLst>
              </a:tr>
              <a:tr h="567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all" spc="0" normalizeH="0" baseline="0" noProof="0" dirty="0">
                          <a:ln>
                            <a:noFill/>
                          </a:ln>
                          <a:solidFill>
                            <a:srgbClr val="5B5D62"/>
                          </a:solidFill>
                          <a:effectLst/>
                          <a:uLnTx/>
                          <a:uFillTx/>
                          <a:latin typeface="Montserrat"/>
                          <a:ea typeface="+mn-ea"/>
                          <a:cs typeface="+mn-cs"/>
                        </a:rPr>
                        <a:t>Item 06</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10539303"/>
                  </a:ext>
                </a:extLst>
              </a:tr>
              <a:tr h="567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all" spc="0" normalizeH="0" baseline="0" noProof="0" dirty="0">
                          <a:ln>
                            <a:noFill/>
                          </a:ln>
                          <a:solidFill>
                            <a:srgbClr val="5B5D62"/>
                          </a:solidFill>
                          <a:effectLst/>
                          <a:uLnTx/>
                          <a:uFillTx/>
                          <a:latin typeface="Montserrat"/>
                          <a:ea typeface="+mn-ea"/>
                          <a:cs typeface="+mn-cs"/>
                        </a:rPr>
                        <a:t>Item 07</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5B5D62"/>
                          </a:solidFill>
                          <a:effectLst/>
                          <a:uLnTx/>
                          <a:uFillTx/>
                          <a:latin typeface="Montserrat"/>
                          <a:ea typeface="+mn-ea"/>
                          <a:cs typeface="+mn-cs"/>
                        </a:rPr>
                        <a:t>00</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solidFill>
                      <a:schemeClr val="bg2"/>
                    </a:solidFill>
                  </a:tcPr>
                </a:tc>
                <a:extLst>
                  <a:ext uri="{0D108BD9-81ED-4DB2-BD59-A6C34878D82A}">
                    <a16:rowId xmlns:a16="http://schemas.microsoft.com/office/drawing/2014/main" val="748761887"/>
                  </a:ext>
                </a:extLst>
              </a:tr>
            </a:tbl>
          </a:graphicData>
        </a:graphic>
      </p:graphicFrame>
      <p:graphicFrame>
        <p:nvGraphicFramePr>
          <p:cNvPr id="7" name="Table 30">
            <a:extLst>
              <a:ext uri="{FF2B5EF4-FFF2-40B4-BE49-F238E27FC236}">
                <a16:creationId xmlns:a16="http://schemas.microsoft.com/office/drawing/2014/main" id="{74ABC48F-6B1E-A4EF-08C5-27CC1FA769C4}"/>
              </a:ext>
            </a:extLst>
          </p:cNvPr>
          <p:cNvGraphicFramePr>
            <a:graphicFrameLocks noGrp="1"/>
          </p:cNvGraphicFramePr>
          <p:nvPr userDrawn="1">
            <p:extLst>
              <p:ext uri="{D42A27DB-BD31-4B8C-83A1-F6EECF244321}">
                <p14:modId xmlns:p14="http://schemas.microsoft.com/office/powerpoint/2010/main" val="3399669137"/>
              </p:ext>
            </p:extLst>
          </p:nvPr>
        </p:nvGraphicFramePr>
        <p:xfrm>
          <a:off x="508000" y="1583267"/>
          <a:ext cx="3400424" cy="4636555"/>
        </p:xfrm>
        <a:graphic>
          <a:graphicData uri="http://schemas.openxmlformats.org/drawingml/2006/table">
            <a:tbl>
              <a:tblPr>
                <a:tableStyleId>{5C22544A-7EE6-4342-B048-85BDC9FD1C3A}</a:tableStyleId>
              </a:tblPr>
              <a:tblGrid>
                <a:gridCol w="1212368">
                  <a:extLst>
                    <a:ext uri="{9D8B030D-6E8A-4147-A177-3AD203B41FA5}">
                      <a16:colId xmlns:a16="http://schemas.microsoft.com/office/drawing/2014/main" val="1639631679"/>
                    </a:ext>
                  </a:extLst>
                </a:gridCol>
                <a:gridCol w="1094028">
                  <a:extLst>
                    <a:ext uri="{9D8B030D-6E8A-4147-A177-3AD203B41FA5}">
                      <a16:colId xmlns:a16="http://schemas.microsoft.com/office/drawing/2014/main" val="1388369040"/>
                    </a:ext>
                  </a:extLst>
                </a:gridCol>
                <a:gridCol w="1094028">
                  <a:extLst>
                    <a:ext uri="{9D8B030D-6E8A-4147-A177-3AD203B41FA5}">
                      <a16:colId xmlns:a16="http://schemas.microsoft.com/office/drawing/2014/main" val="687887646"/>
                    </a:ext>
                  </a:extLst>
                </a:gridCol>
              </a:tblGrid>
              <a:tr h="567707">
                <a:tc>
                  <a:txBody>
                    <a:bodyPr/>
                    <a:lstStyle/>
                    <a:p>
                      <a:pPr algn="l"/>
                      <a:r>
                        <a:rPr lang="en-GB" sz="1000" kern="1200" cap="all" baseline="0" dirty="0">
                          <a:solidFill>
                            <a:schemeClr val="tx2"/>
                          </a:solidFill>
                          <a:latin typeface="+mj-lt"/>
                          <a:ea typeface="+mn-ea"/>
                          <a:cs typeface="+mn-cs"/>
                        </a:rPr>
                        <a:t>TITLE</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algn="ctr"/>
                      <a:r>
                        <a:rPr lang="en-GB" sz="1000" kern="1200" cap="all" baseline="0" dirty="0">
                          <a:solidFill>
                            <a:schemeClr val="tx2"/>
                          </a:solidFill>
                          <a:latin typeface="+mj-lt"/>
                          <a:ea typeface="+mn-ea"/>
                          <a:cs typeface="+mn-cs"/>
                        </a:rPr>
                        <a:t>column</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algn="ctr"/>
                      <a:r>
                        <a:rPr lang="en-GB" sz="1000" kern="1200" cap="all" baseline="0" dirty="0">
                          <a:solidFill>
                            <a:schemeClr val="tx2"/>
                          </a:solidFill>
                          <a:latin typeface="+mj-lt"/>
                          <a:ea typeface="+mn-ea"/>
                          <a:cs typeface="+mn-cs"/>
                        </a:rPr>
                        <a:t>column</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3952565638"/>
                  </a:ext>
                </a:extLst>
              </a:tr>
              <a:tr h="599340">
                <a:tc>
                  <a:txBody>
                    <a:bodyPr/>
                    <a:lstStyle/>
                    <a:p>
                      <a:pPr algn="l"/>
                      <a:r>
                        <a:rPr lang="en-GB" sz="1000" b="0" i="0" u="none" strike="noStrike" kern="1200" cap="all" baseline="0" dirty="0">
                          <a:solidFill>
                            <a:schemeClr val="tx1"/>
                          </a:solidFill>
                          <a:latin typeface="+mn-lt"/>
                          <a:ea typeface="+mn-ea"/>
                          <a:cs typeface="+mn-cs"/>
                        </a:rPr>
                        <a:t>Item 01</a:t>
                      </a:r>
                      <a:endParaRPr lang="en-GB" sz="1000" cap="all" baseline="0" dirty="0">
                        <a:solidFill>
                          <a:schemeClr val="tx1"/>
                        </a:solidFill>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2927525207"/>
                  </a:ext>
                </a:extLst>
              </a:tr>
              <a:tr h="5993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all" spc="0" normalizeH="0" baseline="0" noProof="0" dirty="0">
                          <a:ln>
                            <a:noFill/>
                          </a:ln>
                          <a:solidFill>
                            <a:srgbClr val="5B5D62"/>
                          </a:solidFill>
                          <a:effectLst/>
                          <a:uLnTx/>
                          <a:uFillTx/>
                          <a:latin typeface="Montserrat"/>
                          <a:ea typeface="+mn-ea"/>
                          <a:cs typeface="+mn-cs"/>
                        </a:rPr>
                        <a:t>Item 02</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1167671591"/>
                  </a:ext>
                </a:extLst>
              </a:tr>
              <a:tr h="5993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all" spc="0" normalizeH="0" baseline="0" noProof="0" dirty="0">
                          <a:ln>
                            <a:noFill/>
                          </a:ln>
                          <a:solidFill>
                            <a:srgbClr val="5B5D62"/>
                          </a:solidFill>
                          <a:effectLst/>
                          <a:uLnTx/>
                          <a:uFillTx/>
                          <a:latin typeface="Montserrat"/>
                          <a:ea typeface="+mn-ea"/>
                          <a:cs typeface="+mn-cs"/>
                        </a:rPr>
                        <a:t>Item 03</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2335492511"/>
                  </a:ext>
                </a:extLst>
              </a:tr>
              <a:tr h="567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all" spc="0" normalizeH="0" baseline="0" noProof="0" dirty="0">
                          <a:ln>
                            <a:noFill/>
                          </a:ln>
                          <a:solidFill>
                            <a:srgbClr val="5B5D62"/>
                          </a:solidFill>
                          <a:effectLst/>
                          <a:uLnTx/>
                          <a:uFillTx/>
                          <a:latin typeface="Montserrat"/>
                          <a:ea typeface="+mn-ea"/>
                          <a:cs typeface="+mn-cs"/>
                        </a:rPr>
                        <a:t>Item 04</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2029255895"/>
                  </a:ext>
                </a:extLst>
              </a:tr>
              <a:tr h="567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all" spc="0" normalizeH="0" baseline="0" noProof="0" dirty="0">
                          <a:ln>
                            <a:noFill/>
                          </a:ln>
                          <a:solidFill>
                            <a:srgbClr val="5B5D62"/>
                          </a:solidFill>
                          <a:effectLst/>
                          <a:uLnTx/>
                          <a:uFillTx/>
                          <a:latin typeface="Montserrat"/>
                          <a:ea typeface="+mn-ea"/>
                          <a:cs typeface="+mn-cs"/>
                        </a:rPr>
                        <a:t>Item 05</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3423255311"/>
                  </a:ext>
                </a:extLst>
              </a:tr>
              <a:tr h="567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all" spc="0" normalizeH="0" baseline="0" noProof="0" dirty="0">
                          <a:ln>
                            <a:noFill/>
                          </a:ln>
                          <a:solidFill>
                            <a:srgbClr val="5B5D62"/>
                          </a:solidFill>
                          <a:effectLst/>
                          <a:uLnTx/>
                          <a:uFillTx/>
                          <a:latin typeface="Montserrat"/>
                          <a:ea typeface="+mn-ea"/>
                          <a:cs typeface="+mn-cs"/>
                        </a:rPr>
                        <a:t>Item 06</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10539303"/>
                  </a:ext>
                </a:extLst>
              </a:tr>
              <a:tr h="567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all" spc="0" normalizeH="0" baseline="0" noProof="0" dirty="0">
                          <a:ln>
                            <a:noFill/>
                          </a:ln>
                          <a:solidFill>
                            <a:srgbClr val="5B5D62"/>
                          </a:solidFill>
                          <a:effectLst/>
                          <a:uLnTx/>
                          <a:uFillTx/>
                          <a:latin typeface="Montserrat"/>
                          <a:ea typeface="+mn-ea"/>
                          <a:cs typeface="+mn-cs"/>
                        </a:rPr>
                        <a:t>Item 07</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B5D62"/>
                          </a:solidFill>
                          <a:effectLst/>
                          <a:uLnTx/>
                          <a:uFillTx/>
                          <a:latin typeface="Montserrat"/>
                          <a:ea typeface="+mn-ea"/>
                          <a:cs typeface="+mn-cs"/>
                        </a:rPr>
                        <a:t>00</a:t>
                      </a:r>
                      <a:endParaRPr kumimoji="0" lang="en-GB" sz="1000" b="0" i="0" u="none" strike="noStrike" kern="1200" cap="none" spc="0" normalizeH="0" baseline="0" noProof="0" dirty="0">
                        <a:ln>
                          <a:noFill/>
                        </a:ln>
                        <a:solidFill>
                          <a:srgbClr val="5B5D62"/>
                        </a:solidFill>
                        <a:effectLst/>
                        <a:uLnTx/>
                        <a:uFillTx/>
                        <a:latin typeface="Montserra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5B5D62"/>
                          </a:solidFill>
                          <a:effectLst/>
                          <a:uLnTx/>
                          <a:uFillTx/>
                          <a:latin typeface="Montserrat"/>
                          <a:ea typeface="+mn-ea"/>
                          <a:cs typeface="+mn-cs"/>
                        </a:rPr>
                        <a:t>00</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solidFill>
                      <a:schemeClr val="bg2"/>
                    </a:solidFill>
                  </a:tcPr>
                </a:tc>
                <a:extLst>
                  <a:ext uri="{0D108BD9-81ED-4DB2-BD59-A6C34878D82A}">
                    <a16:rowId xmlns:a16="http://schemas.microsoft.com/office/drawing/2014/main" val="748761887"/>
                  </a:ext>
                </a:extLst>
              </a:tr>
            </a:tbl>
          </a:graphicData>
        </a:graphic>
      </p:graphicFrame>
    </p:spTree>
    <p:extLst>
      <p:ext uri="{BB962C8B-B14F-4D97-AF65-F5344CB8AC3E}">
        <p14:creationId xmlns:p14="http://schemas.microsoft.com/office/powerpoint/2010/main" val="3561014763"/>
      </p:ext>
    </p:extLst>
  </p:cSld>
  <p:clrMapOvr>
    <a:masterClrMapping/>
  </p:clrMapOvr>
  <p:transition spd="med">
    <p:fade/>
  </p:transition>
  <p:extLst>
    <p:ext uri="{DCECCB84-F9BA-43D5-87BE-67443E8EF086}">
      <p15:sldGuideLst xmlns:p15="http://schemas.microsoft.com/office/powerpoint/2012/main">
        <p15:guide id="1" pos="3840" userDrawn="1">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Appendix T&amp;Cs - 3 column">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508000" y="1549930"/>
            <a:ext cx="11174413" cy="4669896"/>
          </a:xfrm>
        </p:spPr>
        <p:txBody>
          <a:bodyPr vert="horz" lIns="0" tIns="45720" rIns="0" bIns="4572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5" name="Footer Placeholder 4"/>
          <p:cNvSpPr>
            <a:spLocks noGrp="1"/>
          </p:cNvSpPr>
          <p:nvPr>
            <p:ph type="ftr" sz="quarter" idx="11"/>
          </p:nvPr>
        </p:nvSpPr>
        <p:spPr/>
        <p:txBody>
          <a:bodyPr/>
          <a:lstStyle/>
          <a:p>
            <a:r>
              <a:rPr lang="en-GB"/>
              <a:t>INSERT FOOTER HERE</a:t>
            </a:r>
          </a:p>
        </p:txBody>
      </p:sp>
      <p:sp>
        <p:nvSpPr>
          <p:cNvPr id="6" name="Slide Number Placeholder 5"/>
          <p:cNvSpPr>
            <a:spLocks noGrp="1"/>
          </p:cNvSpPr>
          <p:nvPr>
            <p:ph type="sldNum" sz="quarter" idx="12"/>
          </p:nvPr>
        </p:nvSpPr>
        <p:spPr/>
        <p:txBody>
          <a:bodyPr/>
          <a:lstStyle/>
          <a:p>
            <a:fld id="{8CFE0557-AA98-4E6C-B0C3-581794696B68}" type="slidenum">
              <a:rPr lang="en-GB" smtClean="0"/>
              <a:t>‹#›</a:t>
            </a:fld>
            <a:endParaRPr lang="en-GB"/>
          </a:p>
        </p:txBody>
      </p:sp>
      <p:sp>
        <p:nvSpPr>
          <p:cNvPr id="4" name="Title 3">
            <a:extLst>
              <a:ext uri="{FF2B5EF4-FFF2-40B4-BE49-F238E27FC236}">
                <a16:creationId xmlns:a16="http://schemas.microsoft.com/office/drawing/2014/main" id="{4608F71F-298B-E7F1-63FC-02E5E7EE1D4A}"/>
              </a:ext>
            </a:extLst>
          </p:cNvPr>
          <p:cNvSpPr>
            <a:spLocks noGrp="1"/>
          </p:cNvSpPr>
          <p:nvPr>
            <p:ph type="title" hasCustomPrompt="1"/>
          </p:nvPr>
        </p:nvSpPr>
        <p:spPr/>
        <p:txBody>
          <a:bodyPr/>
          <a:lstStyle/>
          <a:p>
            <a:r>
              <a:rPr lang="en-US" dirty="0"/>
              <a:t>TERMS &amp; CONDITIONS</a:t>
            </a:r>
            <a:endParaRPr lang="en-GB" dirty="0"/>
          </a:p>
        </p:txBody>
      </p:sp>
    </p:spTree>
    <p:extLst>
      <p:ext uri="{BB962C8B-B14F-4D97-AF65-F5344CB8AC3E}">
        <p14:creationId xmlns:p14="http://schemas.microsoft.com/office/powerpoint/2010/main" val="3981714804"/>
      </p:ext>
    </p:extLst>
  </p:cSld>
  <p:clrMapOvr>
    <a:masterClrMapping/>
  </p:clrMapOvr>
  <p:transition spd="med">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ustainability Title Slide">
    <p:bg>
      <p:bgPr>
        <a:solidFill>
          <a:schemeClr val="accent2"/>
        </a:solidFill>
        <a:effectLst/>
      </p:bgPr>
    </p:bg>
    <p:spTree>
      <p:nvGrpSpPr>
        <p:cNvPr id="1" name=""/>
        <p:cNvGrpSpPr/>
        <p:nvPr/>
      </p:nvGrpSpPr>
      <p:grpSpPr>
        <a:xfrm>
          <a:off x="0" y="0"/>
          <a:ext cx="0" cy="0"/>
          <a:chOff x="0" y="0"/>
          <a:chExt cx="0" cy="0"/>
        </a:xfrm>
      </p:grpSpPr>
      <p:sp>
        <p:nvSpPr>
          <p:cNvPr id="103" name="Picture Placeholder 102">
            <a:extLst>
              <a:ext uri="{FF2B5EF4-FFF2-40B4-BE49-F238E27FC236}">
                <a16:creationId xmlns:a16="http://schemas.microsoft.com/office/drawing/2014/main" id="{B0AF212B-6C39-61A0-943C-56463A47D6F2}"/>
              </a:ext>
            </a:extLst>
          </p:cNvPr>
          <p:cNvSpPr>
            <a:spLocks noGrp="1"/>
          </p:cNvSpPr>
          <p:nvPr>
            <p:ph type="pic" sz="quarter" idx="13" hasCustomPrompt="1"/>
          </p:nvPr>
        </p:nvSpPr>
        <p:spPr>
          <a:xfrm>
            <a:off x="6672702" y="0"/>
            <a:ext cx="5519299" cy="6858000"/>
          </a:xfrm>
          <a:custGeom>
            <a:avLst/>
            <a:gdLst>
              <a:gd name="connsiteX0" fmla="*/ 3655097 w 5519299"/>
              <a:gd name="connsiteY0" fmla="*/ 1122385 h 6858000"/>
              <a:gd name="connsiteX1" fmla="*/ 3689062 w 5519299"/>
              <a:gd name="connsiteY1" fmla="*/ 1122385 h 6858000"/>
              <a:gd name="connsiteX2" fmla="*/ 3727406 w 5519299"/>
              <a:gd name="connsiteY2" fmla="*/ 1153787 h 6858000"/>
              <a:gd name="connsiteX3" fmla="*/ 3689062 w 5519299"/>
              <a:gd name="connsiteY3" fmla="*/ 1185189 h 6858000"/>
              <a:gd name="connsiteX4" fmla="*/ 3655097 w 5519299"/>
              <a:gd name="connsiteY4" fmla="*/ 1185189 h 6858000"/>
              <a:gd name="connsiteX5" fmla="*/ 2510430 w 5519299"/>
              <a:gd name="connsiteY5" fmla="*/ 1122278 h 6858000"/>
              <a:gd name="connsiteX6" fmla="*/ 2544395 w 5519299"/>
              <a:gd name="connsiteY6" fmla="*/ 1122278 h 6858000"/>
              <a:gd name="connsiteX7" fmla="*/ 2582739 w 5519299"/>
              <a:gd name="connsiteY7" fmla="*/ 1153680 h 6858000"/>
              <a:gd name="connsiteX8" fmla="*/ 2544395 w 5519299"/>
              <a:gd name="connsiteY8" fmla="*/ 1185082 h 6858000"/>
              <a:gd name="connsiteX9" fmla="*/ 2510430 w 5519299"/>
              <a:gd name="connsiteY9" fmla="*/ 1185082 h 6858000"/>
              <a:gd name="connsiteX10" fmla="*/ 3487514 w 5519299"/>
              <a:gd name="connsiteY10" fmla="*/ 1120783 h 6858000"/>
              <a:gd name="connsiteX11" fmla="*/ 3543909 w 5519299"/>
              <a:gd name="connsiteY11" fmla="*/ 1178460 h 6858000"/>
              <a:gd name="connsiteX12" fmla="*/ 3487514 w 5519299"/>
              <a:gd name="connsiteY12" fmla="*/ 1236136 h 6858000"/>
              <a:gd name="connsiteX13" fmla="*/ 3431120 w 5519299"/>
              <a:gd name="connsiteY13" fmla="*/ 1178460 h 6858000"/>
              <a:gd name="connsiteX14" fmla="*/ 3487514 w 5519299"/>
              <a:gd name="connsiteY14" fmla="*/ 1120783 h 6858000"/>
              <a:gd name="connsiteX15" fmla="*/ 2144504 w 5519299"/>
              <a:gd name="connsiteY15" fmla="*/ 1120676 h 6858000"/>
              <a:gd name="connsiteX16" fmla="*/ 2200899 w 5519299"/>
              <a:gd name="connsiteY16" fmla="*/ 1178353 h 6858000"/>
              <a:gd name="connsiteX17" fmla="*/ 2144504 w 5519299"/>
              <a:gd name="connsiteY17" fmla="*/ 1236029 h 6858000"/>
              <a:gd name="connsiteX18" fmla="*/ 2088109 w 5519299"/>
              <a:gd name="connsiteY18" fmla="*/ 1178353 h 6858000"/>
              <a:gd name="connsiteX19" fmla="*/ 2144504 w 5519299"/>
              <a:gd name="connsiteY19" fmla="*/ 1120676 h 6858000"/>
              <a:gd name="connsiteX20" fmla="*/ 3613335 w 5519299"/>
              <a:gd name="connsiteY20" fmla="*/ 1088313 h 6858000"/>
              <a:gd name="connsiteX21" fmla="*/ 3613335 w 5519299"/>
              <a:gd name="connsiteY21" fmla="*/ 1268606 h 6858000"/>
              <a:gd name="connsiteX22" fmla="*/ 3655097 w 5519299"/>
              <a:gd name="connsiteY22" fmla="*/ 1268606 h 6858000"/>
              <a:gd name="connsiteX23" fmla="*/ 3655097 w 5519299"/>
              <a:gd name="connsiteY23" fmla="*/ 1218406 h 6858000"/>
              <a:gd name="connsiteX24" fmla="*/ 3693441 w 5519299"/>
              <a:gd name="connsiteY24" fmla="*/ 1218406 h 6858000"/>
              <a:gd name="connsiteX25" fmla="*/ 3728154 w 5519299"/>
              <a:gd name="connsiteY25" fmla="*/ 1268606 h 6858000"/>
              <a:gd name="connsiteX26" fmla="*/ 3728261 w 5519299"/>
              <a:gd name="connsiteY26" fmla="*/ 1268499 h 6858000"/>
              <a:gd name="connsiteX27" fmla="*/ 3773120 w 5519299"/>
              <a:gd name="connsiteY27" fmla="*/ 1268499 h 6858000"/>
              <a:gd name="connsiteX28" fmla="*/ 3732640 w 5519299"/>
              <a:gd name="connsiteY28" fmla="*/ 1210609 h 6858000"/>
              <a:gd name="connsiteX29" fmla="*/ 3769703 w 5519299"/>
              <a:gd name="connsiteY29" fmla="*/ 1153680 h 6858000"/>
              <a:gd name="connsiteX30" fmla="*/ 3691412 w 5519299"/>
              <a:gd name="connsiteY30" fmla="*/ 1088313 h 6858000"/>
              <a:gd name="connsiteX31" fmla="*/ 3229358 w 5519299"/>
              <a:gd name="connsiteY31" fmla="*/ 1088313 h 6858000"/>
              <a:gd name="connsiteX32" fmla="*/ 3229358 w 5519299"/>
              <a:gd name="connsiteY32" fmla="*/ 1122278 h 6858000"/>
              <a:gd name="connsiteX33" fmla="*/ 3287035 w 5519299"/>
              <a:gd name="connsiteY33" fmla="*/ 1122278 h 6858000"/>
              <a:gd name="connsiteX34" fmla="*/ 3287035 w 5519299"/>
              <a:gd name="connsiteY34" fmla="*/ 1268499 h 6858000"/>
              <a:gd name="connsiteX35" fmla="*/ 3328797 w 5519299"/>
              <a:gd name="connsiteY35" fmla="*/ 1268499 h 6858000"/>
              <a:gd name="connsiteX36" fmla="*/ 3328797 w 5519299"/>
              <a:gd name="connsiteY36" fmla="*/ 1122278 h 6858000"/>
              <a:gd name="connsiteX37" fmla="*/ 3386474 w 5519299"/>
              <a:gd name="connsiteY37" fmla="*/ 1122278 h 6858000"/>
              <a:gd name="connsiteX38" fmla="*/ 3386474 w 5519299"/>
              <a:gd name="connsiteY38" fmla="*/ 1088313 h 6858000"/>
              <a:gd name="connsiteX39" fmla="*/ 2892271 w 5519299"/>
              <a:gd name="connsiteY39" fmla="*/ 1088206 h 6858000"/>
              <a:gd name="connsiteX40" fmla="*/ 2892271 w 5519299"/>
              <a:gd name="connsiteY40" fmla="*/ 1268499 h 6858000"/>
              <a:gd name="connsiteX41" fmla="*/ 3031869 w 5519299"/>
              <a:gd name="connsiteY41" fmla="*/ 1268499 h 6858000"/>
              <a:gd name="connsiteX42" fmla="*/ 3031869 w 5519299"/>
              <a:gd name="connsiteY42" fmla="*/ 1235068 h 6858000"/>
              <a:gd name="connsiteX43" fmla="*/ 3031869 w 5519299"/>
              <a:gd name="connsiteY43" fmla="*/ 1234961 h 6858000"/>
              <a:gd name="connsiteX44" fmla="*/ 2933712 w 5519299"/>
              <a:gd name="connsiteY44" fmla="*/ 1234961 h 6858000"/>
              <a:gd name="connsiteX45" fmla="*/ 2933712 w 5519299"/>
              <a:gd name="connsiteY45" fmla="*/ 1193199 h 6858000"/>
              <a:gd name="connsiteX46" fmla="*/ 3017450 w 5519299"/>
              <a:gd name="connsiteY46" fmla="*/ 1193199 h 6858000"/>
              <a:gd name="connsiteX47" fmla="*/ 3017450 w 5519299"/>
              <a:gd name="connsiteY47" fmla="*/ 1160729 h 6858000"/>
              <a:gd name="connsiteX48" fmla="*/ 2933712 w 5519299"/>
              <a:gd name="connsiteY48" fmla="*/ 1160729 h 6858000"/>
              <a:gd name="connsiteX49" fmla="*/ 2933712 w 5519299"/>
              <a:gd name="connsiteY49" fmla="*/ 1121637 h 6858000"/>
              <a:gd name="connsiteX50" fmla="*/ 3028451 w 5519299"/>
              <a:gd name="connsiteY50" fmla="*/ 1121637 h 6858000"/>
              <a:gd name="connsiteX51" fmla="*/ 3028451 w 5519299"/>
              <a:gd name="connsiteY51" fmla="*/ 1088206 h 6858000"/>
              <a:gd name="connsiteX52" fmla="*/ 2468668 w 5519299"/>
              <a:gd name="connsiteY52" fmla="*/ 1088206 h 6858000"/>
              <a:gd name="connsiteX53" fmla="*/ 2468668 w 5519299"/>
              <a:gd name="connsiteY53" fmla="*/ 1268499 h 6858000"/>
              <a:gd name="connsiteX54" fmla="*/ 2510430 w 5519299"/>
              <a:gd name="connsiteY54" fmla="*/ 1268499 h 6858000"/>
              <a:gd name="connsiteX55" fmla="*/ 2510430 w 5519299"/>
              <a:gd name="connsiteY55" fmla="*/ 1218299 h 6858000"/>
              <a:gd name="connsiteX56" fmla="*/ 2548774 w 5519299"/>
              <a:gd name="connsiteY56" fmla="*/ 1218299 h 6858000"/>
              <a:gd name="connsiteX57" fmla="*/ 2583487 w 5519299"/>
              <a:gd name="connsiteY57" fmla="*/ 1268499 h 6858000"/>
              <a:gd name="connsiteX58" fmla="*/ 2583594 w 5519299"/>
              <a:gd name="connsiteY58" fmla="*/ 1268392 h 6858000"/>
              <a:gd name="connsiteX59" fmla="*/ 2628454 w 5519299"/>
              <a:gd name="connsiteY59" fmla="*/ 1268392 h 6858000"/>
              <a:gd name="connsiteX60" fmla="*/ 2587973 w 5519299"/>
              <a:gd name="connsiteY60" fmla="*/ 1210502 h 6858000"/>
              <a:gd name="connsiteX61" fmla="*/ 2625036 w 5519299"/>
              <a:gd name="connsiteY61" fmla="*/ 1153573 h 6858000"/>
              <a:gd name="connsiteX62" fmla="*/ 2546745 w 5519299"/>
              <a:gd name="connsiteY62" fmla="*/ 1088206 h 6858000"/>
              <a:gd name="connsiteX63" fmla="*/ 2268402 w 5519299"/>
              <a:gd name="connsiteY63" fmla="*/ 1088206 h 6858000"/>
              <a:gd name="connsiteX64" fmla="*/ 2268402 w 5519299"/>
              <a:gd name="connsiteY64" fmla="*/ 1189140 h 6858000"/>
              <a:gd name="connsiteX65" fmla="*/ 2268509 w 5519299"/>
              <a:gd name="connsiteY65" fmla="*/ 1189140 h 6858000"/>
              <a:gd name="connsiteX66" fmla="*/ 2350111 w 5519299"/>
              <a:gd name="connsiteY66" fmla="*/ 1271597 h 6858000"/>
              <a:gd name="connsiteX67" fmla="*/ 2431712 w 5519299"/>
              <a:gd name="connsiteY67" fmla="*/ 1189140 h 6858000"/>
              <a:gd name="connsiteX68" fmla="*/ 2431712 w 5519299"/>
              <a:gd name="connsiteY68" fmla="*/ 1088206 h 6858000"/>
              <a:gd name="connsiteX69" fmla="*/ 2390484 w 5519299"/>
              <a:gd name="connsiteY69" fmla="*/ 1088206 h 6858000"/>
              <a:gd name="connsiteX70" fmla="*/ 2390484 w 5519299"/>
              <a:gd name="connsiteY70" fmla="*/ 1187645 h 6858000"/>
              <a:gd name="connsiteX71" fmla="*/ 2350324 w 5519299"/>
              <a:gd name="connsiteY71" fmla="*/ 1236029 h 6858000"/>
              <a:gd name="connsiteX72" fmla="*/ 2310164 w 5519299"/>
              <a:gd name="connsiteY72" fmla="*/ 1187645 h 6858000"/>
              <a:gd name="connsiteX73" fmla="*/ 2310164 w 5519299"/>
              <a:gd name="connsiteY73" fmla="*/ 1088206 h 6858000"/>
              <a:gd name="connsiteX74" fmla="*/ 1776228 w 5519299"/>
              <a:gd name="connsiteY74" fmla="*/ 1088206 h 6858000"/>
              <a:gd name="connsiteX75" fmla="*/ 1776228 w 5519299"/>
              <a:gd name="connsiteY75" fmla="*/ 1268499 h 6858000"/>
              <a:gd name="connsiteX76" fmla="*/ 1817456 w 5519299"/>
              <a:gd name="connsiteY76" fmla="*/ 1268499 h 6858000"/>
              <a:gd name="connsiteX77" fmla="*/ 1817456 w 5519299"/>
              <a:gd name="connsiteY77" fmla="*/ 1159020 h 6858000"/>
              <a:gd name="connsiteX78" fmla="*/ 1907282 w 5519299"/>
              <a:gd name="connsiteY78" fmla="*/ 1268499 h 6858000"/>
              <a:gd name="connsiteX79" fmla="*/ 1941568 w 5519299"/>
              <a:gd name="connsiteY79" fmla="*/ 1268499 h 6858000"/>
              <a:gd name="connsiteX80" fmla="*/ 1941568 w 5519299"/>
              <a:gd name="connsiteY80" fmla="*/ 1088206 h 6858000"/>
              <a:gd name="connsiteX81" fmla="*/ 1900340 w 5519299"/>
              <a:gd name="connsiteY81" fmla="*/ 1088206 h 6858000"/>
              <a:gd name="connsiteX82" fmla="*/ 1900340 w 5519299"/>
              <a:gd name="connsiteY82" fmla="*/ 1197685 h 6858000"/>
              <a:gd name="connsiteX83" fmla="*/ 1810728 w 5519299"/>
              <a:gd name="connsiteY83" fmla="*/ 1088206 h 6858000"/>
              <a:gd name="connsiteX84" fmla="*/ 1696656 w 5519299"/>
              <a:gd name="connsiteY84" fmla="*/ 1088206 h 6858000"/>
              <a:gd name="connsiteX85" fmla="*/ 1696656 w 5519299"/>
              <a:gd name="connsiteY85" fmla="*/ 1268499 h 6858000"/>
              <a:gd name="connsiteX86" fmla="*/ 1738418 w 5519299"/>
              <a:gd name="connsiteY86" fmla="*/ 1268499 h 6858000"/>
              <a:gd name="connsiteX87" fmla="*/ 1738418 w 5519299"/>
              <a:gd name="connsiteY87" fmla="*/ 1088206 h 6858000"/>
              <a:gd name="connsiteX88" fmla="*/ 3865083 w 5519299"/>
              <a:gd name="connsiteY88" fmla="*/ 1085216 h 6858000"/>
              <a:gd name="connsiteX89" fmla="*/ 3789142 w 5519299"/>
              <a:gd name="connsiteY89" fmla="*/ 1141397 h 6858000"/>
              <a:gd name="connsiteX90" fmla="*/ 3893921 w 5519299"/>
              <a:gd name="connsiteY90" fmla="*/ 1218940 h 6858000"/>
              <a:gd name="connsiteX91" fmla="*/ 3859208 w 5519299"/>
              <a:gd name="connsiteY91" fmla="*/ 1238272 h 6858000"/>
              <a:gd name="connsiteX92" fmla="*/ 3799716 w 5519299"/>
              <a:gd name="connsiteY92" fmla="*/ 1219474 h 6858000"/>
              <a:gd name="connsiteX93" fmla="*/ 3785531 w 5519299"/>
              <a:gd name="connsiteY93" fmla="*/ 1250829 h 6858000"/>
              <a:gd name="connsiteX94" fmla="*/ 3785403 w 5519299"/>
              <a:gd name="connsiteY94" fmla="*/ 1250769 h 6858000"/>
              <a:gd name="connsiteX95" fmla="*/ 3785510 w 5519299"/>
              <a:gd name="connsiteY95" fmla="*/ 1250876 h 6858000"/>
              <a:gd name="connsiteX96" fmla="*/ 3785531 w 5519299"/>
              <a:gd name="connsiteY96" fmla="*/ 1250829 h 6858000"/>
              <a:gd name="connsiteX97" fmla="*/ 3817326 w 5519299"/>
              <a:gd name="connsiteY97" fmla="*/ 1265789 h 6858000"/>
              <a:gd name="connsiteX98" fmla="*/ 3858781 w 5519299"/>
              <a:gd name="connsiteY98" fmla="*/ 1271597 h 6858000"/>
              <a:gd name="connsiteX99" fmla="*/ 3935256 w 5519299"/>
              <a:gd name="connsiteY99" fmla="*/ 1215736 h 6858000"/>
              <a:gd name="connsiteX100" fmla="*/ 3830477 w 5519299"/>
              <a:gd name="connsiteY100" fmla="*/ 1139261 h 6858000"/>
              <a:gd name="connsiteX101" fmla="*/ 3864762 w 5519299"/>
              <a:gd name="connsiteY101" fmla="*/ 1118647 h 6858000"/>
              <a:gd name="connsiteX102" fmla="*/ 3914749 w 5519299"/>
              <a:gd name="connsiteY102" fmla="*/ 1132852 h 6858000"/>
              <a:gd name="connsiteX103" fmla="*/ 3927672 w 5519299"/>
              <a:gd name="connsiteY103" fmla="*/ 1101130 h 6858000"/>
              <a:gd name="connsiteX104" fmla="*/ 3865083 w 5519299"/>
              <a:gd name="connsiteY104" fmla="*/ 1085216 h 6858000"/>
              <a:gd name="connsiteX105" fmla="*/ 3487514 w 5519299"/>
              <a:gd name="connsiteY105" fmla="*/ 1085216 h 6858000"/>
              <a:gd name="connsiteX106" fmla="*/ 3388930 w 5519299"/>
              <a:gd name="connsiteY106" fmla="*/ 1178460 h 6858000"/>
              <a:gd name="connsiteX107" fmla="*/ 3487514 w 5519299"/>
              <a:gd name="connsiteY107" fmla="*/ 1271703 h 6858000"/>
              <a:gd name="connsiteX108" fmla="*/ 3586099 w 5519299"/>
              <a:gd name="connsiteY108" fmla="*/ 1178460 h 6858000"/>
              <a:gd name="connsiteX109" fmla="*/ 3487514 w 5519299"/>
              <a:gd name="connsiteY109" fmla="*/ 1085216 h 6858000"/>
              <a:gd name="connsiteX110" fmla="*/ 3145086 w 5519299"/>
              <a:gd name="connsiteY110" fmla="*/ 1085216 h 6858000"/>
              <a:gd name="connsiteX111" fmla="*/ 3047250 w 5519299"/>
              <a:gd name="connsiteY111" fmla="*/ 1178460 h 6858000"/>
              <a:gd name="connsiteX112" fmla="*/ 3047143 w 5519299"/>
              <a:gd name="connsiteY112" fmla="*/ 1178246 h 6858000"/>
              <a:gd name="connsiteX113" fmla="*/ 3144766 w 5519299"/>
              <a:gd name="connsiteY113" fmla="*/ 1271490 h 6858000"/>
              <a:gd name="connsiteX114" fmla="*/ 3219211 w 5519299"/>
              <a:gd name="connsiteY114" fmla="*/ 1239340 h 6858000"/>
              <a:gd name="connsiteX115" fmla="*/ 3192402 w 5519299"/>
              <a:gd name="connsiteY115" fmla="*/ 1214668 h 6858000"/>
              <a:gd name="connsiteX116" fmla="*/ 3147116 w 5519299"/>
              <a:gd name="connsiteY116" fmla="*/ 1236029 h 6858000"/>
              <a:gd name="connsiteX117" fmla="*/ 3089439 w 5519299"/>
              <a:gd name="connsiteY117" fmla="*/ 1178353 h 6858000"/>
              <a:gd name="connsiteX118" fmla="*/ 3147116 w 5519299"/>
              <a:gd name="connsiteY118" fmla="*/ 1120676 h 6858000"/>
              <a:gd name="connsiteX119" fmla="*/ 3192402 w 5519299"/>
              <a:gd name="connsiteY119" fmla="*/ 1141824 h 6858000"/>
              <a:gd name="connsiteX120" fmla="*/ 3219211 w 5519299"/>
              <a:gd name="connsiteY120" fmla="*/ 1117152 h 6858000"/>
              <a:gd name="connsiteX121" fmla="*/ 3145086 w 5519299"/>
              <a:gd name="connsiteY121" fmla="*/ 1085216 h 6858000"/>
              <a:gd name="connsiteX122" fmla="*/ 2796250 w 5519299"/>
              <a:gd name="connsiteY122" fmla="*/ 1085109 h 6858000"/>
              <a:gd name="connsiteX123" fmla="*/ 2720309 w 5519299"/>
              <a:gd name="connsiteY123" fmla="*/ 1141290 h 6858000"/>
              <a:gd name="connsiteX124" fmla="*/ 2825088 w 5519299"/>
              <a:gd name="connsiteY124" fmla="*/ 1218833 h 6858000"/>
              <a:gd name="connsiteX125" fmla="*/ 2790375 w 5519299"/>
              <a:gd name="connsiteY125" fmla="*/ 1238166 h 6858000"/>
              <a:gd name="connsiteX126" fmla="*/ 2730883 w 5519299"/>
              <a:gd name="connsiteY126" fmla="*/ 1219367 h 6858000"/>
              <a:gd name="connsiteX127" fmla="*/ 2716698 w 5519299"/>
              <a:gd name="connsiteY127" fmla="*/ 1250722 h 6858000"/>
              <a:gd name="connsiteX128" fmla="*/ 2716571 w 5519299"/>
              <a:gd name="connsiteY128" fmla="*/ 1250662 h 6858000"/>
              <a:gd name="connsiteX129" fmla="*/ 2716677 w 5519299"/>
              <a:gd name="connsiteY129" fmla="*/ 1250769 h 6858000"/>
              <a:gd name="connsiteX130" fmla="*/ 2716698 w 5519299"/>
              <a:gd name="connsiteY130" fmla="*/ 1250722 h 6858000"/>
              <a:gd name="connsiteX131" fmla="*/ 2748493 w 5519299"/>
              <a:gd name="connsiteY131" fmla="*/ 1265682 h 6858000"/>
              <a:gd name="connsiteX132" fmla="*/ 2789948 w 5519299"/>
              <a:gd name="connsiteY132" fmla="*/ 1271490 h 6858000"/>
              <a:gd name="connsiteX133" fmla="*/ 2866423 w 5519299"/>
              <a:gd name="connsiteY133" fmla="*/ 1215629 h 6858000"/>
              <a:gd name="connsiteX134" fmla="*/ 2761644 w 5519299"/>
              <a:gd name="connsiteY134" fmla="*/ 1139154 h 6858000"/>
              <a:gd name="connsiteX135" fmla="*/ 2795929 w 5519299"/>
              <a:gd name="connsiteY135" fmla="*/ 1118540 h 6858000"/>
              <a:gd name="connsiteX136" fmla="*/ 2845916 w 5519299"/>
              <a:gd name="connsiteY136" fmla="*/ 1132746 h 6858000"/>
              <a:gd name="connsiteX137" fmla="*/ 2858840 w 5519299"/>
              <a:gd name="connsiteY137" fmla="*/ 1101023 h 6858000"/>
              <a:gd name="connsiteX138" fmla="*/ 2796250 w 5519299"/>
              <a:gd name="connsiteY138" fmla="*/ 1085109 h 6858000"/>
              <a:gd name="connsiteX139" fmla="*/ 2144504 w 5519299"/>
              <a:gd name="connsiteY139" fmla="*/ 1085109 h 6858000"/>
              <a:gd name="connsiteX140" fmla="*/ 2045920 w 5519299"/>
              <a:gd name="connsiteY140" fmla="*/ 1178353 h 6858000"/>
              <a:gd name="connsiteX141" fmla="*/ 2144504 w 5519299"/>
              <a:gd name="connsiteY141" fmla="*/ 1271597 h 6858000"/>
              <a:gd name="connsiteX142" fmla="*/ 2243088 w 5519299"/>
              <a:gd name="connsiteY142" fmla="*/ 1178353 h 6858000"/>
              <a:gd name="connsiteX143" fmla="*/ 2144504 w 5519299"/>
              <a:gd name="connsiteY143" fmla="*/ 1085109 h 6858000"/>
              <a:gd name="connsiteX144" fmla="*/ 3163778 w 5519299"/>
              <a:gd name="connsiteY144" fmla="*/ 935043 h 6858000"/>
              <a:gd name="connsiteX145" fmla="*/ 3212482 w 5519299"/>
              <a:gd name="connsiteY145" fmla="*/ 935043 h 6858000"/>
              <a:gd name="connsiteX146" fmla="*/ 3245700 w 5519299"/>
              <a:gd name="connsiteY146" fmla="*/ 957473 h 6858000"/>
              <a:gd name="connsiteX147" fmla="*/ 3212482 w 5519299"/>
              <a:gd name="connsiteY147" fmla="*/ 979582 h 6858000"/>
              <a:gd name="connsiteX148" fmla="*/ 3163778 w 5519299"/>
              <a:gd name="connsiteY148" fmla="*/ 979582 h 6858000"/>
              <a:gd name="connsiteX149" fmla="*/ 3005808 w 5519299"/>
              <a:gd name="connsiteY149" fmla="*/ 871706 h 6858000"/>
              <a:gd name="connsiteX150" fmla="*/ 3034433 w 5519299"/>
              <a:gd name="connsiteY150" fmla="*/ 940704 h 6858000"/>
              <a:gd name="connsiteX151" fmla="*/ 3034326 w 5519299"/>
              <a:gd name="connsiteY151" fmla="*/ 940704 h 6858000"/>
              <a:gd name="connsiteX152" fmla="*/ 2977183 w 5519299"/>
              <a:gd name="connsiteY152" fmla="*/ 940704 h 6858000"/>
              <a:gd name="connsiteX153" fmla="*/ 2528374 w 5519299"/>
              <a:gd name="connsiteY153" fmla="*/ 871706 h 6858000"/>
              <a:gd name="connsiteX154" fmla="*/ 2556999 w 5519299"/>
              <a:gd name="connsiteY154" fmla="*/ 940704 h 6858000"/>
              <a:gd name="connsiteX155" fmla="*/ 2556892 w 5519299"/>
              <a:gd name="connsiteY155" fmla="*/ 940704 h 6858000"/>
              <a:gd name="connsiteX156" fmla="*/ 2499749 w 5519299"/>
              <a:gd name="connsiteY156" fmla="*/ 940704 h 6858000"/>
              <a:gd name="connsiteX157" fmla="*/ 3163778 w 5519299"/>
              <a:gd name="connsiteY157" fmla="*/ 862200 h 6858000"/>
              <a:gd name="connsiteX158" fmla="*/ 3205220 w 5519299"/>
              <a:gd name="connsiteY158" fmla="*/ 862200 h 6858000"/>
              <a:gd name="connsiteX159" fmla="*/ 3236621 w 5519299"/>
              <a:gd name="connsiteY159" fmla="*/ 883348 h 6858000"/>
              <a:gd name="connsiteX160" fmla="*/ 3205220 w 5519299"/>
              <a:gd name="connsiteY160" fmla="*/ 904709 h 6858000"/>
              <a:gd name="connsiteX161" fmla="*/ 3163778 w 5519299"/>
              <a:gd name="connsiteY161" fmla="*/ 904709 h 6858000"/>
              <a:gd name="connsiteX162" fmla="*/ 3764896 w 5519299"/>
              <a:gd name="connsiteY162" fmla="*/ 830798 h 6858000"/>
              <a:gd name="connsiteX163" fmla="*/ 3834642 w 5519299"/>
              <a:gd name="connsiteY163" fmla="*/ 946685 h 6858000"/>
              <a:gd name="connsiteX164" fmla="*/ 3834642 w 5519299"/>
              <a:gd name="connsiteY164" fmla="*/ 1011091 h 6858000"/>
              <a:gd name="connsiteX165" fmla="*/ 3876404 w 5519299"/>
              <a:gd name="connsiteY165" fmla="*/ 1011091 h 6858000"/>
              <a:gd name="connsiteX166" fmla="*/ 3876404 w 5519299"/>
              <a:gd name="connsiteY166" fmla="*/ 947219 h 6858000"/>
              <a:gd name="connsiteX167" fmla="*/ 3946471 w 5519299"/>
              <a:gd name="connsiteY167" fmla="*/ 830798 h 6858000"/>
              <a:gd name="connsiteX168" fmla="*/ 3905563 w 5519299"/>
              <a:gd name="connsiteY168" fmla="*/ 830798 h 6858000"/>
              <a:gd name="connsiteX169" fmla="*/ 3857392 w 5519299"/>
              <a:gd name="connsiteY169" fmla="*/ 910904 h 6858000"/>
              <a:gd name="connsiteX170" fmla="*/ 3809222 w 5519299"/>
              <a:gd name="connsiteY170" fmla="*/ 830798 h 6858000"/>
              <a:gd name="connsiteX171" fmla="*/ 3602440 w 5519299"/>
              <a:gd name="connsiteY171" fmla="*/ 830798 h 6858000"/>
              <a:gd name="connsiteX172" fmla="*/ 3602440 w 5519299"/>
              <a:gd name="connsiteY172" fmla="*/ 864763 h 6858000"/>
              <a:gd name="connsiteX173" fmla="*/ 3660117 w 5519299"/>
              <a:gd name="connsiteY173" fmla="*/ 864763 h 6858000"/>
              <a:gd name="connsiteX174" fmla="*/ 3660117 w 5519299"/>
              <a:gd name="connsiteY174" fmla="*/ 1010984 h 6858000"/>
              <a:gd name="connsiteX175" fmla="*/ 3701879 w 5519299"/>
              <a:gd name="connsiteY175" fmla="*/ 1010984 h 6858000"/>
              <a:gd name="connsiteX176" fmla="*/ 3701879 w 5519299"/>
              <a:gd name="connsiteY176" fmla="*/ 864763 h 6858000"/>
              <a:gd name="connsiteX177" fmla="*/ 3759556 w 5519299"/>
              <a:gd name="connsiteY177" fmla="*/ 864763 h 6858000"/>
              <a:gd name="connsiteX178" fmla="*/ 3759556 w 5519299"/>
              <a:gd name="connsiteY178" fmla="*/ 830798 h 6858000"/>
              <a:gd name="connsiteX179" fmla="*/ 3544657 w 5519299"/>
              <a:gd name="connsiteY179" fmla="*/ 830798 h 6858000"/>
              <a:gd name="connsiteX180" fmla="*/ 3544657 w 5519299"/>
              <a:gd name="connsiteY180" fmla="*/ 1011091 h 6858000"/>
              <a:gd name="connsiteX181" fmla="*/ 3586419 w 5519299"/>
              <a:gd name="connsiteY181" fmla="*/ 1011091 h 6858000"/>
              <a:gd name="connsiteX182" fmla="*/ 3586419 w 5519299"/>
              <a:gd name="connsiteY182" fmla="*/ 830798 h 6858000"/>
              <a:gd name="connsiteX183" fmla="*/ 3395552 w 5519299"/>
              <a:gd name="connsiteY183" fmla="*/ 830798 h 6858000"/>
              <a:gd name="connsiteX184" fmla="*/ 3395552 w 5519299"/>
              <a:gd name="connsiteY184" fmla="*/ 1010984 h 6858000"/>
              <a:gd name="connsiteX185" fmla="*/ 3527674 w 5519299"/>
              <a:gd name="connsiteY185" fmla="*/ 1010984 h 6858000"/>
              <a:gd name="connsiteX186" fmla="*/ 3527674 w 5519299"/>
              <a:gd name="connsiteY186" fmla="*/ 977019 h 6858000"/>
              <a:gd name="connsiteX187" fmla="*/ 3437314 w 5519299"/>
              <a:gd name="connsiteY187" fmla="*/ 977019 h 6858000"/>
              <a:gd name="connsiteX188" fmla="*/ 3437314 w 5519299"/>
              <a:gd name="connsiteY188" fmla="*/ 830798 h 6858000"/>
              <a:gd name="connsiteX189" fmla="*/ 3315980 w 5519299"/>
              <a:gd name="connsiteY189" fmla="*/ 830798 h 6858000"/>
              <a:gd name="connsiteX190" fmla="*/ 3315980 w 5519299"/>
              <a:gd name="connsiteY190" fmla="*/ 1011091 h 6858000"/>
              <a:gd name="connsiteX191" fmla="*/ 3357742 w 5519299"/>
              <a:gd name="connsiteY191" fmla="*/ 1011091 h 6858000"/>
              <a:gd name="connsiteX192" fmla="*/ 3357742 w 5519299"/>
              <a:gd name="connsiteY192" fmla="*/ 830798 h 6858000"/>
              <a:gd name="connsiteX193" fmla="*/ 2985514 w 5519299"/>
              <a:gd name="connsiteY193" fmla="*/ 830798 h 6858000"/>
              <a:gd name="connsiteX194" fmla="*/ 2905194 w 5519299"/>
              <a:gd name="connsiteY194" fmla="*/ 1011091 h 6858000"/>
              <a:gd name="connsiteX195" fmla="*/ 2947918 w 5519299"/>
              <a:gd name="connsiteY195" fmla="*/ 1011091 h 6858000"/>
              <a:gd name="connsiteX196" fmla="*/ 2963832 w 5519299"/>
              <a:gd name="connsiteY196" fmla="*/ 972426 h 6858000"/>
              <a:gd name="connsiteX197" fmla="*/ 3047570 w 5519299"/>
              <a:gd name="connsiteY197" fmla="*/ 972426 h 6858000"/>
              <a:gd name="connsiteX198" fmla="*/ 3047677 w 5519299"/>
              <a:gd name="connsiteY198" fmla="*/ 972426 h 6858000"/>
              <a:gd name="connsiteX199" fmla="*/ 3063591 w 5519299"/>
              <a:gd name="connsiteY199" fmla="*/ 1011091 h 6858000"/>
              <a:gd name="connsiteX200" fmla="*/ 3107383 w 5519299"/>
              <a:gd name="connsiteY200" fmla="*/ 1011091 h 6858000"/>
              <a:gd name="connsiteX201" fmla="*/ 3026742 w 5519299"/>
              <a:gd name="connsiteY201" fmla="*/ 830798 h 6858000"/>
              <a:gd name="connsiteX202" fmla="*/ 2644902 w 5519299"/>
              <a:gd name="connsiteY202" fmla="*/ 830798 h 6858000"/>
              <a:gd name="connsiteX203" fmla="*/ 2644902 w 5519299"/>
              <a:gd name="connsiteY203" fmla="*/ 1011091 h 6858000"/>
              <a:gd name="connsiteX204" fmla="*/ 2686664 w 5519299"/>
              <a:gd name="connsiteY204" fmla="*/ 1011091 h 6858000"/>
              <a:gd name="connsiteX205" fmla="*/ 2686664 w 5519299"/>
              <a:gd name="connsiteY205" fmla="*/ 830798 h 6858000"/>
              <a:gd name="connsiteX206" fmla="*/ 2508080 w 5519299"/>
              <a:gd name="connsiteY206" fmla="*/ 830798 h 6858000"/>
              <a:gd name="connsiteX207" fmla="*/ 2427760 w 5519299"/>
              <a:gd name="connsiteY207" fmla="*/ 1011091 h 6858000"/>
              <a:gd name="connsiteX208" fmla="*/ 2470484 w 5519299"/>
              <a:gd name="connsiteY208" fmla="*/ 1011091 h 6858000"/>
              <a:gd name="connsiteX209" fmla="*/ 2486398 w 5519299"/>
              <a:gd name="connsiteY209" fmla="*/ 972426 h 6858000"/>
              <a:gd name="connsiteX210" fmla="*/ 2570136 w 5519299"/>
              <a:gd name="connsiteY210" fmla="*/ 972426 h 6858000"/>
              <a:gd name="connsiteX211" fmla="*/ 2570243 w 5519299"/>
              <a:gd name="connsiteY211" fmla="*/ 972426 h 6858000"/>
              <a:gd name="connsiteX212" fmla="*/ 2586157 w 5519299"/>
              <a:gd name="connsiteY212" fmla="*/ 1011091 h 6858000"/>
              <a:gd name="connsiteX213" fmla="*/ 2629949 w 5519299"/>
              <a:gd name="connsiteY213" fmla="*/ 1011091 h 6858000"/>
              <a:gd name="connsiteX214" fmla="*/ 2549308 w 5519299"/>
              <a:gd name="connsiteY214" fmla="*/ 830798 h 6858000"/>
              <a:gd name="connsiteX215" fmla="*/ 2296706 w 5519299"/>
              <a:gd name="connsiteY215" fmla="*/ 830798 h 6858000"/>
              <a:gd name="connsiteX216" fmla="*/ 2296706 w 5519299"/>
              <a:gd name="connsiteY216" fmla="*/ 864763 h 6858000"/>
              <a:gd name="connsiteX217" fmla="*/ 2354383 w 5519299"/>
              <a:gd name="connsiteY217" fmla="*/ 864763 h 6858000"/>
              <a:gd name="connsiteX218" fmla="*/ 2354383 w 5519299"/>
              <a:gd name="connsiteY218" fmla="*/ 1010984 h 6858000"/>
              <a:gd name="connsiteX219" fmla="*/ 2396145 w 5519299"/>
              <a:gd name="connsiteY219" fmla="*/ 1010984 h 6858000"/>
              <a:gd name="connsiteX220" fmla="*/ 2396145 w 5519299"/>
              <a:gd name="connsiteY220" fmla="*/ 864763 h 6858000"/>
              <a:gd name="connsiteX221" fmla="*/ 2453822 w 5519299"/>
              <a:gd name="connsiteY221" fmla="*/ 864763 h 6858000"/>
              <a:gd name="connsiteX222" fmla="*/ 2453822 w 5519299"/>
              <a:gd name="connsiteY222" fmla="*/ 830798 h 6858000"/>
              <a:gd name="connsiteX223" fmla="*/ 1955026 w 5519299"/>
              <a:gd name="connsiteY223" fmla="*/ 830798 h 6858000"/>
              <a:gd name="connsiteX224" fmla="*/ 1955026 w 5519299"/>
              <a:gd name="connsiteY224" fmla="*/ 931732 h 6858000"/>
              <a:gd name="connsiteX225" fmla="*/ 1955133 w 5519299"/>
              <a:gd name="connsiteY225" fmla="*/ 931732 h 6858000"/>
              <a:gd name="connsiteX226" fmla="*/ 2036734 w 5519299"/>
              <a:gd name="connsiteY226" fmla="*/ 1014188 h 6858000"/>
              <a:gd name="connsiteX227" fmla="*/ 2118336 w 5519299"/>
              <a:gd name="connsiteY227" fmla="*/ 931732 h 6858000"/>
              <a:gd name="connsiteX228" fmla="*/ 2118336 w 5519299"/>
              <a:gd name="connsiteY228" fmla="*/ 830798 h 6858000"/>
              <a:gd name="connsiteX229" fmla="*/ 2077108 w 5519299"/>
              <a:gd name="connsiteY229" fmla="*/ 830798 h 6858000"/>
              <a:gd name="connsiteX230" fmla="*/ 2077108 w 5519299"/>
              <a:gd name="connsiteY230" fmla="*/ 930237 h 6858000"/>
              <a:gd name="connsiteX231" fmla="*/ 2036948 w 5519299"/>
              <a:gd name="connsiteY231" fmla="*/ 978621 h 6858000"/>
              <a:gd name="connsiteX232" fmla="*/ 1996788 w 5519299"/>
              <a:gd name="connsiteY232" fmla="*/ 930237 h 6858000"/>
              <a:gd name="connsiteX233" fmla="*/ 1996788 w 5519299"/>
              <a:gd name="connsiteY233" fmla="*/ 830798 h 6858000"/>
              <a:gd name="connsiteX234" fmla="*/ 3122336 w 5519299"/>
              <a:gd name="connsiteY234" fmla="*/ 830691 h 6858000"/>
              <a:gd name="connsiteX235" fmla="*/ 3122336 w 5519299"/>
              <a:gd name="connsiteY235" fmla="*/ 1010984 h 6858000"/>
              <a:gd name="connsiteX236" fmla="*/ 3215580 w 5519299"/>
              <a:gd name="connsiteY236" fmla="*/ 1010984 h 6858000"/>
              <a:gd name="connsiteX237" fmla="*/ 3287676 w 5519299"/>
              <a:gd name="connsiteY237" fmla="*/ 961852 h 6858000"/>
              <a:gd name="connsiteX238" fmla="*/ 3287782 w 5519299"/>
              <a:gd name="connsiteY238" fmla="*/ 961745 h 6858000"/>
              <a:gd name="connsiteX239" fmla="*/ 3254779 w 5519299"/>
              <a:gd name="connsiteY239" fmla="*/ 917206 h 6858000"/>
              <a:gd name="connsiteX240" fmla="*/ 3278704 w 5519299"/>
              <a:gd name="connsiteY240" fmla="*/ 877580 h 6858000"/>
              <a:gd name="connsiteX241" fmla="*/ 3210453 w 5519299"/>
              <a:gd name="connsiteY241" fmla="*/ 830691 h 6858000"/>
              <a:gd name="connsiteX242" fmla="*/ 2724474 w 5519299"/>
              <a:gd name="connsiteY242" fmla="*/ 830691 h 6858000"/>
              <a:gd name="connsiteX243" fmla="*/ 2724474 w 5519299"/>
              <a:gd name="connsiteY243" fmla="*/ 1011091 h 6858000"/>
              <a:gd name="connsiteX244" fmla="*/ 2765702 w 5519299"/>
              <a:gd name="connsiteY244" fmla="*/ 1011091 h 6858000"/>
              <a:gd name="connsiteX245" fmla="*/ 2765702 w 5519299"/>
              <a:gd name="connsiteY245" fmla="*/ 901612 h 6858000"/>
              <a:gd name="connsiteX246" fmla="*/ 2855528 w 5519299"/>
              <a:gd name="connsiteY246" fmla="*/ 1011091 h 6858000"/>
              <a:gd name="connsiteX247" fmla="*/ 2889814 w 5519299"/>
              <a:gd name="connsiteY247" fmla="*/ 1011091 h 6858000"/>
              <a:gd name="connsiteX248" fmla="*/ 2889814 w 5519299"/>
              <a:gd name="connsiteY248" fmla="*/ 830798 h 6858000"/>
              <a:gd name="connsiteX249" fmla="*/ 2889814 w 5519299"/>
              <a:gd name="connsiteY249" fmla="*/ 830691 h 6858000"/>
              <a:gd name="connsiteX250" fmla="*/ 2848586 w 5519299"/>
              <a:gd name="connsiteY250" fmla="*/ 830691 h 6858000"/>
              <a:gd name="connsiteX251" fmla="*/ 2848586 w 5519299"/>
              <a:gd name="connsiteY251" fmla="*/ 940170 h 6858000"/>
              <a:gd name="connsiteX252" fmla="*/ 2758973 w 5519299"/>
              <a:gd name="connsiteY252" fmla="*/ 830691 h 6858000"/>
              <a:gd name="connsiteX253" fmla="*/ 2220552 w 5519299"/>
              <a:gd name="connsiteY253" fmla="*/ 827594 h 6858000"/>
              <a:gd name="connsiteX254" fmla="*/ 2144611 w 5519299"/>
              <a:gd name="connsiteY254" fmla="*/ 883775 h 6858000"/>
              <a:gd name="connsiteX255" fmla="*/ 2249390 w 5519299"/>
              <a:gd name="connsiteY255" fmla="*/ 961318 h 6858000"/>
              <a:gd name="connsiteX256" fmla="*/ 2214677 w 5519299"/>
              <a:gd name="connsiteY256" fmla="*/ 980650 h 6858000"/>
              <a:gd name="connsiteX257" fmla="*/ 2155185 w 5519299"/>
              <a:gd name="connsiteY257" fmla="*/ 961852 h 6858000"/>
              <a:gd name="connsiteX258" fmla="*/ 2141000 w 5519299"/>
              <a:gd name="connsiteY258" fmla="*/ 993207 h 6858000"/>
              <a:gd name="connsiteX259" fmla="*/ 2140873 w 5519299"/>
              <a:gd name="connsiteY259" fmla="*/ 993147 h 6858000"/>
              <a:gd name="connsiteX260" fmla="*/ 2140979 w 5519299"/>
              <a:gd name="connsiteY260" fmla="*/ 993254 h 6858000"/>
              <a:gd name="connsiteX261" fmla="*/ 2141000 w 5519299"/>
              <a:gd name="connsiteY261" fmla="*/ 993207 h 6858000"/>
              <a:gd name="connsiteX262" fmla="*/ 2172795 w 5519299"/>
              <a:gd name="connsiteY262" fmla="*/ 1008167 h 6858000"/>
              <a:gd name="connsiteX263" fmla="*/ 2214250 w 5519299"/>
              <a:gd name="connsiteY263" fmla="*/ 1013975 h 6858000"/>
              <a:gd name="connsiteX264" fmla="*/ 2290725 w 5519299"/>
              <a:gd name="connsiteY264" fmla="*/ 958114 h 6858000"/>
              <a:gd name="connsiteX265" fmla="*/ 2185946 w 5519299"/>
              <a:gd name="connsiteY265" fmla="*/ 881639 h 6858000"/>
              <a:gd name="connsiteX266" fmla="*/ 2220231 w 5519299"/>
              <a:gd name="connsiteY266" fmla="*/ 861025 h 6858000"/>
              <a:gd name="connsiteX267" fmla="*/ 2270218 w 5519299"/>
              <a:gd name="connsiteY267" fmla="*/ 875230 h 6858000"/>
              <a:gd name="connsiteX268" fmla="*/ 2283142 w 5519299"/>
              <a:gd name="connsiteY268" fmla="*/ 843508 h 6858000"/>
              <a:gd name="connsiteX269" fmla="*/ 2220552 w 5519299"/>
              <a:gd name="connsiteY269" fmla="*/ 827594 h 6858000"/>
              <a:gd name="connsiteX270" fmla="*/ 1862209 w 5519299"/>
              <a:gd name="connsiteY270" fmla="*/ 827594 h 6858000"/>
              <a:gd name="connsiteX271" fmla="*/ 1786268 w 5519299"/>
              <a:gd name="connsiteY271" fmla="*/ 883775 h 6858000"/>
              <a:gd name="connsiteX272" fmla="*/ 1891047 w 5519299"/>
              <a:gd name="connsiteY272" fmla="*/ 961318 h 6858000"/>
              <a:gd name="connsiteX273" fmla="*/ 1856335 w 5519299"/>
              <a:gd name="connsiteY273" fmla="*/ 980650 h 6858000"/>
              <a:gd name="connsiteX274" fmla="*/ 1796842 w 5519299"/>
              <a:gd name="connsiteY274" fmla="*/ 961852 h 6858000"/>
              <a:gd name="connsiteX275" fmla="*/ 1782658 w 5519299"/>
              <a:gd name="connsiteY275" fmla="*/ 993207 h 6858000"/>
              <a:gd name="connsiteX276" fmla="*/ 1782530 w 5519299"/>
              <a:gd name="connsiteY276" fmla="*/ 993147 h 6858000"/>
              <a:gd name="connsiteX277" fmla="*/ 1782637 w 5519299"/>
              <a:gd name="connsiteY277" fmla="*/ 993254 h 6858000"/>
              <a:gd name="connsiteX278" fmla="*/ 1782658 w 5519299"/>
              <a:gd name="connsiteY278" fmla="*/ 993207 h 6858000"/>
              <a:gd name="connsiteX279" fmla="*/ 1814452 w 5519299"/>
              <a:gd name="connsiteY279" fmla="*/ 1008167 h 6858000"/>
              <a:gd name="connsiteX280" fmla="*/ 1855907 w 5519299"/>
              <a:gd name="connsiteY280" fmla="*/ 1013975 h 6858000"/>
              <a:gd name="connsiteX281" fmla="*/ 1932382 w 5519299"/>
              <a:gd name="connsiteY281" fmla="*/ 958114 h 6858000"/>
              <a:gd name="connsiteX282" fmla="*/ 1827603 w 5519299"/>
              <a:gd name="connsiteY282" fmla="*/ 881639 h 6858000"/>
              <a:gd name="connsiteX283" fmla="*/ 1861889 w 5519299"/>
              <a:gd name="connsiteY283" fmla="*/ 861025 h 6858000"/>
              <a:gd name="connsiteX284" fmla="*/ 1911875 w 5519299"/>
              <a:gd name="connsiteY284" fmla="*/ 875230 h 6858000"/>
              <a:gd name="connsiteX285" fmla="*/ 1924799 w 5519299"/>
              <a:gd name="connsiteY285" fmla="*/ 843508 h 6858000"/>
              <a:gd name="connsiteX286" fmla="*/ 1862209 w 5519299"/>
              <a:gd name="connsiteY286" fmla="*/ 827594 h 6858000"/>
              <a:gd name="connsiteX287" fmla="*/ 4654825 w 5519299"/>
              <a:gd name="connsiteY287" fmla="*/ 692054 h 6858000"/>
              <a:gd name="connsiteX288" fmla="*/ 4918428 w 5519299"/>
              <a:gd name="connsiteY288" fmla="*/ 1049649 h 6858000"/>
              <a:gd name="connsiteX289" fmla="*/ 4560192 w 5519299"/>
              <a:gd name="connsiteY289" fmla="*/ 1423585 h 6858000"/>
              <a:gd name="connsiteX290" fmla="*/ 4560086 w 5519299"/>
              <a:gd name="connsiteY290" fmla="*/ 1423585 h 6858000"/>
              <a:gd name="connsiteX291" fmla="*/ 4691139 w 5519299"/>
              <a:gd name="connsiteY291" fmla="*/ 1203666 h 6858000"/>
              <a:gd name="connsiteX292" fmla="*/ 4566921 w 5519299"/>
              <a:gd name="connsiteY292" fmla="*/ 1012266 h 6858000"/>
              <a:gd name="connsiteX293" fmla="*/ 4484145 w 5519299"/>
              <a:gd name="connsiteY293" fmla="*/ 897553 h 6858000"/>
              <a:gd name="connsiteX294" fmla="*/ 4654825 w 5519299"/>
              <a:gd name="connsiteY294" fmla="*/ 692054 h 6858000"/>
              <a:gd name="connsiteX295" fmla="*/ 4527936 w 5519299"/>
              <a:gd name="connsiteY295" fmla="*/ 675712 h 6858000"/>
              <a:gd name="connsiteX296" fmla="*/ 4396455 w 5519299"/>
              <a:gd name="connsiteY296" fmla="*/ 894776 h 6858000"/>
              <a:gd name="connsiteX297" fmla="*/ 4520780 w 5519299"/>
              <a:gd name="connsiteY297" fmla="*/ 1086925 h 6858000"/>
              <a:gd name="connsiteX298" fmla="*/ 4521101 w 5519299"/>
              <a:gd name="connsiteY298" fmla="*/ 1087138 h 6858000"/>
              <a:gd name="connsiteX299" fmla="*/ 4603343 w 5519299"/>
              <a:gd name="connsiteY299" fmla="*/ 1200676 h 6858000"/>
              <a:gd name="connsiteX300" fmla="*/ 4433304 w 5519299"/>
              <a:gd name="connsiteY300" fmla="*/ 1407350 h 6858000"/>
              <a:gd name="connsiteX301" fmla="*/ 4169487 w 5519299"/>
              <a:gd name="connsiteY301" fmla="*/ 1049649 h 6858000"/>
              <a:gd name="connsiteX302" fmla="*/ 4169700 w 5519299"/>
              <a:gd name="connsiteY302" fmla="*/ 1049649 h 6858000"/>
              <a:gd name="connsiteX303" fmla="*/ 4527936 w 5519299"/>
              <a:gd name="connsiteY303" fmla="*/ 675712 h 6858000"/>
              <a:gd name="connsiteX304" fmla="*/ 4544064 w 5519299"/>
              <a:gd name="connsiteY304" fmla="*/ 587595 h 6858000"/>
              <a:gd name="connsiteX305" fmla="*/ 4082011 w 5519299"/>
              <a:gd name="connsiteY305" fmla="*/ 1049649 h 6858000"/>
              <a:gd name="connsiteX306" fmla="*/ 4544064 w 5519299"/>
              <a:gd name="connsiteY306" fmla="*/ 1511702 h 6858000"/>
              <a:gd name="connsiteX307" fmla="*/ 5006118 w 5519299"/>
              <a:gd name="connsiteY307" fmla="*/ 1049649 h 6858000"/>
              <a:gd name="connsiteX308" fmla="*/ 4544064 w 5519299"/>
              <a:gd name="connsiteY308" fmla="*/ 587595 h 6858000"/>
              <a:gd name="connsiteX309" fmla="*/ 1081043 w 5519299"/>
              <a:gd name="connsiteY309" fmla="*/ 0 h 6858000"/>
              <a:gd name="connsiteX310" fmla="*/ 5519299 w 5519299"/>
              <a:gd name="connsiteY310" fmla="*/ 0 h 6858000"/>
              <a:gd name="connsiteX311" fmla="*/ 5519299 w 5519299"/>
              <a:gd name="connsiteY311" fmla="*/ 6858000 h 6858000"/>
              <a:gd name="connsiteX312" fmla="*/ 68876 w 5519299"/>
              <a:gd name="connsiteY312" fmla="*/ 6858000 h 6858000"/>
              <a:gd name="connsiteX313" fmla="*/ 112154 w 5519299"/>
              <a:gd name="connsiteY313" fmla="*/ 6819948 h 6858000"/>
              <a:gd name="connsiteX314" fmla="*/ 573979 w 5519299"/>
              <a:gd name="connsiteY314" fmla="*/ 3429000 h 6858000"/>
              <a:gd name="connsiteX315" fmla="*/ 1030887 w 5519299"/>
              <a:gd name="connsiteY315" fmla="*/ 4528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Lst>
            <a:rect l="l" t="t" r="r" b="b"/>
            <a:pathLst>
              <a:path w="5519299" h="6858000">
                <a:moveTo>
                  <a:pt x="3655097" y="1122385"/>
                </a:moveTo>
                <a:lnTo>
                  <a:pt x="3689062" y="1122385"/>
                </a:lnTo>
                <a:cubicBezTo>
                  <a:pt x="3714483" y="1122385"/>
                  <a:pt x="3727406" y="1134241"/>
                  <a:pt x="3727406" y="1153787"/>
                </a:cubicBezTo>
                <a:cubicBezTo>
                  <a:pt x="3727406" y="1173333"/>
                  <a:pt x="3714589" y="1185189"/>
                  <a:pt x="3689062" y="1185189"/>
                </a:cubicBezTo>
                <a:lnTo>
                  <a:pt x="3655097" y="1185189"/>
                </a:lnTo>
                <a:close/>
                <a:moveTo>
                  <a:pt x="2510430" y="1122278"/>
                </a:moveTo>
                <a:lnTo>
                  <a:pt x="2544395" y="1122278"/>
                </a:lnTo>
                <a:cubicBezTo>
                  <a:pt x="2569816" y="1122278"/>
                  <a:pt x="2582739" y="1134134"/>
                  <a:pt x="2582739" y="1153680"/>
                </a:cubicBezTo>
                <a:cubicBezTo>
                  <a:pt x="2582739" y="1173226"/>
                  <a:pt x="2569922" y="1185082"/>
                  <a:pt x="2544395" y="1185082"/>
                </a:cubicBezTo>
                <a:lnTo>
                  <a:pt x="2510430" y="1185082"/>
                </a:lnTo>
                <a:close/>
                <a:moveTo>
                  <a:pt x="3487514" y="1120783"/>
                </a:moveTo>
                <a:cubicBezTo>
                  <a:pt x="3519664" y="1120783"/>
                  <a:pt x="3543909" y="1144174"/>
                  <a:pt x="3543909" y="1178460"/>
                </a:cubicBezTo>
                <a:cubicBezTo>
                  <a:pt x="3543909" y="1212745"/>
                  <a:pt x="3519664" y="1236136"/>
                  <a:pt x="3487514" y="1236136"/>
                </a:cubicBezTo>
                <a:cubicBezTo>
                  <a:pt x="3455365" y="1236136"/>
                  <a:pt x="3431120" y="1212745"/>
                  <a:pt x="3431120" y="1178460"/>
                </a:cubicBezTo>
                <a:cubicBezTo>
                  <a:pt x="3431120" y="1144174"/>
                  <a:pt x="3455365" y="1120783"/>
                  <a:pt x="3487514" y="1120783"/>
                </a:cubicBezTo>
                <a:close/>
                <a:moveTo>
                  <a:pt x="2144504" y="1120676"/>
                </a:moveTo>
                <a:cubicBezTo>
                  <a:pt x="2176653" y="1120676"/>
                  <a:pt x="2200899" y="1144067"/>
                  <a:pt x="2200899" y="1178353"/>
                </a:cubicBezTo>
                <a:cubicBezTo>
                  <a:pt x="2200899" y="1212638"/>
                  <a:pt x="2176653" y="1236029"/>
                  <a:pt x="2144504" y="1236029"/>
                </a:cubicBezTo>
                <a:cubicBezTo>
                  <a:pt x="2112355" y="1236029"/>
                  <a:pt x="2088109" y="1212638"/>
                  <a:pt x="2088109" y="1178353"/>
                </a:cubicBezTo>
                <a:cubicBezTo>
                  <a:pt x="2088109" y="1144067"/>
                  <a:pt x="2112355" y="1120676"/>
                  <a:pt x="2144504" y="1120676"/>
                </a:cubicBezTo>
                <a:close/>
                <a:moveTo>
                  <a:pt x="3613335" y="1088313"/>
                </a:moveTo>
                <a:lnTo>
                  <a:pt x="3613335" y="1268606"/>
                </a:lnTo>
                <a:lnTo>
                  <a:pt x="3655097" y="1268606"/>
                </a:lnTo>
                <a:lnTo>
                  <a:pt x="3655097" y="1218406"/>
                </a:lnTo>
                <a:lnTo>
                  <a:pt x="3693441" y="1218406"/>
                </a:lnTo>
                <a:lnTo>
                  <a:pt x="3728154" y="1268606"/>
                </a:lnTo>
                <a:lnTo>
                  <a:pt x="3728261" y="1268499"/>
                </a:lnTo>
                <a:lnTo>
                  <a:pt x="3773120" y="1268499"/>
                </a:lnTo>
                <a:lnTo>
                  <a:pt x="3732640" y="1210609"/>
                </a:lnTo>
                <a:cubicBezTo>
                  <a:pt x="3756031" y="1200569"/>
                  <a:pt x="3769703" y="1180703"/>
                  <a:pt x="3769703" y="1153680"/>
                </a:cubicBezTo>
                <a:cubicBezTo>
                  <a:pt x="3769703" y="1113306"/>
                  <a:pt x="3739583" y="1088313"/>
                  <a:pt x="3691412" y="1088313"/>
                </a:cubicBezTo>
                <a:close/>
                <a:moveTo>
                  <a:pt x="3229358" y="1088313"/>
                </a:moveTo>
                <a:lnTo>
                  <a:pt x="3229358" y="1122278"/>
                </a:lnTo>
                <a:lnTo>
                  <a:pt x="3287035" y="1122278"/>
                </a:lnTo>
                <a:lnTo>
                  <a:pt x="3287035" y="1268499"/>
                </a:lnTo>
                <a:lnTo>
                  <a:pt x="3328797" y="1268499"/>
                </a:lnTo>
                <a:lnTo>
                  <a:pt x="3328797" y="1122278"/>
                </a:lnTo>
                <a:lnTo>
                  <a:pt x="3386474" y="1122278"/>
                </a:lnTo>
                <a:lnTo>
                  <a:pt x="3386474" y="1088313"/>
                </a:lnTo>
                <a:close/>
                <a:moveTo>
                  <a:pt x="2892271" y="1088206"/>
                </a:moveTo>
                <a:lnTo>
                  <a:pt x="2892271" y="1268499"/>
                </a:lnTo>
                <a:lnTo>
                  <a:pt x="3031869" y="1268499"/>
                </a:lnTo>
                <a:lnTo>
                  <a:pt x="3031869" y="1235068"/>
                </a:lnTo>
                <a:lnTo>
                  <a:pt x="3031869" y="1234961"/>
                </a:lnTo>
                <a:lnTo>
                  <a:pt x="2933712" y="1234961"/>
                </a:lnTo>
                <a:lnTo>
                  <a:pt x="2933712" y="1193199"/>
                </a:lnTo>
                <a:lnTo>
                  <a:pt x="3017450" y="1193199"/>
                </a:lnTo>
                <a:lnTo>
                  <a:pt x="3017450" y="1160729"/>
                </a:lnTo>
                <a:lnTo>
                  <a:pt x="2933712" y="1160729"/>
                </a:lnTo>
                <a:lnTo>
                  <a:pt x="2933712" y="1121637"/>
                </a:lnTo>
                <a:lnTo>
                  <a:pt x="3028451" y="1121637"/>
                </a:lnTo>
                <a:lnTo>
                  <a:pt x="3028451" y="1088206"/>
                </a:lnTo>
                <a:close/>
                <a:moveTo>
                  <a:pt x="2468668" y="1088206"/>
                </a:moveTo>
                <a:lnTo>
                  <a:pt x="2468668" y="1268499"/>
                </a:lnTo>
                <a:lnTo>
                  <a:pt x="2510430" y="1268499"/>
                </a:lnTo>
                <a:lnTo>
                  <a:pt x="2510430" y="1218299"/>
                </a:lnTo>
                <a:lnTo>
                  <a:pt x="2548774" y="1218299"/>
                </a:lnTo>
                <a:lnTo>
                  <a:pt x="2583487" y="1268499"/>
                </a:lnTo>
                <a:lnTo>
                  <a:pt x="2583594" y="1268392"/>
                </a:lnTo>
                <a:lnTo>
                  <a:pt x="2628454" y="1268392"/>
                </a:lnTo>
                <a:lnTo>
                  <a:pt x="2587973" y="1210502"/>
                </a:lnTo>
                <a:cubicBezTo>
                  <a:pt x="2611364" y="1200462"/>
                  <a:pt x="2625036" y="1180596"/>
                  <a:pt x="2625036" y="1153573"/>
                </a:cubicBezTo>
                <a:cubicBezTo>
                  <a:pt x="2625036" y="1113200"/>
                  <a:pt x="2594916" y="1088206"/>
                  <a:pt x="2546745" y="1088206"/>
                </a:cubicBezTo>
                <a:close/>
                <a:moveTo>
                  <a:pt x="2268402" y="1088206"/>
                </a:moveTo>
                <a:lnTo>
                  <a:pt x="2268402" y="1189140"/>
                </a:lnTo>
                <a:lnTo>
                  <a:pt x="2268509" y="1189140"/>
                </a:lnTo>
                <a:cubicBezTo>
                  <a:pt x="2268509" y="1242224"/>
                  <a:pt x="2298842" y="1271597"/>
                  <a:pt x="2350111" y="1271597"/>
                </a:cubicBezTo>
                <a:cubicBezTo>
                  <a:pt x="2401379" y="1271597"/>
                  <a:pt x="2431712" y="1242224"/>
                  <a:pt x="2431712" y="1189140"/>
                </a:cubicBezTo>
                <a:lnTo>
                  <a:pt x="2431712" y="1088206"/>
                </a:lnTo>
                <a:lnTo>
                  <a:pt x="2390484" y="1088206"/>
                </a:lnTo>
                <a:lnTo>
                  <a:pt x="2390484" y="1187645"/>
                </a:lnTo>
                <a:cubicBezTo>
                  <a:pt x="2390484" y="1221824"/>
                  <a:pt x="2375531" y="1236029"/>
                  <a:pt x="2350324" y="1236029"/>
                </a:cubicBezTo>
                <a:cubicBezTo>
                  <a:pt x="2325117" y="1236029"/>
                  <a:pt x="2310164" y="1221931"/>
                  <a:pt x="2310164" y="1187645"/>
                </a:cubicBezTo>
                <a:lnTo>
                  <a:pt x="2310164" y="1088206"/>
                </a:lnTo>
                <a:close/>
                <a:moveTo>
                  <a:pt x="1776228" y="1088206"/>
                </a:moveTo>
                <a:lnTo>
                  <a:pt x="1776228" y="1268499"/>
                </a:lnTo>
                <a:lnTo>
                  <a:pt x="1817456" y="1268499"/>
                </a:lnTo>
                <a:lnTo>
                  <a:pt x="1817456" y="1159020"/>
                </a:lnTo>
                <a:lnTo>
                  <a:pt x="1907282" y="1268499"/>
                </a:lnTo>
                <a:lnTo>
                  <a:pt x="1941568" y="1268499"/>
                </a:lnTo>
                <a:lnTo>
                  <a:pt x="1941568" y="1088206"/>
                </a:lnTo>
                <a:lnTo>
                  <a:pt x="1900340" y="1088206"/>
                </a:lnTo>
                <a:lnTo>
                  <a:pt x="1900340" y="1197685"/>
                </a:lnTo>
                <a:lnTo>
                  <a:pt x="1810728" y="1088206"/>
                </a:lnTo>
                <a:close/>
                <a:moveTo>
                  <a:pt x="1696656" y="1088206"/>
                </a:moveTo>
                <a:lnTo>
                  <a:pt x="1696656" y="1268499"/>
                </a:lnTo>
                <a:lnTo>
                  <a:pt x="1738418" y="1268499"/>
                </a:lnTo>
                <a:lnTo>
                  <a:pt x="1738418" y="1088206"/>
                </a:lnTo>
                <a:close/>
                <a:moveTo>
                  <a:pt x="3865083" y="1085216"/>
                </a:moveTo>
                <a:cubicBezTo>
                  <a:pt x="3813815" y="1085216"/>
                  <a:pt x="3789142" y="1110743"/>
                  <a:pt x="3789142" y="1141397"/>
                </a:cubicBezTo>
                <a:cubicBezTo>
                  <a:pt x="3789142" y="1208366"/>
                  <a:pt x="3893921" y="1185189"/>
                  <a:pt x="3893921" y="1218940"/>
                </a:cubicBezTo>
                <a:cubicBezTo>
                  <a:pt x="3893921" y="1230048"/>
                  <a:pt x="3883881" y="1238272"/>
                  <a:pt x="3859208" y="1238272"/>
                </a:cubicBezTo>
                <a:cubicBezTo>
                  <a:pt x="3837526" y="1238272"/>
                  <a:pt x="3814883" y="1230582"/>
                  <a:pt x="3799716" y="1219474"/>
                </a:cubicBezTo>
                <a:lnTo>
                  <a:pt x="3785531" y="1250829"/>
                </a:lnTo>
                <a:lnTo>
                  <a:pt x="3785403" y="1250769"/>
                </a:lnTo>
                <a:lnTo>
                  <a:pt x="3785510" y="1250876"/>
                </a:lnTo>
                <a:lnTo>
                  <a:pt x="3785531" y="1250829"/>
                </a:lnTo>
                <a:lnTo>
                  <a:pt x="3817326" y="1265789"/>
                </a:lnTo>
                <a:cubicBezTo>
                  <a:pt x="3830103" y="1269461"/>
                  <a:pt x="3844468" y="1271597"/>
                  <a:pt x="3858781" y="1271597"/>
                </a:cubicBezTo>
                <a:cubicBezTo>
                  <a:pt x="3910263" y="1271597"/>
                  <a:pt x="3935256" y="1245856"/>
                  <a:pt x="3935256" y="1215736"/>
                </a:cubicBezTo>
                <a:cubicBezTo>
                  <a:pt x="3935256" y="1149515"/>
                  <a:pt x="3830477" y="1172478"/>
                  <a:pt x="3830477" y="1139261"/>
                </a:cubicBezTo>
                <a:cubicBezTo>
                  <a:pt x="3830477" y="1127939"/>
                  <a:pt x="3840089" y="1118647"/>
                  <a:pt x="3864762" y="1118647"/>
                </a:cubicBezTo>
                <a:cubicBezTo>
                  <a:pt x="3880784" y="1118647"/>
                  <a:pt x="3897980" y="1123346"/>
                  <a:pt x="3914749" y="1132852"/>
                </a:cubicBezTo>
                <a:lnTo>
                  <a:pt x="3927672" y="1101130"/>
                </a:lnTo>
                <a:cubicBezTo>
                  <a:pt x="3910903" y="1090663"/>
                  <a:pt x="3887726" y="1085216"/>
                  <a:pt x="3865083" y="1085216"/>
                </a:cubicBezTo>
                <a:close/>
                <a:moveTo>
                  <a:pt x="3487514" y="1085216"/>
                </a:moveTo>
                <a:cubicBezTo>
                  <a:pt x="3430692" y="1085216"/>
                  <a:pt x="3388930" y="1124949"/>
                  <a:pt x="3388930" y="1178460"/>
                </a:cubicBezTo>
                <a:cubicBezTo>
                  <a:pt x="3388930" y="1232077"/>
                  <a:pt x="3430906" y="1271703"/>
                  <a:pt x="3487514" y="1271703"/>
                </a:cubicBezTo>
                <a:cubicBezTo>
                  <a:pt x="3544123" y="1271703"/>
                  <a:pt x="3586099" y="1232291"/>
                  <a:pt x="3586099" y="1178460"/>
                </a:cubicBezTo>
                <a:cubicBezTo>
                  <a:pt x="3586099" y="1124628"/>
                  <a:pt x="3544337" y="1085216"/>
                  <a:pt x="3487514" y="1085216"/>
                </a:cubicBezTo>
                <a:close/>
                <a:moveTo>
                  <a:pt x="3145086" y="1085216"/>
                </a:moveTo>
                <a:cubicBezTo>
                  <a:pt x="3089012" y="1085216"/>
                  <a:pt x="3047250" y="1124094"/>
                  <a:pt x="3047250" y="1178460"/>
                </a:cubicBezTo>
                <a:lnTo>
                  <a:pt x="3047143" y="1178246"/>
                </a:lnTo>
                <a:cubicBezTo>
                  <a:pt x="3047143" y="1232612"/>
                  <a:pt x="3088905" y="1271490"/>
                  <a:pt x="3144766" y="1271490"/>
                </a:cubicBezTo>
                <a:cubicBezTo>
                  <a:pt x="3176168" y="1271490"/>
                  <a:pt x="3202229" y="1260168"/>
                  <a:pt x="3219211" y="1239340"/>
                </a:cubicBezTo>
                <a:lnTo>
                  <a:pt x="3192402" y="1214668"/>
                </a:lnTo>
                <a:cubicBezTo>
                  <a:pt x="3180333" y="1228766"/>
                  <a:pt x="3165166" y="1236029"/>
                  <a:pt x="3147116" y="1236029"/>
                </a:cubicBezTo>
                <a:cubicBezTo>
                  <a:pt x="3113364" y="1236029"/>
                  <a:pt x="3089439" y="1212318"/>
                  <a:pt x="3089439" y="1178353"/>
                </a:cubicBezTo>
                <a:cubicBezTo>
                  <a:pt x="3089439" y="1144388"/>
                  <a:pt x="3113364" y="1120676"/>
                  <a:pt x="3147116" y="1120676"/>
                </a:cubicBezTo>
                <a:cubicBezTo>
                  <a:pt x="3165059" y="1120676"/>
                  <a:pt x="3180333" y="1127939"/>
                  <a:pt x="3192402" y="1141824"/>
                </a:cubicBezTo>
                <a:lnTo>
                  <a:pt x="3219211" y="1117152"/>
                </a:lnTo>
                <a:cubicBezTo>
                  <a:pt x="3202229" y="1096538"/>
                  <a:pt x="3176274" y="1085216"/>
                  <a:pt x="3145086" y="1085216"/>
                </a:cubicBezTo>
                <a:close/>
                <a:moveTo>
                  <a:pt x="2796250" y="1085109"/>
                </a:moveTo>
                <a:cubicBezTo>
                  <a:pt x="2744982" y="1085109"/>
                  <a:pt x="2720309" y="1110636"/>
                  <a:pt x="2720309" y="1141290"/>
                </a:cubicBezTo>
                <a:cubicBezTo>
                  <a:pt x="2720309" y="1208259"/>
                  <a:pt x="2825088" y="1185082"/>
                  <a:pt x="2825088" y="1218833"/>
                </a:cubicBezTo>
                <a:cubicBezTo>
                  <a:pt x="2825088" y="1229941"/>
                  <a:pt x="2815048" y="1238166"/>
                  <a:pt x="2790375" y="1238166"/>
                </a:cubicBezTo>
                <a:cubicBezTo>
                  <a:pt x="2768693" y="1238166"/>
                  <a:pt x="2746050" y="1230475"/>
                  <a:pt x="2730883" y="1219367"/>
                </a:cubicBezTo>
                <a:lnTo>
                  <a:pt x="2716698" y="1250722"/>
                </a:lnTo>
                <a:lnTo>
                  <a:pt x="2716571" y="1250662"/>
                </a:lnTo>
                <a:lnTo>
                  <a:pt x="2716677" y="1250769"/>
                </a:lnTo>
                <a:lnTo>
                  <a:pt x="2716698" y="1250722"/>
                </a:lnTo>
                <a:lnTo>
                  <a:pt x="2748493" y="1265682"/>
                </a:lnTo>
                <a:cubicBezTo>
                  <a:pt x="2761270" y="1269354"/>
                  <a:pt x="2775635" y="1271490"/>
                  <a:pt x="2789948" y="1271490"/>
                </a:cubicBezTo>
                <a:cubicBezTo>
                  <a:pt x="2841430" y="1271490"/>
                  <a:pt x="2866423" y="1245749"/>
                  <a:pt x="2866423" y="1215629"/>
                </a:cubicBezTo>
                <a:cubicBezTo>
                  <a:pt x="2866423" y="1149408"/>
                  <a:pt x="2761644" y="1172372"/>
                  <a:pt x="2761644" y="1139154"/>
                </a:cubicBezTo>
                <a:cubicBezTo>
                  <a:pt x="2761644" y="1127832"/>
                  <a:pt x="2771257" y="1118540"/>
                  <a:pt x="2795929" y="1118540"/>
                </a:cubicBezTo>
                <a:cubicBezTo>
                  <a:pt x="2811951" y="1118540"/>
                  <a:pt x="2829147" y="1123240"/>
                  <a:pt x="2845916" y="1132746"/>
                </a:cubicBezTo>
                <a:lnTo>
                  <a:pt x="2858840" y="1101023"/>
                </a:lnTo>
                <a:cubicBezTo>
                  <a:pt x="2842071" y="1090556"/>
                  <a:pt x="2818893" y="1085109"/>
                  <a:pt x="2796250" y="1085109"/>
                </a:cubicBezTo>
                <a:close/>
                <a:moveTo>
                  <a:pt x="2144504" y="1085109"/>
                </a:moveTo>
                <a:cubicBezTo>
                  <a:pt x="2087682" y="1085109"/>
                  <a:pt x="2045920" y="1124842"/>
                  <a:pt x="2045920" y="1178353"/>
                </a:cubicBezTo>
                <a:cubicBezTo>
                  <a:pt x="2045920" y="1231971"/>
                  <a:pt x="2087896" y="1271597"/>
                  <a:pt x="2144504" y="1271597"/>
                </a:cubicBezTo>
                <a:cubicBezTo>
                  <a:pt x="2201113" y="1271597"/>
                  <a:pt x="2243088" y="1232184"/>
                  <a:pt x="2243088" y="1178353"/>
                </a:cubicBezTo>
                <a:cubicBezTo>
                  <a:pt x="2243088" y="1124521"/>
                  <a:pt x="2201326" y="1085109"/>
                  <a:pt x="2144504" y="1085109"/>
                </a:cubicBezTo>
                <a:close/>
                <a:moveTo>
                  <a:pt x="3163778" y="935043"/>
                </a:moveTo>
                <a:lnTo>
                  <a:pt x="3212482" y="935043"/>
                </a:lnTo>
                <a:cubicBezTo>
                  <a:pt x="3234165" y="935043"/>
                  <a:pt x="3245700" y="942306"/>
                  <a:pt x="3245700" y="957473"/>
                </a:cubicBezTo>
                <a:cubicBezTo>
                  <a:pt x="3245700" y="972853"/>
                  <a:pt x="3234165" y="979582"/>
                  <a:pt x="3212482" y="979582"/>
                </a:cubicBezTo>
                <a:lnTo>
                  <a:pt x="3163778" y="979582"/>
                </a:lnTo>
                <a:close/>
                <a:moveTo>
                  <a:pt x="3005808" y="871706"/>
                </a:moveTo>
                <a:lnTo>
                  <a:pt x="3034433" y="940704"/>
                </a:lnTo>
                <a:lnTo>
                  <a:pt x="3034326" y="940704"/>
                </a:lnTo>
                <a:lnTo>
                  <a:pt x="2977183" y="940704"/>
                </a:lnTo>
                <a:close/>
                <a:moveTo>
                  <a:pt x="2528374" y="871706"/>
                </a:moveTo>
                <a:lnTo>
                  <a:pt x="2556999" y="940704"/>
                </a:lnTo>
                <a:lnTo>
                  <a:pt x="2556892" y="940704"/>
                </a:lnTo>
                <a:lnTo>
                  <a:pt x="2499749" y="940704"/>
                </a:lnTo>
                <a:close/>
                <a:moveTo>
                  <a:pt x="3163778" y="862200"/>
                </a:moveTo>
                <a:lnTo>
                  <a:pt x="3205220" y="862200"/>
                </a:lnTo>
                <a:cubicBezTo>
                  <a:pt x="3225513" y="862200"/>
                  <a:pt x="3236621" y="869249"/>
                  <a:pt x="3236621" y="883348"/>
                </a:cubicBezTo>
                <a:cubicBezTo>
                  <a:pt x="3236621" y="897446"/>
                  <a:pt x="3225513" y="904709"/>
                  <a:pt x="3205220" y="904709"/>
                </a:cubicBezTo>
                <a:lnTo>
                  <a:pt x="3163778" y="904709"/>
                </a:lnTo>
                <a:close/>
                <a:moveTo>
                  <a:pt x="3764896" y="830798"/>
                </a:moveTo>
                <a:lnTo>
                  <a:pt x="3834642" y="946685"/>
                </a:lnTo>
                <a:lnTo>
                  <a:pt x="3834642" y="1011091"/>
                </a:lnTo>
                <a:lnTo>
                  <a:pt x="3876404" y="1011091"/>
                </a:lnTo>
                <a:lnTo>
                  <a:pt x="3876404" y="947219"/>
                </a:lnTo>
                <a:lnTo>
                  <a:pt x="3946471" y="830798"/>
                </a:lnTo>
                <a:lnTo>
                  <a:pt x="3905563" y="830798"/>
                </a:lnTo>
                <a:lnTo>
                  <a:pt x="3857392" y="910904"/>
                </a:lnTo>
                <a:lnTo>
                  <a:pt x="3809222" y="830798"/>
                </a:lnTo>
                <a:close/>
                <a:moveTo>
                  <a:pt x="3602440" y="830798"/>
                </a:moveTo>
                <a:lnTo>
                  <a:pt x="3602440" y="864763"/>
                </a:lnTo>
                <a:lnTo>
                  <a:pt x="3660117" y="864763"/>
                </a:lnTo>
                <a:lnTo>
                  <a:pt x="3660117" y="1010984"/>
                </a:lnTo>
                <a:lnTo>
                  <a:pt x="3701879" y="1010984"/>
                </a:lnTo>
                <a:lnTo>
                  <a:pt x="3701879" y="864763"/>
                </a:lnTo>
                <a:lnTo>
                  <a:pt x="3759556" y="864763"/>
                </a:lnTo>
                <a:lnTo>
                  <a:pt x="3759556" y="830798"/>
                </a:lnTo>
                <a:close/>
                <a:moveTo>
                  <a:pt x="3544657" y="830798"/>
                </a:moveTo>
                <a:lnTo>
                  <a:pt x="3544657" y="1011091"/>
                </a:lnTo>
                <a:lnTo>
                  <a:pt x="3586419" y="1011091"/>
                </a:lnTo>
                <a:lnTo>
                  <a:pt x="3586419" y="830798"/>
                </a:lnTo>
                <a:close/>
                <a:moveTo>
                  <a:pt x="3395552" y="830798"/>
                </a:moveTo>
                <a:lnTo>
                  <a:pt x="3395552" y="1010984"/>
                </a:lnTo>
                <a:lnTo>
                  <a:pt x="3527674" y="1010984"/>
                </a:lnTo>
                <a:lnTo>
                  <a:pt x="3527674" y="977019"/>
                </a:lnTo>
                <a:lnTo>
                  <a:pt x="3437314" y="977019"/>
                </a:lnTo>
                <a:lnTo>
                  <a:pt x="3437314" y="830798"/>
                </a:lnTo>
                <a:close/>
                <a:moveTo>
                  <a:pt x="3315980" y="830798"/>
                </a:moveTo>
                <a:lnTo>
                  <a:pt x="3315980" y="1011091"/>
                </a:lnTo>
                <a:lnTo>
                  <a:pt x="3357742" y="1011091"/>
                </a:lnTo>
                <a:lnTo>
                  <a:pt x="3357742" y="830798"/>
                </a:lnTo>
                <a:close/>
                <a:moveTo>
                  <a:pt x="2985514" y="830798"/>
                </a:moveTo>
                <a:lnTo>
                  <a:pt x="2905194" y="1011091"/>
                </a:lnTo>
                <a:lnTo>
                  <a:pt x="2947918" y="1011091"/>
                </a:lnTo>
                <a:lnTo>
                  <a:pt x="2963832" y="972426"/>
                </a:lnTo>
                <a:lnTo>
                  <a:pt x="3047570" y="972426"/>
                </a:lnTo>
                <a:lnTo>
                  <a:pt x="3047677" y="972426"/>
                </a:lnTo>
                <a:lnTo>
                  <a:pt x="3063591" y="1011091"/>
                </a:lnTo>
                <a:lnTo>
                  <a:pt x="3107383" y="1011091"/>
                </a:lnTo>
                <a:lnTo>
                  <a:pt x="3026742" y="830798"/>
                </a:lnTo>
                <a:close/>
                <a:moveTo>
                  <a:pt x="2644902" y="830798"/>
                </a:moveTo>
                <a:lnTo>
                  <a:pt x="2644902" y="1011091"/>
                </a:lnTo>
                <a:lnTo>
                  <a:pt x="2686664" y="1011091"/>
                </a:lnTo>
                <a:lnTo>
                  <a:pt x="2686664" y="830798"/>
                </a:lnTo>
                <a:close/>
                <a:moveTo>
                  <a:pt x="2508080" y="830798"/>
                </a:moveTo>
                <a:lnTo>
                  <a:pt x="2427760" y="1011091"/>
                </a:lnTo>
                <a:lnTo>
                  <a:pt x="2470484" y="1011091"/>
                </a:lnTo>
                <a:lnTo>
                  <a:pt x="2486398" y="972426"/>
                </a:lnTo>
                <a:lnTo>
                  <a:pt x="2570136" y="972426"/>
                </a:lnTo>
                <a:lnTo>
                  <a:pt x="2570243" y="972426"/>
                </a:lnTo>
                <a:lnTo>
                  <a:pt x="2586157" y="1011091"/>
                </a:lnTo>
                <a:lnTo>
                  <a:pt x="2629949" y="1011091"/>
                </a:lnTo>
                <a:lnTo>
                  <a:pt x="2549308" y="830798"/>
                </a:lnTo>
                <a:close/>
                <a:moveTo>
                  <a:pt x="2296706" y="830798"/>
                </a:moveTo>
                <a:lnTo>
                  <a:pt x="2296706" y="864763"/>
                </a:lnTo>
                <a:lnTo>
                  <a:pt x="2354383" y="864763"/>
                </a:lnTo>
                <a:lnTo>
                  <a:pt x="2354383" y="1010984"/>
                </a:lnTo>
                <a:lnTo>
                  <a:pt x="2396145" y="1010984"/>
                </a:lnTo>
                <a:lnTo>
                  <a:pt x="2396145" y="864763"/>
                </a:lnTo>
                <a:lnTo>
                  <a:pt x="2453822" y="864763"/>
                </a:lnTo>
                <a:lnTo>
                  <a:pt x="2453822" y="830798"/>
                </a:lnTo>
                <a:close/>
                <a:moveTo>
                  <a:pt x="1955026" y="830798"/>
                </a:moveTo>
                <a:lnTo>
                  <a:pt x="1955026" y="931732"/>
                </a:lnTo>
                <a:lnTo>
                  <a:pt x="1955133" y="931732"/>
                </a:lnTo>
                <a:cubicBezTo>
                  <a:pt x="1955133" y="984816"/>
                  <a:pt x="1985466" y="1014188"/>
                  <a:pt x="2036734" y="1014188"/>
                </a:cubicBezTo>
                <a:cubicBezTo>
                  <a:pt x="2088002" y="1014188"/>
                  <a:pt x="2118336" y="984816"/>
                  <a:pt x="2118336" y="931732"/>
                </a:cubicBezTo>
                <a:lnTo>
                  <a:pt x="2118336" y="830798"/>
                </a:lnTo>
                <a:lnTo>
                  <a:pt x="2077108" y="830798"/>
                </a:lnTo>
                <a:lnTo>
                  <a:pt x="2077108" y="930237"/>
                </a:lnTo>
                <a:cubicBezTo>
                  <a:pt x="2077108" y="964415"/>
                  <a:pt x="2062155" y="978621"/>
                  <a:pt x="2036948" y="978621"/>
                </a:cubicBezTo>
                <a:cubicBezTo>
                  <a:pt x="2011741" y="978621"/>
                  <a:pt x="1996788" y="964522"/>
                  <a:pt x="1996788" y="930237"/>
                </a:cubicBezTo>
                <a:lnTo>
                  <a:pt x="1996788" y="830798"/>
                </a:lnTo>
                <a:close/>
                <a:moveTo>
                  <a:pt x="3122336" y="830691"/>
                </a:moveTo>
                <a:lnTo>
                  <a:pt x="3122336" y="1010984"/>
                </a:lnTo>
                <a:lnTo>
                  <a:pt x="3215580" y="1010984"/>
                </a:lnTo>
                <a:cubicBezTo>
                  <a:pt x="3263003" y="1010984"/>
                  <a:pt x="3287676" y="993040"/>
                  <a:pt x="3287676" y="961852"/>
                </a:cubicBezTo>
                <a:lnTo>
                  <a:pt x="3287782" y="961745"/>
                </a:lnTo>
                <a:cubicBezTo>
                  <a:pt x="3287782" y="939102"/>
                  <a:pt x="3274859" y="923615"/>
                  <a:pt x="3254779" y="917206"/>
                </a:cubicBezTo>
                <a:cubicBezTo>
                  <a:pt x="3269411" y="909516"/>
                  <a:pt x="3278704" y="895631"/>
                  <a:pt x="3278704" y="877580"/>
                </a:cubicBezTo>
                <a:cubicBezTo>
                  <a:pt x="3278704" y="849489"/>
                  <a:pt x="3255526" y="830691"/>
                  <a:pt x="3210453" y="830691"/>
                </a:cubicBezTo>
                <a:close/>
                <a:moveTo>
                  <a:pt x="2724474" y="830691"/>
                </a:moveTo>
                <a:lnTo>
                  <a:pt x="2724474" y="1011091"/>
                </a:lnTo>
                <a:lnTo>
                  <a:pt x="2765702" y="1011091"/>
                </a:lnTo>
                <a:lnTo>
                  <a:pt x="2765702" y="901612"/>
                </a:lnTo>
                <a:lnTo>
                  <a:pt x="2855528" y="1011091"/>
                </a:lnTo>
                <a:lnTo>
                  <a:pt x="2889814" y="1011091"/>
                </a:lnTo>
                <a:lnTo>
                  <a:pt x="2889814" y="830798"/>
                </a:lnTo>
                <a:lnTo>
                  <a:pt x="2889814" y="830691"/>
                </a:lnTo>
                <a:lnTo>
                  <a:pt x="2848586" y="830691"/>
                </a:lnTo>
                <a:lnTo>
                  <a:pt x="2848586" y="940170"/>
                </a:lnTo>
                <a:lnTo>
                  <a:pt x="2758973" y="830691"/>
                </a:lnTo>
                <a:close/>
                <a:moveTo>
                  <a:pt x="2220552" y="827594"/>
                </a:moveTo>
                <a:cubicBezTo>
                  <a:pt x="2169284" y="827594"/>
                  <a:pt x="2144611" y="853121"/>
                  <a:pt x="2144611" y="883775"/>
                </a:cubicBezTo>
                <a:cubicBezTo>
                  <a:pt x="2144611" y="950744"/>
                  <a:pt x="2249390" y="927566"/>
                  <a:pt x="2249390" y="961318"/>
                </a:cubicBezTo>
                <a:cubicBezTo>
                  <a:pt x="2249390" y="972426"/>
                  <a:pt x="2239350" y="980650"/>
                  <a:pt x="2214677" y="980650"/>
                </a:cubicBezTo>
                <a:cubicBezTo>
                  <a:pt x="2192995" y="980650"/>
                  <a:pt x="2170352" y="972960"/>
                  <a:pt x="2155185" y="961852"/>
                </a:cubicBezTo>
                <a:lnTo>
                  <a:pt x="2141000" y="993207"/>
                </a:lnTo>
                <a:lnTo>
                  <a:pt x="2140873" y="993147"/>
                </a:lnTo>
                <a:lnTo>
                  <a:pt x="2140979" y="993254"/>
                </a:lnTo>
                <a:lnTo>
                  <a:pt x="2141000" y="993207"/>
                </a:lnTo>
                <a:lnTo>
                  <a:pt x="2172795" y="1008167"/>
                </a:lnTo>
                <a:cubicBezTo>
                  <a:pt x="2185572" y="1011839"/>
                  <a:pt x="2199938" y="1013975"/>
                  <a:pt x="2214250" y="1013975"/>
                </a:cubicBezTo>
                <a:cubicBezTo>
                  <a:pt x="2265732" y="1013975"/>
                  <a:pt x="2290725" y="988234"/>
                  <a:pt x="2290725" y="958114"/>
                </a:cubicBezTo>
                <a:cubicBezTo>
                  <a:pt x="2290725" y="891892"/>
                  <a:pt x="2185946" y="914856"/>
                  <a:pt x="2185946" y="881639"/>
                </a:cubicBezTo>
                <a:cubicBezTo>
                  <a:pt x="2185946" y="870317"/>
                  <a:pt x="2195559" y="861025"/>
                  <a:pt x="2220231" y="861025"/>
                </a:cubicBezTo>
                <a:cubicBezTo>
                  <a:pt x="2236253" y="861025"/>
                  <a:pt x="2253449" y="865724"/>
                  <a:pt x="2270218" y="875230"/>
                </a:cubicBezTo>
                <a:lnTo>
                  <a:pt x="2283142" y="843508"/>
                </a:lnTo>
                <a:cubicBezTo>
                  <a:pt x="2266373" y="833041"/>
                  <a:pt x="2243195" y="827594"/>
                  <a:pt x="2220552" y="827594"/>
                </a:cubicBezTo>
                <a:close/>
                <a:moveTo>
                  <a:pt x="1862209" y="827594"/>
                </a:moveTo>
                <a:cubicBezTo>
                  <a:pt x="1810941" y="827594"/>
                  <a:pt x="1786268" y="853121"/>
                  <a:pt x="1786268" y="883775"/>
                </a:cubicBezTo>
                <a:cubicBezTo>
                  <a:pt x="1786268" y="950744"/>
                  <a:pt x="1891047" y="927566"/>
                  <a:pt x="1891047" y="961318"/>
                </a:cubicBezTo>
                <a:cubicBezTo>
                  <a:pt x="1891047" y="972426"/>
                  <a:pt x="1881007" y="980650"/>
                  <a:pt x="1856335" y="980650"/>
                </a:cubicBezTo>
                <a:cubicBezTo>
                  <a:pt x="1834653" y="980650"/>
                  <a:pt x="1812009" y="972960"/>
                  <a:pt x="1796842" y="961852"/>
                </a:cubicBezTo>
                <a:lnTo>
                  <a:pt x="1782658" y="993207"/>
                </a:lnTo>
                <a:lnTo>
                  <a:pt x="1782530" y="993147"/>
                </a:lnTo>
                <a:lnTo>
                  <a:pt x="1782637" y="993254"/>
                </a:lnTo>
                <a:lnTo>
                  <a:pt x="1782658" y="993207"/>
                </a:lnTo>
                <a:lnTo>
                  <a:pt x="1814452" y="1008167"/>
                </a:lnTo>
                <a:cubicBezTo>
                  <a:pt x="1827229" y="1011839"/>
                  <a:pt x="1841595" y="1013975"/>
                  <a:pt x="1855907" y="1013975"/>
                </a:cubicBezTo>
                <a:cubicBezTo>
                  <a:pt x="1907389" y="1013975"/>
                  <a:pt x="1932382" y="988234"/>
                  <a:pt x="1932382" y="958114"/>
                </a:cubicBezTo>
                <a:cubicBezTo>
                  <a:pt x="1932382" y="891892"/>
                  <a:pt x="1827603" y="914856"/>
                  <a:pt x="1827603" y="881639"/>
                </a:cubicBezTo>
                <a:cubicBezTo>
                  <a:pt x="1827603" y="870317"/>
                  <a:pt x="1837216" y="861025"/>
                  <a:pt x="1861889" y="861025"/>
                </a:cubicBezTo>
                <a:cubicBezTo>
                  <a:pt x="1877910" y="861025"/>
                  <a:pt x="1895106" y="865724"/>
                  <a:pt x="1911875" y="875230"/>
                </a:cubicBezTo>
                <a:lnTo>
                  <a:pt x="1924799" y="843508"/>
                </a:lnTo>
                <a:cubicBezTo>
                  <a:pt x="1908030" y="833041"/>
                  <a:pt x="1884853" y="827594"/>
                  <a:pt x="1862209" y="827594"/>
                </a:cubicBezTo>
                <a:close/>
                <a:moveTo>
                  <a:pt x="4654825" y="692054"/>
                </a:moveTo>
                <a:cubicBezTo>
                  <a:pt x="4807347" y="739370"/>
                  <a:pt x="4918428" y="881746"/>
                  <a:pt x="4918428" y="1049649"/>
                </a:cubicBezTo>
                <a:cubicBezTo>
                  <a:pt x="4918428" y="1250662"/>
                  <a:pt x="4759177" y="1415147"/>
                  <a:pt x="4560192" y="1423585"/>
                </a:cubicBezTo>
                <a:lnTo>
                  <a:pt x="4560086" y="1423585"/>
                </a:lnTo>
                <a:cubicBezTo>
                  <a:pt x="4623637" y="1369327"/>
                  <a:pt x="4688149" y="1291463"/>
                  <a:pt x="4691139" y="1203666"/>
                </a:cubicBezTo>
                <a:cubicBezTo>
                  <a:pt x="4694344" y="1109889"/>
                  <a:pt x="4625452" y="1047833"/>
                  <a:pt x="4566921" y="1012266"/>
                </a:cubicBezTo>
                <a:cubicBezTo>
                  <a:pt x="4510633" y="977339"/>
                  <a:pt x="4482756" y="938675"/>
                  <a:pt x="4484145" y="897553"/>
                </a:cubicBezTo>
                <a:cubicBezTo>
                  <a:pt x="4486601" y="822253"/>
                  <a:pt x="4580806" y="735952"/>
                  <a:pt x="4654825" y="692054"/>
                </a:cubicBezTo>
                <a:close/>
                <a:moveTo>
                  <a:pt x="4527936" y="675712"/>
                </a:moveTo>
                <a:cubicBezTo>
                  <a:pt x="4462356" y="731466"/>
                  <a:pt x="4399232" y="809329"/>
                  <a:pt x="4396455" y="894776"/>
                </a:cubicBezTo>
                <a:cubicBezTo>
                  <a:pt x="4393464" y="987913"/>
                  <a:pt x="4462463" y="1050717"/>
                  <a:pt x="4520780" y="1086925"/>
                </a:cubicBezTo>
                <a:lnTo>
                  <a:pt x="4521101" y="1087138"/>
                </a:lnTo>
                <a:cubicBezTo>
                  <a:pt x="4577816" y="1121638"/>
                  <a:pt x="4604731" y="1158807"/>
                  <a:pt x="4603343" y="1200676"/>
                </a:cubicBezTo>
                <a:cubicBezTo>
                  <a:pt x="4600780" y="1277898"/>
                  <a:pt x="4505293" y="1365268"/>
                  <a:pt x="4433304" y="1407350"/>
                </a:cubicBezTo>
                <a:cubicBezTo>
                  <a:pt x="4280674" y="1360141"/>
                  <a:pt x="4169487" y="1217658"/>
                  <a:pt x="4169487" y="1049649"/>
                </a:cubicBezTo>
                <a:lnTo>
                  <a:pt x="4169700" y="1049649"/>
                </a:lnTo>
                <a:cubicBezTo>
                  <a:pt x="4169700" y="848635"/>
                  <a:pt x="4328952" y="684150"/>
                  <a:pt x="4527936" y="675712"/>
                </a:cubicBezTo>
                <a:close/>
                <a:moveTo>
                  <a:pt x="4544064" y="587595"/>
                </a:moveTo>
                <a:cubicBezTo>
                  <a:pt x="4289326" y="587595"/>
                  <a:pt x="4082011" y="794910"/>
                  <a:pt x="4082011" y="1049649"/>
                </a:cubicBezTo>
                <a:cubicBezTo>
                  <a:pt x="4082011" y="1304387"/>
                  <a:pt x="4289326" y="1511702"/>
                  <a:pt x="4544064" y="1511702"/>
                </a:cubicBezTo>
                <a:cubicBezTo>
                  <a:pt x="4798803" y="1511702"/>
                  <a:pt x="5006118" y="1304387"/>
                  <a:pt x="5006118" y="1049649"/>
                </a:cubicBezTo>
                <a:cubicBezTo>
                  <a:pt x="5006118" y="794910"/>
                  <a:pt x="4798803" y="587595"/>
                  <a:pt x="4544064" y="587595"/>
                </a:cubicBezTo>
                <a:close/>
                <a:moveTo>
                  <a:pt x="1081043" y="0"/>
                </a:moveTo>
                <a:lnTo>
                  <a:pt x="5519299" y="0"/>
                </a:lnTo>
                <a:lnTo>
                  <a:pt x="5519299" y="6858000"/>
                </a:lnTo>
                <a:lnTo>
                  <a:pt x="68876" y="6858000"/>
                </a:lnTo>
                <a:lnTo>
                  <a:pt x="112154" y="6819948"/>
                </a:lnTo>
                <a:cubicBezTo>
                  <a:pt x="746576" y="6221005"/>
                  <a:pt x="1813134" y="4604032"/>
                  <a:pt x="573979" y="3429000"/>
                </a:cubicBezTo>
                <a:cubicBezTo>
                  <a:pt x="-667668" y="2225906"/>
                  <a:pt x="398366" y="652909"/>
                  <a:pt x="1030887" y="45282"/>
                </a:cubicBezTo>
                <a:close/>
              </a:path>
            </a:pathLst>
          </a:custGeom>
          <a:solidFill>
            <a:schemeClr val="tx1"/>
          </a:solidFill>
        </p:spPr>
        <p:txBody>
          <a:bodyPr wrap="square" anchor="ctr">
            <a:noAutofit/>
          </a:bodyPr>
          <a:lstStyle>
            <a:lvl1pPr algn="ctr">
              <a:defRPr sz="2400" b="0">
                <a:solidFill>
                  <a:schemeClr val="bg1"/>
                </a:solidFill>
                <a:latin typeface="+mj-lt"/>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US" dirty="0"/>
              <a:t>ADD RELATED </a:t>
            </a:r>
            <a:br>
              <a:rPr lang="en-US" dirty="0"/>
            </a:br>
            <a:r>
              <a:rPr lang="en-US" dirty="0"/>
              <a:t>IMAGE </a:t>
            </a:r>
            <a:br>
              <a:rPr lang="en-US" dirty="0"/>
            </a:br>
            <a:r>
              <a:rPr lang="en-US" dirty="0"/>
              <a:t>FROM HFW </a:t>
            </a:r>
            <a:br>
              <a:rPr lang="en-US" dirty="0"/>
            </a:br>
            <a:r>
              <a:rPr lang="en-US" dirty="0"/>
              <a:t>IMAGE LIBRARY</a:t>
            </a:r>
          </a:p>
        </p:txBody>
      </p:sp>
      <p:sp>
        <p:nvSpPr>
          <p:cNvPr id="2" name="Title 1"/>
          <p:cNvSpPr>
            <a:spLocks noGrp="1"/>
          </p:cNvSpPr>
          <p:nvPr>
            <p:ph type="ctrTitle" hasCustomPrompt="1"/>
          </p:nvPr>
        </p:nvSpPr>
        <p:spPr>
          <a:xfrm>
            <a:off x="508938" y="2430692"/>
            <a:ext cx="5155261" cy="2387600"/>
          </a:xfrm>
        </p:spPr>
        <p:txBody>
          <a:bodyPr vert="horz" lIns="0" tIns="0" rIns="0" bIns="0" rtlCol="0" anchor="t" anchorCtr="0">
            <a:noAutofit/>
          </a:bodyPr>
          <a:lstStyle>
            <a:lvl1pPr>
              <a:lnSpc>
                <a:spcPct val="100000"/>
              </a:lnSpc>
              <a:defRPr lang="en-US" sz="3300" dirty="0">
                <a:solidFill>
                  <a:schemeClr val="tx2"/>
                </a:solidFill>
              </a:defRPr>
            </a:lvl1pPr>
          </a:lstStyle>
          <a:p>
            <a:pPr lvl="0"/>
            <a:r>
              <a:rPr lang="en-US" dirty="0"/>
              <a:t>DIVIDER SLIDE </a:t>
            </a:r>
            <a:br>
              <a:rPr lang="en-US" dirty="0"/>
            </a:br>
            <a:r>
              <a:rPr lang="en-US" dirty="0"/>
              <a:t>TEXT GOES HERE</a:t>
            </a:r>
          </a:p>
        </p:txBody>
      </p:sp>
      <p:sp>
        <p:nvSpPr>
          <p:cNvPr id="13" name="Text Placeholder 12">
            <a:extLst>
              <a:ext uri="{FF2B5EF4-FFF2-40B4-BE49-F238E27FC236}">
                <a16:creationId xmlns:a16="http://schemas.microsoft.com/office/drawing/2014/main" id="{BBA3AA40-3440-5851-3972-390D3DEB2219}"/>
              </a:ext>
            </a:extLst>
          </p:cNvPr>
          <p:cNvSpPr>
            <a:spLocks noGrp="1"/>
          </p:cNvSpPr>
          <p:nvPr>
            <p:ph type="body" sz="quarter" idx="14" hasCustomPrompt="1"/>
          </p:nvPr>
        </p:nvSpPr>
        <p:spPr>
          <a:xfrm>
            <a:off x="508938" y="5989638"/>
            <a:ext cx="5952821" cy="230187"/>
          </a:xfrm>
        </p:spPr>
        <p:txBody>
          <a:bodyPr tIns="0" bIns="0">
            <a:noAutofit/>
          </a:bodyPr>
          <a:lstStyle>
            <a:lvl1pPr>
              <a:defRPr sz="1400" cap="all" baseline="0">
                <a:solidFill>
                  <a:schemeClr val="bg1"/>
                </a:solidFill>
                <a:latin typeface="+mj-lt"/>
              </a:defRPr>
            </a:lvl1pPr>
            <a:lvl2pPr>
              <a:defRPr>
                <a:solidFill>
                  <a:schemeClr val="bg1"/>
                </a:solidFill>
                <a:latin typeface="+mn-lt"/>
              </a:defRPr>
            </a:lvl2pPr>
            <a:lvl3pPr>
              <a:defRPr>
                <a:solidFill>
                  <a:schemeClr val="bg1"/>
                </a:solidFill>
                <a:latin typeface="+mn-lt"/>
              </a:defRPr>
            </a:lvl3pPr>
            <a:lvl4pPr>
              <a:defRPr>
                <a:solidFill>
                  <a:schemeClr val="bg1"/>
                </a:solidFill>
                <a:latin typeface="+mn-lt"/>
              </a:defRPr>
            </a:lvl4pPr>
            <a:lvl5pPr>
              <a:defRPr>
                <a:solidFill>
                  <a:schemeClr val="bg1"/>
                </a:solidFill>
                <a:latin typeface="+mn-lt"/>
              </a:defRPr>
            </a:lvl5pPr>
          </a:lstStyle>
          <a:p>
            <a:pPr lvl="0"/>
            <a:r>
              <a:rPr lang="en-US" dirty="0"/>
              <a:t>PROPOSAL TO [CLIENT] FOR LEGAL SERVICES</a:t>
            </a:r>
            <a:endParaRPr lang="en-GB" dirty="0"/>
          </a:p>
        </p:txBody>
      </p:sp>
      <p:sp>
        <p:nvSpPr>
          <p:cNvPr id="4" name="TextBox 4">
            <a:extLst>
              <a:ext uri="{FF2B5EF4-FFF2-40B4-BE49-F238E27FC236}">
                <a16:creationId xmlns:a16="http://schemas.microsoft.com/office/drawing/2014/main" id="{265B2CA7-EDCD-E4A1-AC81-AB1BF0FA5D17}"/>
              </a:ext>
            </a:extLst>
          </p:cNvPr>
          <p:cNvSpPr txBox="1"/>
          <p:nvPr userDrawn="1"/>
        </p:nvSpPr>
        <p:spPr>
          <a:xfrm>
            <a:off x="12346713" y="2534018"/>
            <a:ext cx="1934437" cy="318548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INSERTING IMAGES:</a:t>
            </a:r>
          </a:p>
          <a:p>
            <a:pPr marL="179388" indent="-179388">
              <a:spcBef>
                <a:spcPts val="200"/>
              </a:spcBef>
              <a:spcAft>
                <a:spcPts val="200"/>
              </a:spcAft>
              <a:buFont typeface="+mj-lt"/>
              <a:buAutoNum type="arabicPeriod"/>
            </a:pPr>
            <a:r>
              <a:rPr lang="en-US" sz="900" dirty="0">
                <a:solidFill>
                  <a:schemeClr val="tx1"/>
                </a:solidFill>
                <a:latin typeface="+mn-lt"/>
              </a:rPr>
              <a:t>Simply click the image placeholder and select your image.</a:t>
            </a:r>
          </a:p>
          <a:p>
            <a:pPr marL="179388" indent="-179388">
              <a:spcBef>
                <a:spcPts val="200"/>
              </a:spcBef>
              <a:spcAft>
                <a:spcPts val="200"/>
              </a:spcAft>
              <a:buFont typeface="+mj-lt"/>
              <a:buAutoNum type="arabicPeriod"/>
            </a:pPr>
            <a:r>
              <a:rPr lang="en-US" sz="900" dirty="0">
                <a:solidFill>
                  <a:schemeClr val="tx1"/>
                </a:solidFill>
                <a:latin typeface="+mn-lt"/>
              </a:rPr>
              <a:t>Once your image is inserted into the shape it may be distorted. (Stretched or Squashed)</a:t>
            </a:r>
          </a:p>
          <a:p>
            <a:pPr marL="179388" indent="-179388">
              <a:spcBef>
                <a:spcPts val="200"/>
              </a:spcBef>
              <a:spcAft>
                <a:spcPts val="200"/>
              </a:spcAft>
              <a:buFont typeface="+mj-lt"/>
              <a:buAutoNum type="arabicPeriod"/>
            </a:pPr>
            <a:endParaRPr lang="en-US" sz="900" dirty="0">
              <a:solidFill>
                <a:schemeClr val="tx1"/>
              </a:solidFill>
              <a:latin typeface="+mn-lt"/>
            </a:endParaRPr>
          </a:p>
          <a:p>
            <a:pPr>
              <a:spcBef>
                <a:spcPts val="200"/>
              </a:spcBef>
              <a:spcAft>
                <a:spcPts val="200"/>
              </a:spcAft>
            </a:pPr>
            <a:r>
              <a:rPr lang="en-US" sz="900" b="1" dirty="0">
                <a:solidFill>
                  <a:schemeClr val="tx1"/>
                </a:solidFill>
                <a:latin typeface="+mn-lt"/>
              </a:rPr>
              <a:t>To fix this:</a:t>
            </a:r>
          </a:p>
          <a:p>
            <a:pPr marL="179388" indent="-179388">
              <a:spcBef>
                <a:spcPts val="200"/>
              </a:spcBef>
              <a:spcAft>
                <a:spcPts val="200"/>
              </a:spcAft>
              <a:buFont typeface="+mj-lt"/>
              <a:buAutoNum type="arabicPeriod"/>
            </a:pPr>
            <a:r>
              <a:rPr lang="en-US" sz="900" dirty="0">
                <a:solidFill>
                  <a:schemeClr val="tx1"/>
                </a:solidFill>
                <a:latin typeface="+mn-lt"/>
              </a:rPr>
              <a:t>Click on the image and from the top menu under </a:t>
            </a:r>
            <a:r>
              <a:rPr lang="en-US" sz="900" b="1" dirty="0">
                <a:solidFill>
                  <a:schemeClr val="tx1"/>
                </a:solidFill>
                <a:latin typeface="+mn-lt"/>
              </a:rPr>
              <a:t>PICTURE FORMAT </a:t>
            </a:r>
            <a:r>
              <a:rPr lang="en-US" sz="900" dirty="0">
                <a:solidFill>
                  <a:schemeClr val="tx1"/>
                </a:solidFill>
                <a:latin typeface="+mn-lt"/>
              </a:rPr>
              <a:t>select the </a:t>
            </a:r>
            <a:r>
              <a:rPr lang="en-US" sz="900" b="1" dirty="0">
                <a:solidFill>
                  <a:schemeClr val="tx1"/>
                </a:solidFill>
                <a:latin typeface="+mn-lt"/>
              </a:rPr>
              <a:t>CROP</a:t>
            </a:r>
            <a:r>
              <a:rPr lang="en-US" sz="900" dirty="0">
                <a:solidFill>
                  <a:schemeClr val="tx1"/>
                </a:solidFill>
                <a:latin typeface="+mn-lt"/>
              </a:rPr>
              <a:t> on the right and from the drop down menu select </a:t>
            </a:r>
            <a:r>
              <a:rPr lang="en-US" sz="900" b="1" kern="1200" dirty="0">
                <a:solidFill>
                  <a:schemeClr val="tx1"/>
                </a:solidFill>
                <a:latin typeface="+mn-lt"/>
                <a:ea typeface="+mn-ea"/>
                <a:cs typeface="+mn-cs"/>
              </a:rPr>
              <a:t>FILL</a:t>
            </a:r>
          </a:p>
          <a:p>
            <a:pPr marL="179388" indent="-179388">
              <a:spcBef>
                <a:spcPts val="200"/>
              </a:spcBef>
              <a:spcAft>
                <a:spcPts val="200"/>
              </a:spcAft>
              <a:buFont typeface="+mj-lt"/>
              <a:buAutoNum type="arabicPeriod"/>
            </a:pPr>
            <a:r>
              <a:rPr lang="en-US" sz="900" b="0" kern="1200" dirty="0">
                <a:solidFill>
                  <a:schemeClr val="tx1"/>
                </a:solidFill>
                <a:latin typeface="+mn-lt"/>
                <a:ea typeface="+mn-ea"/>
                <a:cs typeface="+mn-cs"/>
              </a:rPr>
              <a:t>From here you can move the image within the shape for best visual appearance</a:t>
            </a:r>
          </a:p>
        </p:txBody>
      </p:sp>
      <p:grpSp>
        <p:nvGrpSpPr>
          <p:cNvPr id="10" name="Group 9">
            <a:extLst>
              <a:ext uri="{FF2B5EF4-FFF2-40B4-BE49-F238E27FC236}">
                <a16:creationId xmlns:a16="http://schemas.microsoft.com/office/drawing/2014/main" id="{21C06071-8257-4CA1-13D1-1890AC7A3659}"/>
              </a:ext>
            </a:extLst>
          </p:cNvPr>
          <p:cNvGrpSpPr>
            <a:grpSpLocks noGrp="1" noUngrp="1" noRot="1" noMove="1" noResize="1"/>
          </p:cNvGrpSpPr>
          <p:nvPr userDrawn="1"/>
        </p:nvGrpSpPr>
        <p:grpSpPr>
          <a:xfrm>
            <a:off x="8369358" y="587595"/>
            <a:ext cx="3309461" cy="924107"/>
            <a:chOff x="8369358" y="587595"/>
            <a:chExt cx="3309461" cy="924107"/>
          </a:xfrm>
        </p:grpSpPr>
        <p:sp>
          <p:nvSpPr>
            <p:cNvPr id="102" name="Freeform: Shape 101">
              <a:extLst>
                <a:ext uri="{FF2B5EF4-FFF2-40B4-BE49-F238E27FC236}">
                  <a16:creationId xmlns:a16="http://schemas.microsoft.com/office/drawing/2014/main" id="{E35E8CDD-1F08-6DAF-9B0B-6ABD91680CAE}"/>
                </a:ext>
              </a:extLst>
            </p:cNvPr>
            <p:cNvSpPr>
              <a:spLocks noGrp="1" noRot="1" noMove="1" noResize="1" noEditPoints="1" noAdjustHandles="1" noChangeArrowheads="1" noChangeShapeType="1"/>
            </p:cNvSpPr>
            <p:nvPr userDrawn="1"/>
          </p:nvSpPr>
          <p:spPr>
            <a:xfrm>
              <a:off x="8455232" y="587595"/>
              <a:ext cx="3223587" cy="924107"/>
            </a:xfrm>
            <a:custGeom>
              <a:avLst/>
              <a:gdLst>
                <a:gd name="connsiteX0" fmla="*/ 2761534 w 3223587"/>
                <a:gd name="connsiteY0" fmla="*/ 0 h 924107"/>
                <a:gd name="connsiteX1" fmla="*/ 2299481 w 3223587"/>
                <a:gd name="connsiteY1" fmla="*/ 462054 h 924107"/>
                <a:gd name="connsiteX2" fmla="*/ 2761534 w 3223587"/>
                <a:gd name="connsiteY2" fmla="*/ 924107 h 924107"/>
                <a:gd name="connsiteX3" fmla="*/ 3223588 w 3223587"/>
                <a:gd name="connsiteY3" fmla="*/ 462054 h 924107"/>
                <a:gd name="connsiteX4" fmla="*/ 2761534 w 3223587"/>
                <a:gd name="connsiteY4" fmla="*/ 0 h 924107"/>
                <a:gd name="connsiteX5" fmla="*/ 2387170 w 3223587"/>
                <a:gd name="connsiteY5" fmla="*/ 462054 h 924107"/>
                <a:gd name="connsiteX6" fmla="*/ 2745406 w 3223587"/>
                <a:gd name="connsiteY6" fmla="*/ 88117 h 924107"/>
                <a:gd name="connsiteX7" fmla="*/ 2613925 w 3223587"/>
                <a:gd name="connsiteY7" fmla="*/ 307181 h 924107"/>
                <a:gd name="connsiteX8" fmla="*/ 2738250 w 3223587"/>
                <a:gd name="connsiteY8" fmla="*/ 499330 h 924107"/>
                <a:gd name="connsiteX9" fmla="*/ 2738571 w 3223587"/>
                <a:gd name="connsiteY9" fmla="*/ 499543 h 924107"/>
                <a:gd name="connsiteX10" fmla="*/ 2820813 w 3223587"/>
                <a:gd name="connsiteY10" fmla="*/ 613081 h 924107"/>
                <a:gd name="connsiteX11" fmla="*/ 2650774 w 3223587"/>
                <a:gd name="connsiteY11" fmla="*/ 819755 h 924107"/>
                <a:gd name="connsiteX12" fmla="*/ 2386957 w 3223587"/>
                <a:gd name="connsiteY12" fmla="*/ 462054 h 924107"/>
                <a:gd name="connsiteX13" fmla="*/ 2777556 w 3223587"/>
                <a:gd name="connsiteY13" fmla="*/ 835990 h 924107"/>
                <a:gd name="connsiteX14" fmla="*/ 2908609 w 3223587"/>
                <a:gd name="connsiteY14" fmla="*/ 616071 h 924107"/>
                <a:gd name="connsiteX15" fmla="*/ 2784391 w 3223587"/>
                <a:gd name="connsiteY15" fmla="*/ 424671 h 924107"/>
                <a:gd name="connsiteX16" fmla="*/ 2701615 w 3223587"/>
                <a:gd name="connsiteY16" fmla="*/ 309958 h 924107"/>
                <a:gd name="connsiteX17" fmla="*/ 2872295 w 3223587"/>
                <a:gd name="connsiteY17" fmla="*/ 104459 h 924107"/>
                <a:gd name="connsiteX18" fmla="*/ 3135898 w 3223587"/>
                <a:gd name="connsiteY18" fmla="*/ 462054 h 924107"/>
                <a:gd name="connsiteX19" fmla="*/ 2777662 w 3223587"/>
                <a:gd name="connsiteY19" fmla="*/ 835990 h 924107"/>
                <a:gd name="connsiteX20" fmla="*/ 107 w 3223587"/>
                <a:gd name="connsiteY20" fmla="*/ 405659 h 924107"/>
                <a:gd name="connsiteX21" fmla="*/ 14312 w 3223587"/>
                <a:gd name="connsiteY21" fmla="*/ 374257 h 924107"/>
                <a:gd name="connsiteX22" fmla="*/ 73805 w 3223587"/>
                <a:gd name="connsiteY22" fmla="*/ 393055 h 924107"/>
                <a:gd name="connsiteX23" fmla="*/ 108517 w 3223587"/>
                <a:gd name="connsiteY23" fmla="*/ 373723 h 924107"/>
                <a:gd name="connsiteX24" fmla="*/ 3738 w 3223587"/>
                <a:gd name="connsiteY24" fmla="*/ 296180 h 924107"/>
                <a:gd name="connsiteX25" fmla="*/ 79679 w 3223587"/>
                <a:gd name="connsiteY25" fmla="*/ 239999 h 924107"/>
                <a:gd name="connsiteX26" fmla="*/ 142269 w 3223587"/>
                <a:gd name="connsiteY26" fmla="*/ 255913 h 924107"/>
                <a:gd name="connsiteX27" fmla="*/ 129345 w 3223587"/>
                <a:gd name="connsiteY27" fmla="*/ 287635 h 924107"/>
                <a:gd name="connsiteX28" fmla="*/ 79359 w 3223587"/>
                <a:gd name="connsiteY28" fmla="*/ 273430 h 924107"/>
                <a:gd name="connsiteX29" fmla="*/ 45073 w 3223587"/>
                <a:gd name="connsiteY29" fmla="*/ 294044 h 924107"/>
                <a:gd name="connsiteX30" fmla="*/ 149852 w 3223587"/>
                <a:gd name="connsiteY30" fmla="*/ 370519 h 924107"/>
                <a:gd name="connsiteX31" fmla="*/ 73377 w 3223587"/>
                <a:gd name="connsiteY31" fmla="*/ 426380 h 924107"/>
                <a:gd name="connsiteX32" fmla="*/ 0 w 3223587"/>
                <a:gd name="connsiteY32" fmla="*/ 405552 h 924107"/>
                <a:gd name="connsiteX33" fmla="*/ 172496 w 3223587"/>
                <a:gd name="connsiteY33" fmla="*/ 344137 h 924107"/>
                <a:gd name="connsiteX34" fmla="*/ 172496 w 3223587"/>
                <a:gd name="connsiteY34" fmla="*/ 243203 h 924107"/>
                <a:gd name="connsiteX35" fmla="*/ 214258 w 3223587"/>
                <a:gd name="connsiteY35" fmla="*/ 243203 h 924107"/>
                <a:gd name="connsiteX36" fmla="*/ 214258 w 3223587"/>
                <a:gd name="connsiteY36" fmla="*/ 342642 h 924107"/>
                <a:gd name="connsiteX37" fmla="*/ 254418 w 3223587"/>
                <a:gd name="connsiteY37" fmla="*/ 391026 h 924107"/>
                <a:gd name="connsiteX38" fmla="*/ 294578 w 3223587"/>
                <a:gd name="connsiteY38" fmla="*/ 342642 h 924107"/>
                <a:gd name="connsiteX39" fmla="*/ 294578 w 3223587"/>
                <a:gd name="connsiteY39" fmla="*/ 243203 h 924107"/>
                <a:gd name="connsiteX40" fmla="*/ 335806 w 3223587"/>
                <a:gd name="connsiteY40" fmla="*/ 243203 h 924107"/>
                <a:gd name="connsiteX41" fmla="*/ 335806 w 3223587"/>
                <a:gd name="connsiteY41" fmla="*/ 344137 h 924107"/>
                <a:gd name="connsiteX42" fmla="*/ 254204 w 3223587"/>
                <a:gd name="connsiteY42" fmla="*/ 426593 h 924107"/>
                <a:gd name="connsiteX43" fmla="*/ 172603 w 3223587"/>
                <a:gd name="connsiteY43" fmla="*/ 344137 h 924107"/>
                <a:gd name="connsiteX44" fmla="*/ 358449 w 3223587"/>
                <a:gd name="connsiteY44" fmla="*/ 405659 h 924107"/>
                <a:gd name="connsiteX45" fmla="*/ 372655 w 3223587"/>
                <a:gd name="connsiteY45" fmla="*/ 374257 h 924107"/>
                <a:gd name="connsiteX46" fmla="*/ 432147 w 3223587"/>
                <a:gd name="connsiteY46" fmla="*/ 393055 h 924107"/>
                <a:gd name="connsiteX47" fmla="*/ 466860 w 3223587"/>
                <a:gd name="connsiteY47" fmla="*/ 373723 h 924107"/>
                <a:gd name="connsiteX48" fmla="*/ 362081 w 3223587"/>
                <a:gd name="connsiteY48" fmla="*/ 296180 h 924107"/>
                <a:gd name="connsiteX49" fmla="*/ 438022 w 3223587"/>
                <a:gd name="connsiteY49" fmla="*/ 239999 h 924107"/>
                <a:gd name="connsiteX50" fmla="*/ 500612 w 3223587"/>
                <a:gd name="connsiteY50" fmla="*/ 255913 h 924107"/>
                <a:gd name="connsiteX51" fmla="*/ 487688 w 3223587"/>
                <a:gd name="connsiteY51" fmla="*/ 287635 h 924107"/>
                <a:gd name="connsiteX52" fmla="*/ 437701 w 3223587"/>
                <a:gd name="connsiteY52" fmla="*/ 273430 h 924107"/>
                <a:gd name="connsiteX53" fmla="*/ 403416 w 3223587"/>
                <a:gd name="connsiteY53" fmla="*/ 294044 h 924107"/>
                <a:gd name="connsiteX54" fmla="*/ 508195 w 3223587"/>
                <a:gd name="connsiteY54" fmla="*/ 370519 h 924107"/>
                <a:gd name="connsiteX55" fmla="*/ 431720 w 3223587"/>
                <a:gd name="connsiteY55" fmla="*/ 426380 h 924107"/>
                <a:gd name="connsiteX56" fmla="*/ 358343 w 3223587"/>
                <a:gd name="connsiteY56" fmla="*/ 405552 h 924107"/>
                <a:gd name="connsiteX57" fmla="*/ 571853 w 3223587"/>
                <a:gd name="connsiteY57" fmla="*/ 277168 h 924107"/>
                <a:gd name="connsiteX58" fmla="*/ 514176 w 3223587"/>
                <a:gd name="connsiteY58" fmla="*/ 277168 h 924107"/>
                <a:gd name="connsiteX59" fmla="*/ 514176 w 3223587"/>
                <a:gd name="connsiteY59" fmla="*/ 243203 h 924107"/>
                <a:gd name="connsiteX60" fmla="*/ 671292 w 3223587"/>
                <a:gd name="connsiteY60" fmla="*/ 243203 h 924107"/>
                <a:gd name="connsiteX61" fmla="*/ 671292 w 3223587"/>
                <a:gd name="connsiteY61" fmla="*/ 277168 h 924107"/>
                <a:gd name="connsiteX62" fmla="*/ 613615 w 3223587"/>
                <a:gd name="connsiteY62" fmla="*/ 277168 h 924107"/>
                <a:gd name="connsiteX63" fmla="*/ 613615 w 3223587"/>
                <a:gd name="connsiteY63" fmla="*/ 423389 h 924107"/>
                <a:gd name="connsiteX64" fmla="*/ 571853 w 3223587"/>
                <a:gd name="connsiteY64" fmla="*/ 423389 h 924107"/>
                <a:gd name="connsiteX65" fmla="*/ 571853 w 3223587"/>
                <a:gd name="connsiteY65" fmla="*/ 277168 h 924107"/>
                <a:gd name="connsiteX66" fmla="*/ 787606 w 3223587"/>
                <a:gd name="connsiteY66" fmla="*/ 384831 h 924107"/>
                <a:gd name="connsiteX67" fmla="*/ 703868 w 3223587"/>
                <a:gd name="connsiteY67" fmla="*/ 384831 h 924107"/>
                <a:gd name="connsiteX68" fmla="*/ 687954 w 3223587"/>
                <a:gd name="connsiteY68" fmla="*/ 423496 h 924107"/>
                <a:gd name="connsiteX69" fmla="*/ 645230 w 3223587"/>
                <a:gd name="connsiteY69" fmla="*/ 423496 h 924107"/>
                <a:gd name="connsiteX70" fmla="*/ 725550 w 3223587"/>
                <a:gd name="connsiteY70" fmla="*/ 243203 h 924107"/>
                <a:gd name="connsiteX71" fmla="*/ 766778 w 3223587"/>
                <a:gd name="connsiteY71" fmla="*/ 243203 h 924107"/>
                <a:gd name="connsiteX72" fmla="*/ 847419 w 3223587"/>
                <a:gd name="connsiteY72" fmla="*/ 423496 h 924107"/>
                <a:gd name="connsiteX73" fmla="*/ 803627 w 3223587"/>
                <a:gd name="connsiteY73" fmla="*/ 423496 h 924107"/>
                <a:gd name="connsiteX74" fmla="*/ 787713 w 3223587"/>
                <a:gd name="connsiteY74" fmla="*/ 384831 h 924107"/>
                <a:gd name="connsiteX75" fmla="*/ 774469 w 3223587"/>
                <a:gd name="connsiteY75" fmla="*/ 353109 h 924107"/>
                <a:gd name="connsiteX76" fmla="*/ 745844 w 3223587"/>
                <a:gd name="connsiteY76" fmla="*/ 284111 h 924107"/>
                <a:gd name="connsiteX77" fmla="*/ 717219 w 3223587"/>
                <a:gd name="connsiteY77" fmla="*/ 353109 h 924107"/>
                <a:gd name="connsiteX78" fmla="*/ 774362 w 3223587"/>
                <a:gd name="connsiteY78" fmla="*/ 353109 h 924107"/>
                <a:gd name="connsiteX79" fmla="*/ 862372 w 3223587"/>
                <a:gd name="connsiteY79" fmla="*/ 243203 h 924107"/>
                <a:gd name="connsiteX80" fmla="*/ 904134 w 3223587"/>
                <a:gd name="connsiteY80" fmla="*/ 243203 h 924107"/>
                <a:gd name="connsiteX81" fmla="*/ 904134 w 3223587"/>
                <a:gd name="connsiteY81" fmla="*/ 423496 h 924107"/>
                <a:gd name="connsiteX82" fmla="*/ 862372 w 3223587"/>
                <a:gd name="connsiteY82" fmla="*/ 423496 h 924107"/>
                <a:gd name="connsiteX83" fmla="*/ 862372 w 3223587"/>
                <a:gd name="connsiteY83" fmla="*/ 243096 h 924107"/>
                <a:gd name="connsiteX84" fmla="*/ 1107284 w 3223587"/>
                <a:gd name="connsiteY84" fmla="*/ 243203 h 924107"/>
                <a:gd name="connsiteX85" fmla="*/ 1107284 w 3223587"/>
                <a:gd name="connsiteY85" fmla="*/ 423496 h 924107"/>
                <a:gd name="connsiteX86" fmla="*/ 1072998 w 3223587"/>
                <a:gd name="connsiteY86" fmla="*/ 423496 h 924107"/>
                <a:gd name="connsiteX87" fmla="*/ 983172 w 3223587"/>
                <a:gd name="connsiteY87" fmla="*/ 314017 h 924107"/>
                <a:gd name="connsiteX88" fmla="*/ 983172 w 3223587"/>
                <a:gd name="connsiteY88" fmla="*/ 423496 h 924107"/>
                <a:gd name="connsiteX89" fmla="*/ 941944 w 3223587"/>
                <a:gd name="connsiteY89" fmla="*/ 423496 h 924107"/>
                <a:gd name="connsiteX90" fmla="*/ 941944 w 3223587"/>
                <a:gd name="connsiteY90" fmla="*/ 243096 h 924107"/>
                <a:gd name="connsiteX91" fmla="*/ 976443 w 3223587"/>
                <a:gd name="connsiteY91" fmla="*/ 243096 h 924107"/>
                <a:gd name="connsiteX92" fmla="*/ 1066056 w 3223587"/>
                <a:gd name="connsiteY92" fmla="*/ 352575 h 924107"/>
                <a:gd name="connsiteX93" fmla="*/ 1066056 w 3223587"/>
                <a:gd name="connsiteY93" fmla="*/ 243096 h 924107"/>
                <a:gd name="connsiteX94" fmla="*/ 1107284 w 3223587"/>
                <a:gd name="connsiteY94" fmla="*/ 243096 h 924107"/>
                <a:gd name="connsiteX95" fmla="*/ 1265040 w 3223587"/>
                <a:gd name="connsiteY95" fmla="*/ 384831 h 924107"/>
                <a:gd name="connsiteX96" fmla="*/ 1181302 w 3223587"/>
                <a:gd name="connsiteY96" fmla="*/ 384831 h 924107"/>
                <a:gd name="connsiteX97" fmla="*/ 1165388 w 3223587"/>
                <a:gd name="connsiteY97" fmla="*/ 423496 h 924107"/>
                <a:gd name="connsiteX98" fmla="*/ 1122664 w 3223587"/>
                <a:gd name="connsiteY98" fmla="*/ 423496 h 924107"/>
                <a:gd name="connsiteX99" fmla="*/ 1202984 w 3223587"/>
                <a:gd name="connsiteY99" fmla="*/ 243203 h 924107"/>
                <a:gd name="connsiteX100" fmla="*/ 1244212 w 3223587"/>
                <a:gd name="connsiteY100" fmla="*/ 243203 h 924107"/>
                <a:gd name="connsiteX101" fmla="*/ 1324853 w 3223587"/>
                <a:gd name="connsiteY101" fmla="*/ 423496 h 924107"/>
                <a:gd name="connsiteX102" fmla="*/ 1281061 w 3223587"/>
                <a:gd name="connsiteY102" fmla="*/ 423496 h 924107"/>
                <a:gd name="connsiteX103" fmla="*/ 1265147 w 3223587"/>
                <a:gd name="connsiteY103" fmla="*/ 384831 h 924107"/>
                <a:gd name="connsiteX104" fmla="*/ 1251903 w 3223587"/>
                <a:gd name="connsiteY104" fmla="*/ 353109 h 924107"/>
                <a:gd name="connsiteX105" fmla="*/ 1223278 w 3223587"/>
                <a:gd name="connsiteY105" fmla="*/ 284111 h 924107"/>
                <a:gd name="connsiteX106" fmla="*/ 1194653 w 3223587"/>
                <a:gd name="connsiteY106" fmla="*/ 353109 h 924107"/>
                <a:gd name="connsiteX107" fmla="*/ 1251796 w 3223587"/>
                <a:gd name="connsiteY107" fmla="*/ 353109 h 924107"/>
                <a:gd name="connsiteX108" fmla="*/ 1505146 w 3223587"/>
                <a:gd name="connsiteY108" fmla="*/ 374257 h 924107"/>
                <a:gd name="connsiteX109" fmla="*/ 1433050 w 3223587"/>
                <a:gd name="connsiteY109" fmla="*/ 423389 h 924107"/>
                <a:gd name="connsiteX110" fmla="*/ 1339806 w 3223587"/>
                <a:gd name="connsiteY110" fmla="*/ 423389 h 924107"/>
                <a:gd name="connsiteX111" fmla="*/ 1339806 w 3223587"/>
                <a:gd name="connsiteY111" fmla="*/ 243096 h 924107"/>
                <a:gd name="connsiteX112" fmla="*/ 1427923 w 3223587"/>
                <a:gd name="connsiteY112" fmla="*/ 243096 h 924107"/>
                <a:gd name="connsiteX113" fmla="*/ 1496174 w 3223587"/>
                <a:gd name="connsiteY113" fmla="*/ 289985 h 924107"/>
                <a:gd name="connsiteX114" fmla="*/ 1472249 w 3223587"/>
                <a:gd name="connsiteY114" fmla="*/ 329611 h 924107"/>
                <a:gd name="connsiteX115" fmla="*/ 1505252 w 3223587"/>
                <a:gd name="connsiteY115" fmla="*/ 374150 h 924107"/>
                <a:gd name="connsiteX116" fmla="*/ 1381248 w 3223587"/>
                <a:gd name="connsiteY116" fmla="*/ 274605 h 924107"/>
                <a:gd name="connsiteX117" fmla="*/ 1381248 w 3223587"/>
                <a:gd name="connsiteY117" fmla="*/ 317114 h 924107"/>
                <a:gd name="connsiteX118" fmla="*/ 1422690 w 3223587"/>
                <a:gd name="connsiteY118" fmla="*/ 317114 h 924107"/>
                <a:gd name="connsiteX119" fmla="*/ 1454091 w 3223587"/>
                <a:gd name="connsiteY119" fmla="*/ 295753 h 924107"/>
                <a:gd name="connsiteX120" fmla="*/ 1422690 w 3223587"/>
                <a:gd name="connsiteY120" fmla="*/ 274605 h 924107"/>
                <a:gd name="connsiteX121" fmla="*/ 1381248 w 3223587"/>
                <a:gd name="connsiteY121" fmla="*/ 274605 h 924107"/>
                <a:gd name="connsiteX122" fmla="*/ 1463170 w 3223587"/>
                <a:gd name="connsiteY122" fmla="*/ 369878 h 924107"/>
                <a:gd name="connsiteX123" fmla="*/ 1429952 w 3223587"/>
                <a:gd name="connsiteY123" fmla="*/ 347448 h 924107"/>
                <a:gd name="connsiteX124" fmla="*/ 1381248 w 3223587"/>
                <a:gd name="connsiteY124" fmla="*/ 347448 h 924107"/>
                <a:gd name="connsiteX125" fmla="*/ 1381248 w 3223587"/>
                <a:gd name="connsiteY125" fmla="*/ 391987 h 924107"/>
                <a:gd name="connsiteX126" fmla="*/ 1429952 w 3223587"/>
                <a:gd name="connsiteY126" fmla="*/ 391987 h 924107"/>
                <a:gd name="connsiteX127" fmla="*/ 1463170 w 3223587"/>
                <a:gd name="connsiteY127" fmla="*/ 369878 h 924107"/>
                <a:gd name="connsiteX128" fmla="*/ 1533450 w 3223587"/>
                <a:gd name="connsiteY128" fmla="*/ 243203 h 924107"/>
                <a:gd name="connsiteX129" fmla="*/ 1575212 w 3223587"/>
                <a:gd name="connsiteY129" fmla="*/ 243203 h 924107"/>
                <a:gd name="connsiteX130" fmla="*/ 1575212 w 3223587"/>
                <a:gd name="connsiteY130" fmla="*/ 423496 h 924107"/>
                <a:gd name="connsiteX131" fmla="*/ 1533450 w 3223587"/>
                <a:gd name="connsiteY131" fmla="*/ 423496 h 924107"/>
                <a:gd name="connsiteX132" fmla="*/ 1533450 w 3223587"/>
                <a:gd name="connsiteY132" fmla="*/ 243096 h 924107"/>
                <a:gd name="connsiteX133" fmla="*/ 1613022 w 3223587"/>
                <a:gd name="connsiteY133" fmla="*/ 243203 h 924107"/>
                <a:gd name="connsiteX134" fmla="*/ 1654784 w 3223587"/>
                <a:gd name="connsiteY134" fmla="*/ 243203 h 924107"/>
                <a:gd name="connsiteX135" fmla="*/ 1654784 w 3223587"/>
                <a:gd name="connsiteY135" fmla="*/ 389424 h 924107"/>
                <a:gd name="connsiteX136" fmla="*/ 1745144 w 3223587"/>
                <a:gd name="connsiteY136" fmla="*/ 389424 h 924107"/>
                <a:gd name="connsiteX137" fmla="*/ 1745144 w 3223587"/>
                <a:gd name="connsiteY137" fmla="*/ 423389 h 924107"/>
                <a:gd name="connsiteX138" fmla="*/ 1613022 w 3223587"/>
                <a:gd name="connsiteY138" fmla="*/ 423389 h 924107"/>
                <a:gd name="connsiteX139" fmla="*/ 1613022 w 3223587"/>
                <a:gd name="connsiteY139" fmla="*/ 243096 h 924107"/>
                <a:gd name="connsiteX140" fmla="*/ 1762127 w 3223587"/>
                <a:gd name="connsiteY140" fmla="*/ 243203 h 924107"/>
                <a:gd name="connsiteX141" fmla="*/ 1803889 w 3223587"/>
                <a:gd name="connsiteY141" fmla="*/ 243203 h 924107"/>
                <a:gd name="connsiteX142" fmla="*/ 1803889 w 3223587"/>
                <a:gd name="connsiteY142" fmla="*/ 423496 h 924107"/>
                <a:gd name="connsiteX143" fmla="*/ 1762127 w 3223587"/>
                <a:gd name="connsiteY143" fmla="*/ 423496 h 924107"/>
                <a:gd name="connsiteX144" fmla="*/ 1762127 w 3223587"/>
                <a:gd name="connsiteY144" fmla="*/ 243096 h 924107"/>
                <a:gd name="connsiteX145" fmla="*/ 1877587 w 3223587"/>
                <a:gd name="connsiteY145" fmla="*/ 277168 h 924107"/>
                <a:gd name="connsiteX146" fmla="*/ 1819910 w 3223587"/>
                <a:gd name="connsiteY146" fmla="*/ 277168 h 924107"/>
                <a:gd name="connsiteX147" fmla="*/ 1819910 w 3223587"/>
                <a:gd name="connsiteY147" fmla="*/ 243203 h 924107"/>
                <a:gd name="connsiteX148" fmla="*/ 1977026 w 3223587"/>
                <a:gd name="connsiteY148" fmla="*/ 243203 h 924107"/>
                <a:gd name="connsiteX149" fmla="*/ 1977026 w 3223587"/>
                <a:gd name="connsiteY149" fmla="*/ 277168 h 924107"/>
                <a:gd name="connsiteX150" fmla="*/ 1919349 w 3223587"/>
                <a:gd name="connsiteY150" fmla="*/ 277168 h 924107"/>
                <a:gd name="connsiteX151" fmla="*/ 1919349 w 3223587"/>
                <a:gd name="connsiteY151" fmla="*/ 423389 h 924107"/>
                <a:gd name="connsiteX152" fmla="*/ 1877587 w 3223587"/>
                <a:gd name="connsiteY152" fmla="*/ 423389 h 924107"/>
                <a:gd name="connsiteX153" fmla="*/ 1877587 w 3223587"/>
                <a:gd name="connsiteY153" fmla="*/ 277168 h 924107"/>
                <a:gd name="connsiteX154" fmla="*/ 2093874 w 3223587"/>
                <a:gd name="connsiteY154" fmla="*/ 359624 h 924107"/>
                <a:gd name="connsiteX155" fmla="*/ 2093874 w 3223587"/>
                <a:gd name="connsiteY155" fmla="*/ 423496 h 924107"/>
                <a:gd name="connsiteX156" fmla="*/ 2052112 w 3223587"/>
                <a:gd name="connsiteY156" fmla="*/ 423496 h 924107"/>
                <a:gd name="connsiteX157" fmla="*/ 2052112 w 3223587"/>
                <a:gd name="connsiteY157" fmla="*/ 359090 h 924107"/>
                <a:gd name="connsiteX158" fmla="*/ 1982366 w 3223587"/>
                <a:gd name="connsiteY158" fmla="*/ 243203 h 924107"/>
                <a:gd name="connsiteX159" fmla="*/ 2026692 w 3223587"/>
                <a:gd name="connsiteY159" fmla="*/ 243203 h 924107"/>
                <a:gd name="connsiteX160" fmla="*/ 2074862 w 3223587"/>
                <a:gd name="connsiteY160" fmla="*/ 323309 h 924107"/>
                <a:gd name="connsiteX161" fmla="*/ 2123033 w 3223587"/>
                <a:gd name="connsiteY161" fmla="*/ 243203 h 924107"/>
                <a:gd name="connsiteX162" fmla="*/ 2163941 w 3223587"/>
                <a:gd name="connsiteY162" fmla="*/ 243203 h 924107"/>
                <a:gd name="connsiteX163" fmla="*/ 2093874 w 3223587"/>
                <a:gd name="connsiteY163" fmla="*/ 359624 h 924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Lst>
              <a:rect l="l" t="t" r="r" b="b"/>
              <a:pathLst>
                <a:path w="3223587" h="924107">
                  <a:moveTo>
                    <a:pt x="2761534" y="0"/>
                  </a:moveTo>
                  <a:cubicBezTo>
                    <a:pt x="2506796" y="0"/>
                    <a:pt x="2299481" y="207315"/>
                    <a:pt x="2299481" y="462054"/>
                  </a:cubicBezTo>
                  <a:cubicBezTo>
                    <a:pt x="2299481" y="716792"/>
                    <a:pt x="2506796" y="924107"/>
                    <a:pt x="2761534" y="924107"/>
                  </a:cubicBezTo>
                  <a:cubicBezTo>
                    <a:pt x="3016273" y="924107"/>
                    <a:pt x="3223588" y="716792"/>
                    <a:pt x="3223588" y="462054"/>
                  </a:cubicBezTo>
                  <a:cubicBezTo>
                    <a:pt x="3223588" y="207315"/>
                    <a:pt x="3016273" y="0"/>
                    <a:pt x="2761534" y="0"/>
                  </a:cubicBezTo>
                  <a:close/>
                  <a:moveTo>
                    <a:pt x="2387170" y="462054"/>
                  </a:moveTo>
                  <a:cubicBezTo>
                    <a:pt x="2387170" y="261040"/>
                    <a:pt x="2546422" y="96555"/>
                    <a:pt x="2745406" y="88117"/>
                  </a:cubicBezTo>
                  <a:cubicBezTo>
                    <a:pt x="2679826" y="143871"/>
                    <a:pt x="2616702" y="221734"/>
                    <a:pt x="2613925" y="307181"/>
                  </a:cubicBezTo>
                  <a:cubicBezTo>
                    <a:pt x="2610934" y="400318"/>
                    <a:pt x="2679933" y="463122"/>
                    <a:pt x="2738250" y="499330"/>
                  </a:cubicBezTo>
                  <a:lnTo>
                    <a:pt x="2738571" y="499543"/>
                  </a:lnTo>
                  <a:cubicBezTo>
                    <a:pt x="2795286" y="534043"/>
                    <a:pt x="2822201" y="571212"/>
                    <a:pt x="2820813" y="613081"/>
                  </a:cubicBezTo>
                  <a:cubicBezTo>
                    <a:pt x="2818250" y="690303"/>
                    <a:pt x="2722763" y="777673"/>
                    <a:pt x="2650774" y="819755"/>
                  </a:cubicBezTo>
                  <a:cubicBezTo>
                    <a:pt x="2498144" y="772546"/>
                    <a:pt x="2386957" y="630063"/>
                    <a:pt x="2386957" y="462054"/>
                  </a:cubicBezTo>
                  <a:close/>
                  <a:moveTo>
                    <a:pt x="2777556" y="835990"/>
                  </a:moveTo>
                  <a:cubicBezTo>
                    <a:pt x="2841107" y="781732"/>
                    <a:pt x="2905619" y="703868"/>
                    <a:pt x="2908609" y="616071"/>
                  </a:cubicBezTo>
                  <a:cubicBezTo>
                    <a:pt x="2911814" y="522294"/>
                    <a:pt x="2842922" y="460238"/>
                    <a:pt x="2784391" y="424671"/>
                  </a:cubicBezTo>
                  <a:cubicBezTo>
                    <a:pt x="2728103" y="389744"/>
                    <a:pt x="2700226" y="351080"/>
                    <a:pt x="2701615" y="309958"/>
                  </a:cubicBezTo>
                  <a:cubicBezTo>
                    <a:pt x="2704071" y="234658"/>
                    <a:pt x="2798276" y="148357"/>
                    <a:pt x="2872295" y="104459"/>
                  </a:cubicBezTo>
                  <a:cubicBezTo>
                    <a:pt x="3024817" y="151775"/>
                    <a:pt x="3135898" y="294151"/>
                    <a:pt x="3135898" y="462054"/>
                  </a:cubicBezTo>
                  <a:cubicBezTo>
                    <a:pt x="3135898" y="663067"/>
                    <a:pt x="2976647" y="827552"/>
                    <a:pt x="2777662" y="835990"/>
                  </a:cubicBezTo>
                  <a:close/>
                  <a:moveTo>
                    <a:pt x="107" y="405659"/>
                  </a:moveTo>
                  <a:lnTo>
                    <a:pt x="14312" y="374257"/>
                  </a:lnTo>
                  <a:cubicBezTo>
                    <a:pt x="29479" y="385365"/>
                    <a:pt x="52123" y="393055"/>
                    <a:pt x="73805" y="393055"/>
                  </a:cubicBezTo>
                  <a:cubicBezTo>
                    <a:pt x="98477" y="393055"/>
                    <a:pt x="108517" y="384831"/>
                    <a:pt x="108517" y="373723"/>
                  </a:cubicBezTo>
                  <a:cubicBezTo>
                    <a:pt x="108517" y="339971"/>
                    <a:pt x="3738" y="363149"/>
                    <a:pt x="3738" y="296180"/>
                  </a:cubicBezTo>
                  <a:cubicBezTo>
                    <a:pt x="3738" y="265526"/>
                    <a:pt x="28411" y="239999"/>
                    <a:pt x="79679" y="239999"/>
                  </a:cubicBezTo>
                  <a:cubicBezTo>
                    <a:pt x="102323" y="239999"/>
                    <a:pt x="125500" y="245446"/>
                    <a:pt x="142269" y="255913"/>
                  </a:cubicBezTo>
                  <a:lnTo>
                    <a:pt x="129345" y="287635"/>
                  </a:lnTo>
                  <a:cubicBezTo>
                    <a:pt x="112576" y="278129"/>
                    <a:pt x="95380" y="273430"/>
                    <a:pt x="79359" y="273430"/>
                  </a:cubicBezTo>
                  <a:cubicBezTo>
                    <a:pt x="54686" y="273430"/>
                    <a:pt x="45073" y="282722"/>
                    <a:pt x="45073" y="294044"/>
                  </a:cubicBezTo>
                  <a:cubicBezTo>
                    <a:pt x="45073" y="327261"/>
                    <a:pt x="149852" y="304297"/>
                    <a:pt x="149852" y="370519"/>
                  </a:cubicBezTo>
                  <a:cubicBezTo>
                    <a:pt x="149852" y="400639"/>
                    <a:pt x="124859" y="426380"/>
                    <a:pt x="73377" y="426380"/>
                  </a:cubicBezTo>
                  <a:cubicBezTo>
                    <a:pt x="44753" y="426380"/>
                    <a:pt x="15914" y="417835"/>
                    <a:pt x="0" y="405552"/>
                  </a:cubicBezTo>
                  <a:close/>
                  <a:moveTo>
                    <a:pt x="172496" y="344137"/>
                  </a:moveTo>
                  <a:lnTo>
                    <a:pt x="172496" y="243203"/>
                  </a:lnTo>
                  <a:lnTo>
                    <a:pt x="214258" y="243203"/>
                  </a:lnTo>
                  <a:lnTo>
                    <a:pt x="214258" y="342642"/>
                  </a:lnTo>
                  <a:cubicBezTo>
                    <a:pt x="214258" y="376927"/>
                    <a:pt x="229211" y="391026"/>
                    <a:pt x="254418" y="391026"/>
                  </a:cubicBezTo>
                  <a:cubicBezTo>
                    <a:pt x="279625" y="391026"/>
                    <a:pt x="294578" y="376820"/>
                    <a:pt x="294578" y="342642"/>
                  </a:cubicBezTo>
                  <a:lnTo>
                    <a:pt x="294578" y="243203"/>
                  </a:lnTo>
                  <a:lnTo>
                    <a:pt x="335806" y="243203"/>
                  </a:lnTo>
                  <a:lnTo>
                    <a:pt x="335806" y="344137"/>
                  </a:lnTo>
                  <a:cubicBezTo>
                    <a:pt x="335806" y="397221"/>
                    <a:pt x="305472" y="426593"/>
                    <a:pt x="254204" y="426593"/>
                  </a:cubicBezTo>
                  <a:cubicBezTo>
                    <a:pt x="202936" y="426593"/>
                    <a:pt x="172603" y="397221"/>
                    <a:pt x="172603" y="344137"/>
                  </a:cubicBezTo>
                  <a:close/>
                  <a:moveTo>
                    <a:pt x="358449" y="405659"/>
                  </a:moveTo>
                  <a:lnTo>
                    <a:pt x="372655" y="374257"/>
                  </a:lnTo>
                  <a:cubicBezTo>
                    <a:pt x="387822" y="385365"/>
                    <a:pt x="410465" y="393055"/>
                    <a:pt x="432147" y="393055"/>
                  </a:cubicBezTo>
                  <a:cubicBezTo>
                    <a:pt x="456820" y="393055"/>
                    <a:pt x="466860" y="384831"/>
                    <a:pt x="466860" y="373723"/>
                  </a:cubicBezTo>
                  <a:cubicBezTo>
                    <a:pt x="466860" y="339971"/>
                    <a:pt x="362081" y="363149"/>
                    <a:pt x="362081" y="296180"/>
                  </a:cubicBezTo>
                  <a:cubicBezTo>
                    <a:pt x="362081" y="265526"/>
                    <a:pt x="386754" y="239999"/>
                    <a:pt x="438022" y="239999"/>
                  </a:cubicBezTo>
                  <a:cubicBezTo>
                    <a:pt x="460665" y="239999"/>
                    <a:pt x="483843" y="245446"/>
                    <a:pt x="500612" y="255913"/>
                  </a:cubicBezTo>
                  <a:lnTo>
                    <a:pt x="487688" y="287635"/>
                  </a:lnTo>
                  <a:cubicBezTo>
                    <a:pt x="470919" y="278129"/>
                    <a:pt x="453723" y="273430"/>
                    <a:pt x="437701" y="273430"/>
                  </a:cubicBezTo>
                  <a:cubicBezTo>
                    <a:pt x="413029" y="273430"/>
                    <a:pt x="403416" y="282722"/>
                    <a:pt x="403416" y="294044"/>
                  </a:cubicBezTo>
                  <a:cubicBezTo>
                    <a:pt x="403416" y="327261"/>
                    <a:pt x="508195" y="304297"/>
                    <a:pt x="508195" y="370519"/>
                  </a:cubicBezTo>
                  <a:cubicBezTo>
                    <a:pt x="508195" y="400639"/>
                    <a:pt x="483202" y="426380"/>
                    <a:pt x="431720" y="426380"/>
                  </a:cubicBezTo>
                  <a:cubicBezTo>
                    <a:pt x="403095" y="426380"/>
                    <a:pt x="374257" y="417835"/>
                    <a:pt x="358343" y="405552"/>
                  </a:cubicBezTo>
                  <a:close/>
                  <a:moveTo>
                    <a:pt x="571853" y="277168"/>
                  </a:moveTo>
                  <a:lnTo>
                    <a:pt x="514176" y="277168"/>
                  </a:lnTo>
                  <a:lnTo>
                    <a:pt x="514176" y="243203"/>
                  </a:lnTo>
                  <a:lnTo>
                    <a:pt x="671292" y="243203"/>
                  </a:lnTo>
                  <a:lnTo>
                    <a:pt x="671292" y="277168"/>
                  </a:lnTo>
                  <a:lnTo>
                    <a:pt x="613615" y="277168"/>
                  </a:lnTo>
                  <a:lnTo>
                    <a:pt x="613615" y="423389"/>
                  </a:lnTo>
                  <a:lnTo>
                    <a:pt x="571853" y="423389"/>
                  </a:lnTo>
                  <a:lnTo>
                    <a:pt x="571853" y="277168"/>
                  </a:lnTo>
                  <a:close/>
                  <a:moveTo>
                    <a:pt x="787606" y="384831"/>
                  </a:moveTo>
                  <a:lnTo>
                    <a:pt x="703868" y="384831"/>
                  </a:lnTo>
                  <a:lnTo>
                    <a:pt x="687954" y="423496"/>
                  </a:lnTo>
                  <a:lnTo>
                    <a:pt x="645230" y="423496"/>
                  </a:lnTo>
                  <a:lnTo>
                    <a:pt x="725550" y="243203"/>
                  </a:lnTo>
                  <a:lnTo>
                    <a:pt x="766778" y="243203"/>
                  </a:lnTo>
                  <a:lnTo>
                    <a:pt x="847419" y="423496"/>
                  </a:lnTo>
                  <a:lnTo>
                    <a:pt x="803627" y="423496"/>
                  </a:lnTo>
                  <a:lnTo>
                    <a:pt x="787713" y="384831"/>
                  </a:lnTo>
                  <a:close/>
                  <a:moveTo>
                    <a:pt x="774469" y="353109"/>
                  </a:moveTo>
                  <a:lnTo>
                    <a:pt x="745844" y="284111"/>
                  </a:lnTo>
                  <a:lnTo>
                    <a:pt x="717219" y="353109"/>
                  </a:lnTo>
                  <a:lnTo>
                    <a:pt x="774362" y="353109"/>
                  </a:lnTo>
                  <a:close/>
                  <a:moveTo>
                    <a:pt x="862372" y="243203"/>
                  </a:moveTo>
                  <a:lnTo>
                    <a:pt x="904134" y="243203"/>
                  </a:lnTo>
                  <a:lnTo>
                    <a:pt x="904134" y="423496"/>
                  </a:lnTo>
                  <a:lnTo>
                    <a:pt x="862372" y="423496"/>
                  </a:lnTo>
                  <a:lnTo>
                    <a:pt x="862372" y="243096"/>
                  </a:lnTo>
                  <a:close/>
                  <a:moveTo>
                    <a:pt x="1107284" y="243203"/>
                  </a:moveTo>
                  <a:lnTo>
                    <a:pt x="1107284" y="423496"/>
                  </a:lnTo>
                  <a:lnTo>
                    <a:pt x="1072998" y="423496"/>
                  </a:lnTo>
                  <a:lnTo>
                    <a:pt x="983172" y="314017"/>
                  </a:lnTo>
                  <a:lnTo>
                    <a:pt x="983172" y="423496"/>
                  </a:lnTo>
                  <a:lnTo>
                    <a:pt x="941944" y="423496"/>
                  </a:lnTo>
                  <a:lnTo>
                    <a:pt x="941944" y="243096"/>
                  </a:lnTo>
                  <a:lnTo>
                    <a:pt x="976443" y="243096"/>
                  </a:lnTo>
                  <a:lnTo>
                    <a:pt x="1066056" y="352575"/>
                  </a:lnTo>
                  <a:lnTo>
                    <a:pt x="1066056" y="243096"/>
                  </a:lnTo>
                  <a:lnTo>
                    <a:pt x="1107284" y="243096"/>
                  </a:lnTo>
                  <a:close/>
                  <a:moveTo>
                    <a:pt x="1265040" y="384831"/>
                  </a:moveTo>
                  <a:lnTo>
                    <a:pt x="1181302" y="384831"/>
                  </a:lnTo>
                  <a:lnTo>
                    <a:pt x="1165388" y="423496"/>
                  </a:lnTo>
                  <a:lnTo>
                    <a:pt x="1122664" y="423496"/>
                  </a:lnTo>
                  <a:lnTo>
                    <a:pt x="1202984" y="243203"/>
                  </a:lnTo>
                  <a:lnTo>
                    <a:pt x="1244212" y="243203"/>
                  </a:lnTo>
                  <a:lnTo>
                    <a:pt x="1324853" y="423496"/>
                  </a:lnTo>
                  <a:lnTo>
                    <a:pt x="1281061" y="423496"/>
                  </a:lnTo>
                  <a:lnTo>
                    <a:pt x="1265147" y="384831"/>
                  </a:lnTo>
                  <a:close/>
                  <a:moveTo>
                    <a:pt x="1251903" y="353109"/>
                  </a:moveTo>
                  <a:lnTo>
                    <a:pt x="1223278" y="284111"/>
                  </a:lnTo>
                  <a:lnTo>
                    <a:pt x="1194653" y="353109"/>
                  </a:lnTo>
                  <a:lnTo>
                    <a:pt x="1251796" y="353109"/>
                  </a:lnTo>
                  <a:close/>
                  <a:moveTo>
                    <a:pt x="1505146" y="374257"/>
                  </a:moveTo>
                  <a:cubicBezTo>
                    <a:pt x="1505146" y="405445"/>
                    <a:pt x="1480473" y="423389"/>
                    <a:pt x="1433050" y="423389"/>
                  </a:cubicBezTo>
                  <a:lnTo>
                    <a:pt x="1339806" y="423389"/>
                  </a:lnTo>
                  <a:lnTo>
                    <a:pt x="1339806" y="243096"/>
                  </a:lnTo>
                  <a:lnTo>
                    <a:pt x="1427923" y="243096"/>
                  </a:lnTo>
                  <a:cubicBezTo>
                    <a:pt x="1472996" y="243096"/>
                    <a:pt x="1496174" y="261894"/>
                    <a:pt x="1496174" y="289985"/>
                  </a:cubicBezTo>
                  <a:cubicBezTo>
                    <a:pt x="1496174" y="308036"/>
                    <a:pt x="1486881" y="321921"/>
                    <a:pt x="1472249" y="329611"/>
                  </a:cubicBezTo>
                  <a:cubicBezTo>
                    <a:pt x="1492329" y="336020"/>
                    <a:pt x="1505252" y="351507"/>
                    <a:pt x="1505252" y="374150"/>
                  </a:cubicBezTo>
                  <a:close/>
                  <a:moveTo>
                    <a:pt x="1381248" y="274605"/>
                  </a:moveTo>
                  <a:lnTo>
                    <a:pt x="1381248" y="317114"/>
                  </a:lnTo>
                  <a:lnTo>
                    <a:pt x="1422690" y="317114"/>
                  </a:lnTo>
                  <a:cubicBezTo>
                    <a:pt x="1442983" y="317114"/>
                    <a:pt x="1454091" y="309851"/>
                    <a:pt x="1454091" y="295753"/>
                  </a:cubicBezTo>
                  <a:cubicBezTo>
                    <a:pt x="1454091" y="281654"/>
                    <a:pt x="1442983" y="274605"/>
                    <a:pt x="1422690" y="274605"/>
                  </a:cubicBezTo>
                  <a:lnTo>
                    <a:pt x="1381248" y="274605"/>
                  </a:lnTo>
                  <a:close/>
                  <a:moveTo>
                    <a:pt x="1463170" y="369878"/>
                  </a:moveTo>
                  <a:cubicBezTo>
                    <a:pt x="1463170" y="354711"/>
                    <a:pt x="1451635" y="347448"/>
                    <a:pt x="1429952" y="347448"/>
                  </a:cubicBezTo>
                  <a:lnTo>
                    <a:pt x="1381248" y="347448"/>
                  </a:lnTo>
                  <a:lnTo>
                    <a:pt x="1381248" y="391987"/>
                  </a:lnTo>
                  <a:lnTo>
                    <a:pt x="1429952" y="391987"/>
                  </a:lnTo>
                  <a:cubicBezTo>
                    <a:pt x="1451635" y="391987"/>
                    <a:pt x="1463170" y="385258"/>
                    <a:pt x="1463170" y="369878"/>
                  </a:cubicBezTo>
                  <a:close/>
                  <a:moveTo>
                    <a:pt x="1533450" y="243203"/>
                  </a:moveTo>
                  <a:lnTo>
                    <a:pt x="1575212" y="243203"/>
                  </a:lnTo>
                  <a:lnTo>
                    <a:pt x="1575212" y="423496"/>
                  </a:lnTo>
                  <a:lnTo>
                    <a:pt x="1533450" y="423496"/>
                  </a:lnTo>
                  <a:lnTo>
                    <a:pt x="1533450" y="243096"/>
                  </a:lnTo>
                  <a:close/>
                  <a:moveTo>
                    <a:pt x="1613022" y="243203"/>
                  </a:moveTo>
                  <a:lnTo>
                    <a:pt x="1654784" y="243203"/>
                  </a:lnTo>
                  <a:lnTo>
                    <a:pt x="1654784" y="389424"/>
                  </a:lnTo>
                  <a:lnTo>
                    <a:pt x="1745144" y="389424"/>
                  </a:lnTo>
                  <a:lnTo>
                    <a:pt x="1745144" y="423389"/>
                  </a:lnTo>
                  <a:lnTo>
                    <a:pt x="1613022" y="423389"/>
                  </a:lnTo>
                  <a:lnTo>
                    <a:pt x="1613022" y="243096"/>
                  </a:lnTo>
                  <a:close/>
                  <a:moveTo>
                    <a:pt x="1762127" y="243203"/>
                  </a:moveTo>
                  <a:lnTo>
                    <a:pt x="1803889" y="243203"/>
                  </a:lnTo>
                  <a:lnTo>
                    <a:pt x="1803889" y="423496"/>
                  </a:lnTo>
                  <a:lnTo>
                    <a:pt x="1762127" y="423496"/>
                  </a:lnTo>
                  <a:lnTo>
                    <a:pt x="1762127" y="243096"/>
                  </a:lnTo>
                  <a:close/>
                  <a:moveTo>
                    <a:pt x="1877587" y="277168"/>
                  </a:moveTo>
                  <a:lnTo>
                    <a:pt x="1819910" y="277168"/>
                  </a:lnTo>
                  <a:lnTo>
                    <a:pt x="1819910" y="243203"/>
                  </a:lnTo>
                  <a:lnTo>
                    <a:pt x="1977026" y="243203"/>
                  </a:lnTo>
                  <a:lnTo>
                    <a:pt x="1977026" y="277168"/>
                  </a:lnTo>
                  <a:lnTo>
                    <a:pt x="1919349" y="277168"/>
                  </a:lnTo>
                  <a:lnTo>
                    <a:pt x="1919349" y="423389"/>
                  </a:lnTo>
                  <a:lnTo>
                    <a:pt x="1877587" y="423389"/>
                  </a:lnTo>
                  <a:lnTo>
                    <a:pt x="1877587" y="277168"/>
                  </a:lnTo>
                  <a:close/>
                  <a:moveTo>
                    <a:pt x="2093874" y="359624"/>
                  </a:moveTo>
                  <a:lnTo>
                    <a:pt x="2093874" y="423496"/>
                  </a:lnTo>
                  <a:lnTo>
                    <a:pt x="2052112" y="423496"/>
                  </a:lnTo>
                  <a:lnTo>
                    <a:pt x="2052112" y="359090"/>
                  </a:lnTo>
                  <a:lnTo>
                    <a:pt x="1982366" y="243203"/>
                  </a:lnTo>
                  <a:lnTo>
                    <a:pt x="2026692" y="243203"/>
                  </a:lnTo>
                  <a:lnTo>
                    <a:pt x="2074862" y="323309"/>
                  </a:lnTo>
                  <a:lnTo>
                    <a:pt x="2123033" y="243203"/>
                  </a:lnTo>
                  <a:lnTo>
                    <a:pt x="2163941" y="243203"/>
                  </a:lnTo>
                  <a:lnTo>
                    <a:pt x="2093874" y="359624"/>
                  </a:lnTo>
                  <a:close/>
                </a:path>
              </a:pathLst>
            </a:custGeom>
            <a:solidFill>
              <a:srgbClr val="FFFFFF"/>
            </a:solidFill>
            <a:ln w="10662" cap="flat">
              <a:noFill/>
              <a:prstDash val="solid"/>
              <a:miter/>
            </a:ln>
          </p:spPr>
          <p:txBody>
            <a:bodyPr rtlCol="0" anchor="ctr"/>
            <a:lstStyle/>
            <a:p>
              <a:endParaRPr lang="en-GB"/>
            </a:p>
          </p:txBody>
        </p:sp>
        <p:sp>
          <p:nvSpPr>
            <p:cNvPr id="104" name="Freeform: Shape 103">
              <a:extLst>
                <a:ext uri="{FF2B5EF4-FFF2-40B4-BE49-F238E27FC236}">
                  <a16:creationId xmlns:a16="http://schemas.microsoft.com/office/drawing/2014/main" id="{2CC0684A-6889-9304-FC64-473F1E70DCB0}"/>
                </a:ext>
              </a:extLst>
            </p:cNvPr>
            <p:cNvSpPr>
              <a:spLocks noGrp="1" noRot="1" noMove="1" noResize="1" noEditPoints="1" noAdjustHandles="1" noChangeArrowheads="1" noChangeShapeType="1"/>
            </p:cNvSpPr>
            <p:nvPr userDrawn="1"/>
          </p:nvSpPr>
          <p:spPr>
            <a:xfrm>
              <a:off x="8369358" y="1085109"/>
              <a:ext cx="2238599" cy="186594"/>
            </a:xfrm>
            <a:custGeom>
              <a:avLst/>
              <a:gdLst>
                <a:gd name="connsiteX0" fmla="*/ 0 w 2238599"/>
                <a:gd name="connsiteY0" fmla="*/ 3097 h 186594"/>
                <a:gd name="connsiteX1" fmla="*/ 41762 w 2238599"/>
                <a:gd name="connsiteY1" fmla="*/ 3097 h 186594"/>
                <a:gd name="connsiteX2" fmla="*/ 41762 w 2238599"/>
                <a:gd name="connsiteY2" fmla="*/ 183390 h 186594"/>
                <a:gd name="connsiteX3" fmla="*/ 0 w 2238599"/>
                <a:gd name="connsiteY3" fmla="*/ 183390 h 186594"/>
                <a:gd name="connsiteX4" fmla="*/ 0 w 2238599"/>
                <a:gd name="connsiteY4" fmla="*/ 3097 h 186594"/>
                <a:gd name="connsiteX5" fmla="*/ 244912 w 2238599"/>
                <a:gd name="connsiteY5" fmla="*/ 3097 h 186594"/>
                <a:gd name="connsiteX6" fmla="*/ 244912 w 2238599"/>
                <a:gd name="connsiteY6" fmla="*/ 183390 h 186594"/>
                <a:gd name="connsiteX7" fmla="*/ 210626 w 2238599"/>
                <a:gd name="connsiteY7" fmla="*/ 183390 h 186594"/>
                <a:gd name="connsiteX8" fmla="*/ 120800 w 2238599"/>
                <a:gd name="connsiteY8" fmla="*/ 73911 h 186594"/>
                <a:gd name="connsiteX9" fmla="*/ 120800 w 2238599"/>
                <a:gd name="connsiteY9" fmla="*/ 183390 h 186594"/>
                <a:gd name="connsiteX10" fmla="*/ 79572 w 2238599"/>
                <a:gd name="connsiteY10" fmla="*/ 183390 h 186594"/>
                <a:gd name="connsiteX11" fmla="*/ 79572 w 2238599"/>
                <a:gd name="connsiteY11" fmla="*/ 3097 h 186594"/>
                <a:gd name="connsiteX12" fmla="*/ 114072 w 2238599"/>
                <a:gd name="connsiteY12" fmla="*/ 3097 h 186594"/>
                <a:gd name="connsiteX13" fmla="*/ 203684 w 2238599"/>
                <a:gd name="connsiteY13" fmla="*/ 112576 h 186594"/>
                <a:gd name="connsiteX14" fmla="*/ 203684 w 2238599"/>
                <a:gd name="connsiteY14" fmla="*/ 3097 h 186594"/>
                <a:gd name="connsiteX15" fmla="*/ 244912 w 2238599"/>
                <a:gd name="connsiteY15" fmla="*/ 3097 h 186594"/>
                <a:gd name="connsiteX16" fmla="*/ 349264 w 2238599"/>
                <a:gd name="connsiteY16" fmla="*/ 93244 h 186594"/>
                <a:gd name="connsiteX17" fmla="*/ 447848 w 2238599"/>
                <a:gd name="connsiteY17" fmla="*/ 0 h 186594"/>
                <a:gd name="connsiteX18" fmla="*/ 546432 w 2238599"/>
                <a:gd name="connsiteY18" fmla="*/ 93244 h 186594"/>
                <a:gd name="connsiteX19" fmla="*/ 447848 w 2238599"/>
                <a:gd name="connsiteY19" fmla="*/ 186488 h 186594"/>
                <a:gd name="connsiteX20" fmla="*/ 349264 w 2238599"/>
                <a:gd name="connsiteY20" fmla="*/ 93244 h 186594"/>
                <a:gd name="connsiteX21" fmla="*/ 504243 w 2238599"/>
                <a:gd name="connsiteY21" fmla="*/ 93244 h 186594"/>
                <a:gd name="connsiteX22" fmla="*/ 447848 w 2238599"/>
                <a:gd name="connsiteY22" fmla="*/ 35567 h 186594"/>
                <a:gd name="connsiteX23" fmla="*/ 391453 w 2238599"/>
                <a:gd name="connsiteY23" fmla="*/ 93244 h 186594"/>
                <a:gd name="connsiteX24" fmla="*/ 447848 w 2238599"/>
                <a:gd name="connsiteY24" fmla="*/ 150920 h 186594"/>
                <a:gd name="connsiteX25" fmla="*/ 504243 w 2238599"/>
                <a:gd name="connsiteY25" fmla="*/ 93244 h 186594"/>
                <a:gd name="connsiteX26" fmla="*/ 571746 w 2238599"/>
                <a:gd name="connsiteY26" fmla="*/ 104031 h 186594"/>
                <a:gd name="connsiteX27" fmla="*/ 571746 w 2238599"/>
                <a:gd name="connsiteY27" fmla="*/ 3097 h 186594"/>
                <a:gd name="connsiteX28" fmla="*/ 613508 w 2238599"/>
                <a:gd name="connsiteY28" fmla="*/ 3097 h 186594"/>
                <a:gd name="connsiteX29" fmla="*/ 613508 w 2238599"/>
                <a:gd name="connsiteY29" fmla="*/ 102536 h 186594"/>
                <a:gd name="connsiteX30" fmla="*/ 653668 w 2238599"/>
                <a:gd name="connsiteY30" fmla="*/ 150920 h 186594"/>
                <a:gd name="connsiteX31" fmla="*/ 693828 w 2238599"/>
                <a:gd name="connsiteY31" fmla="*/ 102536 h 186594"/>
                <a:gd name="connsiteX32" fmla="*/ 693828 w 2238599"/>
                <a:gd name="connsiteY32" fmla="*/ 3097 h 186594"/>
                <a:gd name="connsiteX33" fmla="*/ 735056 w 2238599"/>
                <a:gd name="connsiteY33" fmla="*/ 3097 h 186594"/>
                <a:gd name="connsiteX34" fmla="*/ 735056 w 2238599"/>
                <a:gd name="connsiteY34" fmla="*/ 104031 h 186594"/>
                <a:gd name="connsiteX35" fmla="*/ 653455 w 2238599"/>
                <a:gd name="connsiteY35" fmla="*/ 186488 h 186594"/>
                <a:gd name="connsiteX36" fmla="*/ 571853 w 2238599"/>
                <a:gd name="connsiteY36" fmla="*/ 104031 h 186594"/>
                <a:gd name="connsiteX37" fmla="*/ 886831 w 2238599"/>
                <a:gd name="connsiteY37" fmla="*/ 183390 h 186594"/>
                <a:gd name="connsiteX38" fmla="*/ 852118 w 2238599"/>
                <a:gd name="connsiteY38" fmla="*/ 133190 h 186594"/>
                <a:gd name="connsiteX39" fmla="*/ 813774 w 2238599"/>
                <a:gd name="connsiteY39" fmla="*/ 133190 h 186594"/>
                <a:gd name="connsiteX40" fmla="*/ 813774 w 2238599"/>
                <a:gd name="connsiteY40" fmla="*/ 183390 h 186594"/>
                <a:gd name="connsiteX41" fmla="*/ 772012 w 2238599"/>
                <a:gd name="connsiteY41" fmla="*/ 183390 h 186594"/>
                <a:gd name="connsiteX42" fmla="*/ 772012 w 2238599"/>
                <a:gd name="connsiteY42" fmla="*/ 3097 h 186594"/>
                <a:gd name="connsiteX43" fmla="*/ 850089 w 2238599"/>
                <a:gd name="connsiteY43" fmla="*/ 3097 h 186594"/>
                <a:gd name="connsiteX44" fmla="*/ 928380 w 2238599"/>
                <a:gd name="connsiteY44" fmla="*/ 68464 h 186594"/>
                <a:gd name="connsiteX45" fmla="*/ 891317 w 2238599"/>
                <a:gd name="connsiteY45" fmla="*/ 125393 h 186594"/>
                <a:gd name="connsiteX46" fmla="*/ 931798 w 2238599"/>
                <a:gd name="connsiteY46" fmla="*/ 183283 h 186594"/>
                <a:gd name="connsiteX47" fmla="*/ 886938 w 2238599"/>
                <a:gd name="connsiteY47" fmla="*/ 183283 h 186594"/>
                <a:gd name="connsiteX48" fmla="*/ 847739 w 2238599"/>
                <a:gd name="connsiteY48" fmla="*/ 37169 h 186594"/>
                <a:gd name="connsiteX49" fmla="*/ 813774 w 2238599"/>
                <a:gd name="connsiteY49" fmla="*/ 37169 h 186594"/>
                <a:gd name="connsiteX50" fmla="*/ 813774 w 2238599"/>
                <a:gd name="connsiteY50" fmla="*/ 99973 h 186594"/>
                <a:gd name="connsiteX51" fmla="*/ 847739 w 2238599"/>
                <a:gd name="connsiteY51" fmla="*/ 99973 h 186594"/>
                <a:gd name="connsiteX52" fmla="*/ 886083 w 2238599"/>
                <a:gd name="connsiteY52" fmla="*/ 68571 h 186594"/>
                <a:gd name="connsiteX53" fmla="*/ 847739 w 2238599"/>
                <a:gd name="connsiteY53" fmla="*/ 37169 h 186594"/>
                <a:gd name="connsiteX54" fmla="*/ 1020021 w 2238599"/>
                <a:gd name="connsiteY54" fmla="*/ 165660 h 186594"/>
                <a:gd name="connsiteX55" fmla="*/ 1034227 w 2238599"/>
                <a:gd name="connsiteY55" fmla="*/ 134258 h 186594"/>
                <a:gd name="connsiteX56" fmla="*/ 1093719 w 2238599"/>
                <a:gd name="connsiteY56" fmla="*/ 153057 h 186594"/>
                <a:gd name="connsiteX57" fmla="*/ 1128432 w 2238599"/>
                <a:gd name="connsiteY57" fmla="*/ 133724 h 186594"/>
                <a:gd name="connsiteX58" fmla="*/ 1023653 w 2238599"/>
                <a:gd name="connsiteY58" fmla="*/ 56181 h 186594"/>
                <a:gd name="connsiteX59" fmla="*/ 1099594 w 2238599"/>
                <a:gd name="connsiteY59" fmla="*/ 0 h 186594"/>
                <a:gd name="connsiteX60" fmla="*/ 1162184 w 2238599"/>
                <a:gd name="connsiteY60" fmla="*/ 15914 h 186594"/>
                <a:gd name="connsiteX61" fmla="*/ 1149260 w 2238599"/>
                <a:gd name="connsiteY61" fmla="*/ 47637 h 186594"/>
                <a:gd name="connsiteX62" fmla="*/ 1099273 w 2238599"/>
                <a:gd name="connsiteY62" fmla="*/ 33431 h 186594"/>
                <a:gd name="connsiteX63" fmla="*/ 1064988 w 2238599"/>
                <a:gd name="connsiteY63" fmla="*/ 54045 h 186594"/>
                <a:gd name="connsiteX64" fmla="*/ 1169767 w 2238599"/>
                <a:gd name="connsiteY64" fmla="*/ 130520 h 186594"/>
                <a:gd name="connsiteX65" fmla="*/ 1093292 w 2238599"/>
                <a:gd name="connsiteY65" fmla="*/ 186381 h 186594"/>
                <a:gd name="connsiteX66" fmla="*/ 1019915 w 2238599"/>
                <a:gd name="connsiteY66" fmla="*/ 165553 h 186594"/>
                <a:gd name="connsiteX67" fmla="*/ 1335213 w 2238599"/>
                <a:gd name="connsiteY67" fmla="*/ 149959 h 186594"/>
                <a:gd name="connsiteX68" fmla="*/ 1335213 w 2238599"/>
                <a:gd name="connsiteY68" fmla="*/ 183390 h 186594"/>
                <a:gd name="connsiteX69" fmla="*/ 1195615 w 2238599"/>
                <a:gd name="connsiteY69" fmla="*/ 183390 h 186594"/>
                <a:gd name="connsiteX70" fmla="*/ 1195615 w 2238599"/>
                <a:gd name="connsiteY70" fmla="*/ 3097 h 186594"/>
                <a:gd name="connsiteX71" fmla="*/ 1331795 w 2238599"/>
                <a:gd name="connsiteY71" fmla="*/ 3097 h 186594"/>
                <a:gd name="connsiteX72" fmla="*/ 1331795 w 2238599"/>
                <a:gd name="connsiteY72" fmla="*/ 36528 h 186594"/>
                <a:gd name="connsiteX73" fmla="*/ 1237056 w 2238599"/>
                <a:gd name="connsiteY73" fmla="*/ 36528 h 186594"/>
                <a:gd name="connsiteX74" fmla="*/ 1237056 w 2238599"/>
                <a:gd name="connsiteY74" fmla="*/ 75620 h 186594"/>
                <a:gd name="connsiteX75" fmla="*/ 1320794 w 2238599"/>
                <a:gd name="connsiteY75" fmla="*/ 75620 h 186594"/>
                <a:gd name="connsiteX76" fmla="*/ 1320794 w 2238599"/>
                <a:gd name="connsiteY76" fmla="*/ 108090 h 186594"/>
                <a:gd name="connsiteX77" fmla="*/ 1237056 w 2238599"/>
                <a:gd name="connsiteY77" fmla="*/ 108090 h 186594"/>
                <a:gd name="connsiteX78" fmla="*/ 1237056 w 2238599"/>
                <a:gd name="connsiteY78" fmla="*/ 149852 h 186594"/>
                <a:gd name="connsiteX79" fmla="*/ 1335213 w 2238599"/>
                <a:gd name="connsiteY79" fmla="*/ 149852 h 186594"/>
                <a:gd name="connsiteX80" fmla="*/ 1350594 w 2238599"/>
                <a:gd name="connsiteY80" fmla="*/ 93351 h 186594"/>
                <a:gd name="connsiteX81" fmla="*/ 1448430 w 2238599"/>
                <a:gd name="connsiteY81" fmla="*/ 107 h 186594"/>
                <a:gd name="connsiteX82" fmla="*/ 1522555 w 2238599"/>
                <a:gd name="connsiteY82" fmla="*/ 32043 h 186594"/>
                <a:gd name="connsiteX83" fmla="*/ 1495746 w 2238599"/>
                <a:gd name="connsiteY83" fmla="*/ 56715 h 186594"/>
                <a:gd name="connsiteX84" fmla="*/ 1450460 w 2238599"/>
                <a:gd name="connsiteY84" fmla="*/ 35567 h 186594"/>
                <a:gd name="connsiteX85" fmla="*/ 1392783 w 2238599"/>
                <a:gd name="connsiteY85" fmla="*/ 93244 h 186594"/>
                <a:gd name="connsiteX86" fmla="*/ 1450460 w 2238599"/>
                <a:gd name="connsiteY86" fmla="*/ 150920 h 186594"/>
                <a:gd name="connsiteX87" fmla="*/ 1495746 w 2238599"/>
                <a:gd name="connsiteY87" fmla="*/ 129559 h 186594"/>
                <a:gd name="connsiteX88" fmla="*/ 1522555 w 2238599"/>
                <a:gd name="connsiteY88" fmla="*/ 154231 h 186594"/>
                <a:gd name="connsiteX89" fmla="*/ 1448110 w 2238599"/>
                <a:gd name="connsiteY89" fmla="*/ 186381 h 186594"/>
                <a:gd name="connsiteX90" fmla="*/ 1350487 w 2238599"/>
                <a:gd name="connsiteY90" fmla="*/ 93137 h 186594"/>
                <a:gd name="connsiteX91" fmla="*/ 1590379 w 2238599"/>
                <a:gd name="connsiteY91" fmla="*/ 37169 h 186594"/>
                <a:gd name="connsiteX92" fmla="*/ 1532702 w 2238599"/>
                <a:gd name="connsiteY92" fmla="*/ 37169 h 186594"/>
                <a:gd name="connsiteX93" fmla="*/ 1532702 w 2238599"/>
                <a:gd name="connsiteY93" fmla="*/ 3204 h 186594"/>
                <a:gd name="connsiteX94" fmla="*/ 1689818 w 2238599"/>
                <a:gd name="connsiteY94" fmla="*/ 3204 h 186594"/>
                <a:gd name="connsiteX95" fmla="*/ 1689818 w 2238599"/>
                <a:gd name="connsiteY95" fmla="*/ 37169 h 186594"/>
                <a:gd name="connsiteX96" fmla="*/ 1632141 w 2238599"/>
                <a:gd name="connsiteY96" fmla="*/ 37169 h 186594"/>
                <a:gd name="connsiteX97" fmla="*/ 1632141 w 2238599"/>
                <a:gd name="connsiteY97" fmla="*/ 183390 h 186594"/>
                <a:gd name="connsiteX98" fmla="*/ 1590379 w 2238599"/>
                <a:gd name="connsiteY98" fmla="*/ 183390 h 186594"/>
                <a:gd name="connsiteX99" fmla="*/ 1590379 w 2238599"/>
                <a:gd name="connsiteY99" fmla="*/ 37169 h 186594"/>
                <a:gd name="connsiteX100" fmla="*/ 1692274 w 2238599"/>
                <a:gd name="connsiteY100" fmla="*/ 93351 h 186594"/>
                <a:gd name="connsiteX101" fmla="*/ 1790858 w 2238599"/>
                <a:gd name="connsiteY101" fmla="*/ 107 h 186594"/>
                <a:gd name="connsiteX102" fmla="*/ 1889443 w 2238599"/>
                <a:gd name="connsiteY102" fmla="*/ 93351 h 186594"/>
                <a:gd name="connsiteX103" fmla="*/ 1790858 w 2238599"/>
                <a:gd name="connsiteY103" fmla="*/ 186594 h 186594"/>
                <a:gd name="connsiteX104" fmla="*/ 1692274 w 2238599"/>
                <a:gd name="connsiteY104" fmla="*/ 93351 h 186594"/>
                <a:gd name="connsiteX105" fmla="*/ 1847253 w 2238599"/>
                <a:gd name="connsiteY105" fmla="*/ 93351 h 186594"/>
                <a:gd name="connsiteX106" fmla="*/ 1790858 w 2238599"/>
                <a:gd name="connsiteY106" fmla="*/ 35674 h 186594"/>
                <a:gd name="connsiteX107" fmla="*/ 1734464 w 2238599"/>
                <a:gd name="connsiteY107" fmla="*/ 93351 h 186594"/>
                <a:gd name="connsiteX108" fmla="*/ 1790858 w 2238599"/>
                <a:gd name="connsiteY108" fmla="*/ 151027 h 186594"/>
                <a:gd name="connsiteX109" fmla="*/ 1847253 w 2238599"/>
                <a:gd name="connsiteY109" fmla="*/ 93351 h 186594"/>
                <a:gd name="connsiteX110" fmla="*/ 2031498 w 2238599"/>
                <a:gd name="connsiteY110" fmla="*/ 183497 h 186594"/>
                <a:gd name="connsiteX111" fmla="*/ 1996785 w 2238599"/>
                <a:gd name="connsiteY111" fmla="*/ 133297 h 186594"/>
                <a:gd name="connsiteX112" fmla="*/ 1958441 w 2238599"/>
                <a:gd name="connsiteY112" fmla="*/ 133297 h 186594"/>
                <a:gd name="connsiteX113" fmla="*/ 1958441 w 2238599"/>
                <a:gd name="connsiteY113" fmla="*/ 183497 h 186594"/>
                <a:gd name="connsiteX114" fmla="*/ 1916679 w 2238599"/>
                <a:gd name="connsiteY114" fmla="*/ 183497 h 186594"/>
                <a:gd name="connsiteX115" fmla="*/ 1916679 w 2238599"/>
                <a:gd name="connsiteY115" fmla="*/ 3204 h 186594"/>
                <a:gd name="connsiteX116" fmla="*/ 1994756 w 2238599"/>
                <a:gd name="connsiteY116" fmla="*/ 3204 h 186594"/>
                <a:gd name="connsiteX117" fmla="*/ 2073047 w 2238599"/>
                <a:gd name="connsiteY117" fmla="*/ 68571 h 186594"/>
                <a:gd name="connsiteX118" fmla="*/ 2035984 w 2238599"/>
                <a:gd name="connsiteY118" fmla="*/ 125500 h 186594"/>
                <a:gd name="connsiteX119" fmla="*/ 2076464 w 2238599"/>
                <a:gd name="connsiteY119" fmla="*/ 183390 h 186594"/>
                <a:gd name="connsiteX120" fmla="*/ 2031605 w 2238599"/>
                <a:gd name="connsiteY120" fmla="*/ 183390 h 186594"/>
                <a:gd name="connsiteX121" fmla="*/ 1992406 w 2238599"/>
                <a:gd name="connsiteY121" fmla="*/ 37276 h 186594"/>
                <a:gd name="connsiteX122" fmla="*/ 1958441 w 2238599"/>
                <a:gd name="connsiteY122" fmla="*/ 37276 h 186594"/>
                <a:gd name="connsiteX123" fmla="*/ 1958441 w 2238599"/>
                <a:gd name="connsiteY123" fmla="*/ 100080 h 186594"/>
                <a:gd name="connsiteX124" fmla="*/ 1992406 w 2238599"/>
                <a:gd name="connsiteY124" fmla="*/ 100080 h 186594"/>
                <a:gd name="connsiteX125" fmla="*/ 2030750 w 2238599"/>
                <a:gd name="connsiteY125" fmla="*/ 68678 h 186594"/>
                <a:gd name="connsiteX126" fmla="*/ 1992406 w 2238599"/>
                <a:gd name="connsiteY126" fmla="*/ 37276 h 186594"/>
                <a:gd name="connsiteX127" fmla="*/ 2088854 w 2238599"/>
                <a:gd name="connsiteY127" fmla="*/ 165767 h 186594"/>
                <a:gd name="connsiteX128" fmla="*/ 2103060 w 2238599"/>
                <a:gd name="connsiteY128" fmla="*/ 134365 h 186594"/>
                <a:gd name="connsiteX129" fmla="*/ 2162552 w 2238599"/>
                <a:gd name="connsiteY129" fmla="*/ 153163 h 186594"/>
                <a:gd name="connsiteX130" fmla="*/ 2197265 w 2238599"/>
                <a:gd name="connsiteY130" fmla="*/ 133831 h 186594"/>
                <a:gd name="connsiteX131" fmla="*/ 2092486 w 2238599"/>
                <a:gd name="connsiteY131" fmla="*/ 56288 h 186594"/>
                <a:gd name="connsiteX132" fmla="*/ 2168427 w 2238599"/>
                <a:gd name="connsiteY132" fmla="*/ 107 h 186594"/>
                <a:gd name="connsiteX133" fmla="*/ 2231016 w 2238599"/>
                <a:gd name="connsiteY133" fmla="*/ 16021 h 186594"/>
                <a:gd name="connsiteX134" fmla="*/ 2218093 w 2238599"/>
                <a:gd name="connsiteY134" fmla="*/ 47743 h 186594"/>
                <a:gd name="connsiteX135" fmla="*/ 2168106 w 2238599"/>
                <a:gd name="connsiteY135" fmla="*/ 33538 h 186594"/>
                <a:gd name="connsiteX136" fmla="*/ 2133821 w 2238599"/>
                <a:gd name="connsiteY136" fmla="*/ 54152 h 186594"/>
                <a:gd name="connsiteX137" fmla="*/ 2238600 w 2238599"/>
                <a:gd name="connsiteY137" fmla="*/ 130627 h 186594"/>
                <a:gd name="connsiteX138" fmla="*/ 2162125 w 2238599"/>
                <a:gd name="connsiteY138" fmla="*/ 186488 h 186594"/>
                <a:gd name="connsiteX139" fmla="*/ 2088747 w 2238599"/>
                <a:gd name="connsiteY139" fmla="*/ 165660 h 186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2238599" h="186594">
                  <a:moveTo>
                    <a:pt x="0" y="3097"/>
                  </a:moveTo>
                  <a:lnTo>
                    <a:pt x="41762" y="3097"/>
                  </a:lnTo>
                  <a:lnTo>
                    <a:pt x="41762" y="183390"/>
                  </a:lnTo>
                  <a:lnTo>
                    <a:pt x="0" y="183390"/>
                  </a:lnTo>
                  <a:lnTo>
                    <a:pt x="0" y="3097"/>
                  </a:lnTo>
                  <a:close/>
                  <a:moveTo>
                    <a:pt x="244912" y="3097"/>
                  </a:moveTo>
                  <a:lnTo>
                    <a:pt x="244912" y="183390"/>
                  </a:lnTo>
                  <a:lnTo>
                    <a:pt x="210626" y="183390"/>
                  </a:lnTo>
                  <a:lnTo>
                    <a:pt x="120800" y="73911"/>
                  </a:lnTo>
                  <a:lnTo>
                    <a:pt x="120800" y="183390"/>
                  </a:lnTo>
                  <a:lnTo>
                    <a:pt x="79572" y="183390"/>
                  </a:lnTo>
                  <a:lnTo>
                    <a:pt x="79572" y="3097"/>
                  </a:lnTo>
                  <a:lnTo>
                    <a:pt x="114072" y="3097"/>
                  </a:lnTo>
                  <a:lnTo>
                    <a:pt x="203684" y="112576"/>
                  </a:lnTo>
                  <a:lnTo>
                    <a:pt x="203684" y="3097"/>
                  </a:lnTo>
                  <a:lnTo>
                    <a:pt x="244912" y="3097"/>
                  </a:lnTo>
                  <a:close/>
                  <a:moveTo>
                    <a:pt x="349264" y="93244"/>
                  </a:moveTo>
                  <a:cubicBezTo>
                    <a:pt x="349264" y="39733"/>
                    <a:pt x="391026" y="0"/>
                    <a:pt x="447848" y="0"/>
                  </a:cubicBezTo>
                  <a:cubicBezTo>
                    <a:pt x="504670" y="0"/>
                    <a:pt x="546432" y="39412"/>
                    <a:pt x="546432" y="93244"/>
                  </a:cubicBezTo>
                  <a:cubicBezTo>
                    <a:pt x="546432" y="147075"/>
                    <a:pt x="504457" y="186488"/>
                    <a:pt x="447848" y="186488"/>
                  </a:cubicBezTo>
                  <a:cubicBezTo>
                    <a:pt x="391240" y="186488"/>
                    <a:pt x="349264" y="146862"/>
                    <a:pt x="349264" y="93244"/>
                  </a:cubicBezTo>
                  <a:close/>
                  <a:moveTo>
                    <a:pt x="504243" y="93244"/>
                  </a:moveTo>
                  <a:cubicBezTo>
                    <a:pt x="504243" y="58958"/>
                    <a:pt x="479997" y="35567"/>
                    <a:pt x="447848" y="35567"/>
                  </a:cubicBezTo>
                  <a:cubicBezTo>
                    <a:pt x="415699" y="35567"/>
                    <a:pt x="391453" y="58958"/>
                    <a:pt x="391453" y="93244"/>
                  </a:cubicBezTo>
                  <a:cubicBezTo>
                    <a:pt x="391453" y="127529"/>
                    <a:pt x="415699" y="150920"/>
                    <a:pt x="447848" y="150920"/>
                  </a:cubicBezTo>
                  <a:cubicBezTo>
                    <a:pt x="479997" y="150920"/>
                    <a:pt x="504243" y="127529"/>
                    <a:pt x="504243" y="93244"/>
                  </a:cubicBezTo>
                  <a:close/>
                  <a:moveTo>
                    <a:pt x="571746" y="104031"/>
                  </a:moveTo>
                  <a:lnTo>
                    <a:pt x="571746" y="3097"/>
                  </a:lnTo>
                  <a:lnTo>
                    <a:pt x="613508" y="3097"/>
                  </a:lnTo>
                  <a:lnTo>
                    <a:pt x="613508" y="102536"/>
                  </a:lnTo>
                  <a:cubicBezTo>
                    <a:pt x="613508" y="136822"/>
                    <a:pt x="628461" y="150920"/>
                    <a:pt x="653668" y="150920"/>
                  </a:cubicBezTo>
                  <a:cubicBezTo>
                    <a:pt x="678875" y="150920"/>
                    <a:pt x="693828" y="136715"/>
                    <a:pt x="693828" y="102536"/>
                  </a:cubicBezTo>
                  <a:lnTo>
                    <a:pt x="693828" y="3097"/>
                  </a:lnTo>
                  <a:lnTo>
                    <a:pt x="735056" y="3097"/>
                  </a:lnTo>
                  <a:lnTo>
                    <a:pt x="735056" y="104031"/>
                  </a:lnTo>
                  <a:cubicBezTo>
                    <a:pt x="735056" y="157115"/>
                    <a:pt x="704723" y="186488"/>
                    <a:pt x="653455" y="186488"/>
                  </a:cubicBezTo>
                  <a:cubicBezTo>
                    <a:pt x="602186" y="186488"/>
                    <a:pt x="571853" y="157115"/>
                    <a:pt x="571853" y="104031"/>
                  </a:cubicBezTo>
                  <a:close/>
                  <a:moveTo>
                    <a:pt x="886831" y="183390"/>
                  </a:moveTo>
                  <a:lnTo>
                    <a:pt x="852118" y="133190"/>
                  </a:lnTo>
                  <a:lnTo>
                    <a:pt x="813774" y="133190"/>
                  </a:lnTo>
                  <a:lnTo>
                    <a:pt x="813774" y="183390"/>
                  </a:lnTo>
                  <a:lnTo>
                    <a:pt x="772012" y="183390"/>
                  </a:lnTo>
                  <a:lnTo>
                    <a:pt x="772012" y="3097"/>
                  </a:lnTo>
                  <a:lnTo>
                    <a:pt x="850089" y="3097"/>
                  </a:lnTo>
                  <a:cubicBezTo>
                    <a:pt x="898260" y="3097"/>
                    <a:pt x="928380" y="28091"/>
                    <a:pt x="928380" y="68464"/>
                  </a:cubicBezTo>
                  <a:cubicBezTo>
                    <a:pt x="928380" y="95487"/>
                    <a:pt x="914708" y="115353"/>
                    <a:pt x="891317" y="125393"/>
                  </a:cubicBezTo>
                  <a:lnTo>
                    <a:pt x="931798" y="183283"/>
                  </a:lnTo>
                  <a:lnTo>
                    <a:pt x="886938" y="183283"/>
                  </a:lnTo>
                  <a:close/>
                  <a:moveTo>
                    <a:pt x="847739" y="37169"/>
                  </a:moveTo>
                  <a:lnTo>
                    <a:pt x="813774" y="37169"/>
                  </a:lnTo>
                  <a:lnTo>
                    <a:pt x="813774" y="99973"/>
                  </a:lnTo>
                  <a:lnTo>
                    <a:pt x="847739" y="99973"/>
                  </a:lnTo>
                  <a:cubicBezTo>
                    <a:pt x="873266" y="99973"/>
                    <a:pt x="886083" y="88117"/>
                    <a:pt x="886083" y="68571"/>
                  </a:cubicBezTo>
                  <a:cubicBezTo>
                    <a:pt x="886083" y="49025"/>
                    <a:pt x="873160" y="37169"/>
                    <a:pt x="847739" y="37169"/>
                  </a:cubicBezTo>
                  <a:close/>
                  <a:moveTo>
                    <a:pt x="1020021" y="165660"/>
                  </a:moveTo>
                  <a:lnTo>
                    <a:pt x="1034227" y="134258"/>
                  </a:lnTo>
                  <a:cubicBezTo>
                    <a:pt x="1049394" y="145366"/>
                    <a:pt x="1072037" y="153057"/>
                    <a:pt x="1093719" y="153057"/>
                  </a:cubicBezTo>
                  <a:cubicBezTo>
                    <a:pt x="1118392" y="153057"/>
                    <a:pt x="1128432" y="144832"/>
                    <a:pt x="1128432" y="133724"/>
                  </a:cubicBezTo>
                  <a:cubicBezTo>
                    <a:pt x="1128432" y="99973"/>
                    <a:pt x="1023653" y="123150"/>
                    <a:pt x="1023653" y="56181"/>
                  </a:cubicBezTo>
                  <a:cubicBezTo>
                    <a:pt x="1023653" y="25527"/>
                    <a:pt x="1048326" y="0"/>
                    <a:pt x="1099594" y="0"/>
                  </a:cubicBezTo>
                  <a:cubicBezTo>
                    <a:pt x="1122237" y="0"/>
                    <a:pt x="1145415" y="5447"/>
                    <a:pt x="1162184" y="15914"/>
                  </a:cubicBezTo>
                  <a:lnTo>
                    <a:pt x="1149260" y="47637"/>
                  </a:lnTo>
                  <a:cubicBezTo>
                    <a:pt x="1132491" y="38131"/>
                    <a:pt x="1115295" y="33431"/>
                    <a:pt x="1099273" y="33431"/>
                  </a:cubicBezTo>
                  <a:cubicBezTo>
                    <a:pt x="1074601" y="33431"/>
                    <a:pt x="1064988" y="42723"/>
                    <a:pt x="1064988" y="54045"/>
                  </a:cubicBezTo>
                  <a:cubicBezTo>
                    <a:pt x="1064988" y="87263"/>
                    <a:pt x="1169767" y="64299"/>
                    <a:pt x="1169767" y="130520"/>
                  </a:cubicBezTo>
                  <a:cubicBezTo>
                    <a:pt x="1169767" y="160640"/>
                    <a:pt x="1144774" y="186381"/>
                    <a:pt x="1093292" y="186381"/>
                  </a:cubicBezTo>
                  <a:cubicBezTo>
                    <a:pt x="1064667" y="186381"/>
                    <a:pt x="1035829" y="177836"/>
                    <a:pt x="1019915" y="165553"/>
                  </a:cubicBezTo>
                  <a:close/>
                  <a:moveTo>
                    <a:pt x="1335213" y="149959"/>
                  </a:moveTo>
                  <a:lnTo>
                    <a:pt x="1335213" y="183390"/>
                  </a:lnTo>
                  <a:lnTo>
                    <a:pt x="1195615" y="183390"/>
                  </a:lnTo>
                  <a:lnTo>
                    <a:pt x="1195615" y="3097"/>
                  </a:lnTo>
                  <a:lnTo>
                    <a:pt x="1331795" y="3097"/>
                  </a:lnTo>
                  <a:lnTo>
                    <a:pt x="1331795" y="36528"/>
                  </a:lnTo>
                  <a:lnTo>
                    <a:pt x="1237056" y="36528"/>
                  </a:lnTo>
                  <a:lnTo>
                    <a:pt x="1237056" y="75620"/>
                  </a:lnTo>
                  <a:lnTo>
                    <a:pt x="1320794" y="75620"/>
                  </a:lnTo>
                  <a:lnTo>
                    <a:pt x="1320794" y="108090"/>
                  </a:lnTo>
                  <a:lnTo>
                    <a:pt x="1237056" y="108090"/>
                  </a:lnTo>
                  <a:lnTo>
                    <a:pt x="1237056" y="149852"/>
                  </a:lnTo>
                  <a:lnTo>
                    <a:pt x="1335213" y="149852"/>
                  </a:lnTo>
                  <a:close/>
                  <a:moveTo>
                    <a:pt x="1350594" y="93351"/>
                  </a:moveTo>
                  <a:cubicBezTo>
                    <a:pt x="1350594" y="38985"/>
                    <a:pt x="1392356" y="107"/>
                    <a:pt x="1448430" y="107"/>
                  </a:cubicBezTo>
                  <a:cubicBezTo>
                    <a:pt x="1479618" y="107"/>
                    <a:pt x="1505573" y="11429"/>
                    <a:pt x="1522555" y="32043"/>
                  </a:cubicBezTo>
                  <a:lnTo>
                    <a:pt x="1495746" y="56715"/>
                  </a:lnTo>
                  <a:cubicBezTo>
                    <a:pt x="1483677" y="42830"/>
                    <a:pt x="1468403" y="35567"/>
                    <a:pt x="1450460" y="35567"/>
                  </a:cubicBezTo>
                  <a:cubicBezTo>
                    <a:pt x="1416708" y="35567"/>
                    <a:pt x="1392783" y="59279"/>
                    <a:pt x="1392783" y="93244"/>
                  </a:cubicBezTo>
                  <a:cubicBezTo>
                    <a:pt x="1392783" y="127209"/>
                    <a:pt x="1416708" y="150920"/>
                    <a:pt x="1450460" y="150920"/>
                  </a:cubicBezTo>
                  <a:cubicBezTo>
                    <a:pt x="1468510" y="150920"/>
                    <a:pt x="1483677" y="143657"/>
                    <a:pt x="1495746" y="129559"/>
                  </a:cubicBezTo>
                  <a:lnTo>
                    <a:pt x="1522555" y="154231"/>
                  </a:lnTo>
                  <a:cubicBezTo>
                    <a:pt x="1505573" y="175059"/>
                    <a:pt x="1479512" y="186381"/>
                    <a:pt x="1448110" y="186381"/>
                  </a:cubicBezTo>
                  <a:cubicBezTo>
                    <a:pt x="1392249" y="186381"/>
                    <a:pt x="1350487" y="147503"/>
                    <a:pt x="1350487" y="93137"/>
                  </a:cubicBezTo>
                  <a:close/>
                  <a:moveTo>
                    <a:pt x="1590379" y="37169"/>
                  </a:moveTo>
                  <a:lnTo>
                    <a:pt x="1532702" y="37169"/>
                  </a:lnTo>
                  <a:lnTo>
                    <a:pt x="1532702" y="3204"/>
                  </a:lnTo>
                  <a:lnTo>
                    <a:pt x="1689818" y="3204"/>
                  </a:lnTo>
                  <a:lnTo>
                    <a:pt x="1689818" y="37169"/>
                  </a:lnTo>
                  <a:lnTo>
                    <a:pt x="1632141" y="37169"/>
                  </a:lnTo>
                  <a:lnTo>
                    <a:pt x="1632141" y="183390"/>
                  </a:lnTo>
                  <a:lnTo>
                    <a:pt x="1590379" y="183390"/>
                  </a:lnTo>
                  <a:lnTo>
                    <a:pt x="1590379" y="37169"/>
                  </a:lnTo>
                  <a:close/>
                  <a:moveTo>
                    <a:pt x="1692274" y="93351"/>
                  </a:moveTo>
                  <a:cubicBezTo>
                    <a:pt x="1692274" y="39840"/>
                    <a:pt x="1734036" y="107"/>
                    <a:pt x="1790858" y="107"/>
                  </a:cubicBezTo>
                  <a:cubicBezTo>
                    <a:pt x="1847681" y="107"/>
                    <a:pt x="1889443" y="39519"/>
                    <a:pt x="1889443" y="93351"/>
                  </a:cubicBezTo>
                  <a:cubicBezTo>
                    <a:pt x="1889443" y="147182"/>
                    <a:pt x="1847467" y="186594"/>
                    <a:pt x="1790858" y="186594"/>
                  </a:cubicBezTo>
                  <a:cubicBezTo>
                    <a:pt x="1734250" y="186594"/>
                    <a:pt x="1692274" y="146968"/>
                    <a:pt x="1692274" y="93351"/>
                  </a:cubicBezTo>
                  <a:close/>
                  <a:moveTo>
                    <a:pt x="1847253" y="93351"/>
                  </a:moveTo>
                  <a:cubicBezTo>
                    <a:pt x="1847253" y="59065"/>
                    <a:pt x="1823008" y="35674"/>
                    <a:pt x="1790858" y="35674"/>
                  </a:cubicBezTo>
                  <a:cubicBezTo>
                    <a:pt x="1758709" y="35674"/>
                    <a:pt x="1734464" y="59065"/>
                    <a:pt x="1734464" y="93351"/>
                  </a:cubicBezTo>
                  <a:cubicBezTo>
                    <a:pt x="1734464" y="127636"/>
                    <a:pt x="1758709" y="151027"/>
                    <a:pt x="1790858" y="151027"/>
                  </a:cubicBezTo>
                  <a:cubicBezTo>
                    <a:pt x="1823008" y="151027"/>
                    <a:pt x="1847253" y="127636"/>
                    <a:pt x="1847253" y="93351"/>
                  </a:cubicBezTo>
                  <a:close/>
                  <a:moveTo>
                    <a:pt x="2031498" y="183497"/>
                  </a:moveTo>
                  <a:lnTo>
                    <a:pt x="1996785" y="133297"/>
                  </a:lnTo>
                  <a:lnTo>
                    <a:pt x="1958441" y="133297"/>
                  </a:lnTo>
                  <a:lnTo>
                    <a:pt x="1958441" y="183497"/>
                  </a:lnTo>
                  <a:lnTo>
                    <a:pt x="1916679" y="183497"/>
                  </a:lnTo>
                  <a:lnTo>
                    <a:pt x="1916679" y="3204"/>
                  </a:lnTo>
                  <a:lnTo>
                    <a:pt x="1994756" y="3204"/>
                  </a:lnTo>
                  <a:cubicBezTo>
                    <a:pt x="2042927" y="3204"/>
                    <a:pt x="2073047" y="28197"/>
                    <a:pt x="2073047" y="68571"/>
                  </a:cubicBezTo>
                  <a:cubicBezTo>
                    <a:pt x="2073047" y="95594"/>
                    <a:pt x="2059375" y="115460"/>
                    <a:pt x="2035984" y="125500"/>
                  </a:cubicBezTo>
                  <a:lnTo>
                    <a:pt x="2076464" y="183390"/>
                  </a:lnTo>
                  <a:lnTo>
                    <a:pt x="2031605" y="183390"/>
                  </a:lnTo>
                  <a:close/>
                  <a:moveTo>
                    <a:pt x="1992406" y="37276"/>
                  </a:moveTo>
                  <a:lnTo>
                    <a:pt x="1958441" y="37276"/>
                  </a:lnTo>
                  <a:lnTo>
                    <a:pt x="1958441" y="100080"/>
                  </a:lnTo>
                  <a:lnTo>
                    <a:pt x="1992406" y="100080"/>
                  </a:lnTo>
                  <a:cubicBezTo>
                    <a:pt x="2017933" y="100080"/>
                    <a:pt x="2030750" y="88224"/>
                    <a:pt x="2030750" y="68678"/>
                  </a:cubicBezTo>
                  <a:cubicBezTo>
                    <a:pt x="2030750" y="49132"/>
                    <a:pt x="2017827" y="37276"/>
                    <a:pt x="1992406" y="37276"/>
                  </a:cubicBezTo>
                  <a:close/>
                  <a:moveTo>
                    <a:pt x="2088854" y="165767"/>
                  </a:moveTo>
                  <a:lnTo>
                    <a:pt x="2103060" y="134365"/>
                  </a:lnTo>
                  <a:cubicBezTo>
                    <a:pt x="2118227" y="145473"/>
                    <a:pt x="2140870" y="153163"/>
                    <a:pt x="2162552" y="153163"/>
                  </a:cubicBezTo>
                  <a:cubicBezTo>
                    <a:pt x="2187225" y="153163"/>
                    <a:pt x="2197265" y="144939"/>
                    <a:pt x="2197265" y="133831"/>
                  </a:cubicBezTo>
                  <a:cubicBezTo>
                    <a:pt x="2197265" y="100080"/>
                    <a:pt x="2092486" y="123257"/>
                    <a:pt x="2092486" y="56288"/>
                  </a:cubicBezTo>
                  <a:cubicBezTo>
                    <a:pt x="2092486" y="25634"/>
                    <a:pt x="2117159" y="107"/>
                    <a:pt x="2168427" y="107"/>
                  </a:cubicBezTo>
                  <a:cubicBezTo>
                    <a:pt x="2191070" y="107"/>
                    <a:pt x="2214247" y="5554"/>
                    <a:pt x="2231016" y="16021"/>
                  </a:cubicBezTo>
                  <a:lnTo>
                    <a:pt x="2218093" y="47743"/>
                  </a:lnTo>
                  <a:cubicBezTo>
                    <a:pt x="2201324" y="38237"/>
                    <a:pt x="2184128" y="33538"/>
                    <a:pt x="2168106" y="33538"/>
                  </a:cubicBezTo>
                  <a:cubicBezTo>
                    <a:pt x="2143433" y="33538"/>
                    <a:pt x="2133821" y="42830"/>
                    <a:pt x="2133821" y="54152"/>
                  </a:cubicBezTo>
                  <a:cubicBezTo>
                    <a:pt x="2133821" y="87369"/>
                    <a:pt x="2238600" y="64406"/>
                    <a:pt x="2238600" y="130627"/>
                  </a:cubicBezTo>
                  <a:cubicBezTo>
                    <a:pt x="2238600" y="160747"/>
                    <a:pt x="2213607" y="186488"/>
                    <a:pt x="2162125" y="186488"/>
                  </a:cubicBezTo>
                  <a:cubicBezTo>
                    <a:pt x="2133500" y="186488"/>
                    <a:pt x="2104662" y="177943"/>
                    <a:pt x="2088747" y="165660"/>
                  </a:cubicBezTo>
                  <a:close/>
                </a:path>
              </a:pathLst>
            </a:custGeom>
            <a:solidFill>
              <a:schemeClr val="accent2"/>
            </a:solidFill>
            <a:ln w="10662" cap="flat">
              <a:noFill/>
              <a:prstDash val="solid"/>
              <a:miter/>
            </a:ln>
          </p:spPr>
          <p:txBody>
            <a:bodyPr rtlCol="0" anchor="ctr"/>
            <a:lstStyle/>
            <a:p>
              <a:endParaRPr lang="en-GB"/>
            </a:p>
          </p:txBody>
        </p:sp>
      </p:grpSp>
      <p:sp>
        <p:nvSpPr>
          <p:cNvPr id="106" name="Rectangle 105">
            <a:extLst>
              <a:ext uri="{FF2B5EF4-FFF2-40B4-BE49-F238E27FC236}">
                <a16:creationId xmlns:a16="http://schemas.microsoft.com/office/drawing/2014/main" id="{511651C9-6B9A-50F3-180A-905C60173DCB}"/>
              </a:ext>
            </a:extLst>
          </p:cNvPr>
          <p:cNvSpPr/>
          <p:nvPr userDrawn="1"/>
        </p:nvSpPr>
        <p:spPr>
          <a:xfrm>
            <a:off x="12352866" y="0"/>
            <a:ext cx="2302933" cy="24574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b="1" i="0" dirty="0">
                <a:solidFill>
                  <a:schemeClr val="bg1"/>
                </a:solidFill>
                <a:effectLst/>
                <a:latin typeface="+mn-lt"/>
                <a:ea typeface="Calibri" panose="020F0502020204030204" pitchFamily="34" charset="0"/>
              </a:rPr>
              <a:t>NOTE:</a:t>
            </a:r>
          </a:p>
          <a:p>
            <a:r>
              <a:rPr lang="en-US" sz="1200" i="1" dirty="0">
                <a:solidFill>
                  <a:schemeClr val="bg1"/>
                </a:solidFill>
                <a:effectLst/>
                <a:latin typeface="+mn-lt"/>
                <a:ea typeface="Calibri" panose="020F0502020204030204" pitchFamily="34" charset="0"/>
              </a:rPr>
              <a:t>These slides should only be used for sustainability related sections of HFW pitches. To ensure correct usage of our HFW sustainability visual identity, make sure the divider slide is in place before using the body text slide.</a:t>
            </a:r>
          </a:p>
          <a:p>
            <a:r>
              <a:rPr lang="en-US" sz="1200" i="0" dirty="0">
                <a:solidFill>
                  <a:schemeClr val="bg1"/>
                </a:solidFill>
                <a:effectLst/>
                <a:latin typeface="+mj-lt"/>
                <a:ea typeface="Calibri" panose="020F0502020204030204" pitchFamily="34" charset="0"/>
              </a:rPr>
              <a:t>This is the Divider Slide</a:t>
            </a:r>
          </a:p>
        </p:txBody>
      </p:sp>
      <p:sp>
        <p:nvSpPr>
          <p:cNvPr id="5" name="Graphic 13">
            <a:extLst>
              <a:ext uri="{FF2B5EF4-FFF2-40B4-BE49-F238E27FC236}">
                <a16:creationId xmlns:a16="http://schemas.microsoft.com/office/drawing/2014/main" id="{455230E9-19CF-8272-0273-58BE8C03C621}"/>
              </a:ext>
            </a:extLst>
          </p:cNvPr>
          <p:cNvSpPr>
            <a:spLocks noGrp="1" noRot="1" noMove="1" noResize="1" noEditPoints="1" noAdjustHandles="1" noChangeArrowheads="1" noChangeShapeType="1"/>
          </p:cNvSpPr>
          <p:nvPr userDrawn="1"/>
        </p:nvSpPr>
        <p:spPr>
          <a:xfrm>
            <a:off x="585463" y="588011"/>
            <a:ext cx="1522695" cy="922576"/>
          </a:xfrm>
          <a:custGeom>
            <a:avLst/>
            <a:gdLst>
              <a:gd name="connsiteX0" fmla="*/ 618149 w 1522695"/>
              <a:gd name="connsiteY0" fmla="*/ 39943 h 922576"/>
              <a:gd name="connsiteX1" fmla="*/ 421345 w 1522695"/>
              <a:gd name="connsiteY1" fmla="*/ 876531 h 922576"/>
              <a:gd name="connsiteX2" fmla="*/ 388753 w 1522695"/>
              <a:gd name="connsiteY2" fmla="*/ 915365 h 922576"/>
              <a:gd name="connsiteX3" fmla="*/ 349364 w 1522695"/>
              <a:gd name="connsiteY3" fmla="*/ 922577 h 922576"/>
              <a:gd name="connsiteX4" fmla="*/ 328006 w 1522695"/>
              <a:gd name="connsiteY4" fmla="*/ 897196 h 922576"/>
              <a:gd name="connsiteX5" fmla="*/ 431608 w 1522695"/>
              <a:gd name="connsiteY5" fmla="*/ 465033 h 922576"/>
              <a:gd name="connsiteX6" fmla="*/ 224958 w 1522695"/>
              <a:gd name="connsiteY6" fmla="*/ 504838 h 922576"/>
              <a:gd name="connsiteX7" fmla="*/ 185292 w 1522695"/>
              <a:gd name="connsiteY7" fmla="*/ 702473 h 922576"/>
              <a:gd name="connsiteX8" fmla="*/ 159634 w 1522695"/>
              <a:gd name="connsiteY8" fmla="*/ 738117 h 922576"/>
              <a:gd name="connsiteX9" fmla="*/ 102771 w 1522695"/>
              <a:gd name="connsiteY9" fmla="*/ 719671 h 922576"/>
              <a:gd name="connsiteX10" fmla="*/ 150203 w 1522695"/>
              <a:gd name="connsiteY10" fmla="*/ 519816 h 922576"/>
              <a:gd name="connsiteX11" fmla="*/ 62411 w 1522695"/>
              <a:gd name="connsiteY11" fmla="*/ 533547 h 922576"/>
              <a:gd name="connsiteX12" fmla="*/ 0 w 1522695"/>
              <a:gd name="connsiteY12" fmla="*/ 507750 h 922576"/>
              <a:gd name="connsiteX13" fmla="*/ 163795 w 1522695"/>
              <a:gd name="connsiteY13" fmla="*/ 465588 h 922576"/>
              <a:gd name="connsiteX14" fmla="*/ 234805 w 1522695"/>
              <a:gd name="connsiteY14" fmla="*/ 162547 h 922576"/>
              <a:gd name="connsiteX15" fmla="*/ 258244 w 1522695"/>
              <a:gd name="connsiteY15" fmla="*/ 135502 h 922576"/>
              <a:gd name="connsiteX16" fmla="*/ 300961 w 1522695"/>
              <a:gd name="connsiteY16" fmla="*/ 126625 h 922576"/>
              <a:gd name="connsiteX17" fmla="*/ 316772 w 1522695"/>
              <a:gd name="connsiteY17" fmla="*/ 149232 h 922576"/>
              <a:gd name="connsiteX18" fmla="*/ 239104 w 1522695"/>
              <a:gd name="connsiteY18" fmla="*/ 449084 h 922576"/>
              <a:gd name="connsiteX19" fmla="*/ 447697 w 1522695"/>
              <a:gd name="connsiteY19" fmla="*/ 404564 h 922576"/>
              <a:gd name="connsiteX20" fmla="*/ 542839 w 1522695"/>
              <a:gd name="connsiteY20" fmla="*/ 34950 h 922576"/>
              <a:gd name="connsiteX21" fmla="*/ 557402 w 1522695"/>
              <a:gd name="connsiteY21" fmla="*/ 6935 h 922576"/>
              <a:gd name="connsiteX22" fmla="*/ 592907 w 1522695"/>
              <a:gd name="connsiteY22" fmla="*/ 0 h 922576"/>
              <a:gd name="connsiteX23" fmla="*/ 620506 w 1522695"/>
              <a:gd name="connsiteY23" fmla="*/ 25381 h 922576"/>
              <a:gd name="connsiteX24" fmla="*/ 618426 w 1522695"/>
              <a:gd name="connsiteY24" fmla="*/ 40359 h 922576"/>
              <a:gd name="connsiteX25" fmla="*/ 845048 w 1522695"/>
              <a:gd name="connsiteY25" fmla="*/ 445755 h 922576"/>
              <a:gd name="connsiteX26" fmla="*/ 684582 w 1522695"/>
              <a:gd name="connsiteY26" fmla="*/ 476544 h 922576"/>
              <a:gd name="connsiteX27" fmla="*/ 729241 w 1522695"/>
              <a:gd name="connsiteY27" fmla="*/ 311918 h 922576"/>
              <a:gd name="connsiteX28" fmla="*/ 1087204 w 1522695"/>
              <a:gd name="connsiteY28" fmla="*/ 231060 h 922576"/>
              <a:gd name="connsiteX29" fmla="*/ 1110643 w 1522695"/>
              <a:gd name="connsiteY29" fmla="*/ 218994 h 922576"/>
              <a:gd name="connsiteX30" fmla="*/ 1053363 w 1522695"/>
              <a:gd name="connsiteY30" fmla="*/ 185708 h 922576"/>
              <a:gd name="connsiteX31" fmla="*/ 1029785 w 1522695"/>
              <a:gd name="connsiteY31" fmla="*/ 187927 h 922576"/>
              <a:gd name="connsiteX32" fmla="*/ 636872 w 1522695"/>
              <a:gd name="connsiteY32" fmla="*/ 267536 h 922576"/>
              <a:gd name="connsiteX33" fmla="*/ 610798 w 1522695"/>
              <a:gd name="connsiteY33" fmla="*/ 284595 h 922576"/>
              <a:gd name="connsiteX34" fmla="*/ 652683 w 1522695"/>
              <a:gd name="connsiteY34" fmla="*/ 321210 h 922576"/>
              <a:gd name="connsiteX35" fmla="*/ 524948 w 1522695"/>
              <a:gd name="connsiteY35" fmla="*/ 802192 h 922576"/>
              <a:gd name="connsiteX36" fmla="*/ 537569 w 1522695"/>
              <a:gd name="connsiteY36" fmla="*/ 815646 h 922576"/>
              <a:gd name="connsiteX37" fmla="*/ 595542 w 1522695"/>
              <a:gd name="connsiteY37" fmla="*/ 802886 h 922576"/>
              <a:gd name="connsiteX38" fmla="*/ 616762 w 1522695"/>
              <a:gd name="connsiteY38" fmla="*/ 763914 h 922576"/>
              <a:gd name="connsiteX39" fmla="*/ 669603 w 1522695"/>
              <a:gd name="connsiteY39" fmla="*/ 537430 h 922576"/>
              <a:gd name="connsiteX40" fmla="*/ 808988 w 1522695"/>
              <a:gd name="connsiteY40" fmla="*/ 509276 h 922576"/>
              <a:gd name="connsiteX41" fmla="*/ 859611 w 1522695"/>
              <a:gd name="connsiteY41" fmla="*/ 477238 h 922576"/>
              <a:gd name="connsiteX42" fmla="*/ 872232 w 1522695"/>
              <a:gd name="connsiteY42" fmla="*/ 451996 h 922576"/>
              <a:gd name="connsiteX43" fmla="*/ 845187 w 1522695"/>
              <a:gd name="connsiteY43" fmla="*/ 445755 h 922576"/>
              <a:gd name="connsiteX44" fmla="*/ 1479701 w 1522695"/>
              <a:gd name="connsiteY44" fmla="*/ 159218 h 922576"/>
              <a:gd name="connsiteX45" fmla="*/ 1409801 w 1522695"/>
              <a:gd name="connsiteY45" fmla="*/ 217052 h 922576"/>
              <a:gd name="connsiteX46" fmla="*/ 1212442 w 1522695"/>
              <a:gd name="connsiteY46" fmla="*/ 666691 h 922576"/>
              <a:gd name="connsiteX47" fmla="*/ 1231721 w 1522695"/>
              <a:gd name="connsiteY47" fmla="*/ 323845 h 922576"/>
              <a:gd name="connsiteX48" fmla="*/ 1206895 w 1522695"/>
              <a:gd name="connsiteY48" fmla="*/ 300683 h 922576"/>
              <a:gd name="connsiteX49" fmla="*/ 1151002 w 1522695"/>
              <a:gd name="connsiteY49" fmla="*/ 324677 h 922576"/>
              <a:gd name="connsiteX50" fmla="*/ 1137549 w 1522695"/>
              <a:gd name="connsiteY50" fmla="*/ 353525 h 922576"/>
              <a:gd name="connsiteX51" fmla="*/ 980689 w 1522695"/>
              <a:gd name="connsiteY51" fmla="*/ 605528 h 922576"/>
              <a:gd name="connsiteX52" fmla="*/ 1041574 w 1522695"/>
              <a:gd name="connsiteY52" fmla="*/ 331196 h 922576"/>
              <a:gd name="connsiteX53" fmla="*/ 1029369 w 1522695"/>
              <a:gd name="connsiteY53" fmla="*/ 319962 h 922576"/>
              <a:gd name="connsiteX54" fmla="*/ 988871 w 1522695"/>
              <a:gd name="connsiteY54" fmla="*/ 327728 h 922576"/>
              <a:gd name="connsiteX55" fmla="*/ 954892 w 1522695"/>
              <a:gd name="connsiteY55" fmla="*/ 369752 h 922576"/>
              <a:gd name="connsiteX56" fmla="*/ 880553 w 1522695"/>
              <a:gd name="connsiteY56" fmla="*/ 711766 h 922576"/>
              <a:gd name="connsiteX57" fmla="*/ 902328 w 1522695"/>
              <a:gd name="connsiteY57" fmla="*/ 741862 h 922576"/>
              <a:gd name="connsiteX58" fmla="*/ 960024 w 1522695"/>
              <a:gd name="connsiteY58" fmla="*/ 718423 h 922576"/>
              <a:gd name="connsiteX59" fmla="*/ 1144483 w 1522695"/>
              <a:gd name="connsiteY59" fmla="*/ 419542 h 922576"/>
              <a:gd name="connsiteX60" fmla="*/ 1128950 w 1522695"/>
              <a:gd name="connsiteY60" fmla="*/ 709546 h 922576"/>
              <a:gd name="connsiteX61" fmla="*/ 1162375 w 1522695"/>
              <a:gd name="connsiteY61" fmla="*/ 786798 h 922576"/>
              <a:gd name="connsiteX62" fmla="*/ 1235049 w 1522695"/>
              <a:gd name="connsiteY62" fmla="*/ 740891 h 922576"/>
              <a:gd name="connsiteX63" fmla="*/ 1512016 w 1522695"/>
              <a:gd name="connsiteY63" fmla="*/ 203322 h 922576"/>
              <a:gd name="connsiteX64" fmla="*/ 1522696 w 1522695"/>
              <a:gd name="connsiteY64" fmla="*/ 183766 h 922576"/>
              <a:gd name="connsiteX65" fmla="*/ 1479840 w 1522695"/>
              <a:gd name="connsiteY65" fmla="*/ 159357 h 922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522695" h="922576">
                <a:moveTo>
                  <a:pt x="618149" y="39943"/>
                </a:moveTo>
                <a:cubicBezTo>
                  <a:pt x="568774" y="240214"/>
                  <a:pt x="450887" y="614404"/>
                  <a:pt x="421345" y="876531"/>
                </a:cubicBezTo>
                <a:cubicBezTo>
                  <a:pt x="418849" y="898167"/>
                  <a:pt x="420374" y="906627"/>
                  <a:pt x="388753" y="915365"/>
                </a:cubicBezTo>
                <a:cubicBezTo>
                  <a:pt x="373497" y="919526"/>
                  <a:pt x="359350" y="922577"/>
                  <a:pt x="349364" y="922577"/>
                </a:cubicBezTo>
                <a:cubicBezTo>
                  <a:pt x="333831" y="922577"/>
                  <a:pt x="328006" y="913978"/>
                  <a:pt x="328006" y="897196"/>
                </a:cubicBezTo>
                <a:cubicBezTo>
                  <a:pt x="328006" y="851567"/>
                  <a:pt x="390972" y="623280"/>
                  <a:pt x="431608" y="465033"/>
                </a:cubicBezTo>
                <a:cubicBezTo>
                  <a:pt x="377380" y="475296"/>
                  <a:pt x="300961" y="489998"/>
                  <a:pt x="224958" y="504838"/>
                </a:cubicBezTo>
                <a:cubicBezTo>
                  <a:pt x="206512" y="579870"/>
                  <a:pt x="193336" y="642697"/>
                  <a:pt x="185292" y="702473"/>
                </a:cubicBezTo>
                <a:cubicBezTo>
                  <a:pt x="183350" y="716897"/>
                  <a:pt x="185292" y="730489"/>
                  <a:pt x="159634" y="738117"/>
                </a:cubicBezTo>
                <a:cubicBezTo>
                  <a:pt x="116362" y="751015"/>
                  <a:pt x="100968" y="743803"/>
                  <a:pt x="102771" y="719671"/>
                </a:cubicBezTo>
                <a:cubicBezTo>
                  <a:pt x="105683" y="679589"/>
                  <a:pt x="118443" y="648661"/>
                  <a:pt x="150203" y="519816"/>
                </a:cubicBezTo>
                <a:cubicBezTo>
                  <a:pt x="110676" y="527722"/>
                  <a:pt x="79748" y="533547"/>
                  <a:pt x="62411" y="533547"/>
                </a:cubicBezTo>
                <a:cubicBezTo>
                  <a:pt x="38972" y="533547"/>
                  <a:pt x="0" y="517459"/>
                  <a:pt x="0" y="507750"/>
                </a:cubicBezTo>
                <a:cubicBezTo>
                  <a:pt x="0" y="496239"/>
                  <a:pt x="27184" y="496377"/>
                  <a:pt x="163795" y="465588"/>
                </a:cubicBezTo>
                <a:cubicBezTo>
                  <a:pt x="190146" y="360876"/>
                  <a:pt x="227038" y="219133"/>
                  <a:pt x="234805" y="162547"/>
                </a:cubicBezTo>
                <a:cubicBezTo>
                  <a:pt x="236192" y="152145"/>
                  <a:pt x="239798" y="140633"/>
                  <a:pt x="258244" y="135502"/>
                </a:cubicBezTo>
                <a:cubicBezTo>
                  <a:pt x="269339" y="132451"/>
                  <a:pt x="290004" y="126625"/>
                  <a:pt x="300961" y="126625"/>
                </a:cubicBezTo>
                <a:cubicBezTo>
                  <a:pt x="313304" y="126625"/>
                  <a:pt x="316772" y="137721"/>
                  <a:pt x="316772" y="149232"/>
                </a:cubicBezTo>
                <a:cubicBezTo>
                  <a:pt x="316772" y="170036"/>
                  <a:pt x="273916" y="298048"/>
                  <a:pt x="239104" y="449084"/>
                </a:cubicBezTo>
                <a:cubicBezTo>
                  <a:pt x="309837" y="433689"/>
                  <a:pt x="385424" y="417739"/>
                  <a:pt x="447697" y="404564"/>
                </a:cubicBezTo>
                <a:cubicBezTo>
                  <a:pt x="485421" y="261434"/>
                  <a:pt x="522313" y="121910"/>
                  <a:pt x="542839" y="34950"/>
                </a:cubicBezTo>
                <a:cubicBezTo>
                  <a:pt x="547277" y="16227"/>
                  <a:pt x="546445" y="10679"/>
                  <a:pt x="557402" y="6935"/>
                </a:cubicBezTo>
                <a:cubicBezTo>
                  <a:pt x="562533" y="5132"/>
                  <a:pt x="578205" y="0"/>
                  <a:pt x="592907" y="0"/>
                </a:cubicBezTo>
                <a:cubicBezTo>
                  <a:pt x="607608" y="0"/>
                  <a:pt x="620506" y="5548"/>
                  <a:pt x="620506" y="25381"/>
                </a:cubicBezTo>
                <a:cubicBezTo>
                  <a:pt x="620506" y="29680"/>
                  <a:pt x="619813" y="34673"/>
                  <a:pt x="618426" y="40359"/>
                </a:cubicBezTo>
                <a:close/>
                <a:moveTo>
                  <a:pt x="845048" y="445755"/>
                </a:moveTo>
                <a:cubicBezTo>
                  <a:pt x="796922" y="454076"/>
                  <a:pt x="739920" y="465865"/>
                  <a:pt x="684582" y="476544"/>
                </a:cubicBezTo>
                <a:cubicBezTo>
                  <a:pt x="700670" y="412608"/>
                  <a:pt x="716620" y="352970"/>
                  <a:pt x="729241" y="311918"/>
                </a:cubicBezTo>
                <a:cubicBezTo>
                  <a:pt x="838946" y="287092"/>
                  <a:pt x="1056276" y="236053"/>
                  <a:pt x="1087204" y="231060"/>
                </a:cubicBezTo>
                <a:cubicBezTo>
                  <a:pt x="1104679" y="228148"/>
                  <a:pt x="1110643" y="223155"/>
                  <a:pt x="1110643" y="218994"/>
                </a:cubicBezTo>
                <a:cubicBezTo>
                  <a:pt x="1110643" y="211089"/>
                  <a:pt x="1084985" y="185708"/>
                  <a:pt x="1053363" y="185708"/>
                </a:cubicBezTo>
                <a:cubicBezTo>
                  <a:pt x="1046428" y="185708"/>
                  <a:pt x="1038662" y="186402"/>
                  <a:pt x="1029785" y="187927"/>
                </a:cubicBezTo>
                <a:cubicBezTo>
                  <a:pt x="966542" y="199023"/>
                  <a:pt x="709269" y="252974"/>
                  <a:pt x="636872" y="267536"/>
                </a:cubicBezTo>
                <a:cubicBezTo>
                  <a:pt x="618842" y="271142"/>
                  <a:pt x="610798" y="277661"/>
                  <a:pt x="610798" y="284595"/>
                </a:cubicBezTo>
                <a:cubicBezTo>
                  <a:pt x="610798" y="295136"/>
                  <a:pt x="636317" y="316217"/>
                  <a:pt x="652683" y="321210"/>
                </a:cubicBezTo>
                <a:cubicBezTo>
                  <a:pt x="616623" y="461427"/>
                  <a:pt x="524948" y="770571"/>
                  <a:pt x="524948" y="802192"/>
                </a:cubicBezTo>
                <a:cubicBezTo>
                  <a:pt x="524948" y="809959"/>
                  <a:pt x="527583" y="815646"/>
                  <a:pt x="537569" y="815646"/>
                </a:cubicBezTo>
                <a:cubicBezTo>
                  <a:pt x="551299" y="815646"/>
                  <a:pt x="579176" y="809682"/>
                  <a:pt x="595542" y="802886"/>
                </a:cubicBezTo>
                <a:cubicBezTo>
                  <a:pt x="611908" y="795951"/>
                  <a:pt x="611630" y="787907"/>
                  <a:pt x="616762" y="763914"/>
                </a:cubicBezTo>
                <a:cubicBezTo>
                  <a:pt x="627996" y="712043"/>
                  <a:pt x="648106" y="624945"/>
                  <a:pt x="669603" y="537430"/>
                </a:cubicBezTo>
                <a:cubicBezTo>
                  <a:pt x="735620" y="523422"/>
                  <a:pt x="777505" y="516488"/>
                  <a:pt x="808988" y="509276"/>
                </a:cubicBezTo>
                <a:cubicBezTo>
                  <a:pt x="843661" y="501370"/>
                  <a:pt x="850180" y="491107"/>
                  <a:pt x="859611" y="477238"/>
                </a:cubicBezTo>
                <a:cubicBezTo>
                  <a:pt x="865852" y="468223"/>
                  <a:pt x="872232" y="456850"/>
                  <a:pt x="872232" y="451996"/>
                </a:cubicBezTo>
                <a:cubicBezTo>
                  <a:pt x="872232" y="444368"/>
                  <a:pt x="864742" y="442288"/>
                  <a:pt x="845187" y="445755"/>
                </a:cubicBezTo>
                <a:close/>
                <a:moveTo>
                  <a:pt x="1479701" y="159218"/>
                </a:moveTo>
                <a:cubicBezTo>
                  <a:pt x="1459452" y="159218"/>
                  <a:pt x="1437955" y="171978"/>
                  <a:pt x="1409801" y="217052"/>
                </a:cubicBezTo>
                <a:cubicBezTo>
                  <a:pt x="1369857" y="281128"/>
                  <a:pt x="1274854" y="509553"/>
                  <a:pt x="1212442" y="666691"/>
                </a:cubicBezTo>
                <a:cubicBezTo>
                  <a:pt x="1210639" y="502202"/>
                  <a:pt x="1231721" y="360598"/>
                  <a:pt x="1231721" y="323845"/>
                </a:cubicBezTo>
                <a:cubicBezTo>
                  <a:pt x="1231721" y="305399"/>
                  <a:pt x="1220348" y="300683"/>
                  <a:pt x="1206895" y="300683"/>
                </a:cubicBezTo>
                <a:cubicBezTo>
                  <a:pt x="1188310" y="300683"/>
                  <a:pt x="1160988" y="301516"/>
                  <a:pt x="1151002" y="324677"/>
                </a:cubicBezTo>
                <a:cubicBezTo>
                  <a:pt x="1144483" y="339795"/>
                  <a:pt x="1143374" y="343262"/>
                  <a:pt x="1137549" y="353525"/>
                </a:cubicBezTo>
                <a:cubicBezTo>
                  <a:pt x="1125205" y="375577"/>
                  <a:pt x="1053502" y="501786"/>
                  <a:pt x="980689" y="605528"/>
                </a:cubicBezTo>
                <a:cubicBezTo>
                  <a:pt x="1012588" y="432995"/>
                  <a:pt x="1041574" y="349087"/>
                  <a:pt x="1041574" y="331196"/>
                </a:cubicBezTo>
                <a:cubicBezTo>
                  <a:pt x="1041574" y="322874"/>
                  <a:pt x="1036165" y="319962"/>
                  <a:pt x="1029369" y="319962"/>
                </a:cubicBezTo>
                <a:cubicBezTo>
                  <a:pt x="1021325" y="319962"/>
                  <a:pt x="1000799" y="324816"/>
                  <a:pt x="988871" y="327728"/>
                </a:cubicBezTo>
                <a:cubicBezTo>
                  <a:pt x="974864" y="331196"/>
                  <a:pt x="963768" y="335772"/>
                  <a:pt x="954892" y="369752"/>
                </a:cubicBezTo>
                <a:cubicBezTo>
                  <a:pt x="925905" y="479734"/>
                  <a:pt x="880553" y="665720"/>
                  <a:pt x="880553" y="711766"/>
                </a:cubicBezTo>
                <a:cubicBezTo>
                  <a:pt x="880553" y="731876"/>
                  <a:pt x="884575" y="741862"/>
                  <a:pt x="902328" y="741862"/>
                </a:cubicBezTo>
                <a:cubicBezTo>
                  <a:pt x="921051" y="741862"/>
                  <a:pt x="947541" y="736591"/>
                  <a:pt x="960024" y="718423"/>
                </a:cubicBezTo>
                <a:cubicBezTo>
                  <a:pt x="1022851" y="626609"/>
                  <a:pt x="1086372" y="516349"/>
                  <a:pt x="1144483" y="419542"/>
                </a:cubicBezTo>
                <a:cubicBezTo>
                  <a:pt x="1135191" y="510801"/>
                  <a:pt x="1128950" y="628967"/>
                  <a:pt x="1128950" y="709546"/>
                </a:cubicBezTo>
                <a:cubicBezTo>
                  <a:pt x="1128950" y="765023"/>
                  <a:pt x="1130614" y="786798"/>
                  <a:pt x="1162375" y="786798"/>
                </a:cubicBezTo>
                <a:cubicBezTo>
                  <a:pt x="1191223" y="786798"/>
                  <a:pt x="1217019" y="781666"/>
                  <a:pt x="1235049" y="740891"/>
                </a:cubicBezTo>
                <a:cubicBezTo>
                  <a:pt x="1297599" y="599148"/>
                  <a:pt x="1429911" y="303735"/>
                  <a:pt x="1512016" y="203322"/>
                </a:cubicBezTo>
                <a:cubicBezTo>
                  <a:pt x="1517425" y="196803"/>
                  <a:pt x="1522696" y="191256"/>
                  <a:pt x="1522696" y="183766"/>
                </a:cubicBezTo>
                <a:cubicBezTo>
                  <a:pt x="1522696" y="173365"/>
                  <a:pt x="1498563" y="159357"/>
                  <a:pt x="1479840" y="159357"/>
                </a:cubicBezTo>
                <a:close/>
              </a:path>
            </a:pathLst>
          </a:custGeom>
          <a:solidFill>
            <a:schemeClr val="bg1"/>
          </a:solidFill>
          <a:ln w="13855" cap="flat">
            <a:noFill/>
            <a:prstDash val="solid"/>
            <a:miter/>
          </a:ln>
        </p:spPr>
        <p:txBody>
          <a:bodyPr rtlCol="0" anchor="ctr"/>
          <a:lstStyle/>
          <a:p>
            <a:endParaRPr lang="en-GB"/>
          </a:p>
        </p:txBody>
      </p:sp>
    </p:spTree>
    <p:extLst>
      <p:ext uri="{BB962C8B-B14F-4D97-AF65-F5344CB8AC3E}">
        <p14:creationId xmlns:p14="http://schemas.microsoft.com/office/powerpoint/2010/main" val="361310542"/>
      </p:ext>
    </p:extLst>
  </p:cSld>
  <p:clrMapOvr>
    <a:masterClrMapping/>
  </p:clrMapOvr>
  <p:transition spd="med">
    <p:fade/>
  </p:transition>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ustainability Content Slide">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DDA220CA-4B95-785B-2350-2F228A541C2D}"/>
              </a:ext>
            </a:extLst>
          </p:cNvPr>
          <p:cNvSpPr>
            <a:spLocks noGrp="1"/>
          </p:cNvSpPr>
          <p:nvPr>
            <p:ph type="pic" sz="quarter" idx="13" hasCustomPrompt="1"/>
          </p:nvPr>
        </p:nvSpPr>
        <p:spPr>
          <a:xfrm>
            <a:off x="7978902" y="0"/>
            <a:ext cx="4213098" cy="6858000"/>
          </a:xfrm>
          <a:custGeom>
            <a:avLst/>
            <a:gdLst>
              <a:gd name="connsiteX0" fmla="*/ 3526067 w 4213098"/>
              <a:gd name="connsiteY0" fmla="*/ 558684 h 6858000"/>
              <a:gd name="connsiteX1" fmla="*/ 3657974 w 4213098"/>
              <a:gd name="connsiteY1" fmla="*/ 737625 h 6858000"/>
              <a:gd name="connsiteX2" fmla="*/ 3478713 w 4213098"/>
              <a:gd name="connsiteY2" fmla="*/ 924743 h 6858000"/>
              <a:gd name="connsiteX3" fmla="*/ 3478660 w 4213098"/>
              <a:gd name="connsiteY3" fmla="*/ 924743 h 6858000"/>
              <a:gd name="connsiteX4" fmla="*/ 3544239 w 4213098"/>
              <a:gd name="connsiteY4" fmla="*/ 814695 h 6858000"/>
              <a:gd name="connsiteX5" fmla="*/ 3482080 w 4213098"/>
              <a:gd name="connsiteY5" fmla="*/ 718918 h 6858000"/>
              <a:gd name="connsiteX6" fmla="*/ 3440659 w 4213098"/>
              <a:gd name="connsiteY6" fmla="*/ 661516 h 6858000"/>
              <a:gd name="connsiteX7" fmla="*/ 3526067 w 4213098"/>
              <a:gd name="connsiteY7" fmla="*/ 558684 h 6858000"/>
              <a:gd name="connsiteX8" fmla="*/ 3462572 w 4213098"/>
              <a:gd name="connsiteY8" fmla="*/ 550507 h 6858000"/>
              <a:gd name="connsiteX9" fmla="*/ 3396779 w 4213098"/>
              <a:gd name="connsiteY9" fmla="*/ 660127 h 6858000"/>
              <a:gd name="connsiteX10" fmla="*/ 3458991 w 4213098"/>
              <a:gd name="connsiteY10" fmla="*/ 756278 h 6858000"/>
              <a:gd name="connsiteX11" fmla="*/ 3459151 w 4213098"/>
              <a:gd name="connsiteY11" fmla="*/ 756385 h 6858000"/>
              <a:gd name="connsiteX12" fmla="*/ 3500306 w 4213098"/>
              <a:gd name="connsiteY12" fmla="*/ 813199 h 6858000"/>
              <a:gd name="connsiteX13" fmla="*/ 3415218 w 4213098"/>
              <a:gd name="connsiteY13" fmla="*/ 916619 h 6858000"/>
              <a:gd name="connsiteX14" fmla="*/ 3283204 w 4213098"/>
              <a:gd name="connsiteY14" fmla="*/ 737625 h 6858000"/>
              <a:gd name="connsiteX15" fmla="*/ 3283311 w 4213098"/>
              <a:gd name="connsiteY15" fmla="*/ 737625 h 6858000"/>
              <a:gd name="connsiteX16" fmla="*/ 3462572 w 4213098"/>
              <a:gd name="connsiteY16" fmla="*/ 550507 h 6858000"/>
              <a:gd name="connsiteX17" fmla="*/ 3470643 w 4213098"/>
              <a:gd name="connsiteY17" fmla="*/ 506413 h 6858000"/>
              <a:gd name="connsiteX18" fmla="*/ 3239431 w 4213098"/>
              <a:gd name="connsiteY18" fmla="*/ 737625 h 6858000"/>
              <a:gd name="connsiteX19" fmla="*/ 3470643 w 4213098"/>
              <a:gd name="connsiteY19" fmla="*/ 968836 h 6858000"/>
              <a:gd name="connsiteX20" fmla="*/ 3701854 w 4213098"/>
              <a:gd name="connsiteY20" fmla="*/ 737625 h 6858000"/>
              <a:gd name="connsiteX21" fmla="*/ 3470643 w 4213098"/>
              <a:gd name="connsiteY21" fmla="*/ 506413 h 6858000"/>
              <a:gd name="connsiteX22" fmla="*/ 1081043 w 4213098"/>
              <a:gd name="connsiteY22" fmla="*/ 0 h 6858000"/>
              <a:gd name="connsiteX23" fmla="*/ 4213098 w 4213098"/>
              <a:gd name="connsiteY23" fmla="*/ 0 h 6858000"/>
              <a:gd name="connsiteX24" fmla="*/ 4213098 w 4213098"/>
              <a:gd name="connsiteY24" fmla="*/ 6858000 h 6858000"/>
              <a:gd name="connsiteX25" fmla="*/ 68876 w 4213098"/>
              <a:gd name="connsiteY25" fmla="*/ 6858000 h 6858000"/>
              <a:gd name="connsiteX26" fmla="*/ 112154 w 4213098"/>
              <a:gd name="connsiteY26" fmla="*/ 6819948 h 6858000"/>
              <a:gd name="connsiteX27" fmla="*/ 573979 w 4213098"/>
              <a:gd name="connsiteY27" fmla="*/ 3429000 h 6858000"/>
              <a:gd name="connsiteX28" fmla="*/ 1030887 w 4213098"/>
              <a:gd name="connsiteY28" fmla="*/ 4528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213098" h="6858000">
                <a:moveTo>
                  <a:pt x="3526067" y="558684"/>
                </a:moveTo>
                <a:cubicBezTo>
                  <a:pt x="3602389" y="582361"/>
                  <a:pt x="3657974" y="653606"/>
                  <a:pt x="3657974" y="737625"/>
                </a:cubicBezTo>
                <a:cubicBezTo>
                  <a:pt x="3657974" y="838212"/>
                  <a:pt x="3578285" y="920520"/>
                  <a:pt x="3478713" y="924743"/>
                </a:cubicBezTo>
                <a:lnTo>
                  <a:pt x="3478660" y="924743"/>
                </a:lnTo>
                <a:cubicBezTo>
                  <a:pt x="3510461" y="897592"/>
                  <a:pt x="3542742" y="858629"/>
                  <a:pt x="3544239" y="814695"/>
                </a:cubicBezTo>
                <a:cubicBezTo>
                  <a:pt x="3545842" y="767769"/>
                  <a:pt x="3511369" y="736716"/>
                  <a:pt x="3482080" y="718918"/>
                </a:cubicBezTo>
                <a:cubicBezTo>
                  <a:pt x="3453914" y="701441"/>
                  <a:pt x="3439964" y="682093"/>
                  <a:pt x="3440659" y="661516"/>
                </a:cubicBezTo>
                <a:cubicBezTo>
                  <a:pt x="3441888" y="623836"/>
                  <a:pt x="3489028" y="580651"/>
                  <a:pt x="3526067" y="558684"/>
                </a:cubicBezTo>
                <a:close/>
                <a:moveTo>
                  <a:pt x="3462572" y="550507"/>
                </a:moveTo>
                <a:cubicBezTo>
                  <a:pt x="3429756" y="578406"/>
                  <a:pt x="3398168" y="617369"/>
                  <a:pt x="3396779" y="660127"/>
                </a:cubicBezTo>
                <a:cubicBezTo>
                  <a:pt x="3395282" y="706732"/>
                  <a:pt x="3429809" y="738159"/>
                  <a:pt x="3458991" y="756278"/>
                </a:cubicBezTo>
                <a:lnTo>
                  <a:pt x="3459151" y="756385"/>
                </a:lnTo>
                <a:cubicBezTo>
                  <a:pt x="3487532" y="773648"/>
                  <a:pt x="3501000" y="792248"/>
                  <a:pt x="3500306" y="813199"/>
                </a:cubicBezTo>
                <a:cubicBezTo>
                  <a:pt x="3499023" y="851841"/>
                  <a:pt x="3451241" y="895561"/>
                  <a:pt x="3415218" y="916619"/>
                </a:cubicBezTo>
                <a:cubicBezTo>
                  <a:pt x="3338842" y="892995"/>
                  <a:pt x="3283204" y="821697"/>
                  <a:pt x="3283204" y="737625"/>
                </a:cubicBezTo>
                <a:lnTo>
                  <a:pt x="3283311" y="737625"/>
                </a:lnTo>
                <a:cubicBezTo>
                  <a:pt x="3283311" y="637038"/>
                  <a:pt x="3363001" y="554729"/>
                  <a:pt x="3462572" y="550507"/>
                </a:cubicBezTo>
                <a:close/>
                <a:moveTo>
                  <a:pt x="3470643" y="506413"/>
                </a:moveTo>
                <a:cubicBezTo>
                  <a:pt x="3343172" y="506413"/>
                  <a:pt x="3239431" y="610154"/>
                  <a:pt x="3239431" y="737625"/>
                </a:cubicBezTo>
                <a:cubicBezTo>
                  <a:pt x="3239431" y="865096"/>
                  <a:pt x="3343172" y="968836"/>
                  <a:pt x="3470643" y="968836"/>
                </a:cubicBezTo>
                <a:cubicBezTo>
                  <a:pt x="3598114" y="968836"/>
                  <a:pt x="3701854" y="865096"/>
                  <a:pt x="3701854" y="737625"/>
                </a:cubicBezTo>
                <a:cubicBezTo>
                  <a:pt x="3701854" y="610154"/>
                  <a:pt x="3598114" y="506413"/>
                  <a:pt x="3470643" y="506413"/>
                </a:cubicBezTo>
                <a:close/>
                <a:moveTo>
                  <a:pt x="1081043" y="0"/>
                </a:moveTo>
                <a:lnTo>
                  <a:pt x="4213098" y="0"/>
                </a:lnTo>
                <a:lnTo>
                  <a:pt x="4213098" y="6858000"/>
                </a:lnTo>
                <a:lnTo>
                  <a:pt x="68876" y="6858000"/>
                </a:lnTo>
                <a:lnTo>
                  <a:pt x="112154" y="6819948"/>
                </a:lnTo>
                <a:cubicBezTo>
                  <a:pt x="746576" y="6221005"/>
                  <a:pt x="1813134" y="4604032"/>
                  <a:pt x="573979" y="3429000"/>
                </a:cubicBezTo>
                <a:cubicBezTo>
                  <a:pt x="-667668" y="2225906"/>
                  <a:pt x="398366" y="652909"/>
                  <a:pt x="1030887" y="45282"/>
                </a:cubicBezTo>
                <a:close/>
              </a:path>
            </a:pathLst>
          </a:custGeom>
          <a:solidFill>
            <a:schemeClr val="tx1"/>
          </a:solidFill>
        </p:spPr>
        <p:txBody>
          <a:bodyPr wrap="square" anchor="ctr">
            <a:noAutofit/>
          </a:bodyPr>
          <a:lstStyle>
            <a:lvl1pPr algn="ctr">
              <a:defRPr sz="2400" b="0">
                <a:solidFill>
                  <a:schemeClr val="bg1"/>
                </a:solidFill>
                <a:latin typeface="+mj-lt"/>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US" dirty="0"/>
              <a:t>ADD RELATED </a:t>
            </a:r>
            <a:br>
              <a:rPr lang="en-US" dirty="0"/>
            </a:br>
            <a:r>
              <a:rPr lang="en-US" dirty="0"/>
              <a:t>IMAGE </a:t>
            </a:r>
            <a:br>
              <a:rPr lang="en-US" dirty="0"/>
            </a:br>
            <a:r>
              <a:rPr lang="en-US" dirty="0"/>
              <a:t>FROM HFW </a:t>
            </a:r>
            <a:br>
              <a:rPr lang="en-US" dirty="0"/>
            </a:br>
            <a:r>
              <a:rPr lang="en-US" dirty="0"/>
              <a:t>IMAGE </a:t>
            </a:r>
            <a:br>
              <a:rPr lang="en-US" dirty="0"/>
            </a:br>
            <a:r>
              <a:rPr lang="en-US" dirty="0"/>
              <a:t>LIBRARY</a:t>
            </a:r>
          </a:p>
        </p:txBody>
      </p:sp>
      <p:sp>
        <p:nvSpPr>
          <p:cNvPr id="3" name="Content Placeholder 2">
            <a:extLst>
              <a:ext uri="{FF2B5EF4-FFF2-40B4-BE49-F238E27FC236}">
                <a16:creationId xmlns:a16="http://schemas.microsoft.com/office/drawing/2014/main" id="{2C9D0421-861F-1F31-21DF-28C03450E328}"/>
              </a:ext>
            </a:extLst>
          </p:cNvPr>
          <p:cNvSpPr>
            <a:spLocks noGrp="1"/>
          </p:cNvSpPr>
          <p:nvPr userDrawn="1">
            <p:ph idx="1" hasCustomPrompt="1"/>
          </p:nvPr>
        </p:nvSpPr>
        <p:spPr>
          <a:xfrm>
            <a:off x="508000" y="1244882"/>
            <a:ext cx="7125758" cy="291662"/>
          </a:xfrm>
        </p:spPr>
        <p:txBody>
          <a:bodyPr vert="horz" lIns="0" tIns="45720" rIns="0" bIns="45720" numCol="1" spcCol="288000" rtlCol="0">
            <a:noAutofit/>
          </a:bodyPr>
          <a:lstStyle>
            <a:lvl1pPr>
              <a:defRPr lang="en-US" cap="all" baseline="0" dirty="0" smtClean="0"/>
            </a:lvl1pPr>
            <a:lvl2pPr>
              <a:defRPr lang="en-US" dirty="0"/>
            </a:lvl2pPr>
            <a:lvl3pPr>
              <a:defRPr lang="en-US" dirty="0"/>
            </a:lvl3pPr>
            <a:lvl4pPr>
              <a:defRPr lang="en-US" dirty="0"/>
            </a:lvl4pPr>
            <a:lvl5pPr>
              <a:defRPr lang="en-US" dirty="0"/>
            </a:lvl5pPr>
          </a:lstStyle>
          <a:p>
            <a:pPr lvl="0"/>
            <a:r>
              <a:rPr lang="en-US" dirty="0"/>
              <a:t>subhead</a:t>
            </a:r>
          </a:p>
        </p:txBody>
      </p:sp>
      <p:sp>
        <p:nvSpPr>
          <p:cNvPr id="6" name="Content Placeholder 2">
            <a:extLst>
              <a:ext uri="{FF2B5EF4-FFF2-40B4-BE49-F238E27FC236}">
                <a16:creationId xmlns:a16="http://schemas.microsoft.com/office/drawing/2014/main" id="{61D7555B-43BA-02AA-50BE-B9AF296C7453}"/>
              </a:ext>
            </a:extLst>
          </p:cNvPr>
          <p:cNvSpPr>
            <a:spLocks noGrp="1"/>
          </p:cNvSpPr>
          <p:nvPr userDrawn="1">
            <p:ph idx="16" hasCustomPrompt="1"/>
          </p:nvPr>
        </p:nvSpPr>
        <p:spPr>
          <a:xfrm>
            <a:off x="508000" y="1613017"/>
            <a:ext cx="3400425" cy="4606808"/>
          </a:xfrm>
        </p:spPr>
        <p:txBody>
          <a:bodyPr vert="horz" lIns="0" tIns="45720" rIns="0" bIns="4572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7" name="Content Placeholder 2">
            <a:extLst>
              <a:ext uri="{FF2B5EF4-FFF2-40B4-BE49-F238E27FC236}">
                <a16:creationId xmlns:a16="http://schemas.microsoft.com/office/drawing/2014/main" id="{8162D917-4EB8-0AA3-2A7D-903E7F4B9B6A}"/>
              </a:ext>
            </a:extLst>
          </p:cNvPr>
          <p:cNvSpPr>
            <a:spLocks noGrp="1"/>
          </p:cNvSpPr>
          <p:nvPr userDrawn="1">
            <p:ph idx="24" hasCustomPrompt="1"/>
          </p:nvPr>
        </p:nvSpPr>
        <p:spPr>
          <a:xfrm>
            <a:off x="4233333" y="1613017"/>
            <a:ext cx="3400425" cy="4606808"/>
          </a:xfrm>
        </p:spPr>
        <p:txBody>
          <a:bodyPr vert="horz" lIns="0" tIns="45720" rIns="0" bIns="45720" rtlCol="0">
            <a:normAutofit/>
          </a:bodyPr>
          <a:lstStyle>
            <a:lvl1pPr>
              <a:defRPr lang="en-US" sz="1100" dirty="0">
                <a:solidFill>
                  <a:schemeClr val="tx1"/>
                </a:solidFill>
                <a:latin typeface="+mn-lt"/>
              </a:defRPr>
            </a:lvl1pPr>
            <a:lvl2pPr>
              <a:defRPr lang="en-US" dirty="0"/>
            </a:lvl2pPr>
            <a:lvl3pPr>
              <a:defRPr lang="en-US" dirty="0"/>
            </a:lvl3pPr>
            <a:lvl4pPr>
              <a:defRPr lang="en-US" dirty="0"/>
            </a:lvl4pPr>
            <a:lvl5pPr>
              <a:defRPr lang="en-US" dirty="0"/>
            </a:lvl5pPr>
          </a:lstStyle>
          <a:p>
            <a:pPr lvl="0"/>
            <a:r>
              <a:rPr lang="en-US" dirty="0"/>
              <a:t>Body text</a:t>
            </a:r>
          </a:p>
          <a:p>
            <a:pPr marL="171450" lvl="1" indent="-171450">
              <a:buChar char="•"/>
            </a:pPr>
            <a:r>
              <a:rPr lang="en-US" dirty="0"/>
              <a:t>Second level</a:t>
            </a:r>
          </a:p>
          <a:p>
            <a:pPr marL="360363" lvl="2" indent="-182563"/>
            <a:r>
              <a:rPr lang="en-US" dirty="0"/>
              <a:t>Third level</a:t>
            </a:r>
          </a:p>
          <a:p>
            <a:pPr lvl="3"/>
            <a:r>
              <a:rPr lang="en-US" dirty="0"/>
              <a:t>Fourth level</a:t>
            </a:r>
          </a:p>
          <a:p>
            <a:pPr marL="808038" lvl="4" indent="-182563"/>
            <a:r>
              <a:rPr lang="en-US" dirty="0"/>
              <a:t>Fifth level</a:t>
            </a:r>
          </a:p>
        </p:txBody>
      </p:sp>
      <p:sp>
        <p:nvSpPr>
          <p:cNvPr id="8" name="Title 7">
            <a:extLst>
              <a:ext uri="{FF2B5EF4-FFF2-40B4-BE49-F238E27FC236}">
                <a16:creationId xmlns:a16="http://schemas.microsoft.com/office/drawing/2014/main" id="{FA5CD49C-2730-8DD2-580B-DC8E3ACF2A69}"/>
              </a:ext>
            </a:extLst>
          </p:cNvPr>
          <p:cNvSpPr>
            <a:spLocks noGrp="1"/>
          </p:cNvSpPr>
          <p:nvPr userDrawn="1">
            <p:ph type="title" hasCustomPrompt="1"/>
          </p:nvPr>
        </p:nvSpPr>
        <p:spPr>
          <a:xfrm>
            <a:off x="508001" y="454014"/>
            <a:ext cx="7125758" cy="731320"/>
          </a:xfrm>
        </p:spPr>
        <p:txBody>
          <a:bodyPr/>
          <a:lstStyle/>
          <a:p>
            <a:r>
              <a:rPr lang="en-US" dirty="0"/>
              <a:t>TITLE: subtitle</a:t>
            </a:r>
            <a:endParaRPr lang="en-GB" dirty="0"/>
          </a:p>
        </p:txBody>
      </p:sp>
      <p:sp>
        <p:nvSpPr>
          <p:cNvPr id="9" name="Footer Placeholder 8">
            <a:extLst>
              <a:ext uri="{FF2B5EF4-FFF2-40B4-BE49-F238E27FC236}">
                <a16:creationId xmlns:a16="http://schemas.microsoft.com/office/drawing/2014/main" id="{CD537503-3559-7CB7-6716-3DB036465665}"/>
              </a:ext>
            </a:extLst>
          </p:cNvPr>
          <p:cNvSpPr>
            <a:spLocks noGrp="1"/>
          </p:cNvSpPr>
          <p:nvPr userDrawn="1">
            <p:ph type="ftr" sz="quarter" idx="25"/>
          </p:nvPr>
        </p:nvSpPr>
        <p:spPr/>
        <p:txBody>
          <a:bodyPr/>
          <a:lstStyle/>
          <a:p>
            <a:r>
              <a:rPr lang="en-GB"/>
              <a:t>INSERT FOOTER HERE</a:t>
            </a:r>
            <a:endParaRPr lang="en-GB" dirty="0"/>
          </a:p>
        </p:txBody>
      </p:sp>
      <p:sp>
        <p:nvSpPr>
          <p:cNvPr id="10" name="Slide Number Placeholder 9">
            <a:extLst>
              <a:ext uri="{FF2B5EF4-FFF2-40B4-BE49-F238E27FC236}">
                <a16:creationId xmlns:a16="http://schemas.microsoft.com/office/drawing/2014/main" id="{5B9E1058-E867-C15F-2C4F-F07C635F0FC8}"/>
              </a:ext>
            </a:extLst>
          </p:cNvPr>
          <p:cNvSpPr>
            <a:spLocks noGrp="1"/>
          </p:cNvSpPr>
          <p:nvPr userDrawn="1">
            <p:ph type="sldNum" sz="quarter" idx="26"/>
          </p:nvPr>
        </p:nvSpPr>
        <p:spPr/>
        <p:txBody>
          <a:bodyPr/>
          <a:lstStyle>
            <a:lvl1pPr>
              <a:defRPr>
                <a:solidFill>
                  <a:schemeClr val="bg1"/>
                </a:solidFill>
              </a:defRPr>
            </a:lvl1pPr>
          </a:lstStyle>
          <a:p>
            <a:fld id="{8CFE0557-AA98-4E6C-B0C3-581794696B68}" type="slidenum">
              <a:rPr lang="en-GB" smtClean="0"/>
              <a:pPr/>
              <a:t>‹#›</a:t>
            </a:fld>
            <a:endParaRPr lang="en-GB" dirty="0"/>
          </a:p>
        </p:txBody>
      </p:sp>
      <p:sp>
        <p:nvSpPr>
          <p:cNvPr id="5" name="Freeform: Shape 4">
            <a:extLst>
              <a:ext uri="{FF2B5EF4-FFF2-40B4-BE49-F238E27FC236}">
                <a16:creationId xmlns:a16="http://schemas.microsoft.com/office/drawing/2014/main" id="{5BB28205-96F3-E227-029B-8D26B45E433E}"/>
              </a:ext>
            </a:extLst>
          </p:cNvPr>
          <p:cNvSpPr>
            <a:spLocks noGrp="1" noRot="1" noMove="1" noResize="1" noEditPoints="1" noAdjustHandles="1" noChangeArrowheads="1" noChangeShapeType="1"/>
          </p:cNvSpPr>
          <p:nvPr userDrawn="1"/>
        </p:nvSpPr>
        <p:spPr>
          <a:xfrm>
            <a:off x="11218333" y="506413"/>
            <a:ext cx="462423" cy="462423"/>
          </a:xfrm>
          <a:custGeom>
            <a:avLst/>
            <a:gdLst>
              <a:gd name="connsiteX0" fmla="*/ 477540 w 955079"/>
              <a:gd name="connsiteY0" fmla="*/ 0 h 955079"/>
              <a:gd name="connsiteX1" fmla="*/ 0 w 955079"/>
              <a:gd name="connsiteY1" fmla="*/ 477540 h 955079"/>
              <a:gd name="connsiteX2" fmla="*/ 477540 w 955079"/>
              <a:gd name="connsiteY2" fmla="*/ 955079 h 955079"/>
              <a:gd name="connsiteX3" fmla="*/ 955080 w 955079"/>
              <a:gd name="connsiteY3" fmla="*/ 477540 h 955079"/>
              <a:gd name="connsiteX4" fmla="*/ 477540 w 955079"/>
              <a:gd name="connsiteY4" fmla="*/ 0 h 955079"/>
              <a:gd name="connsiteX5" fmla="*/ 90629 w 955079"/>
              <a:gd name="connsiteY5" fmla="*/ 477540 h 955079"/>
              <a:gd name="connsiteX6" fmla="*/ 460871 w 955079"/>
              <a:gd name="connsiteY6" fmla="*/ 91070 h 955079"/>
              <a:gd name="connsiteX7" fmla="*/ 324983 w 955079"/>
              <a:gd name="connsiteY7" fmla="*/ 317477 h 955079"/>
              <a:gd name="connsiteX8" fmla="*/ 453475 w 955079"/>
              <a:gd name="connsiteY8" fmla="*/ 516065 h 955079"/>
              <a:gd name="connsiteX9" fmla="*/ 453806 w 955079"/>
              <a:gd name="connsiteY9" fmla="*/ 516286 h 955079"/>
              <a:gd name="connsiteX10" fmla="*/ 538805 w 955079"/>
              <a:gd name="connsiteY10" fmla="*/ 633629 h 955079"/>
              <a:gd name="connsiteX11" fmla="*/ 363067 w 955079"/>
              <a:gd name="connsiteY11" fmla="*/ 847230 h 955079"/>
              <a:gd name="connsiteX12" fmla="*/ 90408 w 955079"/>
              <a:gd name="connsiteY12" fmla="*/ 477540 h 955079"/>
              <a:gd name="connsiteX13" fmla="*/ 494098 w 955079"/>
              <a:gd name="connsiteY13" fmla="*/ 864009 h 955079"/>
              <a:gd name="connsiteX14" fmla="*/ 629544 w 955079"/>
              <a:gd name="connsiteY14" fmla="*/ 636720 h 955079"/>
              <a:gd name="connsiteX15" fmla="*/ 501163 w 955079"/>
              <a:gd name="connsiteY15" fmla="*/ 438904 h 955079"/>
              <a:gd name="connsiteX16" fmla="*/ 415612 w 955079"/>
              <a:gd name="connsiteY16" fmla="*/ 320347 h 955079"/>
              <a:gd name="connsiteX17" fmla="*/ 592012 w 955079"/>
              <a:gd name="connsiteY17" fmla="*/ 107960 h 955079"/>
              <a:gd name="connsiteX18" fmla="*/ 864451 w 955079"/>
              <a:gd name="connsiteY18" fmla="*/ 477540 h 955079"/>
              <a:gd name="connsiteX19" fmla="*/ 494208 w 955079"/>
              <a:gd name="connsiteY19" fmla="*/ 864009 h 955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55079" h="955079">
                <a:moveTo>
                  <a:pt x="477540" y="0"/>
                </a:moveTo>
                <a:cubicBezTo>
                  <a:pt x="214264" y="0"/>
                  <a:pt x="0" y="214264"/>
                  <a:pt x="0" y="477540"/>
                </a:cubicBezTo>
                <a:cubicBezTo>
                  <a:pt x="0" y="740816"/>
                  <a:pt x="214264" y="955079"/>
                  <a:pt x="477540" y="955079"/>
                </a:cubicBezTo>
                <a:cubicBezTo>
                  <a:pt x="740816" y="955079"/>
                  <a:pt x="955080" y="740816"/>
                  <a:pt x="955080" y="477540"/>
                </a:cubicBezTo>
                <a:cubicBezTo>
                  <a:pt x="955080" y="214264"/>
                  <a:pt x="740816" y="0"/>
                  <a:pt x="477540" y="0"/>
                </a:cubicBezTo>
                <a:close/>
                <a:moveTo>
                  <a:pt x="90629" y="477540"/>
                </a:moveTo>
                <a:cubicBezTo>
                  <a:pt x="90629" y="269789"/>
                  <a:pt x="255218" y="99791"/>
                  <a:pt x="460871" y="91070"/>
                </a:cubicBezTo>
                <a:cubicBezTo>
                  <a:pt x="393093" y="148693"/>
                  <a:pt x="327853" y="229166"/>
                  <a:pt x="324983" y="317477"/>
                </a:cubicBezTo>
                <a:cubicBezTo>
                  <a:pt x="321892" y="413735"/>
                  <a:pt x="393203" y="478644"/>
                  <a:pt x="453475" y="516065"/>
                </a:cubicBezTo>
                <a:lnTo>
                  <a:pt x="453806" y="516286"/>
                </a:lnTo>
                <a:cubicBezTo>
                  <a:pt x="512422" y="551941"/>
                  <a:pt x="540240" y="590357"/>
                  <a:pt x="538805" y="633629"/>
                </a:cubicBezTo>
                <a:cubicBezTo>
                  <a:pt x="536156" y="713439"/>
                  <a:pt x="437469" y="803737"/>
                  <a:pt x="363067" y="847230"/>
                </a:cubicBezTo>
                <a:cubicBezTo>
                  <a:pt x="205322" y="798438"/>
                  <a:pt x="90408" y="651180"/>
                  <a:pt x="90408" y="477540"/>
                </a:cubicBezTo>
                <a:close/>
                <a:moveTo>
                  <a:pt x="494098" y="864009"/>
                </a:moveTo>
                <a:cubicBezTo>
                  <a:pt x="559779" y="807932"/>
                  <a:pt x="626453" y="727459"/>
                  <a:pt x="629544" y="636720"/>
                </a:cubicBezTo>
                <a:cubicBezTo>
                  <a:pt x="632856" y="539799"/>
                  <a:pt x="561656" y="475663"/>
                  <a:pt x="501163" y="438904"/>
                </a:cubicBezTo>
                <a:cubicBezTo>
                  <a:pt x="442988" y="402807"/>
                  <a:pt x="414177" y="362846"/>
                  <a:pt x="415612" y="320347"/>
                </a:cubicBezTo>
                <a:cubicBezTo>
                  <a:pt x="418151" y="242523"/>
                  <a:pt x="515513" y="153329"/>
                  <a:pt x="592012" y="107960"/>
                </a:cubicBezTo>
                <a:cubicBezTo>
                  <a:pt x="749647" y="156862"/>
                  <a:pt x="864451" y="304009"/>
                  <a:pt x="864451" y="477540"/>
                </a:cubicBezTo>
                <a:cubicBezTo>
                  <a:pt x="864451" y="685290"/>
                  <a:pt x="699862" y="855288"/>
                  <a:pt x="494208" y="864009"/>
                </a:cubicBezTo>
                <a:close/>
              </a:path>
            </a:pathLst>
          </a:custGeom>
          <a:solidFill>
            <a:srgbClr val="FFFFFF"/>
          </a:solidFill>
          <a:ln w="11031" cap="flat">
            <a:noFill/>
            <a:prstDash val="solid"/>
            <a:miter/>
          </a:ln>
        </p:spPr>
        <p:txBody>
          <a:bodyPr rtlCol="0" anchor="ctr"/>
          <a:lstStyle/>
          <a:p>
            <a:endParaRPr lang="en-GB"/>
          </a:p>
        </p:txBody>
      </p:sp>
      <p:sp>
        <p:nvSpPr>
          <p:cNvPr id="11" name="TextBox 4">
            <a:extLst>
              <a:ext uri="{FF2B5EF4-FFF2-40B4-BE49-F238E27FC236}">
                <a16:creationId xmlns:a16="http://schemas.microsoft.com/office/drawing/2014/main" id="{0CFBD18A-98C7-F85D-6B9D-F604D1013EE2}"/>
              </a:ext>
            </a:extLst>
          </p:cNvPr>
          <p:cNvSpPr txBox="1"/>
          <p:nvPr userDrawn="1"/>
        </p:nvSpPr>
        <p:spPr>
          <a:xfrm>
            <a:off x="12346713" y="2534018"/>
            <a:ext cx="1934437" cy="318548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INSERTING IMAGES:</a:t>
            </a:r>
          </a:p>
          <a:p>
            <a:pPr marL="179388" indent="-179388">
              <a:spcBef>
                <a:spcPts val="200"/>
              </a:spcBef>
              <a:spcAft>
                <a:spcPts val="200"/>
              </a:spcAft>
              <a:buFont typeface="+mj-lt"/>
              <a:buAutoNum type="arabicPeriod"/>
            </a:pPr>
            <a:r>
              <a:rPr lang="en-US" sz="900" dirty="0">
                <a:solidFill>
                  <a:schemeClr val="tx1"/>
                </a:solidFill>
                <a:latin typeface="+mn-lt"/>
              </a:rPr>
              <a:t>Simply click the image placeholder and select your image.</a:t>
            </a:r>
          </a:p>
          <a:p>
            <a:pPr marL="179388" indent="-179388">
              <a:spcBef>
                <a:spcPts val="200"/>
              </a:spcBef>
              <a:spcAft>
                <a:spcPts val="200"/>
              </a:spcAft>
              <a:buFont typeface="+mj-lt"/>
              <a:buAutoNum type="arabicPeriod"/>
            </a:pPr>
            <a:r>
              <a:rPr lang="en-US" sz="900" dirty="0">
                <a:solidFill>
                  <a:schemeClr val="tx1"/>
                </a:solidFill>
                <a:latin typeface="+mn-lt"/>
              </a:rPr>
              <a:t>Once your image is inserted into the shape it may be distorted. (Stretched or Squashed)</a:t>
            </a:r>
          </a:p>
          <a:p>
            <a:pPr marL="179388" indent="-179388">
              <a:spcBef>
                <a:spcPts val="200"/>
              </a:spcBef>
              <a:spcAft>
                <a:spcPts val="200"/>
              </a:spcAft>
              <a:buFont typeface="+mj-lt"/>
              <a:buAutoNum type="arabicPeriod"/>
            </a:pPr>
            <a:endParaRPr lang="en-US" sz="900" dirty="0">
              <a:solidFill>
                <a:schemeClr val="tx1"/>
              </a:solidFill>
              <a:latin typeface="+mn-lt"/>
            </a:endParaRPr>
          </a:p>
          <a:p>
            <a:pPr>
              <a:spcBef>
                <a:spcPts val="200"/>
              </a:spcBef>
              <a:spcAft>
                <a:spcPts val="200"/>
              </a:spcAft>
            </a:pPr>
            <a:r>
              <a:rPr lang="en-US" sz="900" b="1" dirty="0">
                <a:solidFill>
                  <a:schemeClr val="tx1"/>
                </a:solidFill>
                <a:latin typeface="+mn-lt"/>
              </a:rPr>
              <a:t>To fix this:</a:t>
            </a:r>
          </a:p>
          <a:p>
            <a:pPr marL="179388" indent="-179388">
              <a:spcBef>
                <a:spcPts val="200"/>
              </a:spcBef>
              <a:spcAft>
                <a:spcPts val="200"/>
              </a:spcAft>
              <a:buFont typeface="+mj-lt"/>
              <a:buAutoNum type="arabicPeriod"/>
            </a:pPr>
            <a:r>
              <a:rPr lang="en-US" sz="900" dirty="0">
                <a:solidFill>
                  <a:schemeClr val="tx1"/>
                </a:solidFill>
                <a:latin typeface="+mn-lt"/>
              </a:rPr>
              <a:t>Click on the image and from the top menu under </a:t>
            </a:r>
            <a:r>
              <a:rPr lang="en-US" sz="900" b="1" dirty="0">
                <a:solidFill>
                  <a:schemeClr val="tx1"/>
                </a:solidFill>
                <a:latin typeface="+mn-lt"/>
              </a:rPr>
              <a:t>PICTURE FORMAT </a:t>
            </a:r>
            <a:r>
              <a:rPr lang="en-US" sz="900" dirty="0">
                <a:solidFill>
                  <a:schemeClr val="tx1"/>
                </a:solidFill>
                <a:latin typeface="+mn-lt"/>
              </a:rPr>
              <a:t>select the </a:t>
            </a:r>
            <a:r>
              <a:rPr lang="en-US" sz="900" b="1" dirty="0">
                <a:solidFill>
                  <a:schemeClr val="tx1"/>
                </a:solidFill>
                <a:latin typeface="+mn-lt"/>
              </a:rPr>
              <a:t>CROP</a:t>
            </a:r>
            <a:r>
              <a:rPr lang="en-US" sz="900" dirty="0">
                <a:solidFill>
                  <a:schemeClr val="tx1"/>
                </a:solidFill>
                <a:latin typeface="+mn-lt"/>
              </a:rPr>
              <a:t> on the right and from the drop down menu select </a:t>
            </a:r>
            <a:r>
              <a:rPr lang="en-US" sz="900" b="1" kern="1200" dirty="0">
                <a:solidFill>
                  <a:schemeClr val="tx1"/>
                </a:solidFill>
                <a:latin typeface="+mn-lt"/>
                <a:ea typeface="+mn-ea"/>
                <a:cs typeface="+mn-cs"/>
              </a:rPr>
              <a:t>FILL</a:t>
            </a:r>
          </a:p>
          <a:p>
            <a:pPr marL="179388" indent="-179388">
              <a:spcBef>
                <a:spcPts val="200"/>
              </a:spcBef>
              <a:spcAft>
                <a:spcPts val="200"/>
              </a:spcAft>
              <a:buFont typeface="+mj-lt"/>
              <a:buAutoNum type="arabicPeriod"/>
            </a:pPr>
            <a:r>
              <a:rPr lang="en-US" sz="900" b="0" kern="1200" dirty="0">
                <a:solidFill>
                  <a:schemeClr val="tx1"/>
                </a:solidFill>
                <a:latin typeface="+mn-lt"/>
                <a:ea typeface="+mn-ea"/>
                <a:cs typeface="+mn-cs"/>
              </a:rPr>
              <a:t>From here you can move the image within the shape for best visual appearance</a:t>
            </a:r>
          </a:p>
        </p:txBody>
      </p:sp>
      <p:sp>
        <p:nvSpPr>
          <p:cNvPr id="13" name="Rectangle 12">
            <a:extLst>
              <a:ext uri="{FF2B5EF4-FFF2-40B4-BE49-F238E27FC236}">
                <a16:creationId xmlns:a16="http://schemas.microsoft.com/office/drawing/2014/main" id="{4E0D922A-7FA5-2849-478F-2D531958894D}"/>
              </a:ext>
            </a:extLst>
          </p:cNvPr>
          <p:cNvSpPr/>
          <p:nvPr userDrawn="1"/>
        </p:nvSpPr>
        <p:spPr>
          <a:xfrm>
            <a:off x="12352866" y="0"/>
            <a:ext cx="2302933" cy="24574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b="1" i="0" dirty="0">
                <a:solidFill>
                  <a:schemeClr val="bg1"/>
                </a:solidFill>
                <a:effectLst/>
                <a:latin typeface="+mn-lt"/>
                <a:ea typeface="Calibri" panose="020F0502020204030204" pitchFamily="34" charset="0"/>
              </a:rPr>
              <a:t>NOTE:</a:t>
            </a:r>
          </a:p>
          <a:p>
            <a:r>
              <a:rPr lang="en-US" sz="1200" i="1" dirty="0">
                <a:solidFill>
                  <a:schemeClr val="bg1"/>
                </a:solidFill>
                <a:effectLst/>
                <a:latin typeface="+mn-lt"/>
                <a:ea typeface="Calibri" panose="020F0502020204030204" pitchFamily="34" charset="0"/>
              </a:rPr>
              <a:t>These slides should only be used for sustainability related sections of HFW pitches. To ensure correct usage of our HFW sustainability visual identity, make sure the divider slide is in place before using the body text slide.</a:t>
            </a:r>
          </a:p>
          <a:p>
            <a:r>
              <a:rPr lang="en-US" sz="1200" i="0" dirty="0">
                <a:solidFill>
                  <a:schemeClr val="bg1"/>
                </a:solidFill>
                <a:effectLst/>
                <a:latin typeface="+mj-lt"/>
                <a:ea typeface="Calibri" panose="020F0502020204030204" pitchFamily="34" charset="0"/>
              </a:rPr>
              <a:t>This is the Body text Slide</a:t>
            </a:r>
          </a:p>
        </p:txBody>
      </p:sp>
    </p:spTree>
    <p:extLst>
      <p:ext uri="{BB962C8B-B14F-4D97-AF65-F5344CB8AC3E}">
        <p14:creationId xmlns:p14="http://schemas.microsoft.com/office/powerpoint/2010/main" val="2317439312"/>
      </p:ext>
    </p:extLst>
  </p:cSld>
  <p:clrMapOvr>
    <a:masterClrMapping/>
  </p:clrMapOvr>
  <p:transition spd="med">
    <p:fade/>
  </p:transition>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los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FCAB5C5-FCD1-102C-8C5D-56BF4FF2B35E}"/>
              </a:ext>
            </a:extLst>
          </p:cNvPr>
          <p:cNvSpPr/>
          <p:nvPr userDrawn="1"/>
        </p:nvSpPr>
        <p:spPr>
          <a:xfrm>
            <a:off x="0" y="0"/>
            <a:ext cx="1219199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5F816705-64C6-CAED-FD39-B5FFCFADD825}"/>
              </a:ext>
            </a:extLst>
          </p:cNvPr>
          <p:cNvSpPr txBox="1"/>
          <p:nvPr userDrawn="1"/>
        </p:nvSpPr>
        <p:spPr>
          <a:xfrm>
            <a:off x="508000" y="4930432"/>
            <a:ext cx="7643814" cy="1083053"/>
          </a:xfrm>
          <a:prstGeom prst="rect">
            <a:avLst/>
          </a:prstGeom>
          <a:noFill/>
        </p:spPr>
        <p:txBody>
          <a:bodyPr wrap="square" lIns="0" rtlCol="0">
            <a:spAutoFit/>
          </a:bodyPr>
          <a:lstStyle/>
          <a:p>
            <a:pPr algn="l">
              <a:lnSpc>
                <a:spcPct val="110000"/>
              </a:lnSpc>
              <a:spcBef>
                <a:spcPts val="300"/>
              </a:spcBef>
              <a:spcAft>
                <a:spcPts val="300"/>
              </a:spcAft>
            </a:pPr>
            <a:r>
              <a:rPr lang="en-US" sz="1400" b="0" i="0" u="none" strike="noStrike" baseline="0" dirty="0">
                <a:solidFill>
                  <a:schemeClr val="accent2"/>
                </a:solidFill>
                <a:latin typeface="+mj-lt"/>
              </a:rPr>
              <a:t>hfw.com</a:t>
            </a:r>
          </a:p>
          <a:p>
            <a:pPr algn="l">
              <a:lnSpc>
                <a:spcPct val="110000"/>
              </a:lnSpc>
              <a:spcBef>
                <a:spcPts val="300"/>
              </a:spcBef>
              <a:spcAft>
                <a:spcPts val="300"/>
              </a:spcAft>
            </a:pPr>
            <a:r>
              <a:rPr lang="en-US" sz="900" b="0" i="0" u="none" strike="noStrike" baseline="0" dirty="0">
                <a:solidFill>
                  <a:srgbClr val="FFFFFF"/>
                </a:solidFill>
                <a:latin typeface="Montserrat" pitchFamily="2" charset="0"/>
              </a:rPr>
              <a:t>© 2025 Holman Fenwick Willan LLP. All rights reserved. </a:t>
            </a:r>
          </a:p>
          <a:p>
            <a:pPr algn="l">
              <a:lnSpc>
                <a:spcPct val="110000"/>
              </a:lnSpc>
              <a:spcBef>
                <a:spcPts val="300"/>
              </a:spcBef>
              <a:spcAft>
                <a:spcPts val="300"/>
              </a:spcAft>
            </a:pPr>
            <a:r>
              <a:rPr lang="en-US" sz="900" b="0" i="0" u="none" strike="noStrike" baseline="0" dirty="0">
                <a:solidFill>
                  <a:srgbClr val="FFFFFF"/>
                </a:solidFill>
                <a:latin typeface="Montserrat" pitchFamily="2" charset="0"/>
              </a:rPr>
              <a:t>Whilst every care has been taken to ensure the accuracy of this information at the time of publication, the information is intended as guidance only. It should not be considered as legal advice. Holman Fenwick Willan LLP is the Data Controller for any data that it holds about you. To correct your personal details or change your mailing preferences please email hfwenquiries@hfw.com</a:t>
            </a:r>
            <a:endParaRPr lang="en-GB" sz="100" dirty="0"/>
          </a:p>
        </p:txBody>
      </p:sp>
      <p:sp>
        <p:nvSpPr>
          <p:cNvPr id="10" name="TextBox 9">
            <a:extLst>
              <a:ext uri="{FF2B5EF4-FFF2-40B4-BE49-F238E27FC236}">
                <a16:creationId xmlns:a16="http://schemas.microsoft.com/office/drawing/2014/main" id="{CCA01A76-FD09-EE82-8548-301AE8AFD667}"/>
              </a:ext>
            </a:extLst>
          </p:cNvPr>
          <p:cNvSpPr txBox="1"/>
          <p:nvPr userDrawn="1"/>
        </p:nvSpPr>
        <p:spPr>
          <a:xfrm>
            <a:off x="508000" y="6026149"/>
            <a:ext cx="4897967" cy="282706"/>
          </a:xfrm>
          <a:prstGeom prst="rect">
            <a:avLst/>
          </a:prstGeom>
          <a:noFill/>
        </p:spPr>
        <p:txBody>
          <a:bodyPr wrap="square" lIns="0" rtlCol="0">
            <a:spAutoFit/>
          </a:bodyPr>
          <a:lstStyle/>
          <a:p>
            <a:pPr algn="l">
              <a:lnSpc>
                <a:spcPct val="110000"/>
              </a:lnSpc>
              <a:spcBef>
                <a:spcPts val="200"/>
              </a:spcBef>
              <a:spcAft>
                <a:spcPts val="200"/>
              </a:spcAft>
            </a:pPr>
            <a:r>
              <a:rPr lang="en-US" sz="1200" b="0" i="0" u="none" strike="noStrike" baseline="0" dirty="0">
                <a:solidFill>
                  <a:srgbClr val="FFFFFF"/>
                </a:solidFill>
                <a:latin typeface="Montserrat" pitchFamily="2" charset="0"/>
              </a:rPr>
              <a:t>Americas   |   Europe   |   Middle East   |   Asia Pacific</a:t>
            </a:r>
            <a:endParaRPr lang="en-GB" sz="500" dirty="0"/>
          </a:p>
        </p:txBody>
      </p:sp>
      <p:sp>
        <p:nvSpPr>
          <p:cNvPr id="2" name="Graphic 13">
            <a:extLst>
              <a:ext uri="{FF2B5EF4-FFF2-40B4-BE49-F238E27FC236}">
                <a16:creationId xmlns:a16="http://schemas.microsoft.com/office/drawing/2014/main" id="{7053C0A5-CB07-DA53-72C5-5D97627394AE}"/>
              </a:ext>
            </a:extLst>
          </p:cNvPr>
          <p:cNvSpPr>
            <a:spLocks noGrp="1" noRot="1" noMove="1" noResize="1" noEditPoints="1" noAdjustHandles="1" noChangeArrowheads="1" noChangeShapeType="1"/>
          </p:cNvSpPr>
          <p:nvPr userDrawn="1"/>
        </p:nvSpPr>
        <p:spPr>
          <a:xfrm>
            <a:off x="585463" y="588011"/>
            <a:ext cx="1522695" cy="922576"/>
          </a:xfrm>
          <a:custGeom>
            <a:avLst/>
            <a:gdLst>
              <a:gd name="connsiteX0" fmla="*/ 618149 w 1522695"/>
              <a:gd name="connsiteY0" fmla="*/ 39943 h 922576"/>
              <a:gd name="connsiteX1" fmla="*/ 421345 w 1522695"/>
              <a:gd name="connsiteY1" fmla="*/ 876531 h 922576"/>
              <a:gd name="connsiteX2" fmla="*/ 388753 w 1522695"/>
              <a:gd name="connsiteY2" fmla="*/ 915365 h 922576"/>
              <a:gd name="connsiteX3" fmla="*/ 349364 w 1522695"/>
              <a:gd name="connsiteY3" fmla="*/ 922577 h 922576"/>
              <a:gd name="connsiteX4" fmla="*/ 328006 w 1522695"/>
              <a:gd name="connsiteY4" fmla="*/ 897196 h 922576"/>
              <a:gd name="connsiteX5" fmla="*/ 431608 w 1522695"/>
              <a:gd name="connsiteY5" fmla="*/ 465033 h 922576"/>
              <a:gd name="connsiteX6" fmla="*/ 224958 w 1522695"/>
              <a:gd name="connsiteY6" fmla="*/ 504838 h 922576"/>
              <a:gd name="connsiteX7" fmla="*/ 185292 w 1522695"/>
              <a:gd name="connsiteY7" fmla="*/ 702473 h 922576"/>
              <a:gd name="connsiteX8" fmla="*/ 159634 w 1522695"/>
              <a:gd name="connsiteY8" fmla="*/ 738117 h 922576"/>
              <a:gd name="connsiteX9" fmla="*/ 102771 w 1522695"/>
              <a:gd name="connsiteY9" fmla="*/ 719671 h 922576"/>
              <a:gd name="connsiteX10" fmla="*/ 150203 w 1522695"/>
              <a:gd name="connsiteY10" fmla="*/ 519816 h 922576"/>
              <a:gd name="connsiteX11" fmla="*/ 62411 w 1522695"/>
              <a:gd name="connsiteY11" fmla="*/ 533547 h 922576"/>
              <a:gd name="connsiteX12" fmla="*/ 0 w 1522695"/>
              <a:gd name="connsiteY12" fmla="*/ 507750 h 922576"/>
              <a:gd name="connsiteX13" fmla="*/ 163795 w 1522695"/>
              <a:gd name="connsiteY13" fmla="*/ 465588 h 922576"/>
              <a:gd name="connsiteX14" fmla="*/ 234805 w 1522695"/>
              <a:gd name="connsiteY14" fmla="*/ 162547 h 922576"/>
              <a:gd name="connsiteX15" fmla="*/ 258244 w 1522695"/>
              <a:gd name="connsiteY15" fmla="*/ 135502 h 922576"/>
              <a:gd name="connsiteX16" fmla="*/ 300961 w 1522695"/>
              <a:gd name="connsiteY16" fmla="*/ 126625 h 922576"/>
              <a:gd name="connsiteX17" fmla="*/ 316772 w 1522695"/>
              <a:gd name="connsiteY17" fmla="*/ 149232 h 922576"/>
              <a:gd name="connsiteX18" fmla="*/ 239104 w 1522695"/>
              <a:gd name="connsiteY18" fmla="*/ 449084 h 922576"/>
              <a:gd name="connsiteX19" fmla="*/ 447697 w 1522695"/>
              <a:gd name="connsiteY19" fmla="*/ 404564 h 922576"/>
              <a:gd name="connsiteX20" fmla="*/ 542839 w 1522695"/>
              <a:gd name="connsiteY20" fmla="*/ 34950 h 922576"/>
              <a:gd name="connsiteX21" fmla="*/ 557402 w 1522695"/>
              <a:gd name="connsiteY21" fmla="*/ 6935 h 922576"/>
              <a:gd name="connsiteX22" fmla="*/ 592907 w 1522695"/>
              <a:gd name="connsiteY22" fmla="*/ 0 h 922576"/>
              <a:gd name="connsiteX23" fmla="*/ 620506 w 1522695"/>
              <a:gd name="connsiteY23" fmla="*/ 25381 h 922576"/>
              <a:gd name="connsiteX24" fmla="*/ 618426 w 1522695"/>
              <a:gd name="connsiteY24" fmla="*/ 40359 h 922576"/>
              <a:gd name="connsiteX25" fmla="*/ 845048 w 1522695"/>
              <a:gd name="connsiteY25" fmla="*/ 445755 h 922576"/>
              <a:gd name="connsiteX26" fmla="*/ 684582 w 1522695"/>
              <a:gd name="connsiteY26" fmla="*/ 476544 h 922576"/>
              <a:gd name="connsiteX27" fmla="*/ 729241 w 1522695"/>
              <a:gd name="connsiteY27" fmla="*/ 311918 h 922576"/>
              <a:gd name="connsiteX28" fmla="*/ 1087204 w 1522695"/>
              <a:gd name="connsiteY28" fmla="*/ 231060 h 922576"/>
              <a:gd name="connsiteX29" fmla="*/ 1110643 w 1522695"/>
              <a:gd name="connsiteY29" fmla="*/ 218994 h 922576"/>
              <a:gd name="connsiteX30" fmla="*/ 1053363 w 1522695"/>
              <a:gd name="connsiteY30" fmla="*/ 185708 h 922576"/>
              <a:gd name="connsiteX31" fmla="*/ 1029785 w 1522695"/>
              <a:gd name="connsiteY31" fmla="*/ 187927 h 922576"/>
              <a:gd name="connsiteX32" fmla="*/ 636872 w 1522695"/>
              <a:gd name="connsiteY32" fmla="*/ 267536 h 922576"/>
              <a:gd name="connsiteX33" fmla="*/ 610798 w 1522695"/>
              <a:gd name="connsiteY33" fmla="*/ 284595 h 922576"/>
              <a:gd name="connsiteX34" fmla="*/ 652683 w 1522695"/>
              <a:gd name="connsiteY34" fmla="*/ 321210 h 922576"/>
              <a:gd name="connsiteX35" fmla="*/ 524948 w 1522695"/>
              <a:gd name="connsiteY35" fmla="*/ 802192 h 922576"/>
              <a:gd name="connsiteX36" fmla="*/ 537569 w 1522695"/>
              <a:gd name="connsiteY36" fmla="*/ 815646 h 922576"/>
              <a:gd name="connsiteX37" fmla="*/ 595542 w 1522695"/>
              <a:gd name="connsiteY37" fmla="*/ 802886 h 922576"/>
              <a:gd name="connsiteX38" fmla="*/ 616762 w 1522695"/>
              <a:gd name="connsiteY38" fmla="*/ 763914 h 922576"/>
              <a:gd name="connsiteX39" fmla="*/ 669603 w 1522695"/>
              <a:gd name="connsiteY39" fmla="*/ 537430 h 922576"/>
              <a:gd name="connsiteX40" fmla="*/ 808988 w 1522695"/>
              <a:gd name="connsiteY40" fmla="*/ 509276 h 922576"/>
              <a:gd name="connsiteX41" fmla="*/ 859611 w 1522695"/>
              <a:gd name="connsiteY41" fmla="*/ 477238 h 922576"/>
              <a:gd name="connsiteX42" fmla="*/ 872232 w 1522695"/>
              <a:gd name="connsiteY42" fmla="*/ 451996 h 922576"/>
              <a:gd name="connsiteX43" fmla="*/ 845187 w 1522695"/>
              <a:gd name="connsiteY43" fmla="*/ 445755 h 922576"/>
              <a:gd name="connsiteX44" fmla="*/ 1479701 w 1522695"/>
              <a:gd name="connsiteY44" fmla="*/ 159218 h 922576"/>
              <a:gd name="connsiteX45" fmla="*/ 1409801 w 1522695"/>
              <a:gd name="connsiteY45" fmla="*/ 217052 h 922576"/>
              <a:gd name="connsiteX46" fmla="*/ 1212442 w 1522695"/>
              <a:gd name="connsiteY46" fmla="*/ 666691 h 922576"/>
              <a:gd name="connsiteX47" fmla="*/ 1231721 w 1522695"/>
              <a:gd name="connsiteY47" fmla="*/ 323845 h 922576"/>
              <a:gd name="connsiteX48" fmla="*/ 1206895 w 1522695"/>
              <a:gd name="connsiteY48" fmla="*/ 300683 h 922576"/>
              <a:gd name="connsiteX49" fmla="*/ 1151002 w 1522695"/>
              <a:gd name="connsiteY49" fmla="*/ 324677 h 922576"/>
              <a:gd name="connsiteX50" fmla="*/ 1137549 w 1522695"/>
              <a:gd name="connsiteY50" fmla="*/ 353525 h 922576"/>
              <a:gd name="connsiteX51" fmla="*/ 980689 w 1522695"/>
              <a:gd name="connsiteY51" fmla="*/ 605528 h 922576"/>
              <a:gd name="connsiteX52" fmla="*/ 1041574 w 1522695"/>
              <a:gd name="connsiteY52" fmla="*/ 331196 h 922576"/>
              <a:gd name="connsiteX53" fmla="*/ 1029369 w 1522695"/>
              <a:gd name="connsiteY53" fmla="*/ 319962 h 922576"/>
              <a:gd name="connsiteX54" fmla="*/ 988871 w 1522695"/>
              <a:gd name="connsiteY54" fmla="*/ 327728 h 922576"/>
              <a:gd name="connsiteX55" fmla="*/ 954892 w 1522695"/>
              <a:gd name="connsiteY55" fmla="*/ 369752 h 922576"/>
              <a:gd name="connsiteX56" fmla="*/ 880553 w 1522695"/>
              <a:gd name="connsiteY56" fmla="*/ 711766 h 922576"/>
              <a:gd name="connsiteX57" fmla="*/ 902328 w 1522695"/>
              <a:gd name="connsiteY57" fmla="*/ 741862 h 922576"/>
              <a:gd name="connsiteX58" fmla="*/ 960024 w 1522695"/>
              <a:gd name="connsiteY58" fmla="*/ 718423 h 922576"/>
              <a:gd name="connsiteX59" fmla="*/ 1144483 w 1522695"/>
              <a:gd name="connsiteY59" fmla="*/ 419542 h 922576"/>
              <a:gd name="connsiteX60" fmla="*/ 1128950 w 1522695"/>
              <a:gd name="connsiteY60" fmla="*/ 709546 h 922576"/>
              <a:gd name="connsiteX61" fmla="*/ 1162375 w 1522695"/>
              <a:gd name="connsiteY61" fmla="*/ 786798 h 922576"/>
              <a:gd name="connsiteX62" fmla="*/ 1235049 w 1522695"/>
              <a:gd name="connsiteY62" fmla="*/ 740891 h 922576"/>
              <a:gd name="connsiteX63" fmla="*/ 1512016 w 1522695"/>
              <a:gd name="connsiteY63" fmla="*/ 203322 h 922576"/>
              <a:gd name="connsiteX64" fmla="*/ 1522696 w 1522695"/>
              <a:gd name="connsiteY64" fmla="*/ 183766 h 922576"/>
              <a:gd name="connsiteX65" fmla="*/ 1479840 w 1522695"/>
              <a:gd name="connsiteY65" fmla="*/ 159357 h 922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522695" h="922576">
                <a:moveTo>
                  <a:pt x="618149" y="39943"/>
                </a:moveTo>
                <a:cubicBezTo>
                  <a:pt x="568774" y="240214"/>
                  <a:pt x="450887" y="614404"/>
                  <a:pt x="421345" y="876531"/>
                </a:cubicBezTo>
                <a:cubicBezTo>
                  <a:pt x="418849" y="898167"/>
                  <a:pt x="420374" y="906627"/>
                  <a:pt x="388753" y="915365"/>
                </a:cubicBezTo>
                <a:cubicBezTo>
                  <a:pt x="373497" y="919526"/>
                  <a:pt x="359350" y="922577"/>
                  <a:pt x="349364" y="922577"/>
                </a:cubicBezTo>
                <a:cubicBezTo>
                  <a:pt x="333831" y="922577"/>
                  <a:pt x="328006" y="913978"/>
                  <a:pt x="328006" y="897196"/>
                </a:cubicBezTo>
                <a:cubicBezTo>
                  <a:pt x="328006" y="851567"/>
                  <a:pt x="390972" y="623280"/>
                  <a:pt x="431608" y="465033"/>
                </a:cubicBezTo>
                <a:cubicBezTo>
                  <a:pt x="377380" y="475296"/>
                  <a:pt x="300961" y="489998"/>
                  <a:pt x="224958" y="504838"/>
                </a:cubicBezTo>
                <a:cubicBezTo>
                  <a:pt x="206512" y="579870"/>
                  <a:pt x="193336" y="642697"/>
                  <a:pt x="185292" y="702473"/>
                </a:cubicBezTo>
                <a:cubicBezTo>
                  <a:pt x="183350" y="716897"/>
                  <a:pt x="185292" y="730489"/>
                  <a:pt x="159634" y="738117"/>
                </a:cubicBezTo>
                <a:cubicBezTo>
                  <a:pt x="116362" y="751015"/>
                  <a:pt x="100968" y="743803"/>
                  <a:pt x="102771" y="719671"/>
                </a:cubicBezTo>
                <a:cubicBezTo>
                  <a:pt x="105683" y="679589"/>
                  <a:pt x="118443" y="648661"/>
                  <a:pt x="150203" y="519816"/>
                </a:cubicBezTo>
                <a:cubicBezTo>
                  <a:pt x="110676" y="527722"/>
                  <a:pt x="79748" y="533547"/>
                  <a:pt x="62411" y="533547"/>
                </a:cubicBezTo>
                <a:cubicBezTo>
                  <a:pt x="38972" y="533547"/>
                  <a:pt x="0" y="517459"/>
                  <a:pt x="0" y="507750"/>
                </a:cubicBezTo>
                <a:cubicBezTo>
                  <a:pt x="0" y="496239"/>
                  <a:pt x="27184" y="496377"/>
                  <a:pt x="163795" y="465588"/>
                </a:cubicBezTo>
                <a:cubicBezTo>
                  <a:pt x="190146" y="360876"/>
                  <a:pt x="227038" y="219133"/>
                  <a:pt x="234805" y="162547"/>
                </a:cubicBezTo>
                <a:cubicBezTo>
                  <a:pt x="236192" y="152145"/>
                  <a:pt x="239798" y="140633"/>
                  <a:pt x="258244" y="135502"/>
                </a:cubicBezTo>
                <a:cubicBezTo>
                  <a:pt x="269339" y="132451"/>
                  <a:pt x="290004" y="126625"/>
                  <a:pt x="300961" y="126625"/>
                </a:cubicBezTo>
                <a:cubicBezTo>
                  <a:pt x="313304" y="126625"/>
                  <a:pt x="316772" y="137721"/>
                  <a:pt x="316772" y="149232"/>
                </a:cubicBezTo>
                <a:cubicBezTo>
                  <a:pt x="316772" y="170036"/>
                  <a:pt x="273916" y="298048"/>
                  <a:pt x="239104" y="449084"/>
                </a:cubicBezTo>
                <a:cubicBezTo>
                  <a:pt x="309837" y="433689"/>
                  <a:pt x="385424" y="417739"/>
                  <a:pt x="447697" y="404564"/>
                </a:cubicBezTo>
                <a:cubicBezTo>
                  <a:pt x="485421" y="261434"/>
                  <a:pt x="522313" y="121910"/>
                  <a:pt x="542839" y="34950"/>
                </a:cubicBezTo>
                <a:cubicBezTo>
                  <a:pt x="547277" y="16227"/>
                  <a:pt x="546445" y="10679"/>
                  <a:pt x="557402" y="6935"/>
                </a:cubicBezTo>
                <a:cubicBezTo>
                  <a:pt x="562533" y="5132"/>
                  <a:pt x="578205" y="0"/>
                  <a:pt x="592907" y="0"/>
                </a:cubicBezTo>
                <a:cubicBezTo>
                  <a:pt x="607608" y="0"/>
                  <a:pt x="620506" y="5548"/>
                  <a:pt x="620506" y="25381"/>
                </a:cubicBezTo>
                <a:cubicBezTo>
                  <a:pt x="620506" y="29680"/>
                  <a:pt x="619813" y="34673"/>
                  <a:pt x="618426" y="40359"/>
                </a:cubicBezTo>
                <a:close/>
                <a:moveTo>
                  <a:pt x="845048" y="445755"/>
                </a:moveTo>
                <a:cubicBezTo>
                  <a:pt x="796922" y="454076"/>
                  <a:pt x="739920" y="465865"/>
                  <a:pt x="684582" y="476544"/>
                </a:cubicBezTo>
                <a:cubicBezTo>
                  <a:pt x="700670" y="412608"/>
                  <a:pt x="716620" y="352970"/>
                  <a:pt x="729241" y="311918"/>
                </a:cubicBezTo>
                <a:cubicBezTo>
                  <a:pt x="838946" y="287092"/>
                  <a:pt x="1056276" y="236053"/>
                  <a:pt x="1087204" y="231060"/>
                </a:cubicBezTo>
                <a:cubicBezTo>
                  <a:pt x="1104679" y="228148"/>
                  <a:pt x="1110643" y="223155"/>
                  <a:pt x="1110643" y="218994"/>
                </a:cubicBezTo>
                <a:cubicBezTo>
                  <a:pt x="1110643" y="211089"/>
                  <a:pt x="1084985" y="185708"/>
                  <a:pt x="1053363" y="185708"/>
                </a:cubicBezTo>
                <a:cubicBezTo>
                  <a:pt x="1046428" y="185708"/>
                  <a:pt x="1038662" y="186402"/>
                  <a:pt x="1029785" y="187927"/>
                </a:cubicBezTo>
                <a:cubicBezTo>
                  <a:pt x="966542" y="199023"/>
                  <a:pt x="709269" y="252974"/>
                  <a:pt x="636872" y="267536"/>
                </a:cubicBezTo>
                <a:cubicBezTo>
                  <a:pt x="618842" y="271142"/>
                  <a:pt x="610798" y="277661"/>
                  <a:pt x="610798" y="284595"/>
                </a:cubicBezTo>
                <a:cubicBezTo>
                  <a:pt x="610798" y="295136"/>
                  <a:pt x="636317" y="316217"/>
                  <a:pt x="652683" y="321210"/>
                </a:cubicBezTo>
                <a:cubicBezTo>
                  <a:pt x="616623" y="461427"/>
                  <a:pt x="524948" y="770571"/>
                  <a:pt x="524948" y="802192"/>
                </a:cubicBezTo>
                <a:cubicBezTo>
                  <a:pt x="524948" y="809959"/>
                  <a:pt x="527583" y="815646"/>
                  <a:pt x="537569" y="815646"/>
                </a:cubicBezTo>
                <a:cubicBezTo>
                  <a:pt x="551299" y="815646"/>
                  <a:pt x="579176" y="809682"/>
                  <a:pt x="595542" y="802886"/>
                </a:cubicBezTo>
                <a:cubicBezTo>
                  <a:pt x="611908" y="795951"/>
                  <a:pt x="611630" y="787907"/>
                  <a:pt x="616762" y="763914"/>
                </a:cubicBezTo>
                <a:cubicBezTo>
                  <a:pt x="627996" y="712043"/>
                  <a:pt x="648106" y="624945"/>
                  <a:pt x="669603" y="537430"/>
                </a:cubicBezTo>
                <a:cubicBezTo>
                  <a:pt x="735620" y="523422"/>
                  <a:pt x="777505" y="516488"/>
                  <a:pt x="808988" y="509276"/>
                </a:cubicBezTo>
                <a:cubicBezTo>
                  <a:pt x="843661" y="501370"/>
                  <a:pt x="850180" y="491107"/>
                  <a:pt x="859611" y="477238"/>
                </a:cubicBezTo>
                <a:cubicBezTo>
                  <a:pt x="865852" y="468223"/>
                  <a:pt x="872232" y="456850"/>
                  <a:pt x="872232" y="451996"/>
                </a:cubicBezTo>
                <a:cubicBezTo>
                  <a:pt x="872232" y="444368"/>
                  <a:pt x="864742" y="442288"/>
                  <a:pt x="845187" y="445755"/>
                </a:cubicBezTo>
                <a:close/>
                <a:moveTo>
                  <a:pt x="1479701" y="159218"/>
                </a:moveTo>
                <a:cubicBezTo>
                  <a:pt x="1459452" y="159218"/>
                  <a:pt x="1437955" y="171978"/>
                  <a:pt x="1409801" y="217052"/>
                </a:cubicBezTo>
                <a:cubicBezTo>
                  <a:pt x="1369857" y="281128"/>
                  <a:pt x="1274854" y="509553"/>
                  <a:pt x="1212442" y="666691"/>
                </a:cubicBezTo>
                <a:cubicBezTo>
                  <a:pt x="1210639" y="502202"/>
                  <a:pt x="1231721" y="360598"/>
                  <a:pt x="1231721" y="323845"/>
                </a:cubicBezTo>
                <a:cubicBezTo>
                  <a:pt x="1231721" y="305399"/>
                  <a:pt x="1220348" y="300683"/>
                  <a:pt x="1206895" y="300683"/>
                </a:cubicBezTo>
                <a:cubicBezTo>
                  <a:pt x="1188310" y="300683"/>
                  <a:pt x="1160988" y="301516"/>
                  <a:pt x="1151002" y="324677"/>
                </a:cubicBezTo>
                <a:cubicBezTo>
                  <a:pt x="1144483" y="339795"/>
                  <a:pt x="1143374" y="343262"/>
                  <a:pt x="1137549" y="353525"/>
                </a:cubicBezTo>
                <a:cubicBezTo>
                  <a:pt x="1125205" y="375577"/>
                  <a:pt x="1053502" y="501786"/>
                  <a:pt x="980689" y="605528"/>
                </a:cubicBezTo>
                <a:cubicBezTo>
                  <a:pt x="1012588" y="432995"/>
                  <a:pt x="1041574" y="349087"/>
                  <a:pt x="1041574" y="331196"/>
                </a:cubicBezTo>
                <a:cubicBezTo>
                  <a:pt x="1041574" y="322874"/>
                  <a:pt x="1036165" y="319962"/>
                  <a:pt x="1029369" y="319962"/>
                </a:cubicBezTo>
                <a:cubicBezTo>
                  <a:pt x="1021325" y="319962"/>
                  <a:pt x="1000799" y="324816"/>
                  <a:pt x="988871" y="327728"/>
                </a:cubicBezTo>
                <a:cubicBezTo>
                  <a:pt x="974864" y="331196"/>
                  <a:pt x="963768" y="335772"/>
                  <a:pt x="954892" y="369752"/>
                </a:cubicBezTo>
                <a:cubicBezTo>
                  <a:pt x="925905" y="479734"/>
                  <a:pt x="880553" y="665720"/>
                  <a:pt x="880553" y="711766"/>
                </a:cubicBezTo>
                <a:cubicBezTo>
                  <a:pt x="880553" y="731876"/>
                  <a:pt x="884575" y="741862"/>
                  <a:pt x="902328" y="741862"/>
                </a:cubicBezTo>
                <a:cubicBezTo>
                  <a:pt x="921051" y="741862"/>
                  <a:pt x="947541" y="736591"/>
                  <a:pt x="960024" y="718423"/>
                </a:cubicBezTo>
                <a:cubicBezTo>
                  <a:pt x="1022851" y="626609"/>
                  <a:pt x="1086372" y="516349"/>
                  <a:pt x="1144483" y="419542"/>
                </a:cubicBezTo>
                <a:cubicBezTo>
                  <a:pt x="1135191" y="510801"/>
                  <a:pt x="1128950" y="628967"/>
                  <a:pt x="1128950" y="709546"/>
                </a:cubicBezTo>
                <a:cubicBezTo>
                  <a:pt x="1128950" y="765023"/>
                  <a:pt x="1130614" y="786798"/>
                  <a:pt x="1162375" y="786798"/>
                </a:cubicBezTo>
                <a:cubicBezTo>
                  <a:pt x="1191223" y="786798"/>
                  <a:pt x="1217019" y="781666"/>
                  <a:pt x="1235049" y="740891"/>
                </a:cubicBezTo>
                <a:cubicBezTo>
                  <a:pt x="1297599" y="599148"/>
                  <a:pt x="1429911" y="303735"/>
                  <a:pt x="1512016" y="203322"/>
                </a:cubicBezTo>
                <a:cubicBezTo>
                  <a:pt x="1517425" y="196803"/>
                  <a:pt x="1522696" y="191256"/>
                  <a:pt x="1522696" y="183766"/>
                </a:cubicBezTo>
                <a:cubicBezTo>
                  <a:pt x="1522696" y="173365"/>
                  <a:pt x="1498563" y="159357"/>
                  <a:pt x="1479840" y="159357"/>
                </a:cubicBezTo>
                <a:close/>
              </a:path>
            </a:pathLst>
          </a:custGeom>
          <a:solidFill>
            <a:schemeClr val="bg1"/>
          </a:solidFill>
          <a:ln w="13855" cap="flat">
            <a:noFill/>
            <a:prstDash val="solid"/>
            <a:miter/>
          </a:ln>
        </p:spPr>
        <p:txBody>
          <a:bodyPr rtlCol="0" anchor="ctr"/>
          <a:lstStyle/>
          <a:p>
            <a:endParaRPr lang="en-GB"/>
          </a:p>
        </p:txBody>
      </p:sp>
    </p:spTree>
    <p:extLst>
      <p:ext uri="{BB962C8B-B14F-4D97-AF65-F5344CB8AC3E}">
        <p14:creationId xmlns:p14="http://schemas.microsoft.com/office/powerpoint/2010/main" val="3340160533"/>
      </p:ext>
    </p:extLst>
  </p:cSld>
  <p:clrMapOvr>
    <a:masterClrMapping/>
  </p:clrMapOvr>
  <p:transition spd="med">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895006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Standard One col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FC845F55-9628-45C8-A772-2C98236649B5}"/>
              </a:ext>
            </a:extLst>
          </p:cNvPr>
          <p:cNvSpPr>
            <a:spLocks noGrp="1"/>
          </p:cNvSpPr>
          <p:nvPr>
            <p:ph type="sldNum" sz="quarter" idx="12"/>
          </p:nvPr>
        </p:nvSpPr>
        <p:spPr/>
        <p:txBody>
          <a:bodyPr/>
          <a:lstStyle/>
          <a:p>
            <a:fld id="{7DAB47CC-2047-4FFE-9F3B-6C9AB62C3816}" type="slidenum">
              <a:rPr lang="en-GB" smtClean="0"/>
              <a:pPr/>
              <a:t>‹#›</a:t>
            </a:fld>
            <a:endParaRPr lang="en-GB"/>
          </a:p>
        </p:txBody>
      </p:sp>
      <p:sp>
        <p:nvSpPr>
          <p:cNvPr id="14" name="Text Placeholder 13"/>
          <p:cNvSpPr>
            <a:spLocks noGrp="1"/>
          </p:cNvSpPr>
          <p:nvPr>
            <p:ph type="body" sz="quarter" idx="13" hasCustomPrompt="1"/>
          </p:nvPr>
        </p:nvSpPr>
        <p:spPr>
          <a:xfrm>
            <a:off x="7010273" y="765175"/>
            <a:ext cx="4680000" cy="288000"/>
          </a:xfrm>
        </p:spPr>
        <p:txBody>
          <a:bodyPr>
            <a:noAutofit/>
          </a:bodyPr>
          <a:lstStyle>
            <a:lvl1pPr marL="0" indent="0" algn="r">
              <a:lnSpc>
                <a:spcPct val="100000"/>
              </a:lnSpc>
              <a:spcBef>
                <a:spcPts val="0"/>
              </a:spcBef>
              <a:buNone/>
              <a:defRPr sz="2000" b="1" cap="all" baseline="0"/>
            </a:lvl1pPr>
            <a:lvl2pPr marL="0" indent="0" algn="r">
              <a:lnSpc>
                <a:spcPct val="100000"/>
              </a:lnSpc>
              <a:spcBef>
                <a:spcPts val="0"/>
              </a:spcBef>
              <a:buNone/>
              <a:defRPr sz="2000" b="1" cap="all" baseline="0"/>
            </a:lvl2pPr>
            <a:lvl3pPr marL="0" indent="0" algn="r">
              <a:lnSpc>
                <a:spcPct val="100000"/>
              </a:lnSpc>
              <a:spcBef>
                <a:spcPts val="0"/>
              </a:spcBef>
              <a:buNone/>
              <a:defRPr sz="2000" b="1" cap="all" baseline="0"/>
            </a:lvl3pPr>
            <a:lvl4pPr marL="0" indent="0" algn="r">
              <a:lnSpc>
                <a:spcPct val="100000"/>
              </a:lnSpc>
              <a:spcBef>
                <a:spcPts val="0"/>
              </a:spcBef>
              <a:buNone/>
              <a:defRPr sz="2000" b="1" cap="all" baseline="0"/>
            </a:lvl4pPr>
            <a:lvl5pPr marL="0" indent="0" algn="r">
              <a:lnSpc>
                <a:spcPct val="100000"/>
              </a:lnSpc>
              <a:spcBef>
                <a:spcPts val="0"/>
              </a:spcBef>
              <a:buNone/>
              <a:defRPr sz="2000" b="1" cap="all" baseline="0"/>
            </a:lvl5pPr>
          </a:lstStyle>
          <a:p>
            <a:pPr lvl="0"/>
            <a:r>
              <a:rPr lang="en-US" dirty="0"/>
              <a:t>Click to add sub title</a:t>
            </a:r>
            <a:endParaRPr lang="en-GB" dirty="0"/>
          </a:p>
        </p:txBody>
      </p:sp>
      <p:sp>
        <p:nvSpPr>
          <p:cNvPr id="17" name="Title 16"/>
          <p:cNvSpPr>
            <a:spLocks noGrp="1"/>
          </p:cNvSpPr>
          <p:nvPr>
            <p:ph type="title" hasCustomPrompt="1"/>
          </p:nvPr>
        </p:nvSpPr>
        <p:spPr>
          <a:xfrm>
            <a:off x="7009123" y="450679"/>
            <a:ext cx="4681151" cy="288000"/>
          </a:xfrm>
        </p:spPr>
        <p:txBody>
          <a:bodyPr/>
          <a:lstStyle>
            <a:lvl1pPr>
              <a:defRPr lang="en-GB" dirty="0"/>
            </a:lvl1pPr>
          </a:lstStyle>
          <a:p>
            <a:r>
              <a:rPr lang="en-US" dirty="0"/>
              <a:t>Click to add title</a:t>
            </a:r>
            <a:endParaRPr lang="en-GB" dirty="0"/>
          </a:p>
        </p:txBody>
      </p:sp>
      <p:sp>
        <p:nvSpPr>
          <p:cNvPr id="7" name="Content Placeholder 6">
            <a:extLst>
              <a:ext uri="{FF2B5EF4-FFF2-40B4-BE49-F238E27FC236}">
                <a16:creationId xmlns:a16="http://schemas.microsoft.com/office/drawing/2014/main" id="{A78BD5D8-39FC-4CB0-A499-C2C8D723C4FE}"/>
              </a:ext>
            </a:extLst>
          </p:cNvPr>
          <p:cNvSpPr>
            <a:spLocks noGrp="1"/>
          </p:cNvSpPr>
          <p:nvPr>
            <p:ph sz="quarter" idx="14" hasCustomPrompt="1"/>
          </p:nvPr>
        </p:nvSpPr>
        <p:spPr>
          <a:xfrm>
            <a:off x="458273" y="1341439"/>
            <a:ext cx="11232000" cy="4788000"/>
          </a:xfrm>
        </p:spPr>
        <p:txBody>
          <a:bodyPr/>
          <a:lstStyle>
            <a:lvl1pPr>
              <a:spcBef>
                <a:spcPts val="400"/>
              </a:spcBef>
              <a:spcAft>
                <a:spcPts val="800"/>
              </a:spcAft>
              <a:defRPr/>
            </a:lvl1pPr>
            <a:lvl5pP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72344547"/>
      </p:ext>
    </p:extLst>
  </p:cSld>
  <p:clrMapOvr>
    <a:masterClrMapping/>
  </p:clrMapOvr>
  <p:extLst>
    <p:ext uri="{DCECCB84-F9BA-43D5-87BE-67443E8EF086}">
      <p15:sldGuideLst xmlns:p15="http://schemas.microsoft.com/office/powerpoint/2012/main">
        <p15:guide id="1" orient="horz" pos="845">
          <p15:clr>
            <a:srgbClr val="FBAE40"/>
          </p15:clr>
        </p15:guide>
        <p15:guide id="2" pos="7378">
          <p15:clr>
            <a:srgbClr val="FBAE40"/>
          </p15:clr>
        </p15:guide>
        <p15:guide id="3" orient="horz" pos="3861">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B37C3A-46DF-A84D-6DF3-9A145A72E55D}"/>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082E19B4-C0B1-0A0A-8240-38D91D62B88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52B9D3C-10C8-04DF-DF8F-D3AEE8930748}"/>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6E372BB5-D561-B3D5-41AF-8FF49CEC29A2}"/>
              </a:ext>
            </a:extLst>
          </p:cNvPr>
          <p:cNvSpPr>
            <a:spLocks noGrp="1"/>
          </p:cNvSpPr>
          <p:nvPr>
            <p:ph type="ftr" sz="quarter" idx="11"/>
          </p:nvPr>
        </p:nvSpPr>
        <p:spPr/>
        <p:txBody>
          <a:bodyPr/>
          <a:lstStyle/>
          <a:p>
            <a:r>
              <a:rPr lang="en-GB"/>
              <a:t>INSERT FOOTER HERE</a:t>
            </a:r>
          </a:p>
        </p:txBody>
      </p:sp>
      <p:sp>
        <p:nvSpPr>
          <p:cNvPr id="6" name="Slide Number Placeholder 5">
            <a:extLst>
              <a:ext uri="{FF2B5EF4-FFF2-40B4-BE49-F238E27FC236}">
                <a16:creationId xmlns:a16="http://schemas.microsoft.com/office/drawing/2014/main" id="{84EE1030-B63D-8135-3FD1-23CDEF0DE131}"/>
              </a:ext>
            </a:extLst>
          </p:cNvPr>
          <p:cNvSpPr>
            <a:spLocks noGrp="1"/>
          </p:cNvSpPr>
          <p:nvPr>
            <p:ph type="sldNum" sz="quarter" idx="12"/>
          </p:nvPr>
        </p:nvSpPr>
        <p:spPr/>
        <p:txBody>
          <a:bodyPr/>
          <a:lstStyle/>
          <a:p>
            <a:fld id="{60BE71DF-3B06-48E0-B4DA-070A362D18E0}" type="slidenum">
              <a:rPr lang="en-GB" smtClean="0"/>
              <a:t>‹#›</a:t>
            </a:fld>
            <a:endParaRPr lang="en-GB"/>
          </a:p>
        </p:txBody>
      </p:sp>
    </p:spTree>
    <p:extLst>
      <p:ext uri="{BB962C8B-B14F-4D97-AF65-F5344CB8AC3E}">
        <p14:creationId xmlns:p14="http://schemas.microsoft.com/office/powerpoint/2010/main" val="411800696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754202-4ED7-51B9-CE8B-9F8188839940}"/>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D189236-112F-A717-657A-9F00C3C0D4F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D3725133-3913-CE83-767B-DA8D2F6665D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F19E36F9-7467-2CAA-0200-5170EE91A156}"/>
              </a:ext>
            </a:extLst>
          </p:cNvPr>
          <p:cNvSpPr>
            <a:spLocks noGrp="1"/>
          </p:cNvSpPr>
          <p:nvPr>
            <p:ph type="dt" sz="half" idx="10"/>
          </p:nvPr>
        </p:nvSpPr>
        <p:spPr/>
        <p:txBody>
          <a:bodyPr/>
          <a:lstStyle/>
          <a:p>
            <a:endParaRPr lang="en-GB"/>
          </a:p>
        </p:txBody>
      </p:sp>
      <p:sp>
        <p:nvSpPr>
          <p:cNvPr id="6" name="Footer Placeholder 5">
            <a:extLst>
              <a:ext uri="{FF2B5EF4-FFF2-40B4-BE49-F238E27FC236}">
                <a16:creationId xmlns:a16="http://schemas.microsoft.com/office/drawing/2014/main" id="{077A4E3A-EA0A-FF3D-FB9E-AD3F05CF34C4}"/>
              </a:ext>
            </a:extLst>
          </p:cNvPr>
          <p:cNvSpPr>
            <a:spLocks noGrp="1"/>
          </p:cNvSpPr>
          <p:nvPr>
            <p:ph type="ftr" sz="quarter" idx="11"/>
          </p:nvPr>
        </p:nvSpPr>
        <p:spPr/>
        <p:txBody>
          <a:bodyPr/>
          <a:lstStyle/>
          <a:p>
            <a:r>
              <a:rPr lang="en-GB"/>
              <a:t>INSERT FOOTER HERE</a:t>
            </a:r>
          </a:p>
        </p:txBody>
      </p:sp>
      <p:sp>
        <p:nvSpPr>
          <p:cNvPr id="7" name="Slide Number Placeholder 6">
            <a:extLst>
              <a:ext uri="{FF2B5EF4-FFF2-40B4-BE49-F238E27FC236}">
                <a16:creationId xmlns:a16="http://schemas.microsoft.com/office/drawing/2014/main" id="{E00567C3-EBA0-4C8C-EF40-31A0BB38D7B2}"/>
              </a:ext>
            </a:extLst>
          </p:cNvPr>
          <p:cNvSpPr>
            <a:spLocks noGrp="1"/>
          </p:cNvSpPr>
          <p:nvPr>
            <p:ph type="sldNum" sz="quarter" idx="12"/>
          </p:nvPr>
        </p:nvSpPr>
        <p:spPr/>
        <p:txBody>
          <a:bodyPr/>
          <a:lstStyle/>
          <a:p>
            <a:fld id="{60BE71DF-3B06-48E0-B4DA-070A362D18E0}" type="slidenum">
              <a:rPr lang="en-GB" smtClean="0"/>
              <a:t>‹#›</a:t>
            </a:fld>
            <a:endParaRPr lang="en-GB"/>
          </a:p>
        </p:txBody>
      </p:sp>
    </p:spTree>
    <p:extLst>
      <p:ext uri="{BB962C8B-B14F-4D97-AF65-F5344CB8AC3E}">
        <p14:creationId xmlns:p14="http://schemas.microsoft.com/office/powerpoint/2010/main" val="23728607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with Icons - SHIPPING">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55D82124-7F73-96E2-3148-25FEB848D4E7}"/>
              </a:ext>
            </a:extLst>
          </p:cNvPr>
          <p:cNvSpPr>
            <a:spLocks noGrp="1"/>
          </p:cNvSpPr>
          <p:nvPr>
            <p:ph type="pic" sz="quarter" idx="13" hasCustomPrompt="1"/>
          </p:nvPr>
        </p:nvSpPr>
        <p:spPr>
          <a:xfrm>
            <a:off x="4067176" y="2"/>
            <a:ext cx="8124824" cy="6857999"/>
          </a:xfrm>
          <a:custGeom>
            <a:avLst/>
            <a:gdLst>
              <a:gd name="connsiteX0" fmla="*/ 3500648 w 8124824"/>
              <a:gd name="connsiteY0" fmla="*/ 1154291 h 6857999"/>
              <a:gd name="connsiteX1" fmla="*/ 3500648 w 8124824"/>
              <a:gd name="connsiteY1" fmla="*/ 1224425 h 6857999"/>
              <a:gd name="connsiteX2" fmla="*/ 3519525 w 8124824"/>
              <a:gd name="connsiteY2" fmla="*/ 1224425 h 6857999"/>
              <a:gd name="connsiteX3" fmla="*/ 3593568 w 8124824"/>
              <a:gd name="connsiteY3" fmla="*/ 1297478 h 6857999"/>
              <a:gd name="connsiteX4" fmla="*/ 3519525 w 8124824"/>
              <a:gd name="connsiteY4" fmla="*/ 1370533 h 6857999"/>
              <a:gd name="connsiteX5" fmla="*/ 3445479 w 8124824"/>
              <a:gd name="connsiteY5" fmla="*/ 1297478 h 6857999"/>
              <a:gd name="connsiteX6" fmla="*/ 3407727 w 8124824"/>
              <a:gd name="connsiteY6" fmla="*/ 1297478 h 6857999"/>
              <a:gd name="connsiteX7" fmla="*/ 3519525 w 8124824"/>
              <a:gd name="connsiteY7" fmla="*/ 1407816 h 6857999"/>
              <a:gd name="connsiteX8" fmla="*/ 3519525 w 8124824"/>
              <a:gd name="connsiteY8" fmla="*/ 1407868 h 6857999"/>
              <a:gd name="connsiteX9" fmla="*/ 3631321 w 8124824"/>
              <a:gd name="connsiteY9" fmla="*/ 1297531 h 6857999"/>
              <a:gd name="connsiteX10" fmla="*/ 3538401 w 8124824"/>
              <a:gd name="connsiteY10" fmla="*/ 1188759 h 6857999"/>
              <a:gd name="connsiteX11" fmla="*/ 3538401 w 8124824"/>
              <a:gd name="connsiteY11" fmla="*/ 1154291 h 6857999"/>
              <a:gd name="connsiteX12" fmla="*/ 1479209 w 8124824"/>
              <a:gd name="connsiteY12" fmla="*/ 1074105 h 6857999"/>
              <a:gd name="connsiteX13" fmla="*/ 1408607 w 8124824"/>
              <a:gd name="connsiteY13" fmla="*/ 1110605 h 6857999"/>
              <a:gd name="connsiteX14" fmla="*/ 1408554 w 8124824"/>
              <a:gd name="connsiteY14" fmla="*/ 1110658 h 6857999"/>
              <a:gd name="connsiteX15" fmla="*/ 1408658 w 8124824"/>
              <a:gd name="connsiteY15" fmla="*/ 1112535 h 6857999"/>
              <a:gd name="connsiteX16" fmla="*/ 1408554 w 8124824"/>
              <a:gd name="connsiteY16" fmla="*/ 1112587 h 6857999"/>
              <a:gd name="connsiteX17" fmla="*/ 1418827 w 8124824"/>
              <a:gd name="connsiteY17" fmla="*/ 1286331 h 6857999"/>
              <a:gd name="connsiteX18" fmla="*/ 1423676 w 8124824"/>
              <a:gd name="connsiteY18" fmla="*/ 1283620 h 6857999"/>
              <a:gd name="connsiteX19" fmla="*/ 1454389 w 8124824"/>
              <a:gd name="connsiteY19" fmla="*/ 1231945 h 6857999"/>
              <a:gd name="connsiteX20" fmla="*/ 1479209 w 8124824"/>
              <a:gd name="connsiteY20" fmla="*/ 1076087 h 6857999"/>
              <a:gd name="connsiteX21" fmla="*/ 1478845 w 8124824"/>
              <a:gd name="connsiteY21" fmla="*/ 1076244 h 6857999"/>
              <a:gd name="connsiteX22" fmla="*/ 1479209 w 8124824"/>
              <a:gd name="connsiteY22" fmla="*/ 1074105 h 6857999"/>
              <a:gd name="connsiteX23" fmla="*/ 6746051 w 8124824"/>
              <a:gd name="connsiteY23" fmla="*/ 1051244 h 6857999"/>
              <a:gd name="connsiteX24" fmla="*/ 6747249 w 8124824"/>
              <a:gd name="connsiteY24" fmla="*/ 1051400 h 6857999"/>
              <a:gd name="connsiteX25" fmla="*/ 7023066 w 8124824"/>
              <a:gd name="connsiteY25" fmla="*/ 1080026 h 6857999"/>
              <a:gd name="connsiteX26" fmla="*/ 7025408 w 8124824"/>
              <a:gd name="connsiteY26" fmla="*/ 1080235 h 6857999"/>
              <a:gd name="connsiteX27" fmla="*/ 7030772 w 8124824"/>
              <a:gd name="connsiteY27" fmla="*/ 1090786 h 6857999"/>
              <a:gd name="connsiteX28" fmla="*/ 6930952 w 8124824"/>
              <a:gd name="connsiteY28" fmla="*/ 1296019 h 6857999"/>
              <a:gd name="connsiteX29" fmla="*/ 6566512 w 8124824"/>
              <a:gd name="connsiteY29" fmla="*/ 1296019 h 6857999"/>
              <a:gd name="connsiteX30" fmla="*/ 6466589 w 8124824"/>
              <a:gd name="connsiteY30" fmla="*/ 1090786 h 6857999"/>
              <a:gd name="connsiteX31" fmla="*/ 6471900 w 8124824"/>
              <a:gd name="connsiteY31" fmla="*/ 1080235 h 6857999"/>
              <a:gd name="connsiteX32" fmla="*/ 6476951 w 8124824"/>
              <a:gd name="connsiteY32" fmla="*/ 1079713 h 6857999"/>
              <a:gd name="connsiteX33" fmla="*/ 5673793 w 8124824"/>
              <a:gd name="connsiteY33" fmla="*/ 1044602 h 6857999"/>
              <a:gd name="connsiteX34" fmla="*/ 5640838 w 8124824"/>
              <a:gd name="connsiteY34" fmla="*/ 1059984 h 6857999"/>
              <a:gd name="connsiteX35" fmla="*/ 5633017 w 8124824"/>
              <a:gd name="connsiteY35" fmla="*/ 1073698 h 6857999"/>
              <a:gd name="connsiteX36" fmla="*/ 5630670 w 8124824"/>
              <a:gd name="connsiteY36" fmla="*/ 1087412 h 6857999"/>
              <a:gd name="connsiteX37" fmla="*/ 5630670 w 8124824"/>
              <a:gd name="connsiteY37" fmla="*/ 1087620 h 6857999"/>
              <a:gd name="connsiteX38" fmla="*/ 5647043 w 8124824"/>
              <a:gd name="connsiteY38" fmla="*/ 1121410 h 6857999"/>
              <a:gd name="connsiteX39" fmla="*/ 5653040 w 8124824"/>
              <a:gd name="connsiteY39" fmla="*/ 1126154 h 6857999"/>
              <a:gd name="connsiteX40" fmla="*/ 5646626 w 8124824"/>
              <a:gd name="connsiteY40" fmla="*/ 1181323 h 6857999"/>
              <a:gd name="connsiteX41" fmla="*/ 5700804 w 8124824"/>
              <a:gd name="connsiteY41" fmla="*/ 1181323 h 6857999"/>
              <a:gd name="connsiteX42" fmla="*/ 5694286 w 8124824"/>
              <a:gd name="connsiteY42" fmla="*/ 1126154 h 6857999"/>
              <a:gd name="connsiteX43" fmla="*/ 5700386 w 8124824"/>
              <a:gd name="connsiteY43" fmla="*/ 1121410 h 6857999"/>
              <a:gd name="connsiteX44" fmla="*/ 5716760 w 8124824"/>
              <a:gd name="connsiteY44" fmla="*/ 1087620 h 6857999"/>
              <a:gd name="connsiteX45" fmla="*/ 5716760 w 8124824"/>
              <a:gd name="connsiteY45" fmla="*/ 1087412 h 6857999"/>
              <a:gd name="connsiteX46" fmla="*/ 5716864 w 8124824"/>
              <a:gd name="connsiteY46" fmla="*/ 1087412 h 6857999"/>
              <a:gd name="connsiteX47" fmla="*/ 5714518 w 8124824"/>
              <a:gd name="connsiteY47" fmla="*/ 1073698 h 6857999"/>
              <a:gd name="connsiteX48" fmla="*/ 5706695 w 8124824"/>
              <a:gd name="connsiteY48" fmla="*/ 1059984 h 6857999"/>
              <a:gd name="connsiteX49" fmla="*/ 5673793 w 8124824"/>
              <a:gd name="connsiteY49" fmla="*/ 1044602 h 6857999"/>
              <a:gd name="connsiteX50" fmla="*/ 2527407 w 8124824"/>
              <a:gd name="connsiteY50" fmla="*/ 1036166 h 6857999"/>
              <a:gd name="connsiteX51" fmla="*/ 2463323 w 8124824"/>
              <a:gd name="connsiteY51" fmla="*/ 1229673 h 6857999"/>
              <a:gd name="connsiteX52" fmla="*/ 2684621 w 8124824"/>
              <a:gd name="connsiteY52" fmla="*/ 1229673 h 6857999"/>
              <a:gd name="connsiteX53" fmla="*/ 2684621 w 8124824"/>
              <a:gd name="connsiteY53" fmla="*/ 1036166 h 6857999"/>
              <a:gd name="connsiteX54" fmla="*/ 2718046 w 8124824"/>
              <a:gd name="connsiteY54" fmla="*/ 1036114 h 6857999"/>
              <a:gd name="connsiteX55" fmla="*/ 2718046 w 8124824"/>
              <a:gd name="connsiteY55" fmla="*/ 1229620 h 6857999"/>
              <a:gd name="connsiteX56" fmla="*/ 2782130 w 8124824"/>
              <a:gd name="connsiteY56" fmla="*/ 1229620 h 6857999"/>
              <a:gd name="connsiteX57" fmla="*/ 2359190 w 8124824"/>
              <a:gd name="connsiteY57" fmla="*/ 1034967 h 6857999"/>
              <a:gd name="connsiteX58" fmla="*/ 2359190 w 8124824"/>
              <a:gd name="connsiteY58" fmla="*/ 1228368 h 6857999"/>
              <a:gd name="connsiteX59" fmla="*/ 2423275 w 8124824"/>
              <a:gd name="connsiteY59" fmla="*/ 1228368 h 6857999"/>
              <a:gd name="connsiteX60" fmla="*/ 2168552 w 8124824"/>
              <a:gd name="connsiteY60" fmla="*/ 1034967 h 6857999"/>
              <a:gd name="connsiteX61" fmla="*/ 2104466 w 8124824"/>
              <a:gd name="connsiteY61" fmla="*/ 1228368 h 6857999"/>
              <a:gd name="connsiteX62" fmla="*/ 2325766 w 8124824"/>
              <a:gd name="connsiteY62" fmla="*/ 1228368 h 6857999"/>
              <a:gd name="connsiteX63" fmla="*/ 2325766 w 8124824"/>
              <a:gd name="connsiteY63" fmla="*/ 1034967 h 6857999"/>
              <a:gd name="connsiteX64" fmla="*/ 5673793 w 8124824"/>
              <a:gd name="connsiteY64" fmla="*/ 1017173 h 6857999"/>
              <a:gd name="connsiteX65" fmla="*/ 5738607 w 8124824"/>
              <a:gd name="connsiteY65" fmla="*/ 1059984 h 6857999"/>
              <a:gd name="connsiteX66" fmla="*/ 5742936 w 8124824"/>
              <a:gd name="connsiteY66" fmla="*/ 1073698 h 6857999"/>
              <a:gd name="connsiteX67" fmla="*/ 5744291 w 8124824"/>
              <a:gd name="connsiteY67" fmla="*/ 1087412 h 6857999"/>
              <a:gd name="connsiteX68" fmla="*/ 5744291 w 8124824"/>
              <a:gd name="connsiteY68" fmla="*/ 1087620 h 6857999"/>
              <a:gd name="connsiteX69" fmla="*/ 5723382 w 8124824"/>
              <a:gd name="connsiteY69" fmla="*/ 1137678 h 6857999"/>
              <a:gd name="connsiteX70" fmla="*/ 5731726 w 8124824"/>
              <a:gd name="connsiteY70" fmla="*/ 1208803 h 6857999"/>
              <a:gd name="connsiteX71" fmla="*/ 5615860 w 8124824"/>
              <a:gd name="connsiteY71" fmla="*/ 1208803 h 6857999"/>
              <a:gd name="connsiteX72" fmla="*/ 5624152 w 8124824"/>
              <a:gd name="connsiteY72" fmla="*/ 1137678 h 6857999"/>
              <a:gd name="connsiteX73" fmla="*/ 5603242 w 8124824"/>
              <a:gd name="connsiteY73" fmla="*/ 1087620 h 6857999"/>
              <a:gd name="connsiteX74" fmla="*/ 5603242 w 8124824"/>
              <a:gd name="connsiteY74" fmla="*/ 1087412 h 6857999"/>
              <a:gd name="connsiteX75" fmla="*/ 5604650 w 8124824"/>
              <a:gd name="connsiteY75" fmla="*/ 1073698 h 6857999"/>
              <a:gd name="connsiteX76" fmla="*/ 5608979 w 8124824"/>
              <a:gd name="connsiteY76" fmla="*/ 1059984 h 6857999"/>
              <a:gd name="connsiteX77" fmla="*/ 5673793 w 8124824"/>
              <a:gd name="connsiteY77" fmla="*/ 1017173 h 6857999"/>
              <a:gd name="connsiteX78" fmla="*/ 6761776 w 8124824"/>
              <a:gd name="connsiteY78" fmla="*/ 999688 h 6857999"/>
              <a:gd name="connsiteX79" fmla="*/ 6861908 w 8124824"/>
              <a:gd name="connsiteY79" fmla="*/ 999688 h 6857999"/>
              <a:gd name="connsiteX80" fmla="*/ 6861908 w 8124824"/>
              <a:gd name="connsiteY80" fmla="*/ 1034162 h 6857999"/>
              <a:gd name="connsiteX81" fmla="*/ 6765681 w 8124824"/>
              <a:gd name="connsiteY81" fmla="*/ 1024134 h 6857999"/>
              <a:gd name="connsiteX82" fmla="*/ 6761776 w 8124824"/>
              <a:gd name="connsiteY82" fmla="*/ 1023715 h 6857999"/>
              <a:gd name="connsiteX83" fmla="*/ 6890858 w 8124824"/>
              <a:gd name="connsiteY83" fmla="*/ 999635 h 6857999"/>
              <a:gd name="connsiteX84" fmla="*/ 6994167 w 8124824"/>
              <a:gd name="connsiteY84" fmla="*/ 999635 h 6857999"/>
              <a:gd name="connsiteX85" fmla="*/ 6994167 w 8124824"/>
              <a:gd name="connsiteY85" fmla="*/ 1047849 h 6857999"/>
              <a:gd name="connsiteX86" fmla="*/ 6894036 w 8124824"/>
              <a:gd name="connsiteY86" fmla="*/ 1037453 h 6857999"/>
              <a:gd name="connsiteX87" fmla="*/ 6890858 w 8124824"/>
              <a:gd name="connsiteY87" fmla="*/ 1037087 h 6857999"/>
              <a:gd name="connsiteX88" fmla="*/ 6633526 w 8124824"/>
              <a:gd name="connsiteY88" fmla="*/ 999635 h 6857999"/>
              <a:gd name="connsiteX89" fmla="*/ 6633579 w 8124824"/>
              <a:gd name="connsiteY89" fmla="*/ 999635 h 6857999"/>
              <a:gd name="connsiteX90" fmla="*/ 6732877 w 8124824"/>
              <a:gd name="connsiteY90" fmla="*/ 999635 h 6857999"/>
              <a:gd name="connsiteX91" fmla="*/ 6732877 w 8124824"/>
              <a:gd name="connsiteY91" fmla="*/ 1023455 h 6857999"/>
              <a:gd name="connsiteX92" fmla="*/ 6638161 w 8124824"/>
              <a:gd name="connsiteY92" fmla="*/ 1033483 h 6857999"/>
              <a:gd name="connsiteX93" fmla="*/ 6633526 w 8124824"/>
              <a:gd name="connsiteY93" fmla="*/ 1033902 h 6857999"/>
              <a:gd name="connsiteX94" fmla="*/ 6505955 w 8124824"/>
              <a:gd name="connsiteY94" fmla="*/ 999635 h 6857999"/>
              <a:gd name="connsiteX95" fmla="*/ 6604524 w 8124824"/>
              <a:gd name="connsiteY95" fmla="*/ 999635 h 6857999"/>
              <a:gd name="connsiteX96" fmla="*/ 6604524 w 8124824"/>
              <a:gd name="connsiteY96" fmla="*/ 1037036 h 6857999"/>
              <a:gd name="connsiteX97" fmla="*/ 6505955 w 8124824"/>
              <a:gd name="connsiteY97" fmla="*/ 1047430 h 6857999"/>
              <a:gd name="connsiteX98" fmla="*/ 4629579 w 8124824"/>
              <a:gd name="connsiteY98" fmla="*/ 974096 h 6857999"/>
              <a:gd name="connsiteX99" fmla="*/ 4519033 w 8124824"/>
              <a:gd name="connsiteY99" fmla="*/ 1398184 h 6857999"/>
              <a:gd name="connsiteX100" fmla="*/ 4802384 w 8124824"/>
              <a:gd name="connsiteY100" fmla="*/ 1019096 h 6857999"/>
              <a:gd name="connsiteX101" fmla="*/ 4629631 w 8124824"/>
              <a:gd name="connsiteY101" fmla="*/ 974096 h 6857999"/>
              <a:gd name="connsiteX102" fmla="*/ 5476897 w 8124824"/>
              <a:gd name="connsiteY102" fmla="*/ 961170 h 6857999"/>
              <a:gd name="connsiteX103" fmla="*/ 5476897 w 8124824"/>
              <a:gd name="connsiteY103" fmla="*/ 1285663 h 6857999"/>
              <a:gd name="connsiteX104" fmla="*/ 5870742 w 8124824"/>
              <a:gd name="connsiteY104" fmla="*/ 1285663 h 6857999"/>
              <a:gd name="connsiteX105" fmla="*/ 5870742 w 8124824"/>
              <a:gd name="connsiteY105" fmla="*/ 961170 h 6857999"/>
              <a:gd name="connsiteX106" fmla="*/ 3519732 w 8124824"/>
              <a:gd name="connsiteY106" fmla="*/ 923709 h 6857999"/>
              <a:gd name="connsiteX107" fmla="*/ 3459611 w 8124824"/>
              <a:gd name="connsiteY107" fmla="*/ 983831 h 6857999"/>
              <a:gd name="connsiteX108" fmla="*/ 3519732 w 8124824"/>
              <a:gd name="connsiteY108" fmla="*/ 1043901 h 6857999"/>
              <a:gd name="connsiteX109" fmla="*/ 3579804 w 8124824"/>
              <a:gd name="connsiteY109" fmla="*/ 983831 h 6857999"/>
              <a:gd name="connsiteX110" fmla="*/ 3519732 w 8124824"/>
              <a:gd name="connsiteY110" fmla="*/ 923709 h 6857999"/>
              <a:gd name="connsiteX111" fmla="*/ 6890858 w 8124824"/>
              <a:gd name="connsiteY111" fmla="*/ 915536 h 6857999"/>
              <a:gd name="connsiteX112" fmla="*/ 6994167 w 8124824"/>
              <a:gd name="connsiteY112" fmla="*/ 915536 h 6857999"/>
              <a:gd name="connsiteX113" fmla="*/ 6994167 w 8124824"/>
              <a:gd name="connsiteY113" fmla="*/ 970592 h 6857999"/>
              <a:gd name="connsiteX114" fmla="*/ 6890858 w 8124824"/>
              <a:gd name="connsiteY114" fmla="*/ 970592 h 6857999"/>
              <a:gd name="connsiteX115" fmla="*/ 6761776 w 8124824"/>
              <a:gd name="connsiteY115" fmla="*/ 915536 h 6857999"/>
              <a:gd name="connsiteX116" fmla="*/ 6861908 w 8124824"/>
              <a:gd name="connsiteY116" fmla="*/ 915536 h 6857999"/>
              <a:gd name="connsiteX117" fmla="*/ 6861908 w 8124824"/>
              <a:gd name="connsiteY117" fmla="*/ 970592 h 6857999"/>
              <a:gd name="connsiteX118" fmla="*/ 6761776 w 8124824"/>
              <a:gd name="connsiteY118" fmla="*/ 970592 h 6857999"/>
              <a:gd name="connsiteX119" fmla="*/ 6633526 w 8124824"/>
              <a:gd name="connsiteY119" fmla="*/ 915536 h 6857999"/>
              <a:gd name="connsiteX120" fmla="*/ 6732825 w 8124824"/>
              <a:gd name="connsiteY120" fmla="*/ 915536 h 6857999"/>
              <a:gd name="connsiteX121" fmla="*/ 6732825 w 8124824"/>
              <a:gd name="connsiteY121" fmla="*/ 970592 h 6857999"/>
              <a:gd name="connsiteX122" fmla="*/ 6633526 w 8124824"/>
              <a:gd name="connsiteY122" fmla="*/ 970592 h 6857999"/>
              <a:gd name="connsiteX123" fmla="*/ 6506006 w 8124824"/>
              <a:gd name="connsiteY123" fmla="*/ 915536 h 6857999"/>
              <a:gd name="connsiteX124" fmla="*/ 6604575 w 8124824"/>
              <a:gd name="connsiteY124" fmla="*/ 915536 h 6857999"/>
              <a:gd name="connsiteX125" fmla="*/ 6604575 w 8124824"/>
              <a:gd name="connsiteY125" fmla="*/ 970592 h 6857999"/>
              <a:gd name="connsiteX126" fmla="*/ 6506006 w 8124824"/>
              <a:gd name="connsiteY126" fmla="*/ 970592 h 6857999"/>
              <a:gd name="connsiteX127" fmla="*/ 3519732 w 8124824"/>
              <a:gd name="connsiteY127" fmla="*/ 886166 h 6857999"/>
              <a:gd name="connsiteX128" fmla="*/ 3617398 w 8124824"/>
              <a:gd name="connsiteY128" fmla="*/ 983780 h 6857999"/>
              <a:gd name="connsiteX129" fmla="*/ 3519732 w 8124824"/>
              <a:gd name="connsiteY129" fmla="*/ 1081446 h 6857999"/>
              <a:gd name="connsiteX130" fmla="*/ 3422066 w 8124824"/>
              <a:gd name="connsiteY130" fmla="*/ 983780 h 6857999"/>
              <a:gd name="connsiteX131" fmla="*/ 3519732 w 8124824"/>
              <a:gd name="connsiteY131" fmla="*/ 886166 h 6857999"/>
              <a:gd name="connsiteX132" fmla="*/ 3324452 w 8124824"/>
              <a:gd name="connsiteY132" fmla="*/ 854671 h 6857999"/>
              <a:gd name="connsiteX133" fmla="*/ 3382905 w 8124824"/>
              <a:gd name="connsiteY133" fmla="*/ 1116643 h 6857999"/>
              <a:gd name="connsiteX134" fmla="*/ 3656090 w 8124824"/>
              <a:gd name="connsiteY134" fmla="*/ 1116643 h 6857999"/>
              <a:gd name="connsiteX135" fmla="*/ 3714595 w 8124824"/>
              <a:gd name="connsiteY135" fmla="*/ 854671 h 6857999"/>
              <a:gd name="connsiteX136" fmla="*/ 3324505 w 8124824"/>
              <a:gd name="connsiteY136" fmla="*/ 854671 h 6857999"/>
              <a:gd name="connsiteX137" fmla="*/ 1116267 w 8124824"/>
              <a:gd name="connsiteY137" fmla="*/ 850675 h 6857999"/>
              <a:gd name="connsiteX138" fmla="*/ 1090163 w 8124824"/>
              <a:gd name="connsiteY138" fmla="*/ 860785 h 6857999"/>
              <a:gd name="connsiteX139" fmla="*/ 1085782 w 8124824"/>
              <a:gd name="connsiteY139" fmla="*/ 864695 h 6857999"/>
              <a:gd name="connsiteX140" fmla="*/ 1294150 w 8124824"/>
              <a:gd name="connsiteY140" fmla="*/ 986346 h 6857999"/>
              <a:gd name="connsiteX141" fmla="*/ 1294150 w 8124824"/>
              <a:gd name="connsiteY141" fmla="*/ 986295 h 6857999"/>
              <a:gd name="connsiteX142" fmla="*/ 1396144 w 8124824"/>
              <a:gd name="connsiteY142" fmla="*/ 932117 h 6857999"/>
              <a:gd name="connsiteX143" fmla="*/ 1149764 w 8124824"/>
              <a:gd name="connsiteY143" fmla="*/ 856716 h 6857999"/>
              <a:gd name="connsiteX144" fmla="*/ 1116267 w 8124824"/>
              <a:gd name="connsiteY144" fmla="*/ 850675 h 6857999"/>
              <a:gd name="connsiteX145" fmla="*/ 1645683 w 8124824"/>
              <a:gd name="connsiteY145" fmla="*/ 847722 h 6857999"/>
              <a:gd name="connsiteX146" fmla="*/ 1627872 w 8124824"/>
              <a:gd name="connsiteY146" fmla="*/ 852806 h 6857999"/>
              <a:gd name="connsiteX147" fmla="*/ 1175522 w 8124824"/>
              <a:gd name="connsiteY147" fmla="*/ 1086568 h 6857999"/>
              <a:gd name="connsiteX148" fmla="*/ 1149243 w 8124824"/>
              <a:gd name="connsiteY148" fmla="*/ 1088184 h 6857999"/>
              <a:gd name="connsiteX149" fmla="*/ 1049335 w 8124824"/>
              <a:gd name="connsiteY149" fmla="*/ 1058514 h 6857999"/>
              <a:gd name="connsiteX150" fmla="*/ 1024878 w 8124824"/>
              <a:gd name="connsiteY150" fmla="*/ 1071185 h 6857999"/>
              <a:gd name="connsiteX151" fmla="*/ 1173488 w 8124824"/>
              <a:gd name="connsiteY151" fmla="*/ 1171876 h 6857999"/>
              <a:gd name="connsiteX152" fmla="*/ 1211867 w 8124824"/>
              <a:gd name="connsiteY152" fmla="*/ 1172710 h 6857999"/>
              <a:gd name="connsiteX153" fmla="*/ 1670683 w 8124824"/>
              <a:gd name="connsiteY153" fmla="*/ 935611 h 6857999"/>
              <a:gd name="connsiteX154" fmla="*/ 1690706 w 8124824"/>
              <a:gd name="connsiteY154" fmla="*/ 872830 h 6857999"/>
              <a:gd name="connsiteX155" fmla="*/ 1645683 w 8124824"/>
              <a:gd name="connsiteY155" fmla="*/ 847722 h 6857999"/>
              <a:gd name="connsiteX156" fmla="*/ 2536950 w 8124824"/>
              <a:gd name="connsiteY156" fmla="*/ 805950 h 6857999"/>
              <a:gd name="connsiteX157" fmla="*/ 2536950 w 8124824"/>
              <a:gd name="connsiteY157" fmla="*/ 999352 h 6857999"/>
              <a:gd name="connsiteX158" fmla="*/ 2601034 w 8124824"/>
              <a:gd name="connsiteY158" fmla="*/ 999352 h 6857999"/>
              <a:gd name="connsiteX159" fmla="*/ 2346258 w 8124824"/>
              <a:gd name="connsiteY159" fmla="*/ 805950 h 6857999"/>
              <a:gd name="connsiteX160" fmla="*/ 2332388 w 8124824"/>
              <a:gd name="connsiteY160" fmla="*/ 847718 h 6857999"/>
              <a:gd name="connsiteX161" fmla="*/ 2325819 w 8124824"/>
              <a:gd name="connsiteY161" fmla="*/ 867688 h 6857999"/>
              <a:gd name="connsiteX162" fmla="*/ 2282225 w 8124824"/>
              <a:gd name="connsiteY162" fmla="*/ 999352 h 6857999"/>
              <a:gd name="connsiteX163" fmla="*/ 2503524 w 8124824"/>
              <a:gd name="connsiteY163" fmla="*/ 999352 h 6857999"/>
              <a:gd name="connsiteX164" fmla="*/ 2503524 w 8124824"/>
              <a:gd name="connsiteY164" fmla="*/ 805950 h 6857999"/>
              <a:gd name="connsiteX165" fmla="*/ 2503473 w 8124824"/>
              <a:gd name="connsiteY165" fmla="*/ 805950 h 6857999"/>
              <a:gd name="connsiteX166" fmla="*/ 6612334 w 8124824"/>
              <a:gd name="connsiteY166" fmla="*/ 787455 h 6857999"/>
              <a:gd name="connsiteX167" fmla="*/ 6887371 w 8124824"/>
              <a:gd name="connsiteY167" fmla="*/ 787455 h 6857999"/>
              <a:gd name="connsiteX168" fmla="*/ 6887371 w 8124824"/>
              <a:gd name="connsiteY168" fmla="*/ 831020 h 6857999"/>
              <a:gd name="connsiteX169" fmla="*/ 6829467 w 8124824"/>
              <a:gd name="connsiteY169" fmla="*/ 831020 h 6857999"/>
              <a:gd name="connsiteX170" fmla="*/ 6829467 w 8124824"/>
              <a:gd name="connsiteY170" fmla="*/ 886493 h 6857999"/>
              <a:gd name="connsiteX171" fmla="*/ 6670236 w 8124824"/>
              <a:gd name="connsiteY171" fmla="*/ 886493 h 6857999"/>
              <a:gd name="connsiteX172" fmla="*/ 6670236 w 8124824"/>
              <a:gd name="connsiteY172" fmla="*/ 831020 h 6857999"/>
              <a:gd name="connsiteX173" fmla="*/ 6612334 w 8124824"/>
              <a:gd name="connsiteY173" fmla="*/ 831020 h 6857999"/>
              <a:gd name="connsiteX174" fmla="*/ 5673793 w 8124824"/>
              <a:gd name="connsiteY174" fmla="*/ 779448 h 6857999"/>
              <a:gd name="connsiteX175" fmla="*/ 5519812 w 8124824"/>
              <a:gd name="connsiteY175" fmla="*/ 933482 h 6857999"/>
              <a:gd name="connsiteX176" fmla="*/ 5519812 w 8124824"/>
              <a:gd name="connsiteY176" fmla="*/ 933742 h 6857999"/>
              <a:gd name="connsiteX177" fmla="*/ 5547239 w 8124824"/>
              <a:gd name="connsiteY177" fmla="*/ 933742 h 6857999"/>
              <a:gd name="connsiteX178" fmla="*/ 5547239 w 8124824"/>
              <a:gd name="connsiteY178" fmla="*/ 933482 h 6857999"/>
              <a:gd name="connsiteX179" fmla="*/ 5673793 w 8124824"/>
              <a:gd name="connsiteY179" fmla="*/ 806876 h 6857999"/>
              <a:gd name="connsiteX180" fmla="*/ 5800398 w 8124824"/>
              <a:gd name="connsiteY180" fmla="*/ 933482 h 6857999"/>
              <a:gd name="connsiteX181" fmla="*/ 5800398 w 8124824"/>
              <a:gd name="connsiteY181" fmla="*/ 933742 h 6857999"/>
              <a:gd name="connsiteX182" fmla="*/ 5827827 w 8124824"/>
              <a:gd name="connsiteY182" fmla="*/ 933742 h 6857999"/>
              <a:gd name="connsiteX183" fmla="*/ 5827827 w 8124824"/>
              <a:gd name="connsiteY183" fmla="*/ 933482 h 6857999"/>
              <a:gd name="connsiteX184" fmla="*/ 5673793 w 8124824"/>
              <a:gd name="connsiteY184" fmla="*/ 779448 h 6857999"/>
              <a:gd name="connsiteX185" fmla="*/ 3593568 w 8124824"/>
              <a:gd name="connsiteY185" fmla="*/ 701471 h 6857999"/>
              <a:gd name="connsiteX186" fmla="*/ 3593568 w 8124824"/>
              <a:gd name="connsiteY186" fmla="*/ 817336 h 6857999"/>
              <a:gd name="connsiteX187" fmla="*/ 3631321 w 8124824"/>
              <a:gd name="connsiteY187" fmla="*/ 817336 h 6857999"/>
              <a:gd name="connsiteX188" fmla="*/ 3631321 w 8124824"/>
              <a:gd name="connsiteY188" fmla="*/ 701471 h 6857999"/>
              <a:gd name="connsiteX189" fmla="*/ 3407727 w 8124824"/>
              <a:gd name="connsiteY189" fmla="*/ 701471 h 6857999"/>
              <a:gd name="connsiteX190" fmla="*/ 3407727 w 8124824"/>
              <a:gd name="connsiteY190" fmla="*/ 817336 h 6857999"/>
              <a:gd name="connsiteX191" fmla="*/ 3445532 w 8124824"/>
              <a:gd name="connsiteY191" fmla="*/ 817336 h 6857999"/>
              <a:gd name="connsiteX192" fmla="*/ 3445532 w 8124824"/>
              <a:gd name="connsiteY192" fmla="*/ 701471 h 6857999"/>
              <a:gd name="connsiteX193" fmla="*/ 4658414 w 8124824"/>
              <a:gd name="connsiteY193" fmla="*/ 701330 h 6857999"/>
              <a:gd name="connsiteX194" fmla="*/ 4389090 w 8124824"/>
              <a:gd name="connsiteY194" fmla="*/ 1061593 h 6857999"/>
              <a:gd name="connsiteX195" fmla="*/ 4553344 w 8124824"/>
              <a:gd name="connsiteY195" fmla="*/ 1104351 h 6857999"/>
              <a:gd name="connsiteX196" fmla="*/ 4658414 w 8124824"/>
              <a:gd name="connsiteY196" fmla="*/ 701383 h 6857999"/>
              <a:gd name="connsiteX197" fmla="*/ 6748967 w 8124824"/>
              <a:gd name="connsiteY197" fmla="*/ 590424 h 6857999"/>
              <a:gd name="connsiteX198" fmla="*/ 6296111 w 8124824"/>
              <a:gd name="connsiteY198" fmla="*/ 1044976 h 6857999"/>
              <a:gd name="connsiteX199" fmla="*/ 6748967 w 8124824"/>
              <a:gd name="connsiteY199" fmla="*/ 1499528 h 6857999"/>
              <a:gd name="connsiteX200" fmla="*/ 7201823 w 8124824"/>
              <a:gd name="connsiteY200" fmla="*/ 1044976 h 6857999"/>
              <a:gd name="connsiteX201" fmla="*/ 6748967 w 8124824"/>
              <a:gd name="connsiteY201" fmla="*/ 590424 h 6857999"/>
              <a:gd name="connsiteX202" fmla="*/ 0 w 8124824"/>
              <a:gd name="connsiteY202" fmla="*/ 0 h 6857999"/>
              <a:gd name="connsiteX203" fmla="*/ 8124824 w 8124824"/>
              <a:gd name="connsiteY203" fmla="*/ 0 h 6857999"/>
              <a:gd name="connsiteX204" fmla="*/ 8124824 w 8124824"/>
              <a:gd name="connsiteY204" fmla="*/ 6857999 h 6857999"/>
              <a:gd name="connsiteX205" fmla="*/ 0 w 8124824"/>
              <a:gd name="connsiteY20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Lst>
            <a:rect l="l" t="t" r="r" b="b"/>
            <a:pathLst>
              <a:path w="8124824" h="6857999">
                <a:moveTo>
                  <a:pt x="3500648" y="1154291"/>
                </a:moveTo>
                <a:lnTo>
                  <a:pt x="3500648" y="1224425"/>
                </a:lnTo>
                <a:lnTo>
                  <a:pt x="3519525" y="1224425"/>
                </a:lnTo>
                <a:cubicBezTo>
                  <a:pt x="3560353" y="1224425"/>
                  <a:pt x="3593568" y="1257224"/>
                  <a:pt x="3593568" y="1297478"/>
                </a:cubicBezTo>
                <a:cubicBezTo>
                  <a:pt x="3593568" y="1337734"/>
                  <a:pt x="3560353" y="1370533"/>
                  <a:pt x="3519525" y="1370533"/>
                </a:cubicBezTo>
                <a:cubicBezTo>
                  <a:pt x="3478694" y="1370533"/>
                  <a:pt x="3445479" y="1337734"/>
                  <a:pt x="3445479" y="1297478"/>
                </a:cubicBezTo>
                <a:lnTo>
                  <a:pt x="3407727" y="1297478"/>
                </a:lnTo>
                <a:cubicBezTo>
                  <a:pt x="3407727" y="1358331"/>
                  <a:pt x="3457890" y="1407816"/>
                  <a:pt x="3519525" y="1407816"/>
                </a:cubicBezTo>
                <a:lnTo>
                  <a:pt x="3519525" y="1407868"/>
                </a:lnTo>
                <a:cubicBezTo>
                  <a:pt x="3581159" y="1407868"/>
                  <a:pt x="3631321" y="1358331"/>
                  <a:pt x="3631321" y="1297531"/>
                </a:cubicBezTo>
                <a:cubicBezTo>
                  <a:pt x="3631321" y="1243040"/>
                  <a:pt x="3591066" y="1197623"/>
                  <a:pt x="3538401" y="1188759"/>
                </a:cubicBezTo>
                <a:lnTo>
                  <a:pt x="3538401" y="1154291"/>
                </a:lnTo>
                <a:close/>
                <a:moveTo>
                  <a:pt x="1479209" y="1074105"/>
                </a:moveTo>
                <a:cubicBezTo>
                  <a:pt x="1464558" y="1081666"/>
                  <a:pt x="1417524" y="1105966"/>
                  <a:pt x="1408607" y="1110605"/>
                </a:cubicBezTo>
                <a:lnTo>
                  <a:pt x="1408554" y="1110658"/>
                </a:lnTo>
                <a:cubicBezTo>
                  <a:pt x="1408554" y="1111076"/>
                  <a:pt x="1408658" y="1112013"/>
                  <a:pt x="1408658" y="1112535"/>
                </a:cubicBezTo>
                <a:cubicBezTo>
                  <a:pt x="1408658" y="1112535"/>
                  <a:pt x="1408554" y="1112535"/>
                  <a:pt x="1408554" y="1112587"/>
                </a:cubicBezTo>
                <a:cubicBezTo>
                  <a:pt x="1410066" y="1137042"/>
                  <a:pt x="1416793" y="1250665"/>
                  <a:pt x="1418827" y="1286331"/>
                </a:cubicBezTo>
                <a:cubicBezTo>
                  <a:pt x="1420391" y="1285392"/>
                  <a:pt x="1421956" y="1284507"/>
                  <a:pt x="1423676" y="1283620"/>
                </a:cubicBezTo>
                <a:cubicBezTo>
                  <a:pt x="1442291" y="1273973"/>
                  <a:pt x="1450582" y="1259947"/>
                  <a:pt x="1454389" y="1231945"/>
                </a:cubicBezTo>
                <a:cubicBezTo>
                  <a:pt x="1461846" y="1175890"/>
                  <a:pt x="1470241" y="1127032"/>
                  <a:pt x="1479209" y="1076087"/>
                </a:cubicBezTo>
                <a:cubicBezTo>
                  <a:pt x="1479105" y="1076087"/>
                  <a:pt x="1478949" y="1076244"/>
                  <a:pt x="1478845" y="1076244"/>
                </a:cubicBezTo>
                <a:cubicBezTo>
                  <a:pt x="1479002" y="1075566"/>
                  <a:pt x="1479105" y="1074835"/>
                  <a:pt x="1479209" y="1074105"/>
                </a:cubicBezTo>
                <a:close/>
                <a:moveTo>
                  <a:pt x="6746051" y="1051244"/>
                </a:moveTo>
                <a:lnTo>
                  <a:pt x="6747249" y="1051400"/>
                </a:lnTo>
                <a:lnTo>
                  <a:pt x="7023066" y="1080026"/>
                </a:lnTo>
                <a:lnTo>
                  <a:pt x="7025408" y="1080235"/>
                </a:lnTo>
                <a:cubicBezTo>
                  <a:pt x="7030460" y="1080809"/>
                  <a:pt x="7033323" y="1086399"/>
                  <a:pt x="7030772" y="1090786"/>
                </a:cubicBezTo>
                <a:lnTo>
                  <a:pt x="6930952" y="1296019"/>
                </a:lnTo>
                <a:lnTo>
                  <a:pt x="6566512" y="1296019"/>
                </a:lnTo>
                <a:lnTo>
                  <a:pt x="6466589" y="1090786"/>
                </a:lnTo>
                <a:cubicBezTo>
                  <a:pt x="6464090" y="1086450"/>
                  <a:pt x="6466797" y="1080861"/>
                  <a:pt x="6471900" y="1080235"/>
                </a:cubicBezTo>
                <a:lnTo>
                  <a:pt x="6476951" y="1079713"/>
                </a:lnTo>
                <a:close/>
                <a:moveTo>
                  <a:pt x="5673793" y="1044602"/>
                </a:moveTo>
                <a:cubicBezTo>
                  <a:pt x="5660548" y="1044602"/>
                  <a:pt x="5648764" y="1050598"/>
                  <a:pt x="5640838" y="1059984"/>
                </a:cubicBezTo>
                <a:cubicBezTo>
                  <a:pt x="5637396" y="1064051"/>
                  <a:pt x="5634738" y="1068639"/>
                  <a:pt x="5633017" y="1073698"/>
                </a:cubicBezTo>
                <a:cubicBezTo>
                  <a:pt x="5631453" y="1078026"/>
                  <a:pt x="5630670" y="1082614"/>
                  <a:pt x="5630670" y="1087412"/>
                </a:cubicBezTo>
                <a:lnTo>
                  <a:pt x="5630670" y="1087620"/>
                </a:lnTo>
                <a:cubicBezTo>
                  <a:pt x="5630670" y="1100916"/>
                  <a:pt x="5636615" y="1113171"/>
                  <a:pt x="5647043" y="1121410"/>
                </a:cubicBezTo>
                <a:lnTo>
                  <a:pt x="5653040" y="1126154"/>
                </a:lnTo>
                <a:lnTo>
                  <a:pt x="5646626" y="1181323"/>
                </a:lnTo>
                <a:lnTo>
                  <a:pt x="5700804" y="1181323"/>
                </a:lnTo>
                <a:lnTo>
                  <a:pt x="5694286" y="1126154"/>
                </a:lnTo>
                <a:lnTo>
                  <a:pt x="5700386" y="1121410"/>
                </a:lnTo>
                <a:cubicBezTo>
                  <a:pt x="5710764" y="1113171"/>
                  <a:pt x="5716760" y="1100916"/>
                  <a:pt x="5716760" y="1087620"/>
                </a:cubicBezTo>
                <a:lnTo>
                  <a:pt x="5716760" y="1087412"/>
                </a:lnTo>
                <a:lnTo>
                  <a:pt x="5716864" y="1087412"/>
                </a:lnTo>
                <a:cubicBezTo>
                  <a:pt x="5716864" y="1082614"/>
                  <a:pt x="5716030" y="1078026"/>
                  <a:pt x="5714518" y="1073698"/>
                </a:cubicBezTo>
                <a:cubicBezTo>
                  <a:pt x="5712797" y="1068639"/>
                  <a:pt x="5710137" y="1064051"/>
                  <a:pt x="5706695" y="1059984"/>
                </a:cubicBezTo>
                <a:cubicBezTo>
                  <a:pt x="5698822" y="1050598"/>
                  <a:pt x="5687038" y="1044602"/>
                  <a:pt x="5673793" y="1044602"/>
                </a:cubicBezTo>
                <a:close/>
                <a:moveTo>
                  <a:pt x="2527407" y="1036166"/>
                </a:moveTo>
                <a:lnTo>
                  <a:pt x="2463323" y="1229673"/>
                </a:lnTo>
                <a:lnTo>
                  <a:pt x="2684621" y="1229673"/>
                </a:lnTo>
                <a:lnTo>
                  <a:pt x="2684621" y="1036166"/>
                </a:lnTo>
                <a:close/>
                <a:moveTo>
                  <a:pt x="2718046" y="1036114"/>
                </a:moveTo>
                <a:lnTo>
                  <a:pt x="2718046" y="1229620"/>
                </a:lnTo>
                <a:lnTo>
                  <a:pt x="2782130" y="1229620"/>
                </a:lnTo>
                <a:close/>
                <a:moveTo>
                  <a:pt x="2359190" y="1034967"/>
                </a:moveTo>
                <a:lnTo>
                  <a:pt x="2359190" y="1228368"/>
                </a:lnTo>
                <a:lnTo>
                  <a:pt x="2423275" y="1228368"/>
                </a:lnTo>
                <a:close/>
                <a:moveTo>
                  <a:pt x="2168552" y="1034967"/>
                </a:moveTo>
                <a:lnTo>
                  <a:pt x="2104466" y="1228368"/>
                </a:lnTo>
                <a:lnTo>
                  <a:pt x="2325766" y="1228368"/>
                </a:lnTo>
                <a:lnTo>
                  <a:pt x="2325766" y="1034967"/>
                </a:lnTo>
                <a:close/>
                <a:moveTo>
                  <a:pt x="5673793" y="1017173"/>
                </a:moveTo>
                <a:cubicBezTo>
                  <a:pt x="5702889" y="1017173"/>
                  <a:pt x="5727866" y="1034799"/>
                  <a:pt x="5738607" y="1059984"/>
                </a:cubicBezTo>
                <a:cubicBezTo>
                  <a:pt x="5740537" y="1064312"/>
                  <a:pt x="5741998" y="1069004"/>
                  <a:pt x="5742936" y="1073698"/>
                </a:cubicBezTo>
                <a:cubicBezTo>
                  <a:pt x="5743822" y="1078130"/>
                  <a:pt x="5744291" y="1082771"/>
                  <a:pt x="5744291" y="1087412"/>
                </a:cubicBezTo>
                <a:lnTo>
                  <a:pt x="5744291" y="1087620"/>
                </a:lnTo>
                <a:cubicBezTo>
                  <a:pt x="5744291" y="1106705"/>
                  <a:pt x="5736730" y="1124486"/>
                  <a:pt x="5723382" y="1137678"/>
                </a:cubicBezTo>
                <a:lnTo>
                  <a:pt x="5731726" y="1208803"/>
                </a:lnTo>
                <a:lnTo>
                  <a:pt x="5615860" y="1208803"/>
                </a:lnTo>
                <a:lnTo>
                  <a:pt x="5624152" y="1137678"/>
                </a:lnTo>
                <a:cubicBezTo>
                  <a:pt x="5610803" y="1124486"/>
                  <a:pt x="5603242" y="1106653"/>
                  <a:pt x="5603242" y="1087620"/>
                </a:cubicBezTo>
                <a:lnTo>
                  <a:pt x="5603242" y="1087412"/>
                </a:lnTo>
                <a:cubicBezTo>
                  <a:pt x="5603242" y="1082771"/>
                  <a:pt x="5603764" y="1078130"/>
                  <a:pt x="5604650" y="1073698"/>
                </a:cubicBezTo>
                <a:cubicBezTo>
                  <a:pt x="5605641" y="1069004"/>
                  <a:pt x="5607049" y="1064312"/>
                  <a:pt x="5608979" y="1059984"/>
                </a:cubicBezTo>
                <a:cubicBezTo>
                  <a:pt x="5619772" y="1034799"/>
                  <a:pt x="5644696" y="1017173"/>
                  <a:pt x="5673793" y="1017173"/>
                </a:cubicBezTo>
                <a:close/>
                <a:moveTo>
                  <a:pt x="6761776" y="999688"/>
                </a:moveTo>
                <a:lnTo>
                  <a:pt x="6861908" y="999688"/>
                </a:lnTo>
                <a:lnTo>
                  <a:pt x="6861908" y="1034162"/>
                </a:lnTo>
                <a:lnTo>
                  <a:pt x="6765681" y="1024134"/>
                </a:lnTo>
                <a:lnTo>
                  <a:pt x="6761776" y="1023715"/>
                </a:lnTo>
                <a:close/>
                <a:moveTo>
                  <a:pt x="6890858" y="999635"/>
                </a:moveTo>
                <a:lnTo>
                  <a:pt x="6994167" y="999635"/>
                </a:lnTo>
                <a:lnTo>
                  <a:pt x="6994167" y="1047849"/>
                </a:lnTo>
                <a:lnTo>
                  <a:pt x="6894036" y="1037453"/>
                </a:lnTo>
                <a:lnTo>
                  <a:pt x="6890858" y="1037087"/>
                </a:lnTo>
                <a:close/>
                <a:moveTo>
                  <a:pt x="6633526" y="999635"/>
                </a:moveTo>
                <a:lnTo>
                  <a:pt x="6633579" y="999635"/>
                </a:lnTo>
                <a:lnTo>
                  <a:pt x="6732877" y="999635"/>
                </a:lnTo>
                <a:lnTo>
                  <a:pt x="6732877" y="1023455"/>
                </a:lnTo>
                <a:lnTo>
                  <a:pt x="6638161" y="1033483"/>
                </a:lnTo>
                <a:lnTo>
                  <a:pt x="6633526" y="1033902"/>
                </a:lnTo>
                <a:close/>
                <a:moveTo>
                  <a:pt x="6505955" y="999635"/>
                </a:moveTo>
                <a:lnTo>
                  <a:pt x="6604524" y="999635"/>
                </a:lnTo>
                <a:lnTo>
                  <a:pt x="6604524" y="1037036"/>
                </a:lnTo>
                <a:lnTo>
                  <a:pt x="6505955" y="1047430"/>
                </a:lnTo>
                <a:close/>
                <a:moveTo>
                  <a:pt x="4629579" y="974096"/>
                </a:moveTo>
                <a:lnTo>
                  <a:pt x="4519033" y="1398184"/>
                </a:lnTo>
                <a:lnTo>
                  <a:pt x="4802384" y="1019096"/>
                </a:lnTo>
                <a:lnTo>
                  <a:pt x="4629631" y="974096"/>
                </a:lnTo>
                <a:close/>
                <a:moveTo>
                  <a:pt x="5476897" y="961170"/>
                </a:moveTo>
                <a:lnTo>
                  <a:pt x="5476897" y="1285663"/>
                </a:lnTo>
                <a:lnTo>
                  <a:pt x="5870742" y="1285663"/>
                </a:lnTo>
                <a:lnTo>
                  <a:pt x="5870742" y="961170"/>
                </a:lnTo>
                <a:close/>
                <a:moveTo>
                  <a:pt x="3519732" y="923709"/>
                </a:moveTo>
                <a:cubicBezTo>
                  <a:pt x="3486517" y="923709"/>
                  <a:pt x="3459611" y="950667"/>
                  <a:pt x="3459611" y="983831"/>
                </a:cubicBezTo>
                <a:cubicBezTo>
                  <a:pt x="3459611" y="1016995"/>
                  <a:pt x="3486569" y="1043901"/>
                  <a:pt x="3519732" y="1043901"/>
                </a:cubicBezTo>
                <a:cubicBezTo>
                  <a:pt x="3552896" y="1043901"/>
                  <a:pt x="3579804" y="1016995"/>
                  <a:pt x="3579804" y="983831"/>
                </a:cubicBezTo>
                <a:cubicBezTo>
                  <a:pt x="3579804" y="950616"/>
                  <a:pt x="3552949" y="923709"/>
                  <a:pt x="3519732" y="923709"/>
                </a:cubicBezTo>
                <a:close/>
                <a:moveTo>
                  <a:pt x="6890858" y="915536"/>
                </a:moveTo>
                <a:lnTo>
                  <a:pt x="6994167" y="915536"/>
                </a:lnTo>
                <a:lnTo>
                  <a:pt x="6994167" y="970592"/>
                </a:lnTo>
                <a:lnTo>
                  <a:pt x="6890858" y="970592"/>
                </a:lnTo>
                <a:close/>
                <a:moveTo>
                  <a:pt x="6761776" y="915536"/>
                </a:moveTo>
                <a:lnTo>
                  <a:pt x="6861908" y="915536"/>
                </a:lnTo>
                <a:lnTo>
                  <a:pt x="6861908" y="970592"/>
                </a:lnTo>
                <a:lnTo>
                  <a:pt x="6761776" y="970592"/>
                </a:lnTo>
                <a:close/>
                <a:moveTo>
                  <a:pt x="6633526" y="915536"/>
                </a:moveTo>
                <a:lnTo>
                  <a:pt x="6732825" y="915536"/>
                </a:lnTo>
                <a:lnTo>
                  <a:pt x="6732825" y="970592"/>
                </a:lnTo>
                <a:lnTo>
                  <a:pt x="6633526" y="970592"/>
                </a:lnTo>
                <a:close/>
                <a:moveTo>
                  <a:pt x="6506006" y="915536"/>
                </a:moveTo>
                <a:lnTo>
                  <a:pt x="6604575" y="915536"/>
                </a:lnTo>
                <a:lnTo>
                  <a:pt x="6604575" y="970592"/>
                </a:lnTo>
                <a:lnTo>
                  <a:pt x="6506006" y="970592"/>
                </a:lnTo>
                <a:close/>
                <a:moveTo>
                  <a:pt x="3519732" y="886166"/>
                </a:moveTo>
                <a:cubicBezTo>
                  <a:pt x="3573702" y="886166"/>
                  <a:pt x="3617398" y="929863"/>
                  <a:pt x="3617398" y="983780"/>
                </a:cubicBezTo>
                <a:cubicBezTo>
                  <a:pt x="3617398" y="1037697"/>
                  <a:pt x="3573702" y="1081446"/>
                  <a:pt x="3519732" y="1081446"/>
                </a:cubicBezTo>
                <a:cubicBezTo>
                  <a:pt x="3465764" y="1081446"/>
                  <a:pt x="3422066" y="1037749"/>
                  <a:pt x="3422066" y="983780"/>
                </a:cubicBezTo>
                <a:cubicBezTo>
                  <a:pt x="3422066" y="929811"/>
                  <a:pt x="3465764" y="886166"/>
                  <a:pt x="3519732" y="886166"/>
                </a:cubicBezTo>
                <a:close/>
                <a:moveTo>
                  <a:pt x="3324452" y="854671"/>
                </a:moveTo>
                <a:lnTo>
                  <a:pt x="3382905" y="1116643"/>
                </a:lnTo>
                <a:lnTo>
                  <a:pt x="3656090" y="1116643"/>
                </a:lnTo>
                <a:lnTo>
                  <a:pt x="3714595" y="854671"/>
                </a:lnTo>
                <a:lnTo>
                  <a:pt x="3324505" y="854671"/>
                </a:lnTo>
                <a:close/>
                <a:moveTo>
                  <a:pt x="1116267" y="850675"/>
                </a:moveTo>
                <a:cubicBezTo>
                  <a:pt x="1106823" y="851242"/>
                  <a:pt x="1098610" y="854501"/>
                  <a:pt x="1090163" y="860785"/>
                </a:cubicBezTo>
                <a:cubicBezTo>
                  <a:pt x="1088702" y="861827"/>
                  <a:pt x="1087399" y="863027"/>
                  <a:pt x="1085782" y="864695"/>
                </a:cubicBezTo>
                <a:cubicBezTo>
                  <a:pt x="1085782" y="864695"/>
                  <a:pt x="1255981" y="964863"/>
                  <a:pt x="1294150" y="986346"/>
                </a:cubicBezTo>
                <a:lnTo>
                  <a:pt x="1294150" y="986295"/>
                </a:lnTo>
                <a:lnTo>
                  <a:pt x="1396144" y="932117"/>
                </a:lnTo>
                <a:cubicBezTo>
                  <a:pt x="1375391" y="925911"/>
                  <a:pt x="1172551" y="864330"/>
                  <a:pt x="1149764" y="856716"/>
                </a:cubicBezTo>
                <a:cubicBezTo>
                  <a:pt x="1136389" y="852232"/>
                  <a:pt x="1125712" y="850108"/>
                  <a:pt x="1116267" y="850675"/>
                </a:cubicBezTo>
                <a:close/>
                <a:moveTo>
                  <a:pt x="1645683" y="847722"/>
                </a:moveTo>
                <a:cubicBezTo>
                  <a:pt x="1639644" y="848188"/>
                  <a:pt x="1633595" y="849847"/>
                  <a:pt x="1627872" y="852806"/>
                </a:cubicBezTo>
                <a:cubicBezTo>
                  <a:pt x="1626881" y="853327"/>
                  <a:pt x="1211190" y="1068161"/>
                  <a:pt x="1175522" y="1086568"/>
                </a:cubicBezTo>
                <a:cubicBezTo>
                  <a:pt x="1164677" y="1092147"/>
                  <a:pt x="1152632" y="1089123"/>
                  <a:pt x="1149243" y="1088184"/>
                </a:cubicBezTo>
                <a:cubicBezTo>
                  <a:pt x="1132921" y="1083334"/>
                  <a:pt x="1049335" y="1058514"/>
                  <a:pt x="1049335" y="1058514"/>
                </a:cubicBezTo>
                <a:cubicBezTo>
                  <a:pt x="1040416" y="1063155"/>
                  <a:pt x="1033273" y="1066805"/>
                  <a:pt x="1024878" y="1071185"/>
                </a:cubicBezTo>
                <a:cubicBezTo>
                  <a:pt x="1024878" y="1071185"/>
                  <a:pt x="1131095" y="1143091"/>
                  <a:pt x="1173488" y="1171876"/>
                </a:cubicBezTo>
                <a:cubicBezTo>
                  <a:pt x="1185952" y="1180322"/>
                  <a:pt x="1196068" y="1180792"/>
                  <a:pt x="1211867" y="1172710"/>
                </a:cubicBezTo>
                <a:cubicBezTo>
                  <a:pt x="1243153" y="1156649"/>
                  <a:pt x="1653424" y="944475"/>
                  <a:pt x="1670683" y="935611"/>
                </a:cubicBezTo>
                <a:cubicBezTo>
                  <a:pt x="1693522" y="923878"/>
                  <a:pt x="1702491" y="895668"/>
                  <a:pt x="1690706" y="872830"/>
                </a:cubicBezTo>
                <a:cubicBezTo>
                  <a:pt x="1681828" y="855661"/>
                  <a:pt x="1663800" y="846324"/>
                  <a:pt x="1645683" y="847722"/>
                </a:cubicBezTo>
                <a:close/>
                <a:moveTo>
                  <a:pt x="2536950" y="805950"/>
                </a:moveTo>
                <a:lnTo>
                  <a:pt x="2536950" y="999352"/>
                </a:lnTo>
                <a:lnTo>
                  <a:pt x="2601034" y="999352"/>
                </a:lnTo>
                <a:close/>
                <a:moveTo>
                  <a:pt x="2346258" y="805950"/>
                </a:moveTo>
                <a:lnTo>
                  <a:pt x="2332388" y="847718"/>
                </a:lnTo>
                <a:lnTo>
                  <a:pt x="2325819" y="867688"/>
                </a:lnTo>
                <a:lnTo>
                  <a:pt x="2282225" y="999352"/>
                </a:lnTo>
                <a:lnTo>
                  <a:pt x="2503524" y="999352"/>
                </a:lnTo>
                <a:lnTo>
                  <a:pt x="2503524" y="805950"/>
                </a:lnTo>
                <a:lnTo>
                  <a:pt x="2503473" y="805950"/>
                </a:lnTo>
                <a:close/>
                <a:moveTo>
                  <a:pt x="6612334" y="787455"/>
                </a:moveTo>
                <a:lnTo>
                  <a:pt x="6887371" y="787455"/>
                </a:lnTo>
                <a:lnTo>
                  <a:pt x="6887371" y="831020"/>
                </a:lnTo>
                <a:lnTo>
                  <a:pt x="6829467" y="831020"/>
                </a:lnTo>
                <a:lnTo>
                  <a:pt x="6829467" y="886493"/>
                </a:lnTo>
                <a:lnTo>
                  <a:pt x="6670236" y="886493"/>
                </a:lnTo>
                <a:lnTo>
                  <a:pt x="6670236" y="831020"/>
                </a:lnTo>
                <a:lnTo>
                  <a:pt x="6612334" y="831020"/>
                </a:lnTo>
                <a:close/>
                <a:moveTo>
                  <a:pt x="5673793" y="779448"/>
                </a:moveTo>
                <a:cubicBezTo>
                  <a:pt x="5588902" y="779448"/>
                  <a:pt x="5519812" y="848591"/>
                  <a:pt x="5519812" y="933482"/>
                </a:cubicBezTo>
                <a:lnTo>
                  <a:pt x="5519812" y="933742"/>
                </a:lnTo>
                <a:lnTo>
                  <a:pt x="5547239" y="933742"/>
                </a:lnTo>
                <a:lnTo>
                  <a:pt x="5547239" y="933482"/>
                </a:lnTo>
                <a:cubicBezTo>
                  <a:pt x="5547239" y="863660"/>
                  <a:pt x="5603972" y="806876"/>
                  <a:pt x="5673793" y="806876"/>
                </a:cubicBezTo>
                <a:cubicBezTo>
                  <a:pt x="5743613" y="806876"/>
                  <a:pt x="5800398" y="863660"/>
                  <a:pt x="5800398" y="933482"/>
                </a:cubicBezTo>
                <a:lnTo>
                  <a:pt x="5800398" y="933742"/>
                </a:lnTo>
                <a:lnTo>
                  <a:pt x="5827827" y="933742"/>
                </a:lnTo>
                <a:lnTo>
                  <a:pt x="5827827" y="933482"/>
                </a:lnTo>
                <a:cubicBezTo>
                  <a:pt x="5827827" y="848591"/>
                  <a:pt x="5758683" y="779448"/>
                  <a:pt x="5673793" y="779448"/>
                </a:cubicBezTo>
                <a:close/>
                <a:moveTo>
                  <a:pt x="3593568" y="701471"/>
                </a:moveTo>
                <a:lnTo>
                  <a:pt x="3593568" y="817336"/>
                </a:lnTo>
                <a:cubicBezTo>
                  <a:pt x="3593568" y="817336"/>
                  <a:pt x="3631321" y="817336"/>
                  <a:pt x="3631321" y="817336"/>
                </a:cubicBezTo>
                <a:lnTo>
                  <a:pt x="3631321" y="701471"/>
                </a:lnTo>
                <a:close/>
                <a:moveTo>
                  <a:pt x="3407727" y="701471"/>
                </a:moveTo>
                <a:lnTo>
                  <a:pt x="3407727" y="817336"/>
                </a:lnTo>
                <a:lnTo>
                  <a:pt x="3445532" y="817336"/>
                </a:lnTo>
                <a:lnTo>
                  <a:pt x="3445532" y="701471"/>
                </a:lnTo>
                <a:close/>
                <a:moveTo>
                  <a:pt x="4658414" y="701330"/>
                </a:moveTo>
                <a:lnTo>
                  <a:pt x="4389090" y="1061593"/>
                </a:lnTo>
                <a:lnTo>
                  <a:pt x="4553344" y="1104351"/>
                </a:lnTo>
                <a:lnTo>
                  <a:pt x="4658414" y="701383"/>
                </a:lnTo>
                <a:close/>
                <a:moveTo>
                  <a:pt x="6748967" y="590424"/>
                </a:moveTo>
                <a:cubicBezTo>
                  <a:pt x="6498873" y="590424"/>
                  <a:pt x="6296111" y="793933"/>
                  <a:pt x="6296111" y="1044976"/>
                </a:cubicBezTo>
                <a:cubicBezTo>
                  <a:pt x="6296111" y="1296019"/>
                  <a:pt x="6498873" y="1499528"/>
                  <a:pt x="6748967" y="1499528"/>
                </a:cubicBezTo>
                <a:cubicBezTo>
                  <a:pt x="6999061" y="1499528"/>
                  <a:pt x="7201823" y="1296019"/>
                  <a:pt x="7201823" y="1044976"/>
                </a:cubicBezTo>
                <a:cubicBezTo>
                  <a:pt x="7201823" y="793933"/>
                  <a:pt x="6999061" y="590424"/>
                  <a:pt x="6748967" y="590424"/>
                </a:cubicBezTo>
                <a:close/>
                <a:moveTo>
                  <a:pt x="0" y="0"/>
                </a:moveTo>
                <a:lnTo>
                  <a:pt x="8124824" y="0"/>
                </a:lnTo>
                <a:lnTo>
                  <a:pt x="8124824" y="6857999"/>
                </a:lnTo>
                <a:lnTo>
                  <a:pt x="0" y="6857999"/>
                </a:lnTo>
                <a:close/>
              </a:path>
            </a:pathLst>
          </a:custGeom>
          <a:solidFill>
            <a:schemeClr val="tx1"/>
          </a:solidFill>
        </p:spPr>
        <p:txBody>
          <a:bodyPr vert="horz" wrap="square" lIns="0" tIns="45720" rIns="0" bIns="45720" rtlCol="0" anchor="ctr">
            <a:noAutofit/>
          </a:bodyPr>
          <a:lstStyle>
            <a:lvl1pPr algn="ctr">
              <a:defRPr lang="en-GB" sz="2800" b="0" dirty="0">
                <a:solidFill>
                  <a:schemeClr val="bg1"/>
                </a:solidFill>
              </a:defRPr>
            </a:lvl1pPr>
          </a:lstStyle>
          <a:p>
            <a:pPr marL="0" marR="0" lvl="0" indent="0" algn="ctr"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en-US" dirty="0"/>
              <a:t>ADD RELATED IMAGE </a:t>
            </a:r>
            <a:br>
              <a:rPr lang="en-US" dirty="0"/>
            </a:br>
            <a:r>
              <a:rPr lang="en-US" dirty="0"/>
              <a:t>FROM HFW IMAGE LIBRARY</a:t>
            </a:r>
            <a:endParaRPr lang="en-GB" dirty="0"/>
          </a:p>
        </p:txBody>
      </p:sp>
      <p:sp>
        <p:nvSpPr>
          <p:cNvPr id="9" name="Rectangle 8">
            <a:extLst>
              <a:ext uri="{FF2B5EF4-FFF2-40B4-BE49-F238E27FC236}">
                <a16:creationId xmlns:a16="http://schemas.microsoft.com/office/drawing/2014/main" id="{708FD88D-9C74-4D94-62A5-47E768F9DCD7}"/>
              </a:ext>
            </a:extLst>
          </p:cNvPr>
          <p:cNvSpPr/>
          <p:nvPr userDrawn="1"/>
        </p:nvSpPr>
        <p:spPr>
          <a:xfrm>
            <a:off x="0" y="0"/>
            <a:ext cx="406717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Text Placeholder 12">
            <a:extLst>
              <a:ext uri="{FF2B5EF4-FFF2-40B4-BE49-F238E27FC236}">
                <a16:creationId xmlns:a16="http://schemas.microsoft.com/office/drawing/2014/main" id="{BBA3AA40-3440-5851-3972-390D3DEB2219}"/>
              </a:ext>
            </a:extLst>
          </p:cNvPr>
          <p:cNvSpPr>
            <a:spLocks noGrp="1"/>
          </p:cNvSpPr>
          <p:nvPr>
            <p:ph type="body" sz="quarter" idx="14" hasCustomPrompt="1"/>
          </p:nvPr>
        </p:nvSpPr>
        <p:spPr>
          <a:xfrm>
            <a:off x="508939" y="5989638"/>
            <a:ext cx="3387140" cy="230187"/>
          </a:xfrm>
        </p:spPr>
        <p:txBody>
          <a:bodyPr tIns="0" bIns="0">
            <a:noAutofit/>
          </a:bodyPr>
          <a:lstStyle>
            <a:lvl1pPr>
              <a:defRPr sz="1400">
                <a:solidFill>
                  <a:schemeClr val="accent2"/>
                </a:solidFill>
                <a:latin typeface="+mj-lt"/>
              </a:defRPr>
            </a:lvl1pPr>
            <a:lvl2pPr>
              <a:defRPr>
                <a:solidFill>
                  <a:schemeClr val="bg1"/>
                </a:solidFill>
                <a:latin typeface="+mn-lt"/>
              </a:defRPr>
            </a:lvl2pPr>
            <a:lvl3pPr>
              <a:defRPr>
                <a:solidFill>
                  <a:schemeClr val="bg1"/>
                </a:solidFill>
                <a:latin typeface="+mn-lt"/>
              </a:defRPr>
            </a:lvl3pPr>
            <a:lvl4pPr>
              <a:defRPr>
                <a:solidFill>
                  <a:schemeClr val="bg1"/>
                </a:solidFill>
                <a:latin typeface="+mn-lt"/>
              </a:defRPr>
            </a:lvl4pPr>
            <a:lvl5pPr>
              <a:defRPr>
                <a:solidFill>
                  <a:schemeClr val="bg1"/>
                </a:solidFill>
                <a:latin typeface="+mn-lt"/>
              </a:defRPr>
            </a:lvl5pPr>
          </a:lstStyle>
          <a:p>
            <a:pPr lvl="0"/>
            <a:r>
              <a:rPr lang="en-US" dirty="0"/>
              <a:t>DAY MONTH YEAR</a:t>
            </a:r>
            <a:endParaRPr lang="en-GB" dirty="0"/>
          </a:p>
        </p:txBody>
      </p:sp>
      <p:sp>
        <p:nvSpPr>
          <p:cNvPr id="4" name="TextBox 4">
            <a:extLst>
              <a:ext uri="{FF2B5EF4-FFF2-40B4-BE49-F238E27FC236}">
                <a16:creationId xmlns:a16="http://schemas.microsoft.com/office/drawing/2014/main" id="{265B2CA7-EDCD-E4A1-AC81-AB1BF0FA5D17}"/>
              </a:ext>
            </a:extLst>
          </p:cNvPr>
          <p:cNvSpPr txBox="1"/>
          <p:nvPr userDrawn="1"/>
        </p:nvSpPr>
        <p:spPr>
          <a:xfrm>
            <a:off x="12346713" y="109538"/>
            <a:ext cx="1934437" cy="31700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defTabSz="914400" rtl="0" eaLnBrk="1" latinLnBrk="0" hangingPunct="1">
              <a:spcBef>
                <a:spcPts val="200"/>
              </a:spcBef>
              <a:spcAft>
                <a:spcPts val="200"/>
              </a:spcAft>
              <a:buFont typeface="+mj-lt"/>
              <a:buNone/>
            </a:pPr>
            <a:r>
              <a:rPr lang="en-US" sz="1000" b="1" kern="1200" dirty="0">
                <a:solidFill>
                  <a:schemeClr val="accent1"/>
                </a:solidFill>
                <a:latin typeface="+mj-lt"/>
                <a:ea typeface="+mn-ea"/>
                <a:cs typeface="+mn-cs"/>
              </a:rPr>
              <a:t>INSERTING IMAGES:</a:t>
            </a:r>
          </a:p>
          <a:p>
            <a:pPr marL="179388" indent="-179388">
              <a:spcBef>
                <a:spcPts val="200"/>
              </a:spcBef>
              <a:spcAft>
                <a:spcPts val="200"/>
              </a:spcAft>
              <a:buFont typeface="+mj-lt"/>
              <a:buAutoNum type="arabicPeriod"/>
            </a:pPr>
            <a:r>
              <a:rPr lang="en-US" sz="900" dirty="0">
                <a:solidFill>
                  <a:schemeClr val="tx1"/>
                </a:solidFill>
                <a:latin typeface="+mn-lt"/>
              </a:rPr>
              <a:t>Simply click the image placeholder and select your image.</a:t>
            </a:r>
          </a:p>
          <a:p>
            <a:pPr marL="179388" indent="-179388">
              <a:spcBef>
                <a:spcPts val="200"/>
              </a:spcBef>
              <a:spcAft>
                <a:spcPts val="200"/>
              </a:spcAft>
              <a:buFont typeface="+mj-lt"/>
              <a:buAutoNum type="arabicPeriod"/>
            </a:pPr>
            <a:r>
              <a:rPr lang="en-US" sz="900" dirty="0">
                <a:solidFill>
                  <a:schemeClr val="tx1"/>
                </a:solidFill>
                <a:latin typeface="+mn-lt"/>
              </a:rPr>
              <a:t>Once your image is inserted into the shape it may be distorted. (Stretched or Squashed)</a:t>
            </a:r>
          </a:p>
          <a:p>
            <a:pPr marL="179388" indent="-179388">
              <a:spcBef>
                <a:spcPts val="200"/>
              </a:spcBef>
              <a:spcAft>
                <a:spcPts val="200"/>
              </a:spcAft>
              <a:buFont typeface="+mj-lt"/>
              <a:buAutoNum type="arabicPeriod"/>
            </a:pPr>
            <a:endParaRPr lang="en-US" sz="900" dirty="0">
              <a:solidFill>
                <a:schemeClr val="tx1"/>
              </a:solidFill>
              <a:latin typeface="+mn-lt"/>
            </a:endParaRPr>
          </a:p>
          <a:p>
            <a:pPr>
              <a:spcBef>
                <a:spcPts val="200"/>
              </a:spcBef>
              <a:spcAft>
                <a:spcPts val="200"/>
              </a:spcAft>
            </a:pPr>
            <a:r>
              <a:rPr lang="en-US" sz="900" b="1" dirty="0">
                <a:solidFill>
                  <a:schemeClr val="tx1"/>
                </a:solidFill>
                <a:latin typeface="+mn-lt"/>
              </a:rPr>
              <a:t>To fix this:</a:t>
            </a:r>
          </a:p>
          <a:p>
            <a:pPr marL="179388" indent="-179388">
              <a:spcBef>
                <a:spcPts val="200"/>
              </a:spcBef>
              <a:spcAft>
                <a:spcPts val="200"/>
              </a:spcAft>
              <a:buFont typeface="+mj-lt"/>
              <a:buAutoNum type="arabicPeriod"/>
            </a:pPr>
            <a:r>
              <a:rPr lang="en-US" sz="900" dirty="0">
                <a:solidFill>
                  <a:schemeClr val="tx1"/>
                </a:solidFill>
                <a:latin typeface="+mn-lt"/>
              </a:rPr>
              <a:t>Click on the image and from the top menu under </a:t>
            </a:r>
            <a:r>
              <a:rPr lang="en-US" sz="900" b="1" dirty="0">
                <a:solidFill>
                  <a:schemeClr val="tx1"/>
                </a:solidFill>
                <a:latin typeface="+mn-lt"/>
              </a:rPr>
              <a:t>PICTURE FORMAT </a:t>
            </a:r>
            <a:r>
              <a:rPr lang="en-US" sz="900" dirty="0">
                <a:solidFill>
                  <a:schemeClr val="tx1"/>
                </a:solidFill>
                <a:latin typeface="+mn-lt"/>
              </a:rPr>
              <a:t>select the </a:t>
            </a:r>
            <a:r>
              <a:rPr lang="en-US" sz="900" b="1" dirty="0">
                <a:solidFill>
                  <a:schemeClr val="tx1"/>
                </a:solidFill>
                <a:latin typeface="+mn-lt"/>
              </a:rPr>
              <a:t>CROP</a:t>
            </a:r>
            <a:r>
              <a:rPr lang="en-US" sz="900" dirty="0">
                <a:solidFill>
                  <a:schemeClr val="tx1"/>
                </a:solidFill>
                <a:latin typeface="+mn-lt"/>
              </a:rPr>
              <a:t> on the right and from the drop down menu select </a:t>
            </a:r>
            <a:r>
              <a:rPr lang="en-US" sz="900" b="1" kern="1200" dirty="0">
                <a:solidFill>
                  <a:schemeClr val="tx1"/>
                </a:solidFill>
                <a:latin typeface="+mn-lt"/>
                <a:ea typeface="+mn-ea"/>
                <a:cs typeface="+mn-cs"/>
              </a:rPr>
              <a:t>FILL</a:t>
            </a:r>
          </a:p>
          <a:p>
            <a:pPr marL="179388" indent="-179388">
              <a:spcBef>
                <a:spcPts val="200"/>
              </a:spcBef>
              <a:spcAft>
                <a:spcPts val="200"/>
              </a:spcAft>
              <a:buFont typeface="+mj-lt"/>
              <a:buAutoNum type="arabicPeriod"/>
            </a:pPr>
            <a:r>
              <a:rPr lang="en-US" sz="900" b="0" kern="1200" dirty="0">
                <a:solidFill>
                  <a:schemeClr val="tx1"/>
                </a:solidFill>
                <a:latin typeface="+mn-lt"/>
                <a:ea typeface="+mn-ea"/>
                <a:cs typeface="+mn-cs"/>
              </a:rPr>
              <a:t>From here you can move the image within the shape for best visual appearance</a:t>
            </a:r>
          </a:p>
        </p:txBody>
      </p:sp>
      <p:sp>
        <p:nvSpPr>
          <p:cNvPr id="10" name="Title 1">
            <a:extLst>
              <a:ext uri="{FF2B5EF4-FFF2-40B4-BE49-F238E27FC236}">
                <a16:creationId xmlns:a16="http://schemas.microsoft.com/office/drawing/2014/main" id="{1D9960C9-AE88-FF64-7340-9EC8DF655E87}"/>
              </a:ext>
            </a:extLst>
          </p:cNvPr>
          <p:cNvSpPr>
            <a:spLocks noGrp="1"/>
          </p:cNvSpPr>
          <p:nvPr>
            <p:ph type="ctrTitle" hasCustomPrompt="1"/>
          </p:nvPr>
        </p:nvSpPr>
        <p:spPr>
          <a:xfrm>
            <a:off x="508939" y="2430692"/>
            <a:ext cx="2792526" cy="2387600"/>
          </a:xfrm>
        </p:spPr>
        <p:txBody>
          <a:bodyPr vert="horz" lIns="0" tIns="0" rIns="0" bIns="0" rtlCol="0" anchor="t" anchorCtr="0">
            <a:noAutofit/>
          </a:bodyPr>
          <a:lstStyle>
            <a:lvl1pPr>
              <a:lnSpc>
                <a:spcPct val="100000"/>
              </a:lnSpc>
              <a:defRPr lang="en-US" sz="3300" dirty="0">
                <a:solidFill>
                  <a:schemeClr val="bg1"/>
                </a:solidFill>
              </a:defRPr>
            </a:lvl1pPr>
          </a:lstStyle>
          <a:p>
            <a:pPr lvl="0"/>
            <a:r>
              <a:rPr lang="en-US" dirty="0"/>
              <a:t>PROPOSAL TO [CLIENT] FOR LEGAL SERVICES</a:t>
            </a:r>
          </a:p>
        </p:txBody>
      </p:sp>
      <p:sp>
        <p:nvSpPr>
          <p:cNvPr id="2" name="Graphic 13">
            <a:extLst>
              <a:ext uri="{FF2B5EF4-FFF2-40B4-BE49-F238E27FC236}">
                <a16:creationId xmlns:a16="http://schemas.microsoft.com/office/drawing/2014/main" id="{362134EB-203A-718D-996E-6EF7C991BB7F}"/>
              </a:ext>
            </a:extLst>
          </p:cNvPr>
          <p:cNvSpPr>
            <a:spLocks noGrp="1" noRot="1" noMove="1" noResize="1" noEditPoints="1" noAdjustHandles="1" noChangeArrowheads="1" noChangeShapeType="1"/>
          </p:cNvSpPr>
          <p:nvPr userDrawn="1"/>
        </p:nvSpPr>
        <p:spPr>
          <a:xfrm>
            <a:off x="585463" y="588011"/>
            <a:ext cx="1522695" cy="922576"/>
          </a:xfrm>
          <a:custGeom>
            <a:avLst/>
            <a:gdLst>
              <a:gd name="connsiteX0" fmla="*/ 618149 w 1522695"/>
              <a:gd name="connsiteY0" fmla="*/ 39943 h 922576"/>
              <a:gd name="connsiteX1" fmla="*/ 421345 w 1522695"/>
              <a:gd name="connsiteY1" fmla="*/ 876531 h 922576"/>
              <a:gd name="connsiteX2" fmla="*/ 388753 w 1522695"/>
              <a:gd name="connsiteY2" fmla="*/ 915365 h 922576"/>
              <a:gd name="connsiteX3" fmla="*/ 349364 w 1522695"/>
              <a:gd name="connsiteY3" fmla="*/ 922577 h 922576"/>
              <a:gd name="connsiteX4" fmla="*/ 328006 w 1522695"/>
              <a:gd name="connsiteY4" fmla="*/ 897196 h 922576"/>
              <a:gd name="connsiteX5" fmla="*/ 431608 w 1522695"/>
              <a:gd name="connsiteY5" fmla="*/ 465033 h 922576"/>
              <a:gd name="connsiteX6" fmla="*/ 224958 w 1522695"/>
              <a:gd name="connsiteY6" fmla="*/ 504838 h 922576"/>
              <a:gd name="connsiteX7" fmla="*/ 185292 w 1522695"/>
              <a:gd name="connsiteY7" fmla="*/ 702473 h 922576"/>
              <a:gd name="connsiteX8" fmla="*/ 159634 w 1522695"/>
              <a:gd name="connsiteY8" fmla="*/ 738117 h 922576"/>
              <a:gd name="connsiteX9" fmla="*/ 102771 w 1522695"/>
              <a:gd name="connsiteY9" fmla="*/ 719671 h 922576"/>
              <a:gd name="connsiteX10" fmla="*/ 150203 w 1522695"/>
              <a:gd name="connsiteY10" fmla="*/ 519816 h 922576"/>
              <a:gd name="connsiteX11" fmla="*/ 62411 w 1522695"/>
              <a:gd name="connsiteY11" fmla="*/ 533547 h 922576"/>
              <a:gd name="connsiteX12" fmla="*/ 0 w 1522695"/>
              <a:gd name="connsiteY12" fmla="*/ 507750 h 922576"/>
              <a:gd name="connsiteX13" fmla="*/ 163795 w 1522695"/>
              <a:gd name="connsiteY13" fmla="*/ 465588 h 922576"/>
              <a:gd name="connsiteX14" fmla="*/ 234805 w 1522695"/>
              <a:gd name="connsiteY14" fmla="*/ 162547 h 922576"/>
              <a:gd name="connsiteX15" fmla="*/ 258244 w 1522695"/>
              <a:gd name="connsiteY15" fmla="*/ 135502 h 922576"/>
              <a:gd name="connsiteX16" fmla="*/ 300961 w 1522695"/>
              <a:gd name="connsiteY16" fmla="*/ 126625 h 922576"/>
              <a:gd name="connsiteX17" fmla="*/ 316772 w 1522695"/>
              <a:gd name="connsiteY17" fmla="*/ 149232 h 922576"/>
              <a:gd name="connsiteX18" fmla="*/ 239104 w 1522695"/>
              <a:gd name="connsiteY18" fmla="*/ 449084 h 922576"/>
              <a:gd name="connsiteX19" fmla="*/ 447697 w 1522695"/>
              <a:gd name="connsiteY19" fmla="*/ 404564 h 922576"/>
              <a:gd name="connsiteX20" fmla="*/ 542839 w 1522695"/>
              <a:gd name="connsiteY20" fmla="*/ 34950 h 922576"/>
              <a:gd name="connsiteX21" fmla="*/ 557402 w 1522695"/>
              <a:gd name="connsiteY21" fmla="*/ 6935 h 922576"/>
              <a:gd name="connsiteX22" fmla="*/ 592907 w 1522695"/>
              <a:gd name="connsiteY22" fmla="*/ 0 h 922576"/>
              <a:gd name="connsiteX23" fmla="*/ 620506 w 1522695"/>
              <a:gd name="connsiteY23" fmla="*/ 25381 h 922576"/>
              <a:gd name="connsiteX24" fmla="*/ 618426 w 1522695"/>
              <a:gd name="connsiteY24" fmla="*/ 40359 h 922576"/>
              <a:gd name="connsiteX25" fmla="*/ 845048 w 1522695"/>
              <a:gd name="connsiteY25" fmla="*/ 445755 h 922576"/>
              <a:gd name="connsiteX26" fmla="*/ 684582 w 1522695"/>
              <a:gd name="connsiteY26" fmla="*/ 476544 h 922576"/>
              <a:gd name="connsiteX27" fmla="*/ 729241 w 1522695"/>
              <a:gd name="connsiteY27" fmla="*/ 311918 h 922576"/>
              <a:gd name="connsiteX28" fmla="*/ 1087204 w 1522695"/>
              <a:gd name="connsiteY28" fmla="*/ 231060 h 922576"/>
              <a:gd name="connsiteX29" fmla="*/ 1110643 w 1522695"/>
              <a:gd name="connsiteY29" fmla="*/ 218994 h 922576"/>
              <a:gd name="connsiteX30" fmla="*/ 1053363 w 1522695"/>
              <a:gd name="connsiteY30" fmla="*/ 185708 h 922576"/>
              <a:gd name="connsiteX31" fmla="*/ 1029785 w 1522695"/>
              <a:gd name="connsiteY31" fmla="*/ 187927 h 922576"/>
              <a:gd name="connsiteX32" fmla="*/ 636872 w 1522695"/>
              <a:gd name="connsiteY32" fmla="*/ 267536 h 922576"/>
              <a:gd name="connsiteX33" fmla="*/ 610798 w 1522695"/>
              <a:gd name="connsiteY33" fmla="*/ 284595 h 922576"/>
              <a:gd name="connsiteX34" fmla="*/ 652683 w 1522695"/>
              <a:gd name="connsiteY34" fmla="*/ 321210 h 922576"/>
              <a:gd name="connsiteX35" fmla="*/ 524948 w 1522695"/>
              <a:gd name="connsiteY35" fmla="*/ 802192 h 922576"/>
              <a:gd name="connsiteX36" fmla="*/ 537569 w 1522695"/>
              <a:gd name="connsiteY36" fmla="*/ 815646 h 922576"/>
              <a:gd name="connsiteX37" fmla="*/ 595542 w 1522695"/>
              <a:gd name="connsiteY37" fmla="*/ 802886 h 922576"/>
              <a:gd name="connsiteX38" fmla="*/ 616762 w 1522695"/>
              <a:gd name="connsiteY38" fmla="*/ 763914 h 922576"/>
              <a:gd name="connsiteX39" fmla="*/ 669603 w 1522695"/>
              <a:gd name="connsiteY39" fmla="*/ 537430 h 922576"/>
              <a:gd name="connsiteX40" fmla="*/ 808988 w 1522695"/>
              <a:gd name="connsiteY40" fmla="*/ 509276 h 922576"/>
              <a:gd name="connsiteX41" fmla="*/ 859611 w 1522695"/>
              <a:gd name="connsiteY41" fmla="*/ 477238 h 922576"/>
              <a:gd name="connsiteX42" fmla="*/ 872232 w 1522695"/>
              <a:gd name="connsiteY42" fmla="*/ 451996 h 922576"/>
              <a:gd name="connsiteX43" fmla="*/ 845187 w 1522695"/>
              <a:gd name="connsiteY43" fmla="*/ 445755 h 922576"/>
              <a:gd name="connsiteX44" fmla="*/ 1479701 w 1522695"/>
              <a:gd name="connsiteY44" fmla="*/ 159218 h 922576"/>
              <a:gd name="connsiteX45" fmla="*/ 1409801 w 1522695"/>
              <a:gd name="connsiteY45" fmla="*/ 217052 h 922576"/>
              <a:gd name="connsiteX46" fmla="*/ 1212442 w 1522695"/>
              <a:gd name="connsiteY46" fmla="*/ 666691 h 922576"/>
              <a:gd name="connsiteX47" fmla="*/ 1231721 w 1522695"/>
              <a:gd name="connsiteY47" fmla="*/ 323845 h 922576"/>
              <a:gd name="connsiteX48" fmla="*/ 1206895 w 1522695"/>
              <a:gd name="connsiteY48" fmla="*/ 300683 h 922576"/>
              <a:gd name="connsiteX49" fmla="*/ 1151002 w 1522695"/>
              <a:gd name="connsiteY49" fmla="*/ 324677 h 922576"/>
              <a:gd name="connsiteX50" fmla="*/ 1137549 w 1522695"/>
              <a:gd name="connsiteY50" fmla="*/ 353525 h 922576"/>
              <a:gd name="connsiteX51" fmla="*/ 980689 w 1522695"/>
              <a:gd name="connsiteY51" fmla="*/ 605528 h 922576"/>
              <a:gd name="connsiteX52" fmla="*/ 1041574 w 1522695"/>
              <a:gd name="connsiteY52" fmla="*/ 331196 h 922576"/>
              <a:gd name="connsiteX53" fmla="*/ 1029369 w 1522695"/>
              <a:gd name="connsiteY53" fmla="*/ 319962 h 922576"/>
              <a:gd name="connsiteX54" fmla="*/ 988871 w 1522695"/>
              <a:gd name="connsiteY54" fmla="*/ 327728 h 922576"/>
              <a:gd name="connsiteX55" fmla="*/ 954892 w 1522695"/>
              <a:gd name="connsiteY55" fmla="*/ 369752 h 922576"/>
              <a:gd name="connsiteX56" fmla="*/ 880553 w 1522695"/>
              <a:gd name="connsiteY56" fmla="*/ 711766 h 922576"/>
              <a:gd name="connsiteX57" fmla="*/ 902328 w 1522695"/>
              <a:gd name="connsiteY57" fmla="*/ 741862 h 922576"/>
              <a:gd name="connsiteX58" fmla="*/ 960024 w 1522695"/>
              <a:gd name="connsiteY58" fmla="*/ 718423 h 922576"/>
              <a:gd name="connsiteX59" fmla="*/ 1144483 w 1522695"/>
              <a:gd name="connsiteY59" fmla="*/ 419542 h 922576"/>
              <a:gd name="connsiteX60" fmla="*/ 1128950 w 1522695"/>
              <a:gd name="connsiteY60" fmla="*/ 709546 h 922576"/>
              <a:gd name="connsiteX61" fmla="*/ 1162375 w 1522695"/>
              <a:gd name="connsiteY61" fmla="*/ 786798 h 922576"/>
              <a:gd name="connsiteX62" fmla="*/ 1235049 w 1522695"/>
              <a:gd name="connsiteY62" fmla="*/ 740891 h 922576"/>
              <a:gd name="connsiteX63" fmla="*/ 1512016 w 1522695"/>
              <a:gd name="connsiteY63" fmla="*/ 203322 h 922576"/>
              <a:gd name="connsiteX64" fmla="*/ 1522696 w 1522695"/>
              <a:gd name="connsiteY64" fmla="*/ 183766 h 922576"/>
              <a:gd name="connsiteX65" fmla="*/ 1479840 w 1522695"/>
              <a:gd name="connsiteY65" fmla="*/ 159357 h 922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522695" h="922576">
                <a:moveTo>
                  <a:pt x="618149" y="39943"/>
                </a:moveTo>
                <a:cubicBezTo>
                  <a:pt x="568774" y="240214"/>
                  <a:pt x="450887" y="614404"/>
                  <a:pt x="421345" y="876531"/>
                </a:cubicBezTo>
                <a:cubicBezTo>
                  <a:pt x="418849" y="898167"/>
                  <a:pt x="420374" y="906627"/>
                  <a:pt x="388753" y="915365"/>
                </a:cubicBezTo>
                <a:cubicBezTo>
                  <a:pt x="373497" y="919526"/>
                  <a:pt x="359350" y="922577"/>
                  <a:pt x="349364" y="922577"/>
                </a:cubicBezTo>
                <a:cubicBezTo>
                  <a:pt x="333831" y="922577"/>
                  <a:pt x="328006" y="913978"/>
                  <a:pt x="328006" y="897196"/>
                </a:cubicBezTo>
                <a:cubicBezTo>
                  <a:pt x="328006" y="851567"/>
                  <a:pt x="390972" y="623280"/>
                  <a:pt x="431608" y="465033"/>
                </a:cubicBezTo>
                <a:cubicBezTo>
                  <a:pt x="377380" y="475296"/>
                  <a:pt x="300961" y="489998"/>
                  <a:pt x="224958" y="504838"/>
                </a:cubicBezTo>
                <a:cubicBezTo>
                  <a:pt x="206512" y="579870"/>
                  <a:pt x="193336" y="642697"/>
                  <a:pt x="185292" y="702473"/>
                </a:cubicBezTo>
                <a:cubicBezTo>
                  <a:pt x="183350" y="716897"/>
                  <a:pt x="185292" y="730489"/>
                  <a:pt x="159634" y="738117"/>
                </a:cubicBezTo>
                <a:cubicBezTo>
                  <a:pt x="116362" y="751015"/>
                  <a:pt x="100968" y="743803"/>
                  <a:pt x="102771" y="719671"/>
                </a:cubicBezTo>
                <a:cubicBezTo>
                  <a:pt x="105683" y="679589"/>
                  <a:pt x="118443" y="648661"/>
                  <a:pt x="150203" y="519816"/>
                </a:cubicBezTo>
                <a:cubicBezTo>
                  <a:pt x="110676" y="527722"/>
                  <a:pt x="79748" y="533547"/>
                  <a:pt x="62411" y="533547"/>
                </a:cubicBezTo>
                <a:cubicBezTo>
                  <a:pt x="38972" y="533547"/>
                  <a:pt x="0" y="517459"/>
                  <a:pt x="0" y="507750"/>
                </a:cubicBezTo>
                <a:cubicBezTo>
                  <a:pt x="0" y="496239"/>
                  <a:pt x="27184" y="496377"/>
                  <a:pt x="163795" y="465588"/>
                </a:cubicBezTo>
                <a:cubicBezTo>
                  <a:pt x="190146" y="360876"/>
                  <a:pt x="227038" y="219133"/>
                  <a:pt x="234805" y="162547"/>
                </a:cubicBezTo>
                <a:cubicBezTo>
                  <a:pt x="236192" y="152145"/>
                  <a:pt x="239798" y="140633"/>
                  <a:pt x="258244" y="135502"/>
                </a:cubicBezTo>
                <a:cubicBezTo>
                  <a:pt x="269339" y="132451"/>
                  <a:pt x="290004" y="126625"/>
                  <a:pt x="300961" y="126625"/>
                </a:cubicBezTo>
                <a:cubicBezTo>
                  <a:pt x="313304" y="126625"/>
                  <a:pt x="316772" y="137721"/>
                  <a:pt x="316772" y="149232"/>
                </a:cubicBezTo>
                <a:cubicBezTo>
                  <a:pt x="316772" y="170036"/>
                  <a:pt x="273916" y="298048"/>
                  <a:pt x="239104" y="449084"/>
                </a:cubicBezTo>
                <a:cubicBezTo>
                  <a:pt x="309837" y="433689"/>
                  <a:pt x="385424" y="417739"/>
                  <a:pt x="447697" y="404564"/>
                </a:cubicBezTo>
                <a:cubicBezTo>
                  <a:pt x="485421" y="261434"/>
                  <a:pt x="522313" y="121910"/>
                  <a:pt x="542839" y="34950"/>
                </a:cubicBezTo>
                <a:cubicBezTo>
                  <a:pt x="547277" y="16227"/>
                  <a:pt x="546445" y="10679"/>
                  <a:pt x="557402" y="6935"/>
                </a:cubicBezTo>
                <a:cubicBezTo>
                  <a:pt x="562533" y="5132"/>
                  <a:pt x="578205" y="0"/>
                  <a:pt x="592907" y="0"/>
                </a:cubicBezTo>
                <a:cubicBezTo>
                  <a:pt x="607608" y="0"/>
                  <a:pt x="620506" y="5548"/>
                  <a:pt x="620506" y="25381"/>
                </a:cubicBezTo>
                <a:cubicBezTo>
                  <a:pt x="620506" y="29680"/>
                  <a:pt x="619813" y="34673"/>
                  <a:pt x="618426" y="40359"/>
                </a:cubicBezTo>
                <a:close/>
                <a:moveTo>
                  <a:pt x="845048" y="445755"/>
                </a:moveTo>
                <a:cubicBezTo>
                  <a:pt x="796922" y="454076"/>
                  <a:pt x="739920" y="465865"/>
                  <a:pt x="684582" y="476544"/>
                </a:cubicBezTo>
                <a:cubicBezTo>
                  <a:pt x="700670" y="412608"/>
                  <a:pt x="716620" y="352970"/>
                  <a:pt x="729241" y="311918"/>
                </a:cubicBezTo>
                <a:cubicBezTo>
                  <a:pt x="838946" y="287092"/>
                  <a:pt x="1056276" y="236053"/>
                  <a:pt x="1087204" y="231060"/>
                </a:cubicBezTo>
                <a:cubicBezTo>
                  <a:pt x="1104679" y="228148"/>
                  <a:pt x="1110643" y="223155"/>
                  <a:pt x="1110643" y="218994"/>
                </a:cubicBezTo>
                <a:cubicBezTo>
                  <a:pt x="1110643" y="211089"/>
                  <a:pt x="1084985" y="185708"/>
                  <a:pt x="1053363" y="185708"/>
                </a:cubicBezTo>
                <a:cubicBezTo>
                  <a:pt x="1046428" y="185708"/>
                  <a:pt x="1038662" y="186402"/>
                  <a:pt x="1029785" y="187927"/>
                </a:cubicBezTo>
                <a:cubicBezTo>
                  <a:pt x="966542" y="199023"/>
                  <a:pt x="709269" y="252974"/>
                  <a:pt x="636872" y="267536"/>
                </a:cubicBezTo>
                <a:cubicBezTo>
                  <a:pt x="618842" y="271142"/>
                  <a:pt x="610798" y="277661"/>
                  <a:pt x="610798" y="284595"/>
                </a:cubicBezTo>
                <a:cubicBezTo>
                  <a:pt x="610798" y="295136"/>
                  <a:pt x="636317" y="316217"/>
                  <a:pt x="652683" y="321210"/>
                </a:cubicBezTo>
                <a:cubicBezTo>
                  <a:pt x="616623" y="461427"/>
                  <a:pt x="524948" y="770571"/>
                  <a:pt x="524948" y="802192"/>
                </a:cubicBezTo>
                <a:cubicBezTo>
                  <a:pt x="524948" y="809959"/>
                  <a:pt x="527583" y="815646"/>
                  <a:pt x="537569" y="815646"/>
                </a:cubicBezTo>
                <a:cubicBezTo>
                  <a:pt x="551299" y="815646"/>
                  <a:pt x="579176" y="809682"/>
                  <a:pt x="595542" y="802886"/>
                </a:cubicBezTo>
                <a:cubicBezTo>
                  <a:pt x="611908" y="795951"/>
                  <a:pt x="611630" y="787907"/>
                  <a:pt x="616762" y="763914"/>
                </a:cubicBezTo>
                <a:cubicBezTo>
                  <a:pt x="627996" y="712043"/>
                  <a:pt x="648106" y="624945"/>
                  <a:pt x="669603" y="537430"/>
                </a:cubicBezTo>
                <a:cubicBezTo>
                  <a:pt x="735620" y="523422"/>
                  <a:pt x="777505" y="516488"/>
                  <a:pt x="808988" y="509276"/>
                </a:cubicBezTo>
                <a:cubicBezTo>
                  <a:pt x="843661" y="501370"/>
                  <a:pt x="850180" y="491107"/>
                  <a:pt x="859611" y="477238"/>
                </a:cubicBezTo>
                <a:cubicBezTo>
                  <a:pt x="865852" y="468223"/>
                  <a:pt x="872232" y="456850"/>
                  <a:pt x="872232" y="451996"/>
                </a:cubicBezTo>
                <a:cubicBezTo>
                  <a:pt x="872232" y="444368"/>
                  <a:pt x="864742" y="442288"/>
                  <a:pt x="845187" y="445755"/>
                </a:cubicBezTo>
                <a:close/>
                <a:moveTo>
                  <a:pt x="1479701" y="159218"/>
                </a:moveTo>
                <a:cubicBezTo>
                  <a:pt x="1459452" y="159218"/>
                  <a:pt x="1437955" y="171978"/>
                  <a:pt x="1409801" y="217052"/>
                </a:cubicBezTo>
                <a:cubicBezTo>
                  <a:pt x="1369857" y="281128"/>
                  <a:pt x="1274854" y="509553"/>
                  <a:pt x="1212442" y="666691"/>
                </a:cubicBezTo>
                <a:cubicBezTo>
                  <a:pt x="1210639" y="502202"/>
                  <a:pt x="1231721" y="360598"/>
                  <a:pt x="1231721" y="323845"/>
                </a:cubicBezTo>
                <a:cubicBezTo>
                  <a:pt x="1231721" y="305399"/>
                  <a:pt x="1220348" y="300683"/>
                  <a:pt x="1206895" y="300683"/>
                </a:cubicBezTo>
                <a:cubicBezTo>
                  <a:pt x="1188310" y="300683"/>
                  <a:pt x="1160988" y="301516"/>
                  <a:pt x="1151002" y="324677"/>
                </a:cubicBezTo>
                <a:cubicBezTo>
                  <a:pt x="1144483" y="339795"/>
                  <a:pt x="1143374" y="343262"/>
                  <a:pt x="1137549" y="353525"/>
                </a:cubicBezTo>
                <a:cubicBezTo>
                  <a:pt x="1125205" y="375577"/>
                  <a:pt x="1053502" y="501786"/>
                  <a:pt x="980689" y="605528"/>
                </a:cubicBezTo>
                <a:cubicBezTo>
                  <a:pt x="1012588" y="432995"/>
                  <a:pt x="1041574" y="349087"/>
                  <a:pt x="1041574" y="331196"/>
                </a:cubicBezTo>
                <a:cubicBezTo>
                  <a:pt x="1041574" y="322874"/>
                  <a:pt x="1036165" y="319962"/>
                  <a:pt x="1029369" y="319962"/>
                </a:cubicBezTo>
                <a:cubicBezTo>
                  <a:pt x="1021325" y="319962"/>
                  <a:pt x="1000799" y="324816"/>
                  <a:pt x="988871" y="327728"/>
                </a:cubicBezTo>
                <a:cubicBezTo>
                  <a:pt x="974864" y="331196"/>
                  <a:pt x="963768" y="335772"/>
                  <a:pt x="954892" y="369752"/>
                </a:cubicBezTo>
                <a:cubicBezTo>
                  <a:pt x="925905" y="479734"/>
                  <a:pt x="880553" y="665720"/>
                  <a:pt x="880553" y="711766"/>
                </a:cubicBezTo>
                <a:cubicBezTo>
                  <a:pt x="880553" y="731876"/>
                  <a:pt x="884575" y="741862"/>
                  <a:pt x="902328" y="741862"/>
                </a:cubicBezTo>
                <a:cubicBezTo>
                  <a:pt x="921051" y="741862"/>
                  <a:pt x="947541" y="736591"/>
                  <a:pt x="960024" y="718423"/>
                </a:cubicBezTo>
                <a:cubicBezTo>
                  <a:pt x="1022851" y="626609"/>
                  <a:pt x="1086372" y="516349"/>
                  <a:pt x="1144483" y="419542"/>
                </a:cubicBezTo>
                <a:cubicBezTo>
                  <a:pt x="1135191" y="510801"/>
                  <a:pt x="1128950" y="628967"/>
                  <a:pt x="1128950" y="709546"/>
                </a:cubicBezTo>
                <a:cubicBezTo>
                  <a:pt x="1128950" y="765023"/>
                  <a:pt x="1130614" y="786798"/>
                  <a:pt x="1162375" y="786798"/>
                </a:cubicBezTo>
                <a:cubicBezTo>
                  <a:pt x="1191223" y="786798"/>
                  <a:pt x="1217019" y="781666"/>
                  <a:pt x="1235049" y="740891"/>
                </a:cubicBezTo>
                <a:cubicBezTo>
                  <a:pt x="1297599" y="599148"/>
                  <a:pt x="1429911" y="303735"/>
                  <a:pt x="1512016" y="203322"/>
                </a:cubicBezTo>
                <a:cubicBezTo>
                  <a:pt x="1517425" y="196803"/>
                  <a:pt x="1522696" y="191256"/>
                  <a:pt x="1522696" y="183766"/>
                </a:cubicBezTo>
                <a:cubicBezTo>
                  <a:pt x="1522696" y="173365"/>
                  <a:pt x="1498563" y="159357"/>
                  <a:pt x="1479840" y="159357"/>
                </a:cubicBezTo>
                <a:close/>
              </a:path>
            </a:pathLst>
          </a:custGeom>
          <a:solidFill>
            <a:schemeClr val="bg1"/>
          </a:solidFill>
          <a:ln w="13855" cap="flat">
            <a:noFill/>
            <a:prstDash val="solid"/>
            <a:miter/>
          </a:ln>
        </p:spPr>
        <p:txBody>
          <a:bodyPr rtlCol="0" anchor="ctr"/>
          <a:lstStyle/>
          <a:p>
            <a:endParaRPr lang="en-GB"/>
          </a:p>
        </p:txBody>
      </p:sp>
    </p:spTree>
    <p:extLst>
      <p:ext uri="{BB962C8B-B14F-4D97-AF65-F5344CB8AC3E}">
        <p14:creationId xmlns:p14="http://schemas.microsoft.com/office/powerpoint/2010/main" val="934235695"/>
      </p:ext>
    </p:extLst>
  </p:cSld>
  <p:clrMapOvr>
    <a:masterClrMapping/>
  </p:clrMapOvr>
  <p:transition spd="med">
    <p:fade/>
  </p:transition>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9" name="Text Placeholder 3"/>
          <p:cNvSpPr>
            <a:spLocks noGrp="1"/>
          </p:cNvSpPr>
          <p:nvPr>
            <p:ph type="body" sz="quarter" idx="15" hasCustomPrompt="1"/>
          </p:nvPr>
        </p:nvSpPr>
        <p:spPr>
          <a:xfrm>
            <a:off x="720499" y="1538974"/>
            <a:ext cx="5212732" cy="1067868"/>
          </a:xfrm>
        </p:spPr>
        <p:txBody>
          <a:bodyPr wrap="square">
            <a:sp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3"/>
          <p:cNvSpPr>
            <a:spLocks noGrp="1"/>
          </p:cNvSpPr>
          <p:nvPr>
            <p:ph type="body" sz="quarter" idx="16" hasCustomPrompt="1"/>
          </p:nvPr>
        </p:nvSpPr>
        <p:spPr>
          <a:xfrm>
            <a:off x="6264326" y="1538974"/>
            <a:ext cx="5212732" cy="1067868"/>
          </a:xfrm>
        </p:spPr>
        <p:txBody>
          <a:bodyPr wrap="square">
            <a:sp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Title 5"/>
          <p:cNvSpPr>
            <a:spLocks noGrp="1"/>
          </p:cNvSpPr>
          <p:nvPr>
            <p:ph type="title" hasCustomPrompt="1"/>
          </p:nvPr>
        </p:nvSpPr>
        <p:spPr>
          <a:xfrm>
            <a:off x="720501" y="562126"/>
            <a:ext cx="10752315" cy="351729"/>
          </a:xfrm>
        </p:spPr>
        <p:txBody>
          <a:bodyPr/>
          <a:lstStyle>
            <a:lvl1pPr>
              <a:defRPr/>
            </a:lvl1pPr>
          </a:lstStyle>
          <a:p>
            <a:r>
              <a:rPr lang="en-US" dirty="0"/>
              <a:t>Click to edit page title</a:t>
            </a:r>
            <a:endParaRPr lang="en-GB" dirty="0"/>
          </a:p>
        </p:txBody>
      </p:sp>
      <p:sp>
        <p:nvSpPr>
          <p:cNvPr id="7" name="TextBox 6">
            <a:extLst>
              <a:ext uri="{FF2B5EF4-FFF2-40B4-BE49-F238E27FC236}">
                <a16:creationId xmlns:a16="http://schemas.microsoft.com/office/drawing/2014/main" id="{282D3EBB-2254-401F-B8B7-63F7F577F980}"/>
              </a:ext>
            </a:extLst>
          </p:cNvPr>
          <p:cNvSpPr txBox="1"/>
          <p:nvPr/>
        </p:nvSpPr>
        <p:spPr>
          <a:xfrm>
            <a:off x="12417653" y="2"/>
            <a:ext cx="2873478" cy="177635"/>
          </a:xfrm>
          <a:prstGeom prst="rect">
            <a:avLst/>
          </a:prstGeom>
          <a:solidFill>
            <a:srgbClr val="E6E6E6"/>
          </a:solidFill>
          <a:ln w="9525">
            <a:noFill/>
            <a:miter lim="800000"/>
            <a:headEnd/>
            <a:tailEnd/>
          </a:ln>
          <a:effectLst/>
        </p:spPr>
        <p:txBody>
          <a:bodyPr lIns="32650" tIns="32650" rIns="32650" bIns="32650">
            <a:spAutoFit/>
          </a:bodyPr>
          <a:lstStyle/>
          <a:p>
            <a:pPr>
              <a:spcAft>
                <a:spcPts val="544"/>
              </a:spcAft>
            </a:pPr>
            <a:endParaRPr lang="en-GB" sz="726" dirty="0"/>
          </a:p>
        </p:txBody>
      </p:sp>
    </p:spTree>
    <p:extLst>
      <p:ext uri="{BB962C8B-B14F-4D97-AF65-F5344CB8AC3E}">
        <p14:creationId xmlns:p14="http://schemas.microsoft.com/office/powerpoint/2010/main" val="279287316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lvl1pPr>
              <a:defRPr/>
            </a:lvl1pPr>
          </a:lstStyle>
          <a:p>
            <a:r>
              <a:rPr lang="en-US" dirty="0"/>
              <a:t>Click to edit page title</a:t>
            </a:r>
            <a:endParaRPr lang="en-GB" dirty="0"/>
          </a:p>
        </p:txBody>
      </p:sp>
      <p:sp>
        <p:nvSpPr>
          <p:cNvPr id="14" name="Text Placeholder 3"/>
          <p:cNvSpPr>
            <a:spLocks noGrp="1"/>
          </p:cNvSpPr>
          <p:nvPr>
            <p:ph type="body" sz="quarter" idx="15" hasCustomPrompt="1"/>
          </p:nvPr>
        </p:nvSpPr>
        <p:spPr>
          <a:xfrm>
            <a:off x="720499" y="1538974"/>
            <a:ext cx="3365701" cy="1067868"/>
          </a:xfrm>
        </p:spPr>
        <p:txBody>
          <a:bodyPr>
            <a:sp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Text Placeholder 3"/>
          <p:cNvSpPr>
            <a:spLocks noGrp="1"/>
          </p:cNvSpPr>
          <p:nvPr>
            <p:ph type="body" sz="quarter" idx="19" hasCustomPrompt="1"/>
          </p:nvPr>
        </p:nvSpPr>
        <p:spPr>
          <a:xfrm>
            <a:off x="4413691" y="1538974"/>
            <a:ext cx="3365701" cy="1067868"/>
          </a:xfrm>
        </p:spPr>
        <p:txBody>
          <a:bodyPr>
            <a:sp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Text Placeholder 3"/>
          <p:cNvSpPr>
            <a:spLocks noGrp="1"/>
          </p:cNvSpPr>
          <p:nvPr>
            <p:ph type="body" sz="quarter" idx="20" hasCustomPrompt="1"/>
          </p:nvPr>
        </p:nvSpPr>
        <p:spPr>
          <a:xfrm>
            <a:off x="8106883" y="1538974"/>
            <a:ext cx="3365701" cy="1067868"/>
          </a:xfrm>
        </p:spPr>
        <p:txBody>
          <a:bodyPr>
            <a:sp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TextBox 5">
            <a:extLst>
              <a:ext uri="{FF2B5EF4-FFF2-40B4-BE49-F238E27FC236}">
                <a16:creationId xmlns:a16="http://schemas.microsoft.com/office/drawing/2014/main" id="{0F5B0A6F-6CCE-4C22-B9DC-B2109573AA23}"/>
              </a:ext>
            </a:extLst>
          </p:cNvPr>
          <p:cNvSpPr txBox="1"/>
          <p:nvPr userDrawn="1"/>
        </p:nvSpPr>
        <p:spPr>
          <a:xfrm>
            <a:off x="12417653" y="2"/>
            <a:ext cx="2873478" cy="177635"/>
          </a:xfrm>
          <a:prstGeom prst="rect">
            <a:avLst/>
          </a:prstGeom>
          <a:solidFill>
            <a:srgbClr val="E6E6E6"/>
          </a:solidFill>
          <a:ln w="9525">
            <a:noFill/>
            <a:miter lim="800000"/>
            <a:headEnd/>
            <a:tailEnd/>
          </a:ln>
          <a:effectLst/>
        </p:spPr>
        <p:txBody>
          <a:bodyPr lIns="32650" tIns="32650" rIns="32650" bIns="32650">
            <a:spAutoFit/>
          </a:bodyPr>
          <a:lstStyle/>
          <a:p>
            <a:pPr>
              <a:spcAft>
                <a:spcPts val="544"/>
              </a:spcAft>
            </a:pPr>
            <a:endParaRPr lang="en-GB" sz="726" dirty="0"/>
          </a:p>
        </p:txBody>
      </p:sp>
    </p:spTree>
    <p:extLst>
      <p:ext uri="{BB962C8B-B14F-4D97-AF65-F5344CB8AC3E}">
        <p14:creationId xmlns:p14="http://schemas.microsoft.com/office/powerpoint/2010/main" val="133877827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C28DA7-D2C5-44B5-9130-32033A9E3A37}"/>
              </a:ext>
            </a:extLst>
          </p:cNvPr>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847295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Key msg + on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page title</a:t>
            </a:r>
            <a:endParaRPr lang="en-GB" dirty="0"/>
          </a:p>
        </p:txBody>
      </p:sp>
      <p:sp>
        <p:nvSpPr>
          <p:cNvPr id="4" name="Text Placeholder 3"/>
          <p:cNvSpPr>
            <a:spLocks noGrp="1"/>
          </p:cNvSpPr>
          <p:nvPr>
            <p:ph type="body" sz="quarter" idx="10" hasCustomPrompt="1"/>
          </p:nvPr>
        </p:nvSpPr>
        <p:spPr>
          <a:xfrm>
            <a:off x="720373" y="1534879"/>
            <a:ext cx="3364746" cy="4637753"/>
          </a:xfrm>
        </p:spPr>
        <p:txBody>
          <a:bodyPr>
            <a:noAutofit/>
          </a:bodyPr>
          <a:lstStyle>
            <a:lvl1pPr>
              <a:defRPr/>
            </a:lvl1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Text Placeholder 5"/>
          <p:cNvSpPr>
            <a:spLocks noGrp="1"/>
          </p:cNvSpPr>
          <p:nvPr>
            <p:ph type="body" sz="quarter" idx="11" hasCustomPrompt="1"/>
          </p:nvPr>
        </p:nvSpPr>
        <p:spPr>
          <a:xfrm>
            <a:off x="4420186" y="1534879"/>
            <a:ext cx="7052627" cy="4637753"/>
          </a:xfrm>
        </p:spPr>
        <p:txBody>
          <a:bodyPr>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TextBox 7">
            <a:extLst>
              <a:ext uri="{FF2B5EF4-FFF2-40B4-BE49-F238E27FC236}">
                <a16:creationId xmlns:a16="http://schemas.microsoft.com/office/drawing/2014/main" id="{375C0142-FE72-4AFE-ACAC-4B60E518146F}"/>
              </a:ext>
            </a:extLst>
          </p:cNvPr>
          <p:cNvSpPr txBox="1"/>
          <p:nvPr userDrawn="1"/>
        </p:nvSpPr>
        <p:spPr>
          <a:xfrm>
            <a:off x="12417653" y="2"/>
            <a:ext cx="2873478" cy="177635"/>
          </a:xfrm>
          <a:prstGeom prst="rect">
            <a:avLst/>
          </a:prstGeom>
          <a:solidFill>
            <a:srgbClr val="E6E6E6"/>
          </a:solidFill>
          <a:ln w="9525">
            <a:noFill/>
            <a:miter lim="800000"/>
            <a:headEnd/>
            <a:tailEnd/>
          </a:ln>
          <a:effectLst/>
        </p:spPr>
        <p:txBody>
          <a:bodyPr lIns="32650" tIns="32650" rIns="32650" bIns="32650">
            <a:spAutoFit/>
          </a:bodyPr>
          <a:lstStyle/>
          <a:p>
            <a:pPr>
              <a:spcAft>
                <a:spcPts val="544"/>
              </a:spcAft>
            </a:pPr>
            <a:endParaRPr lang="en-GB" sz="726" dirty="0"/>
          </a:p>
        </p:txBody>
      </p:sp>
    </p:spTree>
    <p:extLst>
      <p:ext uri="{BB962C8B-B14F-4D97-AF65-F5344CB8AC3E}">
        <p14:creationId xmlns:p14="http://schemas.microsoft.com/office/powerpoint/2010/main" val="285251734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Key msg + graphic">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page title</a:t>
            </a:r>
            <a:endParaRPr lang="en-GB" dirty="0"/>
          </a:p>
        </p:txBody>
      </p:sp>
      <p:sp>
        <p:nvSpPr>
          <p:cNvPr id="4" name="Text Placeholder 3"/>
          <p:cNvSpPr>
            <a:spLocks noGrp="1"/>
          </p:cNvSpPr>
          <p:nvPr>
            <p:ph type="body" sz="quarter" idx="10" hasCustomPrompt="1"/>
          </p:nvPr>
        </p:nvSpPr>
        <p:spPr>
          <a:xfrm>
            <a:off x="720373" y="1534879"/>
            <a:ext cx="3364746" cy="4637753"/>
          </a:xfrm>
        </p:spPr>
        <p:txBody>
          <a:bodyPr>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TextBox 4">
            <a:extLst>
              <a:ext uri="{FF2B5EF4-FFF2-40B4-BE49-F238E27FC236}">
                <a16:creationId xmlns:a16="http://schemas.microsoft.com/office/drawing/2014/main" id="{B0D5F1E7-4AC1-4DC7-9781-D93658C5636D}"/>
              </a:ext>
            </a:extLst>
          </p:cNvPr>
          <p:cNvSpPr txBox="1"/>
          <p:nvPr userDrawn="1"/>
        </p:nvSpPr>
        <p:spPr>
          <a:xfrm>
            <a:off x="12417653" y="2"/>
            <a:ext cx="2873478" cy="177635"/>
          </a:xfrm>
          <a:prstGeom prst="rect">
            <a:avLst/>
          </a:prstGeom>
          <a:solidFill>
            <a:srgbClr val="E6E6E6"/>
          </a:solidFill>
          <a:ln w="9525">
            <a:noFill/>
            <a:miter lim="800000"/>
            <a:headEnd/>
            <a:tailEnd/>
          </a:ln>
          <a:effectLst/>
        </p:spPr>
        <p:txBody>
          <a:bodyPr lIns="32650" tIns="32650" rIns="32650" bIns="32650">
            <a:spAutoFit/>
          </a:bodyPr>
          <a:lstStyle/>
          <a:p>
            <a:pPr>
              <a:spcAft>
                <a:spcPts val="544"/>
              </a:spcAft>
            </a:pPr>
            <a:endParaRPr lang="en-GB" sz="726" dirty="0"/>
          </a:p>
        </p:txBody>
      </p:sp>
    </p:spTree>
    <p:extLst>
      <p:ext uri="{BB962C8B-B14F-4D97-AF65-F5344CB8AC3E}">
        <p14:creationId xmlns:p14="http://schemas.microsoft.com/office/powerpoint/2010/main" val="149731317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Key message two column pictur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page title</a:t>
            </a:r>
            <a:endParaRPr lang="en-GB" dirty="0"/>
          </a:p>
        </p:txBody>
      </p:sp>
      <p:sp>
        <p:nvSpPr>
          <p:cNvPr id="4" name="Text Placeholder 3"/>
          <p:cNvSpPr>
            <a:spLocks noGrp="1"/>
          </p:cNvSpPr>
          <p:nvPr>
            <p:ph type="body" sz="quarter" idx="10" hasCustomPrompt="1"/>
          </p:nvPr>
        </p:nvSpPr>
        <p:spPr>
          <a:xfrm>
            <a:off x="720373" y="1534882"/>
            <a:ext cx="3364746" cy="4637752"/>
          </a:xfrm>
        </p:spPr>
        <p:txBody>
          <a:bodyPr>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Text Placeholder 5"/>
          <p:cNvSpPr>
            <a:spLocks noGrp="1"/>
          </p:cNvSpPr>
          <p:nvPr>
            <p:ph type="body" sz="quarter" idx="11" hasCustomPrompt="1"/>
          </p:nvPr>
        </p:nvSpPr>
        <p:spPr>
          <a:xfrm>
            <a:off x="4420188" y="1534879"/>
            <a:ext cx="3359091" cy="4637753"/>
          </a:xfrm>
        </p:spPr>
        <p:txBody>
          <a:bodyPr>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Text Placeholder 5"/>
          <p:cNvSpPr>
            <a:spLocks noGrp="1"/>
          </p:cNvSpPr>
          <p:nvPr>
            <p:ph type="body" sz="quarter" idx="13" hasCustomPrompt="1"/>
          </p:nvPr>
        </p:nvSpPr>
        <p:spPr>
          <a:xfrm>
            <a:off x="8106886" y="1534879"/>
            <a:ext cx="3359091" cy="4637753"/>
          </a:xfrm>
        </p:spPr>
        <p:txBody>
          <a:bodyPr>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TextBox 7">
            <a:extLst>
              <a:ext uri="{FF2B5EF4-FFF2-40B4-BE49-F238E27FC236}">
                <a16:creationId xmlns:a16="http://schemas.microsoft.com/office/drawing/2014/main" id="{854B809B-EC9B-41A7-BF28-44A4BB2FD0AA}"/>
              </a:ext>
            </a:extLst>
          </p:cNvPr>
          <p:cNvSpPr txBox="1"/>
          <p:nvPr userDrawn="1"/>
        </p:nvSpPr>
        <p:spPr>
          <a:xfrm>
            <a:off x="12417653" y="2"/>
            <a:ext cx="2873478" cy="177635"/>
          </a:xfrm>
          <a:prstGeom prst="rect">
            <a:avLst/>
          </a:prstGeom>
          <a:solidFill>
            <a:srgbClr val="E6E6E6"/>
          </a:solidFill>
          <a:ln w="9525">
            <a:noFill/>
            <a:miter lim="800000"/>
            <a:headEnd/>
            <a:tailEnd/>
          </a:ln>
          <a:effectLst/>
        </p:spPr>
        <p:txBody>
          <a:bodyPr lIns="32650" tIns="32650" rIns="32650" bIns="32650">
            <a:spAutoFit/>
          </a:bodyPr>
          <a:lstStyle/>
          <a:p>
            <a:pPr>
              <a:spcAft>
                <a:spcPts val="544"/>
              </a:spcAft>
            </a:pPr>
            <a:endParaRPr lang="en-GB" sz="726" dirty="0"/>
          </a:p>
        </p:txBody>
      </p:sp>
    </p:spTree>
    <p:extLst>
      <p:ext uri="{BB962C8B-B14F-4D97-AF65-F5344CB8AC3E}">
        <p14:creationId xmlns:p14="http://schemas.microsoft.com/office/powerpoint/2010/main" val="2751203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hree col + image-Blue">
    <p:spTree>
      <p:nvGrpSpPr>
        <p:cNvPr id="1" name=""/>
        <p:cNvGrpSpPr/>
        <p:nvPr/>
      </p:nvGrpSpPr>
      <p:grpSpPr>
        <a:xfrm>
          <a:off x="0" y="0"/>
          <a:ext cx="0" cy="0"/>
          <a:chOff x="0" y="0"/>
          <a:chExt cx="0" cy="0"/>
        </a:xfrm>
      </p:grpSpPr>
      <p:sp>
        <p:nvSpPr>
          <p:cNvPr id="16" name="Picture Placeholder 2">
            <a:extLst>
              <a:ext uri="{FF2B5EF4-FFF2-40B4-BE49-F238E27FC236}">
                <a16:creationId xmlns:a16="http://schemas.microsoft.com/office/drawing/2014/main" id="{8CFB1AA5-B380-40C2-8230-13DD416F2D48}"/>
              </a:ext>
            </a:extLst>
          </p:cNvPr>
          <p:cNvSpPr>
            <a:spLocks noGrp="1"/>
          </p:cNvSpPr>
          <p:nvPr>
            <p:ph type="pic" sz="quarter" idx="18" hasCustomPrompt="1"/>
          </p:nvPr>
        </p:nvSpPr>
        <p:spPr>
          <a:xfrm>
            <a:off x="349683" y="273571"/>
            <a:ext cx="11492637" cy="6138517"/>
          </a:xfrm>
          <a:solidFill>
            <a:schemeClr val="accent1"/>
          </a:solidFill>
        </p:spPr>
        <p:txBody>
          <a:bodyPr anchor="ctr" anchorCtr="1">
            <a:noAutofit/>
          </a:bodyPr>
          <a:lstStyle>
            <a:lvl1pPr>
              <a:defRPr/>
            </a:lvl1pPr>
          </a:lstStyle>
          <a:p>
            <a:r>
              <a:rPr lang="en-GB" dirty="0"/>
              <a:t> </a:t>
            </a:r>
          </a:p>
        </p:txBody>
      </p:sp>
      <p:sp>
        <p:nvSpPr>
          <p:cNvPr id="2" name="Title 1"/>
          <p:cNvSpPr>
            <a:spLocks noGrp="1"/>
          </p:cNvSpPr>
          <p:nvPr>
            <p:ph type="title" hasCustomPrompt="1"/>
          </p:nvPr>
        </p:nvSpPr>
        <p:spPr/>
        <p:txBody>
          <a:bodyPr/>
          <a:lstStyle>
            <a:lvl1pPr>
              <a:defRPr>
                <a:solidFill>
                  <a:schemeClr val="bg1"/>
                </a:solidFill>
              </a:defRPr>
            </a:lvl1pPr>
          </a:lstStyle>
          <a:p>
            <a:r>
              <a:rPr lang="en-US" dirty="0"/>
              <a:t>Click to edit page title</a:t>
            </a:r>
            <a:endParaRPr lang="en-GB" dirty="0"/>
          </a:p>
        </p:txBody>
      </p:sp>
      <p:sp>
        <p:nvSpPr>
          <p:cNvPr id="4" name="Text Placeholder 3"/>
          <p:cNvSpPr>
            <a:spLocks noGrp="1"/>
          </p:cNvSpPr>
          <p:nvPr>
            <p:ph type="body" sz="quarter" idx="10" hasCustomPrompt="1"/>
          </p:nvPr>
        </p:nvSpPr>
        <p:spPr>
          <a:xfrm>
            <a:off x="720373" y="1534882"/>
            <a:ext cx="3364746" cy="4637752"/>
          </a:xfrm>
        </p:spPr>
        <p:txBody>
          <a:bodyPr>
            <a:noAutofit/>
          </a:bodyPr>
          <a:lstStyle>
            <a:lvl1pPr>
              <a:defRPr baseline="0">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defRPr>
                <a:solidFill>
                  <a:schemeClr val="bg1"/>
                </a:solidFill>
              </a:defRPr>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Text Placeholder 5"/>
          <p:cNvSpPr>
            <a:spLocks noGrp="1"/>
          </p:cNvSpPr>
          <p:nvPr>
            <p:ph type="body" sz="quarter" idx="11" hasCustomPrompt="1"/>
          </p:nvPr>
        </p:nvSpPr>
        <p:spPr>
          <a:xfrm>
            <a:off x="4420188" y="1534879"/>
            <a:ext cx="3359091" cy="4637753"/>
          </a:xfrm>
        </p:spPr>
        <p:txBody>
          <a:bodyPr>
            <a:noAutofit/>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Text Placeholder 5"/>
          <p:cNvSpPr>
            <a:spLocks noGrp="1"/>
          </p:cNvSpPr>
          <p:nvPr>
            <p:ph type="body" sz="quarter" idx="13" hasCustomPrompt="1"/>
          </p:nvPr>
        </p:nvSpPr>
        <p:spPr>
          <a:xfrm>
            <a:off x="8106886" y="1534879"/>
            <a:ext cx="3359091" cy="4637753"/>
          </a:xfrm>
        </p:spPr>
        <p:txBody>
          <a:bodyPr>
            <a:noAutofit/>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3" name="Group 10"/>
          <p:cNvGrpSpPr/>
          <p:nvPr userDrawn="1"/>
        </p:nvGrpSpPr>
        <p:grpSpPr>
          <a:xfrm>
            <a:off x="12417653" y="1"/>
            <a:ext cx="2873478" cy="2317805"/>
            <a:chOff x="10891316" y="0"/>
            <a:chExt cx="2520280" cy="2555487"/>
          </a:xfrm>
        </p:grpSpPr>
        <p:sp>
          <p:nvSpPr>
            <p:cNvPr id="12" name="TextBox 11"/>
            <p:cNvSpPr txBox="1"/>
            <p:nvPr/>
          </p:nvSpPr>
          <p:spPr>
            <a:xfrm>
              <a:off x="10891316" y="0"/>
              <a:ext cx="2520280" cy="2555487"/>
            </a:xfrm>
            <a:prstGeom prst="rect">
              <a:avLst/>
            </a:prstGeom>
            <a:solidFill>
              <a:schemeClr val="bg1">
                <a:lumMod val="85000"/>
              </a:schemeClr>
            </a:solidFill>
            <a:ln w="9525">
              <a:noFill/>
              <a:miter lim="800000"/>
              <a:headEnd/>
              <a:tailEnd/>
            </a:ln>
            <a:effectLst/>
          </p:spPr>
          <p:txBody>
            <a:bodyPr lIns="36000" tIns="36000" rIns="36000" bIns="36000">
              <a:spAutoFit/>
            </a:bodyPr>
            <a:lstStyle/>
            <a:p>
              <a:pPr>
                <a:spcAft>
                  <a:spcPts val="272"/>
                </a:spcAft>
              </a:pPr>
              <a:r>
                <a:rPr lang="en-GB" sz="726" dirty="0"/>
                <a:t>This layout can be used with a colour background or an image.</a:t>
              </a:r>
            </a:p>
            <a:p>
              <a:pPr>
                <a:spcAft>
                  <a:spcPts val="272"/>
                </a:spcAft>
              </a:pPr>
              <a:r>
                <a:rPr lang="en-GB" sz="726" dirty="0"/>
                <a:t>To add an image on this page:</a:t>
              </a:r>
            </a:p>
            <a:p>
              <a:pPr marL="137886" indent="-137886">
                <a:spcAft>
                  <a:spcPts val="272"/>
                </a:spcAft>
                <a:buFont typeface="Arial" pitchFamily="34" charset="0"/>
                <a:buChar char="•"/>
              </a:pPr>
              <a:r>
                <a:rPr lang="en-GB" sz="726" dirty="0"/>
                <a:t>first select the central text placeholder, right-click and select ‘Send to Back’</a:t>
              </a:r>
            </a:p>
            <a:p>
              <a:pPr marL="137886" indent="-137886">
                <a:spcAft>
                  <a:spcPts val="272"/>
                </a:spcAft>
                <a:buFont typeface="Arial" pitchFamily="34" charset="0"/>
                <a:buChar char="•"/>
              </a:pPr>
              <a:r>
                <a:rPr lang="en-GB" sz="726" dirty="0"/>
                <a:t>then</a:t>
              </a:r>
              <a:r>
                <a:rPr lang="en-GB" sz="726" baseline="0" dirty="0"/>
                <a:t> </a:t>
              </a:r>
              <a:r>
                <a:rPr lang="en-GB" sz="726" dirty="0"/>
                <a:t>click on the picture </a:t>
              </a:r>
              <a:br>
                <a:rPr lang="en-GB" sz="726" dirty="0"/>
              </a:br>
              <a:r>
                <a:rPr lang="en-GB" sz="726" dirty="0"/>
                <a:t>placeholder icon</a:t>
              </a:r>
            </a:p>
            <a:p>
              <a:pPr marL="137886" indent="-137886">
                <a:spcAft>
                  <a:spcPts val="272"/>
                </a:spcAft>
                <a:buFont typeface="Arial" pitchFamily="34" charset="0"/>
                <a:buChar char="•"/>
              </a:pPr>
              <a:r>
                <a:rPr lang="en-GB" sz="726" dirty="0"/>
                <a:t>Windows Explorer will open, find your required image and click ‘Insert’</a:t>
              </a:r>
            </a:p>
            <a:p>
              <a:pPr marL="137886" indent="-137886">
                <a:spcAft>
                  <a:spcPts val="272"/>
                </a:spcAft>
                <a:buFont typeface="Arial" pitchFamily="34" charset="0"/>
                <a:buChar char="•"/>
              </a:pPr>
              <a:r>
                <a:rPr lang="en-GB" sz="726" dirty="0"/>
                <a:t>select the image, right-click and select ‘Send to </a:t>
              </a:r>
              <a:r>
                <a:rPr lang="en-GB" sz="726" b="0" dirty="0"/>
                <a:t>B</a:t>
              </a:r>
              <a:r>
                <a:rPr lang="en-GB" sz="726" dirty="0"/>
                <a:t>ack’</a:t>
              </a:r>
            </a:p>
            <a:p>
              <a:pPr marL="137886" indent="-137886">
                <a:spcAft>
                  <a:spcPts val="272"/>
                </a:spcAft>
                <a:buFont typeface="Arial" pitchFamily="34" charset="0"/>
                <a:buChar char="•"/>
              </a:pPr>
              <a:r>
                <a:rPr lang="en-GB" sz="726" dirty="0"/>
                <a:t>to change the image, select it, right-click and select ‘Change Picture’, navigate to the required image file, select and click ‘Insert’.</a:t>
              </a:r>
            </a:p>
            <a:p>
              <a:pPr marL="0" indent="0">
                <a:spcAft>
                  <a:spcPts val="272"/>
                </a:spcAft>
                <a:buFont typeface="Arial" pitchFamily="34" charset="0"/>
                <a:buNone/>
              </a:pPr>
              <a:r>
                <a:rPr lang="en-GB" sz="726" dirty="0"/>
                <a:t>To colour the background placeholder:</a:t>
              </a:r>
            </a:p>
            <a:p>
              <a:pPr marL="161250" indent="-161250">
                <a:spcAft>
                  <a:spcPts val="272"/>
                </a:spcAft>
                <a:buFont typeface="Arial" pitchFamily="34" charset="0"/>
                <a:buChar char="•"/>
              </a:pPr>
              <a:r>
                <a:rPr lang="en-GB" sz="726" dirty="0"/>
                <a:t>select the placeholder, right-click and click on the ‘Fill’ button</a:t>
              </a:r>
            </a:p>
            <a:p>
              <a:pPr marL="161250" indent="-161250">
                <a:spcAft>
                  <a:spcPts val="272"/>
                </a:spcAft>
                <a:buFont typeface="Arial" pitchFamily="34" charset="0"/>
                <a:buChar char="•"/>
              </a:pPr>
              <a:r>
                <a:rPr lang="en-GB" sz="726" dirty="0"/>
                <a:t>select the desired colour from the top row ‘Theme </a:t>
              </a:r>
              <a:r>
                <a:rPr lang="en-GB" sz="726" dirty="0" err="1"/>
                <a:t>Colors</a:t>
              </a:r>
              <a:r>
                <a:rPr lang="en-GB" sz="726" dirty="0"/>
                <a:t>’.</a:t>
              </a:r>
            </a:p>
          </p:txBody>
        </p:sp>
        <p:pic>
          <p:nvPicPr>
            <p:cNvPr id="14" name="Picture 1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2592751" y="710459"/>
              <a:ext cx="323810" cy="323810"/>
            </a:xfrm>
            <a:prstGeom prst="rect">
              <a:avLst/>
            </a:prstGeom>
          </p:spPr>
        </p:pic>
      </p:grpSp>
    </p:spTree>
    <p:extLst>
      <p:ext uri="{BB962C8B-B14F-4D97-AF65-F5344CB8AC3E}">
        <p14:creationId xmlns:p14="http://schemas.microsoft.com/office/powerpoint/2010/main" val="363313714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Key msg + two columns-Blue">
    <p:spTree>
      <p:nvGrpSpPr>
        <p:cNvPr id="1" name=""/>
        <p:cNvGrpSpPr/>
        <p:nvPr/>
      </p:nvGrpSpPr>
      <p:grpSpPr>
        <a:xfrm>
          <a:off x="0" y="0"/>
          <a:ext cx="0" cy="0"/>
          <a:chOff x="0" y="0"/>
          <a:chExt cx="0" cy="0"/>
        </a:xfrm>
      </p:grpSpPr>
      <p:sp>
        <p:nvSpPr>
          <p:cNvPr id="13" name="Text Placeholder 3"/>
          <p:cNvSpPr>
            <a:spLocks noGrp="1"/>
          </p:cNvSpPr>
          <p:nvPr>
            <p:ph type="body" sz="quarter" idx="13" hasCustomPrompt="1"/>
          </p:nvPr>
        </p:nvSpPr>
        <p:spPr>
          <a:xfrm>
            <a:off x="720373" y="1534879"/>
            <a:ext cx="3364746" cy="4637753"/>
          </a:xfrm>
          <a:solidFill>
            <a:schemeClr val="accent1"/>
          </a:solidFill>
        </p:spPr>
        <p:txBody>
          <a:bodyPr lIns="72000" tIns="72000" rIns="72000" bIns="72000">
            <a:noAutofit/>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p:cNvSpPr>
            <a:spLocks noGrp="1"/>
          </p:cNvSpPr>
          <p:nvPr>
            <p:ph type="title" hasCustomPrompt="1"/>
          </p:nvPr>
        </p:nvSpPr>
        <p:spPr/>
        <p:txBody>
          <a:bodyPr/>
          <a:lstStyle>
            <a:lvl1pPr>
              <a:defRPr/>
            </a:lvl1pPr>
          </a:lstStyle>
          <a:p>
            <a:r>
              <a:rPr lang="en-US" dirty="0"/>
              <a:t>Click to edit page title</a:t>
            </a:r>
            <a:endParaRPr lang="en-GB" dirty="0"/>
          </a:p>
        </p:txBody>
      </p:sp>
      <p:sp>
        <p:nvSpPr>
          <p:cNvPr id="16" name="Text Placeholder 15"/>
          <p:cNvSpPr>
            <a:spLocks noGrp="1"/>
          </p:cNvSpPr>
          <p:nvPr>
            <p:ph type="body" sz="quarter" idx="11" hasCustomPrompt="1"/>
          </p:nvPr>
        </p:nvSpPr>
        <p:spPr>
          <a:xfrm>
            <a:off x="4412723" y="1534881"/>
            <a:ext cx="3366555" cy="1067868"/>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15"/>
          <p:cNvSpPr>
            <a:spLocks noGrp="1"/>
          </p:cNvSpPr>
          <p:nvPr>
            <p:ph type="body" sz="quarter" idx="12" hasCustomPrompt="1"/>
          </p:nvPr>
        </p:nvSpPr>
        <p:spPr>
          <a:xfrm>
            <a:off x="8106885" y="1534881"/>
            <a:ext cx="3366555" cy="1067868"/>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TextBox 5">
            <a:extLst>
              <a:ext uri="{FF2B5EF4-FFF2-40B4-BE49-F238E27FC236}">
                <a16:creationId xmlns:a16="http://schemas.microsoft.com/office/drawing/2014/main" id="{BB9F14FA-5D63-4541-8BAB-66D7594FC628}"/>
              </a:ext>
            </a:extLst>
          </p:cNvPr>
          <p:cNvSpPr txBox="1"/>
          <p:nvPr userDrawn="1"/>
        </p:nvSpPr>
        <p:spPr>
          <a:xfrm>
            <a:off x="12417653" y="2"/>
            <a:ext cx="2873478" cy="177635"/>
          </a:xfrm>
          <a:prstGeom prst="rect">
            <a:avLst/>
          </a:prstGeom>
          <a:solidFill>
            <a:srgbClr val="E6E6E6"/>
          </a:solidFill>
          <a:ln w="9525">
            <a:noFill/>
            <a:miter lim="800000"/>
            <a:headEnd/>
            <a:tailEnd/>
          </a:ln>
          <a:effectLst/>
        </p:spPr>
        <p:txBody>
          <a:bodyPr lIns="32650" tIns="32650" rIns="32650" bIns="32650">
            <a:spAutoFit/>
          </a:bodyPr>
          <a:lstStyle/>
          <a:p>
            <a:pPr>
              <a:spcAft>
                <a:spcPts val="544"/>
              </a:spcAft>
            </a:pPr>
            <a:endParaRPr lang="en-GB" sz="726" dirty="0"/>
          </a:p>
        </p:txBody>
      </p:sp>
    </p:spTree>
    <p:extLst>
      <p:ext uri="{BB962C8B-B14F-4D97-AF65-F5344CB8AC3E}">
        <p14:creationId xmlns:p14="http://schemas.microsoft.com/office/powerpoint/2010/main" val="163654738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Key msg + one column &amp; image-Blue">
    <p:spTree>
      <p:nvGrpSpPr>
        <p:cNvPr id="1" name=""/>
        <p:cNvGrpSpPr/>
        <p:nvPr/>
      </p:nvGrpSpPr>
      <p:grpSpPr>
        <a:xfrm>
          <a:off x="0" y="0"/>
          <a:ext cx="0" cy="0"/>
          <a:chOff x="0" y="0"/>
          <a:chExt cx="0" cy="0"/>
        </a:xfrm>
      </p:grpSpPr>
      <p:sp>
        <p:nvSpPr>
          <p:cNvPr id="12" name="Text Placeholder 3"/>
          <p:cNvSpPr>
            <a:spLocks noGrp="1"/>
          </p:cNvSpPr>
          <p:nvPr>
            <p:ph type="body" sz="quarter" idx="14" hasCustomPrompt="1"/>
          </p:nvPr>
        </p:nvSpPr>
        <p:spPr>
          <a:xfrm>
            <a:off x="720373" y="1534879"/>
            <a:ext cx="3364746" cy="4637753"/>
          </a:xfrm>
          <a:solidFill>
            <a:schemeClr val="accent1"/>
          </a:solidFill>
        </p:spPr>
        <p:txBody>
          <a:bodyPr lIns="72000" tIns="72000" rIns="72000" bIns="72000">
            <a:noAutofit/>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p:cNvSpPr>
            <a:spLocks noGrp="1"/>
          </p:cNvSpPr>
          <p:nvPr>
            <p:ph type="title" hasCustomPrompt="1"/>
          </p:nvPr>
        </p:nvSpPr>
        <p:spPr/>
        <p:txBody>
          <a:bodyPr/>
          <a:lstStyle>
            <a:lvl1pPr>
              <a:defRPr/>
            </a:lvl1pPr>
          </a:lstStyle>
          <a:p>
            <a:r>
              <a:rPr lang="en-US" dirty="0"/>
              <a:t>Click to edit page title</a:t>
            </a:r>
            <a:endParaRPr lang="en-GB" dirty="0"/>
          </a:p>
        </p:txBody>
      </p:sp>
      <p:sp>
        <p:nvSpPr>
          <p:cNvPr id="16" name="Text Placeholder 15"/>
          <p:cNvSpPr>
            <a:spLocks noGrp="1"/>
          </p:cNvSpPr>
          <p:nvPr>
            <p:ph type="body" sz="quarter" idx="11" hasCustomPrompt="1"/>
          </p:nvPr>
        </p:nvSpPr>
        <p:spPr>
          <a:xfrm>
            <a:off x="4412722" y="3429001"/>
            <a:ext cx="7060717" cy="1067868"/>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Picture Placeholder 3"/>
          <p:cNvSpPr>
            <a:spLocks noGrp="1"/>
          </p:cNvSpPr>
          <p:nvPr>
            <p:ph type="pic" sz="quarter" idx="13" hasCustomPrompt="1"/>
          </p:nvPr>
        </p:nvSpPr>
        <p:spPr>
          <a:xfrm>
            <a:off x="4412722" y="1534881"/>
            <a:ext cx="7060717" cy="1763500"/>
          </a:xfrm>
          <a:solidFill>
            <a:schemeClr val="bg1">
              <a:lumMod val="95000"/>
            </a:schemeClr>
          </a:solidFill>
        </p:spPr>
        <p:txBody>
          <a:bodyPr anchor="ctr" anchorCtr="1">
            <a:noAutofit/>
          </a:bodyPr>
          <a:lstStyle>
            <a:lvl1pPr>
              <a:defRPr/>
            </a:lvl1pPr>
          </a:lstStyle>
          <a:p>
            <a:r>
              <a:rPr lang="en-US" dirty="0"/>
              <a:t>Click to insert picture</a:t>
            </a:r>
            <a:endParaRPr lang="en-GB" dirty="0"/>
          </a:p>
        </p:txBody>
      </p:sp>
      <p:grpSp>
        <p:nvGrpSpPr>
          <p:cNvPr id="3" name="Group 8">
            <a:extLst>
              <a:ext uri="{FF2B5EF4-FFF2-40B4-BE49-F238E27FC236}">
                <a16:creationId xmlns:a16="http://schemas.microsoft.com/office/drawing/2014/main" id="{1C78F2B7-4905-498C-A07A-F064889CB656}"/>
              </a:ext>
            </a:extLst>
          </p:cNvPr>
          <p:cNvGrpSpPr/>
          <p:nvPr userDrawn="1"/>
        </p:nvGrpSpPr>
        <p:grpSpPr>
          <a:xfrm>
            <a:off x="12417653" y="2"/>
            <a:ext cx="2873478" cy="1120169"/>
            <a:chOff x="10891316" y="0"/>
            <a:chExt cx="2520280" cy="1235038"/>
          </a:xfrm>
        </p:grpSpPr>
        <p:sp>
          <p:nvSpPr>
            <p:cNvPr id="10" name="TextBox 9">
              <a:extLst>
                <a:ext uri="{FF2B5EF4-FFF2-40B4-BE49-F238E27FC236}">
                  <a16:creationId xmlns:a16="http://schemas.microsoft.com/office/drawing/2014/main" id="{D98FBF9D-91D5-42EF-8095-8C793C1F8EB0}"/>
                </a:ext>
              </a:extLst>
            </p:cNvPr>
            <p:cNvSpPr txBox="1"/>
            <p:nvPr/>
          </p:nvSpPr>
          <p:spPr>
            <a:xfrm>
              <a:off x="10891316" y="0"/>
              <a:ext cx="2520280" cy="1235038"/>
            </a:xfrm>
            <a:prstGeom prst="rect">
              <a:avLst/>
            </a:prstGeom>
            <a:solidFill>
              <a:schemeClr val="bg1">
                <a:lumMod val="85000"/>
              </a:schemeClr>
            </a:solidFill>
            <a:ln w="9525">
              <a:noFill/>
              <a:miter lim="800000"/>
              <a:headEnd/>
              <a:tailEnd/>
            </a:ln>
            <a:effectLst/>
          </p:spPr>
          <p:txBody>
            <a:bodyPr lIns="36000" tIns="36000" rIns="36000" bIns="36000">
              <a:spAutoFit/>
            </a:bodyPr>
            <a:lstStyle/>
            <a:p>
              <a:pPr>
                <a:spcAft>
                  <a:spcPts val="272"/>
                </a:spcAft>
              </a:pPr>
              <a:r>
                <a:rPr lang="en-GB" sz="726" dirty="0"/>
                <a:t>To add an image:</a:t>
              </a:r>
            </a:p>
            <a:p>
              <a:pPr marL="137886" indent="-137886">
                <a:spcAft>
                  <a:spcPts val="272"/>
                </a:spcAft>
                <a:buFont typeface="Arial" pitchFamily="34" charset="0"/>
                <a:buChar char="•"/>
              </a:pPr>
              <a:r>
                <a:rPr lang="en-GB" sz="726" dirty="0"/>
                <a:t>click on the picture placeholder icon</a:t>
              </a:r>
            </a:p>
            <a:p>
              <a:pPr marL="137886" indent="-137886">
                <a:spcAft>
                  <a:spcPts val="272"/>
                </a:spcAft>
                <a:buFont typeface="Arial" pitchFamily="34" charset="0"/>
                <a:buChar char="•"/>
              </a:pPr>
              <a:r>
                <a:rPr lang="en-GB" sz="726" dirty="0"/>
                <a:t>Windows Explorer will open, find your required image and click ‘Insert’</a:t>
              </a:r>
            </a:p>
            <a:p>
              <a:pPr marL="137886" indent="-137886">
                <a:spcAft>
                  <a:spcPts val="272"/>
                </a:spcAft>
                <a:buFont typeface="Arial" pitchFamily="34" charset="0"/>
                <a:buChar char="•"/>
              </a:pPr>
              <a:r>
                <a:rPr lang="en-GB" sz="726" dirty="0"/>
                <a:t>select the image, right-click and select ‘Send to </a:t>
              </a:r>
              <a:r>
                <a:rPr lang="en-GB" sz="726" b="0" dirty="0"/>
                <a:t>B</a:t>
              </a:r>
              <a:r>
                <a:rPr lang="en-GB" sz="726" dirty="0"/>
                <a:t>ack’</a:t>
              </a:r>
            </a:p>
            <a:p>
              <a:pPr marL="137886" indent="-137886">
                <a:spcAft>
                  <a:spcPts val="272"/>
                </a:spcAft>
                <a:buFont typeface="Arial" pitchFamily="34" charset="0"/>
                <a:buChar char="•"/>
              </a:pPr>
              <a:r>
                <a:rPr lang="en-GB" sz="726" dirty="0"/>
                <a:t>to change the image, select it, right-click and select ‘Change Picture’, navigate to the required image file, select and click ‘Insert’.</a:t>
              </a:r>
            </a:p>
          </p:txBody>
        </p:sp>
        <p:pic>
          <p:nvPicPr>
            <p:cNvPr id="11" name="Picture 10">
              <a:extLst>
                <a:ext uri="{FF2B5EF4-FFF2-40B4-BE49-F238E27FC236}">
                  <a16:creationId xmlns:a16="http://schemas.microsoft.com/office/drawing/2014/main" id="{37E2A5B0-5574-43C3-8835-004464C4BAD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3025615" y="68609"/>
              <a:ext cx="323810" cy="323810"/>
            </a:xfrm>
            <a:prstGeom prst="rect">
              <a:avLst/>
            </a:prstGeom>
          </p:spPr>
        </p:pic>
      </p:grpSp>
    </p:spTree>
    <p:extLst>
      <p:ext uri="{BB962C8B-B14F-4D97-AF65-F5344CB8AC3E}">
        <p14:creationId xmlns:p14="http://schemas.microsoft.com/office/powerpoint/2010/main" val="27618443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ase study_one col + image-Blue">
    <p:spTree>
      <p:nvGrpSpPr>
        <p:cNvPr id="1" name=""/>
        <p:cNvGrpSpPr/>
        <p:nvPr/>
      </p:nvGrpSpPr>
      <p:grpSpPr>
        <a:xfrm>
          <a:off x="0" y="0"/>
          <a:ext cx="0" cy="0"/>
          <a:chOff x="0" y="0"/>
          <a:chExt cx="0" cy="0"/>
        </a:xfrm>
      </p:grpSpPr>
      <p:sp>
        <p:nvSpPr>
          <p:cNvPr id="6" name="Text Placeholder 3"/>
          <p:cNvSpPr>
            <a:spLocks noGrp="1"/>
          </p:cNvSpPr>
          <p:nvPr>
            <p:ph type="body" sz="quarter" idx="16" hasCustomPrompt="1"/>
          </p:nvPr>
        </p:nvSpPr>
        <p:spPr>
          <a:xfrm>
            <a:off x="6272417" y="4963159"/>
            <a:ext cx="5201024" cy="1202562"/>
          </a:xfrm>
          <a:solidFill>
            <a:schemeClr val="accent1"/>
          </a:solidFill>
        </p:spPr>
        <p:txBody>
          <a:bodyPr wrap="square" lIns="72000" tIns="72000" rIns="72000" bIns="72000">
            <a:noAutofit/>
          </a:bodyPr>
          <a:lstStyle>
            <a:lvl1pPr>
              <a:defRPr sz="1088">
                <a:solidFill>
                  <a:schemeClr val="bg1"/>
                </a:solidFill>
              </a:defRPr>
            </a:lvl1pPr>
            <a:lvl2pPr>
              <a:defRPr sz="907">
                <a:solidFill>
                  <a:schemeClr val="bg1"/>
                </a:solidFill>
              </a:defRPr>
            </a:lvl2pPr>
            <a:lvl3pPr>
              <a:buClr>
                <a:schemeClr val="bg1"/>
              </a:buClr>
              <a:defRPr sz="907">
                <a:solidFill>
                  <a:schemeClr val="bg1"/>
                </a:solidFill>
              </a:defRPr>
            </a:lvl3pPr>
            <a:lvl4pPr>
              <a:buClr>
                <a:schemeClr val="bg1"/>
              </a:buClr>
              <a:defRPr sz="907">
                <a:solidFill>
                  <a:schemeClr val="bg1"/>
                </a:solidFill>
              </a:defRPr>
            </a:lvl4pPr>
            <a:lvl5pPr>
              <a:buClr>
                <a:schemeClr val="bg1"/>
              </a:buClr>
              <a:defRPr sz="907">
                <a:solidFill>
                  <a:schemeClr val="bg1"/>
                </a:solidFill>
              </a:defRPr>
            </a:lvl5pPr>
            <a:lvl7pPr>
              <a:defRPr sz="998"/>
            </a:lvl7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Picture Placeholder 15"/>
          <p:cNvSpPr>
            <a:spLocks noGrp="1"/>
          </p:cNvSpPr>
          <p:nvPr>
            <p:ph type="pic" sz="quarter" idx="18" hasCustomPrompt="1"/>
          </p:nvPr>
        </p:nvSpPr>
        <p:spPr>
          <a:xfrm>
            <a:off x="6272417" y="1543521"/>
            <a:ext cx="5201024" cy="3419641"/>
          </a:xfrm>
          <a:solidFill>
            <a:schemeClr val="bg1">
              <a:lumMod val="95000"/>
            </a:schemeClr>
          </a:solidFill>
          <a:ln>
            <a:noFill/>
          </a:ln>
        </p:spPr>
        <p:txBody>
          <a:bodyPr anchor="ctr" anchorCtr="1">
            <a:noAutofit/>
          </a:bodyPr>
          <a:lstStyle>
            <a:lvl1pPr>
              <a:defRPr sz="726" b="0">
                <a:solidFill>
                  <a:schemeClr val="tx1"/>
                </a:solidFill>
              </a:defRPr>
            </a:lvl1pPr>
          </a:lstStyle>
          <a:p>
            <a:r>
              <a:rPr lang="en-NZ" dirty="0"/>
              <a:t>Click to insert picture</a:t>
            </a:r>
          </a:p>
        </p:txBody>
      </p:sp>
      <p:sp>
        <p:nvSpPr>
          <p:cNvPr id="2" name="Title 1"/>
          <p:cNvSpPr>
            <a:spLocks noGrp="1"/>
          </p:cNvSpPr>
          <p:nvPr>
            <p:ph type="title" hasCustomPrompt="1"/>
          </p:nvPr>
        </p:nvSpPr>
        <p:spPr/>
        <p:txBody>
          <a:bodyPr/>
          <a:lstStyle>
            <a:lvl1pPr>
              <a:defRPr/>
            </a:lvl1pPr>
          </a:lstStyle>
          <a:p>
            <a:r>
              <a:rPr lang="en-US" dirty="0"/>
              <a:t>Click to edit page title</a:t>
            </a:r>
            <a:endParaRPr lang="en-GB" dirty="0"/>
          </a:p>
        </p:txBody>
      </p:sp>
      <p:sp>
        <p:nvSpPr>
          <p:cNvPr id="14" name="Text Placeholder 3"/>
          <p:cNvSpPr>
            <a:spLocks noGrp="1"/>
          </p:cNvSpPr>
          <p:nvPr>
            <p:ph type="body" sz="quarter" idx="15" hasCustomPrompt="1"/>
          </p:nvPr>
        </p:nvSpPr>
        <p:spPr>
          <a:xfrm>
            <a:off x="720500" y="1538974"/>
            <a:ext cx="5210793" cy="1067868"/>
          </a:xfrm>
        </p:spPr>
        <p:txBody>
          <a:bodyPr wrap="square">
            <a:sp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3" name="Group 7"/>
          <p:cNvGrpSpPr/>
          <p:nvPr userDrawn="1"/>
        </p:nvGrpSpPr>
        <p:grpSpPr>
          <a:xfrm>
            <a:off x="12417653" y="2"/>
            <a:ext cx="2873478" cy="1120169"/>
            <a:chOff x="10891316" y="0"/>
            <a:chExt cx="2520280" cy="1235038"/>
          </a:xfrm>
        </p:grpSpPr>
        <p:sp>
          <p:nvSpPr>
            <p:cNvPr id="11" name="TextBox 10"/>
            <p:cNvSpPr txBox="1"/>
            <p:nvPr/>
          </p:nvSpPr>
          <p:spPr>
            <a:xfrm>
              <a:off x="10891316" y="0"/>
              <a:ext cx="2520280" cy="1235038"/>
            </a:xfrm>
            <a:prstGeom prst="rect">
              <a:avLst/>
            </a:prstGeom>
            <a:solidFill>
              <a:schemeClr val="bg1">
                <a:lumMod val="85000"/>
              </a:schemeClr>
            </a:solidFill>
            <a:ln w="9525">
              <a:noFill/>
              <a:miter lim="800000"/>
              <a:headEnd/>
              <a:tailEnd/>
            </a:ln>
            <a:effectLst/>
          </p:spPr>
          <p:txBody>
            <a:bodyPr lIns="36000" tIns="36000" rIns="36000" bIns="36000">
              <a:spAutoFit/>
            </a:bodyPr>
            <a:lstStyle/>
            <a:p>
              <a:pPr>
                <a:spcAft>
                  <a:spcPts val="272"/>
                </a:spcAft>
              </a:pPr>
              <a:r>
                <a:rPr lang="en-GB" sz="726" dirty="0"/>
                <a:t>To add an image:</a:t>
              </a:r>
            </a:p>
            <a:p>
              <a:pPr marL="137886" indent="-137886">
                <a:spcAft>
                  <a:spcPts val="272"/>
                </a:spcAft>
                <a:buFont typeface="Arial" pitchFamily="34" charset="0"/>
                <a:buChar char="•"/>
              </a:pPr>
              <a:r>
                <a:rPr lang="en-GB" sz="726" dirty="0"/>
                <a:t>click on the picture placeholder icon</a:t>
              </a:r>
            </a:p>
            <a:p>
              <a:pPr marL="137886" indent="-137886">
                <a:spcAft>
                  <a:spcPts val="272"/>
                </a:spcAft>
                <a:buFont typeface="Arial" pitchFamily="34" charset="0"/>
                <a:buChar char="•"/>
              </a:pPr>
              <a:r>
                <a:rPr lang="en-GB" sz="726" dirty="0"/>
                <a:t>Windows Explorer will open, find your required image and click ‘Insert’</a:t>
              </a:r>
            </a:p>
            <a:p>
              <a:pPr marL="137886" indent="-137886">
                <a:spcAft>
                  <a:spcPts val="272"/>
                </a:spcAft>
                <a:buFont typeface="Arial" pitchFamily="34" charset="0"/>
                <a:buChar char="•"/>
              </a:pPr>
              <a:r>
                <a:rPr lang="en-GB" sz="726" dirty="0"/>
                <a:t>select the image, right-click and select ‘Send to </a:t>
              </a:r>
              <a:r>
                <a:rPr lang="en-GB" sz="726" b="0" dirty="0"/>
                <a:t>B</a:t>
              </a:r>
              <a:r>
                <a:rPr lang="en-GB" sz="726" dirty="0"/>
                <a:t>ack’</a:t>
              </a:r>
            </a:p>
            <a:p>
              <a:pPr marL="137886" indent="-137886">
                <a:spcAft>
                  <a:spcPts val="272"/>
                </a:spcAft>
                <a:buFont typeface="Arial" pitchFamily="34" charset="0"/>
                <a:buChar char="•"/>
              </a:pPr>
              <a:r>
                <a:rPr lang="en-GB" sz="726" dirty="0"/>
                <a:t>to change the image, select it, right-click and select ‘Change Picture’, navigate to the required image file, select and click ‘Insert’.</a:t>
              </a:r>
            </a:p>
          </p:txBody>
        </p:sp>
        <p:pic>
          <p:nvPicPr>
            <p:cNvPr id="13" name="Picture 1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3025615" y="68609"/>
              <a:ext cx="323810" cy="323810"/>
            </a:xfrm>
            <a:prstGeom prst="rect">
              <a:avLst/>
            </a:prstGeom>
          </p:spPr>
        </p:pic>
      </p:grpSp>
    </p:spTree>
    <p:extLst>
      <p:ext uri="{BB962C8B-B14F-4D97-AF65-F5344CB8AC3E}">
        <p14:creationId xmlns:p14="http://schemas.microsoft.com/office/powerpoint/2010/main" val="35613164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der Slide">
    <p:bg>
      <p:bgPr>
        <a:solidFill>
          <a:schemeClr val="accent2"/>
        </a:solidFill>
        <a:effectLst/>
      </p:bgPr>
    </p:bg>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BBA3AA40-3440-5851-3972-390D3DEB2219}"/>
              </a:ext>
            </a:extLst>
          </p:cNvPr>
          <p:cNvSpPr>
            <a:spLocks noGrp="1"/>
          </p:cNvSpPr>
          <p:nvPr>
            <p:ph type="body" sz="quarter" idx="14" hasCustomPrompt="1"/>
          </p:nvPr>
        </p:nvSpPr>
        <p:spPr>
          <a:xfrm>
            <a:off x="508939" y="5989638"/>
            <a:ext cx="5197594" cy="230187"/>
          </a:xfrm>
        </p:spPr>
        <p:txBody>
          <a:bodyPr tIns="0" bIns="0">
            <a:noAutofit/>
          </a:bodyPr>
          <a:lstStyle>
            <a:lvl1pPr>
              <a:defRPr sz="1400" cap="all" baseline="0">
                <a:solidFill>
                  <a:schemeClr val="bg1"/>
                </a:solidFill>
                <a:latin typeface="+mj-lt"/>
              </a:defRPr>
            </a:lvl1pPr>
            <a:lvl2pPr>
              <a:defRPr>
                <a:solidFill>
                  <a:schemeClr val="bg1"/>
                </a:solidFill>
                <a:latin typeface="+mn-lt"/>
              </a:defRPr>
            </a:lvl2pPr>
            <a:lvl3pPr>
              <a:defRPr>
                <a:solidFill>
                  <a:schemeClr val="bg1"/>
                </a:solidFill>
                <a:latin typeface="+mn-lt"/>
              </a:defRPr>
            </a:lvl3pPr>
            <a:lvl4pPr>
              <a:defRPr>
                <a:solidFill>
                  <a:schemeClr val="bg1"/>
                </a:solidFill>
                <a:latin typeface="+mn-lt"/>
              </a:defRPr>
            </a:lvl4pPr>
            <a:lvl5pPr>
              <a:defRPr>
                <a:solidFill>
                  <a:schemeClr val="bg1"/>
                </a:solidFill>
                <a:latin typeface="+mn-lt"/>
              </a:defRPr>
            </a:lvl5pPr>
          </a:lstStyle>
          <a:p>
            <a:pPr lvl="0"/>
            <a:r>
              <a:rPr lang="en-US" dirty="0"/>
              <a:t>PROPOSAL TO [CLIENT] FOR LEGAL SERVICES</a:t>
            </a:r>
            <a:endParaRPr lang="en-GB" dirty="0"/>
          </a:p>
        </p:txBody>
      </p:sp>
      <p:sp>
        <p:nvSpPr>
          <p:cNvPr id="10" name="Title 1">
            <a:extLst>
              <a:ext uri="{FF2B5EF4-FFF2-40B4-BE49-F238E27FC236}">
                <a16:creationId xmlns:a16="http://schemas.microsoft.com/office/drawing/2014/main" id="{1D9960C9-AE88-FF64-7340-9EC8DF655E87}"/>
              </a:ext>
            </a:extLst>
          </p:cNvPr>
          <p:cNvSpPr>
            <a:spLocks noGrp="1"/>
          </p:cNvSpPr>
          <p:nvPr>
            <p:ph type="ctrTitle" hasCustomPrompt="1"/>
          </p:nvPr>
        </p:nvSpPr>
        <p:spPr>
          <a:xfrm>
            <a:off x="508939" y="2430692"/>
            <a:ext cx="7774636" cy="2387600"/>
          </a:xfrm>
        </p:spPr>
        <p:txBody>
          <a:bodyPr vert="horz" lIns="0" tIns="0" rIns="0" bIns="0" rtlCol="0" anchor="t" anchorCtr="0">
            <a:noAutofit/>
          </a:bodyPr>
          <a:lstStyle>
            <a:lvl1pPr>
              <a:lnSpc>
                <a:spcPct val="100000"/>
              </a:lnSpc>
              <a:defRPr lang="en-US" sz="3300" dirty="0">
                <a:solidFill>
                  <a:schemeClr val="tx2"/>
                </a:solidFill>
              </a:defRPr>
            </a:lvl1pPr>
          </a:lstStyle>
          <a:p>
            <a:pPr lvl="0"/>
            <a:r>
              <a:rPr lang="en-US" dirty="0"/>
              <a:t>DIVIDER SLIDE TEXT GOES HERE</a:t>
            </a:r>
          </a:p>
        </p:txBody>
      </p:sp>
      <p:sp>
        <p:nvSpPr>
          <p:cNvPr id="3" name="Graphic 13">
            <a:extLst>
              <a:ext uri="{FF2B5EF4-FFF2-40B4-BE49-F238E27FC236}">
                <a16:creationId xmlns:a16="http://schemas.microsoft.com/office/drawing/2014/main" id="{AB2731C8-136C-E73A-D65E-D0BB4EC55F0F}"/>
              </a:ext>
            </a:extLst>
          </p:cNvPr>
          <p:cNvSpPr>
            <a:spLocks noGrp="1" noRot="1" noMove="1" noResize="1" noEditPoints="1" noAdjustHandles="1" noChangeArrowheads="1" noChangeShapeType="1"/>
          </p:cNvSpPr>
          <p:nvPr userDrawn="1"/>
        </p:nvSpPr>
        <p:spPr>
          <a:xfrm>
            <a:off x="585463" y="588011"/>
            <a:ext cx="1522695" cy="922576"/>
          </a:xfrm>
          <a:custGeom>
            <a:avLst/>
            <a:gdLst>
              <a:gd name="connsiteX0" fmla="*/ 618149 w 1522695"/>
              <a:gd name="connsiteY0" fmla="*/ 39943 h 922576"/>
              <a:gd name="connsiteX1" fmla="*/ 421345 w 1522695"/>
              <a:gd name="connsiteY1" fmla="*/ 876531 h 922576"/>
              <a:gd name="connsiteX2" fmla="*/ 388753 w 1522695"/>
              <a:gd name="connsiteY2" fmla="*/ 915365 h 922576"/>
              <a:gd name="connsiteX3" fmla="*/ 349364 w 1522695"/>
              <a:gd name="connsiteY3" fmla="*/ 922577 h 922576"/>
              <a:gd name="connsiteX4" fmla="*/ 328006 w 1522695"/>
              <a:gd name="connsiteY4" fmla="*/ 897196 h 922576"/>
              <a:gd name="connsiteX5" fmla="*/ 431608 w 1522695"/>
              <a:gd name="connsiteY5" fmla="*/ 465033 h 922576"/>
              <a:gd name="connsiteX6" fmla="*/ 224958 w 1522695"/>
              <a:gd name="connsiteY6" fmla="*/ 504838 h 922576"/>
              <a:gd name="connsiteX7" fmla="*/ 185292 w 1522695"/>
              <a:gd name="connsiteY7" fmla="*/ 702473 h 922576"/>
              <a:gd name="connsiteX8" fmla="*/ 159634 w 1522695"/>
              <a:gd name="connsiteY8" fmla="*/ 738117 h 922576"/>
              <a:gd name="connsiteX9" fmla="*/ 102771 w 1522695"/>
              <a:gd name="connsiteY9" fmla="*/ 719671 h 922576"/>
              <a:gd name="connsiteX10" fmla="*/ 150203 w 1522695"/>
              <a:gd name="connsiteY10" fmla="*/ 519816 h 922576"/>
              <a:gd name="connsiteX11" fmla="*/ 62411 w 1522695"/>
              <a:gd name="connsiteY11" fmla="*/ 533547 h 922576"/>
              <a:gd name="connsiteX12" fmla="*/ 0 w 1522695"/>
              <a:gd name="connsiteY12" fmla="*/ 507750 h 922576"/>
              <a:gd name="connsiteX13" fmla="*/ 163795 w 1522695"/>
              <a:gd name="connsiteY13" fmla="*/ 465588 h 922576"/>
              <a:gd name="connsiteX14" fmla="*/ 234805 w 1522695"/>
              <a:gd name="connsiteY14" fmla="*/ 162547 h 922576"/>
              <a:gd name="connsiteX15" fmla="*/ 258244 w 1522695"/>
              <a:gd name="connsiteY15" fmla="*/ 135502 h 922576"/>
              <a:gd name="connsiteX16" fmla="*/ 300961 w 1522695"/>
              <a:gd name="connsiteY16" fmla="*/ 126625 h 922576"/>
              <a:gd name="connsiteX17" fmla="*/ 316772 w 1522695"/>
              <a:gd name="connsiteY17" fmla="*/ 149232 h 922576"/>
              <a:gd name="connsiteX18" fmla="*/ 239104 w 1522695"/>
              <a:gd name="connsiteY18" fmla="*/ 449084 h 922576"/>
              <a:gd name="connsiteX19" fmla="*/ 447697 w 1522695"/>
              <a:gd name="connsiteY19" fmla="*/ 404564 h 922576"/>
              <a:gd name="connsiteX20" fmla="*/ 542839 w 1522695"/>
              <a:gd name="connsiteY20" fmla="*/ 34950 h 922576"/>
              <a:gd name="connsiteX21" fmla="*/ 557402 w 1522695"/>
              <a:gd name="connsiteY21" fmla="*/ 6935 h 922576"/>
              <a:gd name="connsiteX22" fmla="*/ 592907 w 1522695"/>
              <a:gd name="connsiteY22" fmla="*/ 0 h 922576"/>
              <a:gd name="connsiteX23" fmla="*/ 620506 w 1522695"/>
              <a:gd name="connsiteY23" fmla="*/ 25381 h 922576"/>
              <a:gd name="connsiteX24" fmla="*/ 618426 w 1522695"/>
              <a:gd name="connsiteY24" fmla="*/ 40359 h 922576"/>
              <a:gd name="connsiteX25" fmla="*/ 845048 w 1522695"/>
              <a:gd name="connsiteY25" fmla="*/ 445755 h 922576"/>
              <a:gd name="connsiteX26" fmla="*/ 684582 w 1522695"/>
              <a:gd name="connsiteY26" fmla="*/ 476544 h 922576"/>
              <a:gd name="connsiteX27" fmla="*/ 729241 w 1522695"/>
              <a:gd name="connsiteY27" fmla="*/ 311918 h 922576"/>
              <a:gd name="connsiteX28" fmla="*/ 1087204 w 1522695"/>
              <a:gd name="connsiteY28" fmla="*/ 231060 h 922576"/>
              <a:gd name="connsiteX29" fmla="*/ 1110643 w 1522695"/>
              <a:gd name="connsiteY29" fmla="*/ 218994 h 922576"/>
              <a:gd name="connsiteX30" fmla="*/ 1053363 w 1522695"/>
              <a:gd name="connsiteY30" fmla="*/ 185708 h 922576"/>
              <a:gd name="connsiteX31" fmla="*/ 1029785 w 1522695"/>
              <a:gd name="connsiteY31" fmla="*/ 187927 h 922576"/>
              <a:gd name="connsiteX32" fmla="*/ 636872 w 1522695"/>
              <a:gd name="connsiteY32" fmla="*/ 267536 h 922576"/>
              <a:gd name="connsiteX33" fmla="*/ 610798 w 1522695"/>
              <a:gd name="connsiteY33" fmla="*/ 284595 h 922576"/>
              <a:gd name="connsiteX34" fmla="*/ 652683 w 1522695"/>
              <a:gd name="connsiteY34" fmla="*/ 321210 h 922576"/>
              <a:gd name="connsiteX35" fmla="*/ 524948 w 1522695"/>
              <a:gd name="connsiteY35" fmla="*/ 802192 h 922576"/>
              <a:gd name="connsiteX36" fmla="*/ 537569 w 1522695"/>
              <a:gd name="connsiteY36" fmla="*/ 815646 h 922576"/>
              <a:gd name="connsiteX37" fmla="*/ 595542 w 1522695"/>
              <a:gd name="connsiteY37" fmla="*/ 802886 h 922576"/>
              <a:gd name="connsiteX38" fmla="*/ 616762 w 1522695"/>
              <a:gd name="connsiteY38" fmla="*/ 763914 h 922576"/>
              <a:gd name="connsiteX39" fmla="*/ 669603 w 1522695"/>
              <a:gd name="connsiteY39" fmla="*/ 537430 h 922576"/>
              <a:gd name="connsiteX40" fmla="*/ 808988 w 1522695"/>
              <a:gd name="connsiteY40" fmla="*/ 509276 h 922576"/>
              <a:gd name="connsiteX41" fmla="*/ 859611 w 1522695"/>
              <a:gd name="connsiteY41" fmla="*/ 477238 h 922576"/>
              <a:gd name="connsiteX42" fmla="*/ 872232 w 1522695"/>
              <a:gd name="connsiteY42" fmla="*/ 451996 h 922576"/>
              <a:gd name="connsiteX43" fmla="*/ 845187 w 1522695"/>
              <a:gd name="connsiteY43" fmla="*/ 445755 h 922576"/>
              <a:gd name="connsiteX44" fmla="*/ 1479701 w 1522695"/>
              <a:gd name="connsiteY44" fmla="*/ 159218 h 922576"/>
              <a:gd name="connsiteX45" fmla="*/ 1409801 w 1522695"/>
              <a:gd name="connsiteY45" fmla="*/ 217052 h 922576"/>
              <a:gd name="connsiteX46" fmla="*/ 1212442 w 1522695"/>
              <a:gd name="connsiteY46" fmla="*/ 666691 h 922576"/>
              <a:gd name="connsiteX47" fmla="*/ 1231721 w 1522695"/>
              <a:gd name="connsiteY47" fmla="*/ 323845 h 922576"/>
              <a:gd name="connsiteX48" fmla="*/ 1206895 w 1522695"/>
              <a:gd name="connsiteY48" fmla="*/ 300683 h 922576"/>
              <a:gd name="connsiteX49" fmla="*/ 1151002 w 1522695"/>
              <a:gd name="connsiteY49" fmla="*/ 324677 h 922576"/>
              <a:gd name="connsiteX50" fmla="*/ 1137549 w 1522695"/>
              <a:gd name="connsiteY50" fmla="*/ 353525 h 922576"/>
              <a:gd name="connsiteX51" fmla="*/ 980689 w 1522695"/>
              <a:gd name="connsiteY51" fmla="*/ 605528 h 922576"/>
              <a:gd name="connsiteX52" fmla="*/ 1041574 w 1522695"/>
              <a:gd name="connsiteY52" fmla="*/ 331196 h 922576"/>
              <a:gd name="connsiteX53" fmla="*/ 1029369 w 1522695"/>
              <a:gd name="connsiteY53" fmla="*/ 319962 h 922576"/>
              <a:gd name="connsiteX54" fmla="*/ 988871 w 1522695"/>
              <a:gd name="connsiteY54" fmla="*/ 327728 h 922576"/>
              <a:gd name="connsiteX55" fmla="*/ 954892 w 1522695"/>
              <a:gd name="connsiteY55" fmla="*/ 369752 h 922576"/>
              <a:gd name="connsiteX56" fmla="*/ 880553 w 1522695"/>
              <a:gd name="connsiteY56" fmla="*/ 711766 h 922576"/>
              <a:gd name="connsiteX57" fmla="*/ 902328 w 1522695"/>
              <a:gd name="connsiteY57" fmla="*/ 741862 h 922576"/>
              <a:gd name="connsiteX58" fmla="*/ 960024 w 1522695"/>
              <a:gd name="connsiteY58" fmla="*/ 718423 h 922576"/>
              <a:gd name="connsiteX59" fmla="*/ 1144483 w 1522695"/>
              <a:gd name="connsiteY59" fmla="*/ 419542 h 922576"/>
              <a:gd name="connsiteX60" fmla="*/ 1128950 w 1522695"/>
              <a:gd name="connsiteY60" fmla="*/ 709546 h 922576"/>
              <a:gd name="connsiteX61" fmla="*/ 1162375 w 1522695"/>
              <a:gd name="connsiteY61" fmla="*/ 786798 h 922576"/>
              <a:gd name="connsiteX62" fmla="*/ 1235049 w 1522695"/>
              <a:gd name="connsiteY62" fmla="*/ 740891 h 922576"/>
              <a:gd name="connsiteX63" fmla="*/ 1512016 w 1522695"/>
              <a:gd name="connsiteY63" fmla="*/ 203322 h 922576"/>
              <a:gd name="connsiteX64" fmla="*/ 1522696 w 1522695"/>
              <a:gd name="connsiteY64" fmla="*/ 183766 h 922576"/>
              <a:gd name="connsiteX65" fmla="*/ 1479840 w 1522695"/>
              <a:gd name="connsiteY65" fmla="*/ 159357 h 922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522695" h="922576">
                <a:moveTo>
                  <a:pt x="618149" y="39943"/>
                </a:moveTo>
                <a:cubicBezTo>
                  <a:pt x="568774" y="240214"/>
                  <a:pt x="450887" y="614404"/>
                  <a:pt x="421345" y="876531"/>
                </a:cubicBezTo>
                <a:cubicBezTo>
                  <a:pt x="418849" y="898167"/>
                  <a:pt x="420374" y="906627"/>
                  <a:pt x="388753" y="915365"/>
                </a:cubicBezTo>
                <a:cubicBezTo>
                  <a:pt x="373497" y="919526"/>
                  <a:pt x="359350" y="922577"/>
                  <a:pt x="349364" y="922577"/>
                </a:cubicBezTo>
                <a:cubicBezTo>
                  <a:pt x="333831" y="922577"/>
                  <a:pt x="328006" y="913978"/>
                  <a:pt x="328006" y="897196"/>
                </a:cubicBezTo>
                <a:cubicBezTo>
                  <a:pt x="328006" y="851567"/>
                  <a:pt x="390972" y="623280"/>
                  <a:pt x="431608" y="465033"/>
                </a:cubicBezTo>
                <a:cubicBezTo>
                  <a:pt x="377380" y="475296"/>
                  <a:pt x="300961" y="489998"/>
                  <a:pt x="224958" y="504838"/>
                </a:cubicBezTo>
                <a:cubicBezTo>
                  <a:pt x="206512" y="579870"/>
                  <a:pt x="193336" y="642697"/>
                  <a:pt x="185292" y="702473"/>
                </a:cubicBezTo>
                <a:cubicBezTo>
                  <a:pt x="183350" y="716897"/>
                  <a:pt x="185292" y="730489"/>
                  <a:pt x="159634" y="738117"/>
                </a:cubicBezTo>
                <a:cubicBezTo>
                  <a:pt x="116362" y="751015"/>
                  <a:pt x="100968" y="743803"/>
                  <a:pt x="102771" y="719671"/>
                </a:cubicBezTo>
                <a:cubicBezTo>
                  <a:pt x="105683" y="679589"/>
                  <a:pt x="118443" y="648661"/>
                  <a:pt x="150203" y="519816"/>
                </a:cubicBezTo>
                <a:cubicBezTo>
                  <a:pt x="110676" y="527722"/>
                  <a:pt x="79748" y="533547"/>
                  <a:pt x="62411" y="533547"/>
                </a:cubicBezTo>
                <a:cubicBezTo>
                  <a:pt x="38972" y="533547"/>
                  <a:pt x="0" y="517459"/>
                  <a:pt x="0" y="507750"/>
                </a:cubicBezTo>
                <a:cubicBezTo>
                  <a:pt x="0" y="496239"/>
                  <a:pt x="27184" y="496377"/>
                  <a:pt x="163795" y="465588"/>
                </a:cubicBezTo>
                <a:cubicBezTo>
                  <a:pt x="190146" y="360876"/>
                  <a:pt x="227038" y="219133"/>
                  <a:pt x="234805" y="162547"/>
                </a:cubicBezTo>
                <a:cubicBezTo>
                  <a:pt x="236192" y="152145"/>
                  <a:pt x="239798" y="140633"/>
                  <a:pt x="258244" y="135502"/>
                </a:cubicBezTo>
                <a:cubicBezTo>
                  <a:pt x="269339" y="132451"/>
                  <a:pt x="290004" y="126625"/>
                  <a:pt x="300961" y="126625"/>
                </a:cubicBezTo>
                <a:cubicBezTo>
                  <a:pt x="313304" y="126625"/>
                  <a:pt x="316772" y="137721"/>
                  <a:pt x="316772" y="149232"/>
                </a:cubicBezTo>
                <a:cubicBezTo>
                  <a:pt x="316772" y="170036"/>
                  <a:pt x="273916" y="298048"/>
                  <a:pt x="239104" y="449084"/>
                </a:cubicBezTo>
                <a:cubicBezTo>
                  <a:pt x="309837" y="433689"/>
                  <a:pt x="385424" y="417739"/>
                  <a:pt x="447697" y="404564"/>
                </a:cubicBezTo>
                <a:cubicBezTo>
                  <a:pt x="485421" y="261434"/>
                  <a:pt x="522313" y="121910"/>
                  <a:pt x="542839" y="34950"/>
                </a:cubicBezTo>
                <a:cubicBezTo>
                  <a:pt x="547277" y="16227"/>
                  <a:pt x="546445" y="10679"/>
                  <a:pt x="557402" y="6935"/>
                </a:cubicBezTo>
                <a:cubicBezTo>
                  <a:pt x="562533" y="5132"/>
                  <a:pt x="578205" y="0"/>
                  <a:pt x="592907" y="0"/>
                </a:cubicBezTo>
                <a:cubicBezTo>
                  <a:pt x="607608" y="0"/>
                  <a:pt x="620506" y="5548"/>
                  <a:pt x="620506" y="25381"/>
                </a:cubicBezTo>
                <a:cubicBezTo>
                  <a:pt x="620506" y="29680"/>
                  <a:pt x="619813" y="34673"/>
                  <a:pt x="618426" y="40359"/>
                </a:cubicBezTo>
                <a:close/>
                <a:moveTo>
                  <a:pt x="845048" y="445755"/>
                </a:moveTo>
                <a:cubicBezTo>
                  <a:pt x="796922" y="454076"/>
                  <a:pt x="739920" y="465865"/>
                  <a:pt x="684582" y="476544"/>
                </a:cubicBezTo>
                <a:cubicBezTo>
                  <a:pt x="700670" y="412608"/>
                  <a:pt x="716620" y="352970"/>
                  <a:pt x="729241" y="311918"/>
                </a:cubicBezTo>
                <a:cubicBezTo>
                  <a:pt x="838946" y="287092"/>
                  <a:pt x="1056276" y="236053"/>
                  <a:pt x="1087204" y="231060"/>
                </a:cubicBezTo>
                <a:cubicBezTo>
                  <a:pt x="1104679" y="228148"/>
                  <a:pt x="1110643" y="223155"/>
                  <a:pt x="1110643" y="218994"/>
                </a:cubicBezTo>
                <a:cubicBezTo>
                  <a:pt x="1110643" y="211089"/>
                  <a:pt x="1084985" y="185708"/>
                  <a:pt x="1053363" y="185708"/>
                </a:cubicBezTo>
                <a:cubicBezTo>
                  <a:pt x="1046428" y="185708"/>
                  <a:pt x="1038662" y="186402"/>
                  <a:pt x="1029785" y="187927"/>
                </a:cubicBezTo>
                <a:cubicBezTo>
                  <a:pt x="966542" y="199023"/>
                  <a:pt x="709269" y="252974"/>
                  <a:pt x="636872" y="267536"/>
                </a:cubicBezTo>
                <a:cubicBezTo>
                  <a:pt x="618842" y="271142"/>
                  <a:pt x="610798" y="277661"/>
                  <a:pt x="610798" y="284595"/>
                </a:cubicBezTo>
                <a:cubicBezTo>
                  <a:pt x="610798" y="295136"/>
                  <a:pt x="636317" y="316217"/>
                  <a:pt x="652683" y="321210"/>
                </a:cubicBezTo>
                <a:cubicBezTo>
                  <a:pt x="616623" y="461427"/>
                  <a:pt x="524948" y="770571"/>
                  <a:pt x="524948" y="802192"/>
                </a:cubicBezTo>
                <a:cubicBezTo>
                  <a:pt x="524948" y="809959"/>
                  <a:pt x="527583" y="815646"/>
                  <a:pt x="537569" y="815646"/>
                </a:cubicBezTo>
                <a:cubicBezTo>
                  <a:pt x="551299" y="815646"/>
                  <a:pt x="579176" y="809682"/>
                  <a:pt x="595542" y="802886"/>
                </a:cubicBezTo>
                <a:cubicBezTo>
                  <a:pt x="611908" y="795951"/>
                  <a:pt x="611630" y="787907"/>
                  <a:pt x="616762" y="763914"/>
                </a:cubicBezTo>
                <a:cubicBezTo>
                  <a:pt x="627996" y="712043"/>
                  <a:pt x="648106" y="624945"/>
                  <a:pt x="669603" y="537430"/>
                </a:cubicBezTo>
                <a:cubicBezTo>
                  <a:pt x="735620" y="523422"/>
                  <a:pt x="777505" y="516488"/>
                  <a:pt x="808988" y="509276"/>
                </a:cubicBezTo>
                <a:cubicBezTo>
                  <a:pt x="843661" y="501370"/>
                  <a:pt x="850180" y="491107"/>
                  <a:pt x="859611" y="477238"/>
                </a:cubicBezTo>
                <a:cubicBezTo>
                  <a:pt x="865852" y="468223"/>
                  <a:pt x="872232" y="456850"/>
                  <a:pt x="872232" y="451996"/>
                </a:cubicBezTo>
                <a:cubicBezTo>
                  <a:pt x="872232" y="444368"/>
                  <a:pt x="864742" y="442288"/>
                  <a:pt x="845187" y="445755"/>
                </a:cubicBezTo>
                <a:close/>
                <a:moveTo>
                  <a:pt x="1479701" y="159218"/>
                </a:moveTo>
                <a:cubicBezTo>
                  <a:pt x="1459452" y="159218"/>
                  <a:pt x="1437955" y="171978"/>
                  <a:pt x="1409801" y="217052"/>
                </a:cubicBezTo>
                <a:cubicBezTo>
                  <a:pt x="1369857" y="281128"/>
                  <a:pt x="1274854" y="509553"/>
                  <a:pt x="1212442" y="666691"/>
                </a:cubicBezTo>
                <a:cubicBezTo>
                  <a:pt x="1210639" y="502202"/>
                  <a:pt x="1231721" y="360598"/>
                  <a:pt x="1231721" y="323845"/>
                </a:cubicBezTo>
                <a:cubicBezTo>
                  <a:pt x="1231721" y="305399"/>
                  <a:pt x="1220348" y="300683"/>
                  <a:pt x="1206895" y="300683"/>
                </a:cubicBezTo>
                <a:cubicBezTo>
                  <a:pt x="1188310" y="300683"/>
                  <a:pt x="1160988" y="301516"/>
                  <a:pt x="1151002" y="324677"/>
                </a:cubicBezTo>
                <a:cubicBezTo>
                  <a:pt x="1144483" y="339795"/>
                  <a:pt x="1143374" y="343262"/>
                  <a:pt x="1137549" y="353525"/>
                </a:cubicBezTo>
                <a:cubicBezTo>
                  <a:pt x="1125205" y="375577"/>
                  <a:pt x="1053502" y="501786"/>
                  <a:pt x="980689" y="605528"/>
                </a:cubicBezTo>
                <a:cubicBezTo>
                  <a:pt x="1012588" y="432995"/>
                  <a:pt x="1041574" y="349087"/>
                  <a:pt x="1041574" y="331196"/>
                </a:cubicBezTo>
                <a:cubicBezTo>
                  <a:pt x="1041574" y="322874"/>
                  <a:pt x="1036165" y="319962"/>
                  <a:pt x="1029369" y="319962"/>
                </a:cubicBezTo>
                <a:cubicBezTo>
                  <a:pt x="1021325" y="319962"/>
                  <a:pt x="1000799" y="324816"/>
                  <a:pt x="988871" y="327728"/>
                </a:cubicBezTo>
                <a:cubicBezTo>
                  <a:pt x="974864" y="331196"/>
                  <a:pt x="963768" y="335772"/>
                  <a:pt x="954892" y="369752"/>
                </a:cubicBezTo>
                <a:cubicBezTo>
                  <a:pt x="925905" y="479734"/>
                  <a:pt x="880553" y="665720"/>
                  <a:pt x="880553" y="711766"/>
                </a:cubicBezTo>
                <a:cubicBezTo>
                  <a:pt x="880553" y="731876"/>
                  <a:pt x="884575" y="741862"/>
                  <a:pt x="902328" y="741862"/>
                </a:cubicBezTo>
                <a:cubicBezTo>
                  <a:pt x="921051" y="741862"/>
                  <a:pt x="947541" y="736591"/>
                  <a:pt x="960024" y="718423"/>
                </a:cubicBezTo>
                <a:cubicBezTo>
                  <a:pt x="1022851" y="626609"/>
                  <a:pt x="1086372" y="516349"/>
                  <a:pt x="1144483" y="419542"/>
                </a:cubicBezTo>
                <a:cubicBezTo>
                  <a:pt x="1135191" y="510801"/>
                  <a:pt x="1128950" y="628967"/>
                  <a:pt x="1128950" y="709546"/>
                </a:cubicBezTo>
                <a:cubicBezTo>
                  <a:pt x="1128950" y="765023"/>
                  <a:pt x="1130614" y="786798"/>
                  <a:pt x="1162375" y="786798"/>
                </a:cubicBezTo>
                <a:cubicBezTo>
                  <a:pt x="1191223" y="786798"/>
                  <a:pt x="1217019" y="781666"/>
                  <a:pt x="1235049" y="740891"/>
                </a:cubicBezTo>
                <a:cubicBezTo>
                  <a:pt x="1297599" y="599148"/>
                  <a:pt x="1429911" y="303735"/>
                  <a:pt x="1512016" y="203322"/>
                </a:cubicBezTo>
                <a:cubicBezTo>
                  <a:pt x="1517425" y="196803"/>
                  <a:pt x="1522696" y="191256"/>
                  <a:pt x="1522696" y="183766"/>
                </a:cubicBezTo>
                <a:cubicBezTo>
                  <a:pt x="1522696" y="173365"/>
                  <a:pt x="1498563" y="159357"/>
                  <a:pt x="1479840" y="159357"/>
                </a:cubicBezTo>
                <a:close/>
              </a:path>
            </a:pathLst>
          </a:custGeom>
          <a:solidFill>
            <a:schemeClr val="bg1"/>
          </a:solidFill>
          <a:ln w="13855" cap="flat">
            <a:noFill/>
            <a:prstDash val="solid"/>
            <a:miter/>
          </a:ln>
        </p:spPr>
        <p:txBody>
          <a:bodyPr rtlCol="0" anchor="ctr"/>
          <a:lstStyle/>
          <a:p>
            <a:endParaRPr lang="en-GB"/>
          </a:p>
        </p:txBody>
      </p:sp>
    </p:spTree>
    <p:extLst>
      <p:ext uri="{BB962C8B-B14F-4D97-AF65-F5344CB8AC3E}">
        <p14:creationId xmlns:p14="http://schemas.microsoft.com/office/powerpoint/2010/main" val="1163401189"/>
      </p:ext>
    </p:extLst>
  </p:cSld>
  <p:clrMapOvr>
    <a:masterClrMapping/>
  </p:clrMapOvr>
  <p:transition spd="med">
    <p:fade/>
  </p:transition>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ase study_two col + image-Blue">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lvl1pPr>
              <a:defRPr/>
            </a:lvl1pPr>
          </a:lstStyle>
          <a:p>
            <a:r>
              <a:rPr lang="en-US" dirty="0"/>
              <a:t>Click to edit page title</a:t>
            </a:r>
            <a:endParaRPr lang="en-GB" dirty="0"/>
          </a:p>
        </p:txBody>
      </p:sp>
      <p:sp>
        <p:nvSpPr>
          <p:cNvPr id="12" name="Text Placeholder 3"/>
          <p:cNvSpPr>
            <a:spLocks noGrp="1"/>
          </p:cNvSpPr>
          <p:nvPr>
            <p:ph type="body" sz="quarter" idx="16" hasCustomPrompt="1"/>
          </p:nvPr>
        </p:nvSpPr>
        <p:spPr>
          <a:xfrm>
            <a:off x="8106885" y="4963801"/>
            <a:ext cx="3366555" cy="1208831"/>
          </a:xfrm>
          <a:solidFill>
            <a:schemeClr val="accent1"/>
          </a:solidFill>
        </p:spPr>
        <p:txBody>
          <a:bodyPr wrap="square" lIns="72000" tIns="72000" rIns="72000" bIns="72000">
            <a:noAutofit/>
          </a:bodyPr>
          <a:lstStyle>
            <a:lvl1pPr>
              <a:defRPr sz="1088" baseline="0">
                <a:solidFill>
                  <a:schemeClr val="bg1"/>
                </a:solidFill>
              </a:defRPr>
            </a:lvl1pPr>
            <a:lvl2pPr>
              <a:defRPr sz="907">
                <a:solidFill>
                  <a:schemeClr val="bg1"/>
                </a:solidFill>
              </a:defRPr>
            </a:lvl2pPr>
            <a:lvl3pPr>
              <a:buClr>
                <a:schemeClr val="bg1"/>
              </a:buClr>
              <a:defRPr sz="907">
                <a:solidFill>
                  <a:schemeClr val="bg1"/>
                </a:solidFill>
              </a:defRPr>
            </a:lvl3pPr>
            <a:lvl4pPr>
              <a:buClr>
                <a:schemeClr val="bg1"/>
              </a:buClr>
              <a:defRPr sz="907">
                <a:solidFill>
                  <a:schemeClr val="bg1"/>
                </a:solidFill>
              </a:defRPr>
            </a:lvl4pPr>
            <a:lvl5pPr>
              <a:buClr>
                <a:schemeClr val="bg1"/>
              </a:buClr>
              <a:defRPr sz="907">
                <a:solidFill>
                  <a:schemeClr val="bg1"/>
                </a:solidFill>
              </a:defRPr>
            </a:lvl5pPr>
            <a:lvl7pPr>
              <a:defRPr sz="998"/>
            </a:lvl7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3" name="Picture Placeholder 15"/>
          <p:cNvSpPr>
            <a:spLocks noGrp="1"/>
          </p:cNvSpPr>
          <p:nvPr>
            <p:ph type="pic" sz="quarter" idx="18" hasCustomPrompt="1"/>
          </p:nvPr>
        </p:nvSpPr>
        <p:spPr>
          <a:xfrm>
            <a:off x="8106885" y="1543521"/>
            <a:ext cx="3366555" cy="3420283"/>
          </a:xfrm>
          <a:solidFill>
            <a:schemeClr val="bg1">
              <a:lumMod val="95000"/>
            </a:schemeClr>
          </a:solidFill>
        </p:spPr>
        <p:txBody>
          <a:bodyPr anchor="ctr" anchorCtr="1">
            <a:noAutofit/>
          </a:bodyPr>
          <a:lstStyle>
            <a:lvl1pPr>
              <a:defRPr sz="726" b="0">
                <a:solidFill>
                  <a:schemeClr val="tx1"/>
                </a:solidFill>
              </a:defRPr>
            </a:lvl1pPr>
          </a:lstStyle>
          <a:p>
            <a:r>
              <a:rPr lang="en-NZ" dirty="0"/>
              <a:t>Click to insert picture</a:t>
            </a:r>
          </a:p>
        </p:txBody>
      </p:sp>
      <p:sp>
        <p:nvSpPr>
          <p:cNvPr id="14" name="Text Placeholder 3"/>
          <p:cNvSpPr>
            <a:spLocks noGrp="1"/>
          </p:cNvSpPr>
          <p:nvPr>
            <p:ph type="body" sz="quarter" idx="15" hasCustomPrompt="1"/>
          </p:nvPr>
        </p:nvSpPr>
        <p:spPr>
          <a:xfrm>
            <a:off x="720499" y="1538974"/>
            <a:ext cx="3365701" cy="1067868"/>
          </a:xfrm>
        </p:spPr>
        <p:txBody>
          <a:bodyPr>
            <a:sp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Text Placeholder 3"/>
          <p:cNvSpPr>
            <a:spLocks noGrp="1"/>
          </p:cNvSpPr>
          <p:nvPr>
            <p:ph type="body" sz="quarter" idx="19" hasCustomPrompt="1"/>
          </p:nvPr>
        </p:nvSpPr>
        <p:spPr>
          <a:xfrm>
            <a:off x="4413691" y="1538974"/>
            <a:ext cx="3365701" cy="1067868"/>
          </a:xfrm>
        </p:spPr>
        <p:txBody>
          <a:bodyPr>
            <a:sp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2" name="Group 16">
            <a:extLst>
              <a:ext uri="{FF2B5EF4-FFF2-40B4-BE49-F238E27FC236}">
                <a16:creationId xmlns:a16="http://schemas.microsoft.com/office/drawing/2014/main" id="{A17677EB-6887-480D-ABD9-269036ABF840}"/>
              </a:ext>
            </a:extLst>
          </p:cNvPr>
          <p:cNvGrpSpPr/>
          <p:nvPr userDrawn="1"/>
        </p:nvGrpSpPr>
        <p:grpSpPr>
          <a:xfrm>
            <a:off x="12417653" y="2"/>
            <a:ext cx="2873478" cy="1120169"/>
            <a:chOff x="10891316" y="0"/>
            <a:chExt cx="2520280" cy="1235038"/>
          </a:xfrm>
        </p:grpSpPr>
        <p:sp>
          <p:nvSpPr>
            <p:cNvPr id="18" name="TextBox 17">
              <a:extLst>
                <a:ext uri="{FF2B5EF4-FFF2-40B4-BE49-F238E27FC236}">
                  <a16:creationId xmlns:a16="http://schemas.microsoft.com/office/drawing/2014/main" id="{FE6AD345-AA91-4326-A6D7-5ECA58D4AF8F}"/>
                </a:ext>
              </a:extLst>
            </p:cNvPr>
            <p:cNvSpPr txBox="1"/>
            <p:nvPr/>
          </p:nvSpPr>
          <p:spPr>
            <a:xfrm>
              <a:off x="10891316" y="0"/>
              <a:ext cx="2520280" cy="1235038"/>
            </a:xfrm>
            <a:prstGeom prst="rect">
              <a:avLst/>
            </a:prstGeom>
            <a:solidFill>
              <a:schemeClr val="bg1">
                <a:lumMod val="85000"/>
              </a:schemeClr>
            </a:solidFill>
            <a:ln w="9525">
              <a:noFill/>
              <a:miter lim="800000"/>
              <a:headEnd/>
              <a:tailEnd/>
            </a:ln>
            <a:effectLst/>
          </p:spPr>
          <p:txBody>
            <a:bodyPr lIns="36000" tIns="36000" rIns="36000" bIns="36000">
              <a:spAutoFit/>
            </a:bodyPr>
            <a:lstStyle/>
            <a:p>
              <a:pPr>
                <a:spcAft>
                  <a:spcPts val="272"/>
                </a:spcAft>
              </a:pPr>
              <a:r>
                <a:rPr lang="en-GB" sz="726" dirty="0"/>
                <a:t>To add an image:</a:t>
              </a:r>
            </a:p>
            <a:p>
              <a:pPr marL="137886" indent="-137886">
                <a:spcAft>
                  <a:spcPts val="272"/>
                </a:spcAft>
                <a:buFont typeface="Arial" pitchFamily="34" charset="0"/>
                <a:buChar char="•"/>
              </a:pPr>
              <a:r>
                <a:rPr lang="en-GB" sz="726" dirty="0"/>
                <a:t>click on the picture placeholder icon</a:t>
              </a:r>
            </a:p>
            <a:p>
              <a:pPr marL="137886" indent="-137886">
                <a:spcAft>
                  <a:spcPts val="272"/>
                </a:spcAft>
                <a:buFont typeface="Arial" pitchFamily="34" charset="0"/>
                <a:buChar char="•"/>
              </a:pPr>
              <a:r>
                <a:rPr lang="en-GB" sz="726" dirty="0"/>
                <a:t>Windows Explorer will open, find your required image and click ‘Insert’</a:t>
              </a:r>
            </a:p>
            <a:p>
              <a:pPr marL="137886" indent="-137886">
                <a:spcAft>
                  <a:spcPts val="272"/>
                </a:spcAft>
                <a:buFont typeface="Arial" pitchFamily="34" charset="0"/>
                <a:buChar char="•"/>
              </a:pPr>
              <a:r>
                <a:rPr lang="en-GB" sz="726" dirty="0"/>
                <a:t>select the image, right-click and select ‘Send to </a:t>
              </a:r>
              <a:r>
                <a:rPr lang="en-GB" sz="726" b="0" dirty="0"/>
                <a:t>B</a:t>
              </a:r>
              <a:r>
                <a:rPr lang="en-GB" sz="726" dirty="0"/>
                <a:t>ack’</a:t>
              </a:r>
            </a:p>
            <a:p>
              <a:pPr marL="137886" indent="-137886">
                <a:spcAft>
                  <a:spcPts val="272"/>
                </a:spcAft>
                <a:buFont typeface="Arial" pitchFamily="34" charset="0"/>
                <a:buChar char="•"/>
              </a:pPr>
              <a:r>
                <a:rPr lang="en-GB" sz="726" dirty="0"/>
                <a:t>to change the image, select it, right-click and select ‘Change Picture’, navigate to the required image file, select and click ‘Insert’.</a:t>
              </a:r>
            </a:p>
          </p:txBody>
        </p:sp>
        <p:pic>
          <p:nvPicPr>
            <p:cNvPr id="19" name="Picture 18">
              <a:extLst>
                <a:ext uri="{FF2B5EF4-FFF2-40B4-BE49-F238E27FC236}">
                  <a16:creationId xmlns:a16="http://schemas.microsoft.com/office/drawing/2014/main" id="{F20A9EAA-BCDB-44C9-8284-0D9CDADA28E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3025615" y="68609"/>
              <a:ext cx="323810" cy="323810"/>
            </a:xfrm>
            <a:prstGeom prst="rect">
              <a:avLst/>
            </a:prstGeom>
          </p:spPr>
        </p:pic>
      </p:grpSp>
    </p:spTree>
    <p:extLst>
      <p:ext uri="{BB962C8B-B14F-4D97-AF65-F5344CB8AC3E}">
        <p14:creationId xmlns:p14="http://schemas.microsoft.com/office/powerpoint/2010/main" val="304580034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ase study_two col + image small-Blue">
    <p:spTree>
      <p:nvGrpSpPr>
        <p:cNvPr id="1" name=""/>
        <p:cNvGrpSpPr/>
        <p:nvPr/>
      </p:nvGrpSpPr>
      <p:grpSpPr>
        <a:xfrm>
          <a:off x="0" y="0"/>
          <a:ext cx="0" cy="0"/>
          <a:chOff x="0" y="0"/>
          <a:chExt cx="0" cy="0"/>
        </a:xfrm>
      </p:grpSpPr>
      <p:sp>
        <p:nvSpPr>
          <p:cNvPr id="12" name="Text Placeholder 3"/>
          <p:cNvSpPr>
            <a:spLocks noGrp="1"/>
          </p:cNvSpPr>
          <p:nvPr>
            <p:ph type="body" sz="quarter" idx="16" hasCustomPrompt="1"/>
          </p:nvPr>
        </p:nvSpPr>
        <p:spPr>
          <a:xfrm>
            <a:off x="8106885" y="1543518"/>
            <a:ext cx="3366555" cy="3420284"/>
          </a:xfrm>
          <a:solidFill>
            <a:schemeClr val="accent1"/>
          </a:solidFill>
        </p:spPr>
        <p:txBody>
          <a:bodyPr wrap="square" lIns="72000" tIns="72000" rIns="72000" bIns="72000">
            <a:noAutofit/>
          </a:bodyPr>
          <a:lstStyle>
            <a:lvl1pPr>
              <a:defRPr sz="1088">
                <a:solidFill>
                  <a:schemeClr val="bg1"/>
                </a:solidFill>
              </a:defRPr>
            </a:lvl1pPr>
            <a:lvl2pPr>
              <a:defRPr sz="907">
                <a:solidFill>
                  <a:schemeClr val="bg1"/>
                </a:solidFill>
              </a:defRPr>
            </a:lvl2pPr>
            <a:lvl3pPr>
              <a:buClr>
                <a:schemeClr val="bg1"/>
              </a:buClr>
              <a:defRPr sz="907">
                <a:solidFill>
                  <a:schemeClr val="bg1"/>
                </a:solidFill>
              </a:defRPr>
            </a:lvl3pPr>
            <a:lvl4pPr>
              <a:buClr>
                <a:schemeClr val="bg1"/>
              </a:buClr>
              <a:defRPr sz="907">
                <a:solidFill>
                  <a:schemeClr val="bg1"/>
                </a:solidFill>
              </a:defRPr>
            </a:lvl4pPr>
            <a:lvl5pPr>
              <a:buClr>
                <a:schemeClr val="bg1"/>
              </a:buClr>
              <a:defRPr sz="907">
                <a:solidFill>
                  <a:schemeClr val="bg1"/>
                </a:solidFill>
              </a:defRPr>
            </a:lvl5pPr>
            <a:lvl7pPr>
              <a:defRPr sz="998"/>
            </a:lvl7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Title 2"/>
          <p:cNvSpPr>
            <a:spLocks noGrp="1"/>
          </p:cNvSpPr>
          <p:nvPr>
            <p:ph type="title" hasCustomPrompt="1"/>
          </p:nvPr>
        </p:nvSpPr>
        <p:spPr/>
        <p:txBody>
          <a:bodyPr/>
          <a:lstStyle>
            <a:lvl1pPr>
              <a:defRPr/>
            </a:lvl1pPr>
          </a:lstStyle>
          <a:p>
            <a:r>
              <a:rPr lang="en-US" dirty="0"/>
              <a:t>Click to edit page title</a:t>
            </a:r>
            <a:endParaRPr lang="en-GB" dirty="0"/>
          </a:p>
        </p:txBody>
      </p:sp>
      <p:sp>
        <p:nvSpPr>
          <p:cNvPr id="14" name="Text Placeholder 3"/>
          <p:cNvSpPr>
            <a:spLocks noGrp="1"/>
          </p:cNvSpPr>
          <p:nvPr>
            <p:ph type="body" sz="quarter" idx="15" hasCustomPrompt="1"/>
          </p:nvPr>
        </p:nvSpPr>
        <p:spPr>
          <a:xfrm>
            <a:off x="720499" y="1538974"/>
            <a:ext cx="3365701" cy="1067868"/>
          </a:xfrm>
        </p:spPr>
        <p:txBody>
          <a:bodyPr>
            <a:sp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Text Placeholder 3"/>
          <p:cNvSpPr>
            <a:spLocks noGrp="1"/>
          </p:cNvSpPr>
          <p:nvPr>
            <p:ph type="body" sz="quarter" idx="19" hasCustomPrompt="1"/>
          </p:nvPr>
        </p:nvSpPr>
        <p:spPr>
          <a:xfrm>
            <a:off x="4413691" y="1538974"/>
            <a:ext cx="3365701" cy="1067868"/>
          </a:xfrm>
        </p:spPr>
        <p:txBody>
          <a:bodyPr>
            <a:sp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2" name="Group 16">
            <a:extLst>
              <a:ext uri="{FF2B5EF4-FFF2-40B4-BE49-F238E27FC236}">
                <a16:creationId xmlns:a16="http://schemas.microsoft.com/office/drawing/2014/main" id="{1CA64079-EADE-492F-A503-3577910C6623}"/>
              </a:ext>
            </a:extLst>
          </p:cNvPr>
          <p:cNvGrpSpPr/>
          <p:nvPr userDrawn="1"/>
        </p:nvGrpSpPr>
        <p:grpSpPr>
          <a:xfrm>
            <a:off x="12417653" y="2"/>
            <a:ext cx="2873478" cy="1120169"/>
            <a:chOff x="10891316" y="0"/>
            <a:chExt cx="2520280" cy="1235038"/>
          </a:xfrm>
        </p:grpSpPr>
        <p:sp>
          <p:nvSpPr>
            <p:cNvPr id="18" name="TextBox 17">
              <a:extLst>
                <a:ext uri="{FF2B5EF4-FFF2-40B4-BE49-F238E27FC236}">
                  <a16:creationId xmlns:a16="http://schemas.microsoft.com/office/drawing/2014/main" id="{709A011F-128A-43EA-94B2-812D1AB63596}"/>
                </a:ext>
              </a:extLst>
            </p:cNvPr>
            <p:cNvSpPr txBox="1"/>
            <p:nvPr/>
          </p:nvSpPr>
          <p:spPr>
            <a:xfrm>
              <a:off x="10891316" y="0"/>
              <a:ext cx="2520280" cy="1235038"/>
            </a:xfrm>
            <a:prstGeom prst="rect">
              <a:avLst/>
            </a:prstGeom>
            <a:solidFill>
              <a:schemeClr val="bg1">
                <a:lumMod val="85000"/>
              </a:schemeClr>
            </a:solidFill>
            <a:ln w="9525">
              <a:noFill/>
              <a:miter lim="800000"/>
              <a:headEnd/>
              <a:tailEnd/>
            </a:ln>
            <a:effectLst/>
          </p:spPr>
          <p:txBody>
            <a:bodyPr lIns="36000" tIns="36000" rIns="36000" bIns="36000">
              <a:spAutoFit/>
            </a:bodyPr>
            <a:lstStyle/>
            <a:p>
              <a:pPr>
                <a:spcAft>
                  <a:spcPts val="272"/>
                </a:spcAft>
              </a:pPr>
              <a:r>
                <a:rPr lang="en-GB" sz="726" dirty="0"/>
                <a:t>To add an image:</a:t>
              </a:r>
            </a:p>
            <a:p>
              <a:pPr marL="137886" indent="-137886">
                <a:spcAft>
                  <a:spcPts val="272"/>
                </a:spcAft>
                <a:buFont typeface="Arial" pitchFamily="34" charset="0"/>
                <a:buChar char="•"/>
              </a:pPr>
              <a:r>
                <a:rPr lang="en-GB" sz="726" dirty="0"/>
                <a:t>click on the picture placeholder icon</a:t>
              </a:r>
            </a:p>
            <a:p>
              <a:pPr marL="137886" indent="-137886">
                <a:spcAft>
                  <a:spcPts val="272"/>
                </a:spcAft>
                <a:buFont typeface="Arial" pitchFamily="34" charset="0"/>
                <a:buChar char="•"/>
              </a:pPr>
              <a:r>
                <a:rPr lang="en-GB" sz="726" dirty="0"/>
                <a:t>Windows Explorer will open, find your required image and click ‘Insert’</a:t>
              </a:r>
            </a:p>
            <a:p>
              <a:pPr marL="137886" indent="-137886">
                <a:spcAft>
                  <a:spcPts val="272"/>
                </a:spcAft>
                <a:buFont typeface="Arial" pitchFamily="34" charset="0"/>
                <a:buChar char="•"/>
              </a:pPr>
              <a:r>
                <a:rPr lang="en-GB" sz="726" dirty="0"/>
                <a:t>select the image, right-click and select ‘Send to </a:t>
              </a:r>
              <a:r>
                <a:rPr lang="en-GB" sz="726" b="0" dirty="0"/>
                <a:t>B</a:t>
              </a:r>
              <a:r>
                <a:rPr lang="en-GB" sz="726" dirty="0"/>
                <a:t>ack’</a:t>
              </a:r>
            </a:p>
            <a:p>
              <a:pPr marL="137886" indent="-137886">
                <a:spcAft>
                  <a:spcPts val="272"/>
                </a:spcAft>
                <a:buFont typeface="Arial" pitchFamily="34" charset="0"/>
                <a:buChar char="•"/>
              </a:pPr>
              <a:r>
                <a:rPr lang="en-GB" sz="726" dirty="0"/>
                <a:t>to change the image, select it, right-click and select ‘Change Picture’, navigate to the required image file, select and click ‘Insert’.</a:t>
              </a:r>
            </a:p>
          </p:txBody>
        </p:sp>
        <p:pic>
          <p:nvPicPr>
            <p:cNvPr id="19" name="Picture 18">
              <a:extLst>
                <a:ext uri="{FF2B5EF4-FFF2-40B4-BE49-F238E27FC236}">
                  <a16:creationId xmlns:a16="http://schemas.microsoft.com/office/drawing/2014/main" id="{1DE214C5-B153-44D8-80A4-F25C0AE8240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3025615" y="68609"/>
              <a:ext cx="323810" cy="323810"/>
            </a:xfrm>
            <a:prstGeom prst="rect">
              <a:avLst/>
            </a:prstGeom>
          </p:spPr>
        </p:pic>
      </p:grpSp>
      <p:sp>
        <p:nvSpPr>
          <p:cNvPr id="10" name="Picture Placeholder 15">
            <a:extLst>
              <a:ext uri="{FF2B5EF4-FFF2-40B4-BE49-F238E27FC236}">
                <a16:creationId xmlns:a16="http://schemas.microsoft.com/office/drawing/2014/main" id="{4748D1BD-E8DD-408A-A284-5189D140AC6C}"/>
              </a:ext>
            </a:extLst>
          </p:cNvPr>
          <p:cNvSpPr>
            <a:spLocks noGrp="1"/>
          </p:cNvSpPr>
          <p:nvPr>
            <p:ph type="pic" sz="quarter" idx="18" hasCustomPrompt="1"/>
          </p:nvPr>
        </p:nvSpPr>
        <p:spPr>
          <a:xfrm>
            <a:off x="8106885" y="4965129"/>
            <a:ext cx="3366555" cy="1203184"/>
          </a:xfrm>
          <a:solidFill>
            <a:schemeClr val="bg1">
              <a:lumMod val="95000"/>
            </a:schemeClr>
          </a:solidFill>
        </p:spPr>
        <p:txBody>
          <a:bodyPr anchor="ctr" anchorCtr="1">
            <a:noAutofit/>
          </a:bodyPr>
          <a:lstStyle>
            <a:lvl1pPr>
              <a:defRPr sz="726" b="0" baseline="0">
                <a:solidFill>
                  <a:schemeClr val="tx1"/>
                </a:solidFill>
              </a:defRPr>
            </a:lvl1pPr>
          </a:lstStyle>
          <a:p>
            <a:r>
              <a:rPr lang="en-NZ" dirty="0"/>
              <a:t>Click to insert picture</a:t>
            </a:r>
          </a:p>
        </p:txBody>
      </p:sp>
    </p:spTree>
    <p:extLst>
      <p:ext uri="{BB962C8B-B14F-4D97-AF65-F5344CB8AC3E}">
        <p14:creationId xmlns:p14="http://schemas.microsoft.com/office/powerpoint/2010/main" val="243172744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redentials multiple + two col">
    <p:spTree>
      <p:nvGrpSpPr>
        <p:cNvPr id="1" name=""/>
        <p:cNvGrpSpPr/>
        <p:nvPr/>
      </p:nvGrpSpPr>
      <p:grpSpPr>
        <a:xfrm>
          <a:off x="0" y="0"/>
          <a:ext cx="0" cy="0"/>
          <a:chOff x="0" y="0"/>
          <a:chExt cx="0" cy="0"/>
        </a:xfrm>
      </p:grpSpPr>
      <p:sp>
        <p:nvSpPr>
          <p:cNvPr id="5" name="Text Placeholder 4"/>
          <p:cNvSpPr>
            <a:spLocks noGrp="1"/>
          </p:cNvSpPr>
          <p:nvPr>
            <p:ph type="body" sz="quarter" idx="31" hasCustomPrompt="1"/>
          </p:nvPr>
        </p:nvSpPr>
        <p:spPr>
          <a:xfrm>
            <a:off x="728413" y="3366459"/>
            <a:ext cx="2502508" cy="1119576"/>
          </a:xfrm>
          <a:ln w="6350">
            <a:noFill/>
          </a:ln>
        </p:spPr>
        <p:txBody>
          <a:bodyPr lIns="0" tIns="36000" rIns="0" bIns="72000">
            <a:noAutofit/>
          </a:bodyPr>
          <a:lstStyle>
            <a:lvl1pPr>
              <a:lnSpc>
                <a:spcPct val="100000"/>
              </a:lnSpc>
              <a:spcAft>
                <a:spcPts val="272"/>
              </a:spcAft>
              <a:defRPr sz="816">
                <a:solidFill>
                  <a:schemeClr val="accent1"/>
                </a:solidFill>
              </a:defRPr>
            </a:lvl1pPr>
            <a:lvl2pPr>
              <a:lnSpc>
                <a:spcPct val="100000"/>
              </a:lnSpc>
              <a:spcAft>
                <a:spcPts val="272"/>
              </a:spcAft>
              <a:defRPr sz="816">
                <a:solidFill>
                  <a:schemeClr val="accent1"/>
                </a:solidFill>
              </a:defRPr>
            </a:lvl2pPr>
            <a:lvl3pPr>
              <a:lnSpc>
                <a:spcPct val="100000"/>
              </a:lnSpc>
              <a:spcAft>
                <a:spcPts val="272"/>
              </a:spcAft>
              <a:defRPr sz="816">
                <a:solidFill>
                  <a:schemeClr val="accent1"/>
                </a:solidFill>
              </a:defRPr>
            </a:lvl3pPr>
          </a:lstStyle>
          <a:p>
            <a:pPr lvl="0"/>
            <a:r>
              <a:rPr lang="en-US" dirty="0"/>
              <a:t>Click to edit text</a:t>
            </a:r>
          </a:p>
          <a:p>
            <a:pPr lvl="1"/>
            <a:r>
              <a:rPr lang="en-US" dirty="0"/>
              <a:t>Second level</a:t>
            </a:r>
          </a:p>
          <a:p>
            <a:pPr lvl="2"/>
            <a:r>
              <a:rPr lang="en-US" dirty="0"/>
              <a:t>Third level</a:t>
            </a:r>
          </a:p>
        </p:txBody>
      </p:sp>
      <p:sp>
        <p:nvSpPr>
          <p:cNvPr id="28" name="Text Placeholder 4"/>
          <p:cNvSpPr>
            <a:spLocks noGrp="1"/>
          </p:cNvSpPr>
          <p:nvPr>
            <p:ph type="body" sz="quarter" idx="32" hasCustomPrompt="1"/>
          </p:nvPr>
        </p:nvSpPr>
        <p:spPr>
          <a:xfrm>
            <a:off x="3472811" y="3366459"/>
            <a:ext cx="2502508" cy="1119576"/>
          </a:xfrm>
          <a:ln w="6350">
            <a:noFill/>
          </a:ln>
        </p:spPr>
        <p:txBody>
          <a:bodyPr lIns="0" tIns="36000" rIns="0" bIns="72000">
            <a:noAutofit/>
          </a:bodyPr>
          <a:lstStyle>
            <a:lvl1pPr>
              <a:lnSpc>
                <a:spcPct val="100000"/>
              </a:lnSpc>
              <a:spcAft>
                <a:spcPts val="272"/>
              </a:spcAft>
              <a:defRPr sz="816">
                <a:solidFill>
                  <a:schemeClr val="accent1"/>
                </a:solidFill>
              </a:defRPr>
            </a:lvl1pPr>
            <a:lvl2pPr>
              <a:lnSpc>
                <a:spcPct val="100000"/>
              </a:lnSpc>
              <a:spcAft>
                <a:spcPts val="272"/>
              </a:spcAft>
              <a:defRPr sz="816">
                <a:solidFill>
                  <a:schemeClr val="accent1"/>
                </a:solidFill>
              </a:defRPr>
            </a:lvl2pPr>
            <a:lvl3pPr>
              <a:lnSpc>
                <a:spcPct val="100000"/>
              </a:lnSpc>
              <a:spcAft>
                <a:spcPts val="272"/>
              </a:spcAft>
              <a:defRPr sz="816">
                <a:solidFill>
                  <a:schemeClr val="accent1"/>
                </a:solidFill>
              </a:defRPr>
            </a:lvl3pPr>
          </a:lstStyle>
          <a:p>
            <a:pPr lvl="0"/>
            <a:r>
              <a:rPr lang="en-US" dirty="0"/>
              <a:t>Click to edit text</a:t>
            </a:r>
          </a:p>
          <a:p>
            <a:pPr lvl="1"/>
            <a:r>
              <a:rPr lang="en-US" dirty="0"/>
              <a:t>Second level</a:t>
            </a:r>
          </a:p>
          <a:p>
            <a:pPr lvl="2"/>
            <a:r>
              <a:rPr lang="en-US" dirty="0"/>
              <a:t>Third level</a:t>
            </a:r>
          </a:p>
        </p:txBody>
      </p:sp>
      <p:sp>
        <p:nvSpPr>
          <p:cNvPr id="29" name="Text Placeholder 4"/>
          <p:cNvSpPr>
            <a:spLocks noGrp="1"/>
          </p:cNvSpPr>
          <p:nvPr>
            <p:ph type="body" sz="quarter" idx="33" hasCustomPrompt="1"/>
          </p:nvPr>
        </p:nvSpPr>
        <p:spPr>
          <a:xfrm>
            <a:off x="6217210" y="3366459"/>
            <a:ext cx="2502508" cy="1119576"/>
          </a:xfrm>
          <a:ln w="6350">
            <a:noFill/>
          </a:ln>
        </p:spPr>
        <p:txBody>
          <a:bodyPr lIns="0" tIns="36000" rIns="0" bIns="72000">
            <a:noAutofit/>
          </a:bodyPr>
          <a:lstStyle>
            <a:lvl1pPr>
              <a:lnSpc>
                <a:spcPct val="100000"/>
              </a:lnSpc>
              <a:spcAft>
                <a:spcPts val="272"/>
              </a:spcAft>
              <a:defRPr sz="816">
                <a:solidFill>
                  <a:schemeClr val="accent1"/>
                </a:solidFill>
              </a:defRPr>
            </a:lvl1pPr>
            <a:lvl2pPr>
              <a:lnSpc>
                <a:spcPct val="100000"/>
              </a:lnSpc>
              <a:spcAft>
                <a:spcPts val="272"/>
              </a:spcAft>
              <a:defRPr sz="816">
                <a:solidFill>
                  <a:schemeClr val="accent1"/>
                </a:solidFill>
              </a:defRPr>
            </a:lvl2pPr>
            <a:lvl3pPr>
              <a:lnSpc>
                <a:spcPct val="100000"/>
              </a:lnSpc>
              <a:spcAft>
                <a:spcPts val="272"/>
              </a:spcAft>
              <a:defRPr sz="816">
                <a:solidFill>
                  <a:schemeClr val="accent1"/>
                </a:solidFill>
              </a:defRPr>
            </a:lvl3pPr>
          </a:lstStyle>
          <a:p>
            <a:pPr lvl="0"/>
            <a:r>
              <a:rPr lang="en-US" dirty="0"/>
              <a:t>Click to edit text</a:t>
            </a:r>
          </a:p>
          <a:p>
            <a:pPr lvl="1"/>
            <a:r>
              <a:rPr lang="en-US" dirty="0"/>
              <a:t>Second level</a:t>
            </a:r>
          </a:p>
          <a:p>
            <a:pPr lvl="2"/>
            <a:r>
              <a:rPr lang="en-US" dirty="0"/>
              <a:t>Third level</a:t>
            </a:r>
          </a:p>
        </p:txBody>
      </p:sp>
      <p:sp>
        <p:nvSpPr>
          <p:cNvPr id="30" name="Text Placeholder 4"/>
          <p:cNvSpPr>
            <a:spLocks noGrp="1"/>
          </p:cNvSpPr>
          <p:nvPr>
            <p:ph type="body" sz="quarter" idx="34" hasCustomPrompt="1"/>
          </p:nvPr>
        </p:nvSpPr>
        <p:spPr>
          <a:xfrm>
            <a:off x="8961608" y="3366459"/>
            <a:ext cx="2502508" cy="1119576"/>
          </a:xfrm>
          <a:ln w="6350">
            <a:noFill/>
          </a:ln>
        </p:spPr>
        <p:txBody>
          <a:bodyPr lIns="0" tIns="36000" rIns="0" bIns="72000">
            <a:noAutofit/>
          </a:bodyPr>
          <a:lstStyle>
            <a:lvl1pPr>
              <a:lnSpc>
                <a:spcPct val="100000"/>
              </a:lnSpc>
              <a:spcAft>
                <a:spcPts val="272"/>
              </a:spcAft>
              <a:defRPr sz="816">
                <a:solidFill>
                  <a:schemeClr val="accent1"/>
                </a:solidFill>
              </a:defRPr>
            </a:lvl1pPr>
            <a:lvl2pPr>
              <a:lnSpc>
                <a:spcPct val="100000"/>
              </a:lnSpc>
              <a:spcAft>
                <a:spcPts val="272"/>
              </a:spcAft>
              <a:defRPr sz="816">
                <a:solidFill>
                  <a:schemeClr val="accent1"/>
                </a:solidFill>
              </a:defRPr>
            </a:lvl2pPr>
            <a:lvl3pPr>
              <a:lnSpc>
                <a:spcPct val="100000"/>
              </a:lnSpc>
              <a:spcAft>
                <a:spcPts val="272"/>
              </a:spcAft>
              <a:defRPr sz="816">
                <a:solidFill>
                  <a:schemeClr val="accent1"/>
                </a:solidFill>
              </a:defRPr>
            </a:lvl3pPr>
          </a:lstStyle>
          <a:p>
            <a:pPr lvl="0"/>
            <a:r>
              <a:rPr lang="en-US" dirty="0"/>
              <a:t>Click to edit text</a:t>
            </a:r>
          </a:p>
          <a:p>
            <a:pPr lvl="1"/>
            <a:r>
              <a:rPr lang="en-US" dirty="0"/>
              <a:t>Second level</a:t>
            </a:r>
          </a:p>
          <a:p>
            <a:pPr lvl="2"/>
            <a:r>
              <a:rPr lang="en-US" dirty="0"/>
              <a:t>Third level</a:t>
            </a:r>
          </a:p>
        </p:txBody>
      </p:sp>
      <p:sp>
        <p:nvSpPr>
          <p:cNvPr id="20" name="Text Placeholder 4"/>
          <p:cNvSpPr>
            <a:spLocks noGrp="1"/>
          </p:cNvSpPr>
          <p:nvPr>
            <p:ph type="body" sz="quarter" idx="40" hasCustomPrompt="1"/>
          </p:nvPr>
        </p:nvSpPr>
        <p:spPr>
          <a:xfrm>
            <a:off x="728413" y="2980746"/>
            <a:ext cx="2502508" cy="382229"/>
          </a:xfrm>
          <a:solidFill>
            <a:schemeClr val="accent1"/>
          </a:solidFill>
          <a:ln w="6350">
            <a:noFill/>
          </a:ln>
        </p:spPr>
        <p:txBody>
          <a:bodyPr lIns="72000" tIns="72000" rIns="72000" bIns="72000" anchor="ctr" anchorCtr="0">
            <a:noAutofit/>
          </a:bodyPr>
          <a:lstStyle>
            <a:lvl1pPr>
              <a:defRPr sz="816">
                <a:solidFill>
                  <a:schemeClr val="bg1"/>
                </a:solidFill>
              </a:defRPr>
            </a:lvl1pPr>
          </a:lstStyle>
          <a:p>
            <a:pPr lvl="0"/>
            <a:r>
              <a:rPr lang="en-US" dirty="0"/>
              <a:t>Click to edit text</a:t>
            </a:r>
          </a:p>
        </p:txBody>
      </p:sp>
      <p:sp>
        <p:nvSpPr>
          <p:cNvPr id="21" name="Text Placeholder 4"/>
          <p:cNvSpPr>
            <a:spLocks noGrp="1"/>
          </p:cNvSpPr>
          <p:nvPr>
            <p:ph type="body" sz="quarter" idx="41" hasCustomPrompt="1"/>
          </p:nvPr>
        </p:nvSpPr>
        <p:spPr>
          <a:xfrm>
            <a:off x="3472811" y="2980746"/>
            <a:ext cx="2502508" cy="382229"/>
          </a:xfrm>
          <a:solidFill>
            <a:schemeClr val="accent1"/>
          </a:solidFill>
          <a:ln w="6350">
            <a:noFill/>
          </a:ln>
        </p:spPr>
        <p:txBody>
          <a:bodyPr lIns="72000" tIns="72000" rIns="72000" bIns="72000" anchor="ctr" anchorCtr="0">
            <a:noAutofit/>
          </a:bodyPr>
          <a:lstStyle>
            <a:lvl1pPr>
              <a:defRPr sz="816">
                <a:solidFill>
                  <a:schemeClr val="bg1"/>
                </a:solidFill>
              </a:defRPr>
            </a:lvl1pPr>
          </a:lstStyle>
          <a:p>
            <a:pPr lvl="0"/>
            <a:r>
              <a:rPr lang="en-US" dirty="0"/>
              <a:t>Click to edit text</a:t>
            </a:r>
          </a:p>
        </p:txBody>
      </p:sp>
      <p:sp>
        <p:nvSpPr>
          <p:cNvPr id="22" name="Text Placeholder 4"/>
          <p:cNvSpPr>
            <a:spLocks noGrp="1"/>
          </p:cNvSpPr>
          <p:nvPr>
            <p:ph type="body" sz="quarter" idx="42" hasCustomPrompt="1"/>
          </p:nvPr>
        </p:nvSpPr>
        <p:spPr>
          <a:xfrm>
            <a:off x="6217210" y="2980746"/>
            <a:ext cx="2502508" cy="382229"/>
          </a:xfrm>
          <a:solidFill>
            <a:schemeClr val="accent1"/>
          </a:solidFill>
          <a:ln w="6350">
            <a:noFill/>
          </a:ln>
        </p:spPr>
        <p:txBody>
          <a:bodyPr lIns="72000" tIns="72000" rIns="72000" bIns="72000" anchor="ctr" anchorCtr="0">
            <a:noAutofit/>
          </a:bodyPr>
          <a:lstStyle>
            <a:lvl1pPr>
              <a:defRPr sz="816">
                <a:solidFill>
                  <a:schemeClr val="bg1"/>
                </a:solidFill>
              </a:defRPr>
            </a:lvl1pPr>
          </a:lstStyle>
          <a:p>
            <a:pPr lvl="0"/>
            <a:r>
              <a:rPr lang="en-US" dirty="0"/>
              <a:t>Click to edit text</a:t>
            </a:r>
          </a:p>
        </p:txBody>
      </p:sp>
      <p:sp>
        <p:nvSpPr>
          <p:cNvPr id="27" name="Text Placeholder 4"/>
          <p:cNvSpPr>
            <a:spLocks noGrp="1"/>
          </p:cNvSpPr>
          <p:nvPr>
            <p:ph type="body" sz="quarter" idx="43" hasCustomPrompt="1"/>
          </p:nvPr>
        </p:nvSpPr>
        <p:spPr>
          <a:xfrm>
            <a:off x="8961608" y="2980746"/>
            <a:ext cx="2502508" cy="382229"/>
          </a:xfrm>
          <a:solidFill>
            <a:schemeClr val="accent1"/>
          </a:solidFill>
          <a:ln w="6350">
            <a:noFill/>
          </a:ln>
        </p:spPr>
        <p:txBody>
          <a:bodyPr lIns="72000" tIns="72000" rIns="72000" bIns="72000" anchor="ctr" anchorCtr="0">
            <a:noAutofit/>
          </a:bodyPr>
          <a:lstStyle>
            <a:lvl1pPr>
              <a:defRPr sz="816">
                <a:solidFill>
                  <a:schemeClr val="bg1"/>
                </a:solidFill>
              </a:defRPr>
            </a:lvl1pPr>
          </a:lstStyle>
          <a:p>
            <a:pPr lvl="0"/>
            <a:r>
              <a:rPr lang="en-US" dirty="0"/>
              <a:t>Click to edit text</a:t>
            </a:r>
          </a:p>
        </p:txBody>
      </p:sp>
      <p:sp>
        <p:nvSpPr>
          <p:cNvPr id="3" name="Picture Placeholder 2"/>
          <p:cNvSpPr>
            <a:spLocks noGrp="1"/>
          </p:cNvSpPr>
          <p:nvPr>
            <p:ph type="pic" sz="quarter" idx="52" hasCustomPrompt="1"/>
          </p:nvPr>
        </p:nvSpPr>
        <p:spPr>
          <a:xfrm>
            <a:off x="10190640" y="3016016"/>
            <a:ext cx="1229611" cy="311682"/>
          </a:xfrm>
          <a:noFill/>
        </p:spPr>
        <p:txBody>
          <a:bodyPr anchor="ctr" anchorCtr="1">
            <a:noAutofit/>
          </a:bodyPr>
          <a:lstStyle>
            <a:lvl1pPr>
              <a:defRPr sz="816">
                <a:solidFill>
                  <a:schemeClr val="bg1"/>
                </a:solidFill>
              </a:defRPr>
            </a:lvl1pPr>
          </a:lstStyle>
          <a:p>
            <a:r>
              <a:rPr lang="en-GB" dirty="0"/>
              <a:t>Client logo</a:t>
            </a:r>
            <a:endParaRPr lang="en-US" dirty="0"/>
          </a:p>
        </p:txBody>
      </p:sp>
      <p:sp>
        <p:nvSpPr>
          <p:cNvPr id="24" name="Picture Placeholder 2"/>
          <p:cNvSpPr>
            <a:spLocks noGrp="1"/>
          </p:cNvSpPr>
          <p:nvPr>
            <p:ph type="pic" sz="quarter" idx="53" hasCustomPrompt="1"/>
          </p:nvPr>
        </p:nvSpPr>
        <p:spPr>
          <a:xfrm>
            <a:off x="7444713" y="3016016"/>
            <a:ext cx="1229611" cy="311682"/>
          </a:xfrm>
          <a:noFill/>
        </p:spPr>
        <p:txBody>
          <a:bodyPr anchor="ctr" anchorCtr="1">
            <a:noAutofit/>
          </a:bodyPr>
          <a:lstStyle>
            <a:lvl1pPr>
              <a:defRPr sz="816">
                <a:solidFill>
                  <a:schemeClr val="bg1"/>
                </a:solidFill>
              </a:defRPr>
            </a:lvl1pPr>
          </a:lstStyle>
          <a:p>
            <a:r>
              <a:rPr lang="en-GB" dirty="0"/>
              <a:t>Client logo</a:t>
            </a:r>
            <a:endParaRPr lang="en-US" dirty="0"/>
          </a:p>
        </p:txBody>
      </p:sp>
      <p:sp>
        <p:nvSpPr>
          <p:cNvPr id="25" name="Picture Placeholder 2"/>
          <p:cNvSpPr>
            <a:spLocks noGrp="1"/>
          </p:cNvSpPr>
          <p:nvPr>
            <p:ph type="pic" sz="quarter" idx="54" hasCustomPrompt="1"/>
          </p:nvPr>
        </p:nvSpPr>
        <p:spPr>
          <a:xfrm>
            <a:off x="4698789" y="3016016"/>
            <a:ext cx="1229611" cy="311682"/>
          </a:xfrm>
          <a:noFill/>
        </p:spPr>
        <p:txBody>
          <a:bodyPr anchor="ctr" anchorCtr="1">
            <a:noAutofit/>
          </a:bodyPr>
          <a:lstStyle>
            <a:lvl1pPr>
              <a:defRPr sz="816">
                <a:solidFill>
                  <a:schemeClr val="bg1"/>
                </a:solidFill>
              </a:defRPr>
            </a:lvl1pPr>
          </a:lstStyle>
          <a:p>
            <a:r>
              <a:rPr lang="en-GB" dirty="0"/>
              <a:t>Client logo</a:t>
            </a:r>
            <a:endParaRPr lang="en-US" dirty="0"/>
          </a:p>
        </p:txBody>
      </p:sp>
      <p:sp>
        <p:nvSpPr>
          <p:cNvPr id="26" name="Picture Placeholder 2"/>
          <p:cNvSpPr>
            <a:spLocks noGrp="1"/>
          </p:cNvSpPr>
          <p:nvPr>
            <p:ph type="pic" sz="quarter" idx="55" hasCustomPrompt="1"/>
          </p:nvPr>
        </p:nvSpPr>
        <p:spPr>
          <a:xfrm>
            <a:off x="1952865" y="3016016"/>
            <a:ext cx="1229611" cy="311682"/>
          </a:xfrm>
          <a:noFill/>
        </p:spPr>
        <p:txBody>
          <a:bodyPr anchor="ctr" anchorCtr="1">
            <a:noAutofit/>
          </a:bodyPr>
          <a:lstStyle>
            <a:lvl1pPr>
              <a:defRPr sz="816">
                <a:solidFill>
                  <a:schemeClr val="bg1"/>
                </a:solidFill>
              </a:defRPr>
            </a:lvl1pPr>
          </a:lstStyle>
          <a:p>
            <a:r>
              <a:rPr lang="en-GB" dirty="0"/>
              <a:t>Client logo</a:t>
            </a:r>
            <a:endParaRPr lang="en-US" dirty="0"/>
          </a:p>
        </p:txBody>
      </p:sp>
      <p:sp>
        <p:nvSpPr>
          <p:cNvPr id="2" name="Title 1"/>
          <p:cNvSpPr>
            <a:spLocks noGrp="1"/>
          </p:cNvSpPr>
          <p:nvPr>
            <p:ph type="title" hasCustomPrompt="1"/>
          </p:nvPr>
        </p:nvSpPr>
        <p:spPr/>
        <p:txBody>
          <a:bodyPr/>
          <a:lstStyle>
            <a:lvl1pPr>
              <a:defRPr/>
            </a:lvl1pPr>
          </a:lstStyle>
          <a:p>
            <a:r>
              <a:rPr lang="en-US" dirty="0"/>
              <a:t>Click to edit page title</a:t>
            </a:r>
            <a:endParaRPr lang="en-GB" dirty="0"/>
          </a:p>
        </p:txBody>
      </p:sp>
      <p:sp>
        <p:nvSpPr>
          <p:cNvPr id="45" name="Text Placeholder 3"/>
          <p:cNvSpPr>
            <a:spLocks noGrp="1"/>
          </p:cNvSpPr>
          <p:nvPr>
            <p:ph type="body" sz="quarter" idx="15" hasCustomPrompt="1"/>
          </p:nvPr>
        </p:nvSpPr>
        <p:spPr>
          <a:xfrm>
            <a:off x="720499" y="1538974"/>
            <a:ext cx="5212732" cy="1067868"/>
          </a:xfrm>
        </p:spPr>
        <p:txBody>
          <a:bodyPr wrap="square">
            <a:sp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6" name="Text Placeholder 3"/>
          <p:cNvSpPr>
            <a:spLocks noGrp="1"/>
          </p:cNvSpPr>
          <p:nvPr>
            <p:ph type="body" sz="quarter" idx="16" hasCustomPrompt="1"/>
          </p:nvPr>
        </p:nvSpPr>
        <p:spPr>
          <a:xfrm>
            <a:off x="6264326" y="1538974"/>
            <a:ext cx="5212732" cy="1067868"/>
          </a:xfrm>
        </p:spPr>
        <p:txBody>
          <a:bodyPr wrap="square">
            <a:sp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7" name="Text Placeholder 4"/>
          <p:cNvSpPr>
            <a:spLocks noGrp="1"/>
          </p:cNvSpPr>
          <p:nvPr>
            <p:ph type="body" sz="quarter" idx="56" hasCustomPrompt="1"/>
          </p:nvPr>
        </p:nvSpPr>
        <p:spPr>
          <a:xfrm>
            <a:off x="728413" y="4966569"/>
            <a:ext cx="2502508" cy="1119576"/>
          </a:xfrm>
          <a:ln w="6350">
            <a:noFill/>
          </a:ln>
        </p:spPr>
        <p:txBody>
          <a:bodyPr lIns="0" tIns="36000" rIns="0" bIns="72000">
            <a:noAutofit/>
          </a:bodyPr>
          <a:lstStyle>
            <a:lvl1pPr>
              <a:lnSpc>
                <a:spcPct val="100000"/>
              </a:lnSpc>
              <a:spcAft>
                <a:spcPts val="272"/>
              </a:spcAft>
              <a:defRPr sz="816">
                <a:solidFill>
                  <a:schemeClr val="accent1"/>
                </a:solidFill>
              </a:defRPr>
            </a:lvl1pPr>
            <a:lvl2pPr>
              <a:lnSpc>
                <a:spcPct val="100000"/>
              </a:lnSpc>
              <a:spcAft>
                <a:spcPts val="272"/>
              </a:spcAft>
              <a:defRPr sz="816">
                <a:solidFill>
                  <a:schemeClr val="accent1"/>
                </a:solidFill>
              </a:defRPr>
            </a:lvl2pPr>
            <a:lvl3pPr>
              <a:lnSpc>
                <a:spcPct val="100000"/>
              </a:lnSpc>
              <a:spcAft>
                <a:spcPts val="272"/>
              </a:spcAft>
              <a:defRPr sz="816">
                <a:solidFill>
                  <a:schemeClr val="accent1"/>
                </a:solidFill>
              </a:defRPr>
            </a:lvl3pPr>
          </a:lstStyle>
          <a:p>
            <a:pPr lvl="0"/>
            <a:r>
              <a:rPr lang="en-US" dirty="0"/>
              <a:t>Click to edit text</a:t>
            </a:r>
          </a:p>
          <a:p>
            <a:pPr lvl="1"/>
            <a:r>
              <a:rPr lang="en-US" dirty="0"/>
              <a:t>Second level</a:t>
            </a:r>
          </a:p>
          <a:p>
            <a:pPr lvl="2"/>
            <a:r>
              <a:rPr lang="en-US" dirty="0"/>
              <a:t>Third level</a:t>
            </a:r>
          </a:p>
        </p:txBody>
      </p:sp>
      <p:sp>
        <p:nvSpPr>
          <p:cNvPr id="48" name="Text Placeholder 4"/>
          <p:cNvSpPr>
            <a:spLocks noGrp="1"/>
          </p:cNvSpPr>
          <p:nvPr>
            <p:ph type="body" sz="quarter" idx="57" hasCustomPrompt="1"/>
          </p:nvPr>
        </p:nvSpPr>
        <p:spPr>
          <a:xfrm>
            <a:off x="3472811" y="4966569"/>
            <a:ext cx="2502508" cy="1119576"/>
          </a:xfrm>
          <a:ln w="6350">
            <a:noFill/>
          </a:ln>
        </p:spPr>
        <p:txBody>
          <a:bodyPr lIns="0" tIns="36000" rIns="0" bIns="72000">
            <a:noAutofit/>
          </a:bodyPr>
          <a:lstStyle>
            <a:lvl1pPr>
              <a:lnSpc>
                <a:spcPct val="100000"/>
              </a:lnSpc>
              <a:spcAft>
                <a:spcPts val="272"/>
              </a:spcAft>
              <a:defRPr sz="816">
                <a:solidFill>
                  <a:schemeClr val="accent1"/>
                </a:solidFill>
              </a:defRPr>
            </a:lvl1pPr>
            <a:lvl2pPr>
              <a:lnSpc>
                <a:spcPct val="100000"/>
              </a:lnSpc>
              <a:spcAft>
                <a:spcPts val="272"/>
              </a:spcAft>
              <a:defRPr sz="816">
                <a:solidFill>
                  <a:schemeClr val="accent1"/>
                </a:solidFill>
              </a:defRPr>
            </a:lvl2pPr>
            <a:lvl3pPr>
              <a:lnSpc>
                <a:spcPct val="100000"/>
              </a:lnSpc>
              <a:spcAft>
                <a:spcPts val="272"/>
              </a:spcAft>
              <a:defRPr sz="816">
                <a:solidFill>
                  <a:schemeClr val="accent1"/>
                </a:solidFill>
              </a:defRPr>
            </a:lvl3pPr>
          </a:lstStyle>
          <a:p>
            <a:pPr lvl="0"/>
            <a:r>
              <a:rPr lang="en-US" dirty="0"/>
              <a:t>Click to edit text</a:t>
            </a:r>
          </a:p>
          <a:p>
            <a:pPr lvl="1"/>
            <a:r>
              <a:rPr lang="en-US" dirty="0"/>
              <a:t>Second level</a:t>
            </a:r>
          </a:p>
          <a:p>
            <a:pPr lvl="2"/>
            <a:r>
              <a:rPr lang="en-US" dirty="0"/>
              <a:t>Third level</a:t>
            </a:r>
          </a:p>
        </p:txBody>
      </p:sp>
      <p:sp>
        <p:nvSpPr>
          <p:cNvPr id="49" name="Text Placeholder 4"/>
          <p:cNvSpPr>
            <a:spLocks noGrp="1"/>
          </p:cNvSpPr>
          <p:nvPr>
            <p:ph type="body" sz="quarter" idx="58" hasCustomPrompt="1"/>
          </p:nvPr>
        </p:nvSpPr>
        <p:spPr>
          <a:xfrm>
            <a:off x="6217210" y="4966569"/>
            <a:ext cx="2502508" cy="1119576"/>
          </a:xfrm>
          <a:ln w="6350">
            <a:noFill/>
          </a:ln>
        </p:spPr>
        <p:txBody>
          <a:bodyPr lIns="0" tIns="36000" rIns="0" bIns="72000">
            <a:noAutofit/>
          </a:bodyPr>
          <a:lstStyle>
            <a:lvl1pPr>
              <a:lnSpc>
                <a:spcPct val="100000"/>
              </a:lnSpc>
              <a:spcAft>
                <a:spcPts val="272"/>
              </a:spcAft>
              <a:defRPr sz="816">
                <a:solidFill>
                  <a:schemeClr val="accent1"/>
                </a:solidFill>
              </a:defRPr>
            </a:lvl1pPr>
            <a:lvl2pPr>
              <a:lnSpc>
                <a:spcPct val="100000"/>
              </a:lnSpc>
              <a:spcAft>
                <a:spcPts val="272"/>
              </a:spcAft>
              <a:defRPr sz="816">
                <a:solidFill>
                  <a:schemeClr val="accent1"/>
                </a:solidFill>
              </a:defRPr>
            </a:lvl2pPr>
            <a:lvl3pPr>
              <a:lnSpc>
                <a:spcPct val="100000"/>
              </a:lnSpc>
              <a:spcAft>
                <a:spcPts val="272"/>
              </a:spcAft>
              <a:defRPr sz="816">
                <a:solidFill>
                  <a:schemeClr val="accent1"/>
                </a:solidFill>
              </a:defRPr>
            </a:lvl3pPr>
          </a:lstStyle>
          <a:p>
            <a:pPr lvl="0"/>
            <a:r>
              <a:rPr lang="en-US" dirty="0"/>
              <a:t>Click to edit text</a:t>
            </a:r>
          </a:p>
          <a:p>
            <a:pPr lvl="1"/>
            <a:r>
              <a:rPr lang="en-US" dirty="0"/>
              <a:t>Second level</a:t>
            </a:r>
          </a:p>
          <a:p>
            <a:pPr lvl="2"/>
            <a:r>
              <a:rPr lang="en-US" dirty="0"/>
              <a:t>Third level</a:t>
            </a:r>
          </a:p>
        </p:txBody>
      </p:sp>
      <p:sp>
        <p:nvSpPr>
          <p:cNvPr id="50" name="Text Placeholder 4"/>
          <p:cNvSpPr>
            <a:spLocks noGrp="1"/>
          </p:cNvSpPr>
          <p:nvPr>
            <p:ph type="body" sz="quarter" idx="59" hasCustomPrompt="1"/>
          </p:nvPr>
        </p:nvSpPr>
        <p:spPr>
          <a:xfrm>
            <a:off x="8961608" y="4966569"/>
            <a:ext cx="2502508" cy="1119576"/>
          </a:xfrm>
          <a:ln w="6350">
            <a:noFill/>
          </a:ln>
        </p:spPr>
        <p:txBody>
          <a:bodyPr lIns="0" tIns="36000" rIns="0" bIns="72000">
            <a:noAutofit/>
          </a:bodyPr>
          <a:lstStyle>
            <a:lvl1pPr>
              <a:lnSpc>
                <a:spcPct val="100000"/>
              </a:lnSpc>
              <a:spcAft>
                <a:spcPts val="272"/>
              </a:spcAft>
              <a:defRPr sz="816">
                <a:solidFill>
                  <a:schemeClr val="accent1"/>
                </a:solidFill>
              </a:defRPr>
            </a:lvl1pPr>
            <a:lvl2pPr>
              <a:lnSpc>
                <a:spcPct val="100000"/>
              </a:lnSpc>
              <a:spcAft>
                <a:spcPts val="272"/>
              </a:spcAft>
              <a:defRPr sz="816">
                <a:solidFill>
                  <a:schemeClr val="accent1"/>
                </a:solidFill>
              </a:defRPr>
            </a:lvl2pPr>
            <a:lvl3pPr>
              <a:lnSpc>
                <a:spcPct val="100000"/>
              </a:lnSpc>
              <a:spcAft>
                <a:spcPts val="272"/>
              </a:spcAft>
              <a:defRPr sz="816">
                <a:solidFill>
                  <a:schemeClr val="accent1"/>
                </a:solidFill>
              </a:defRPr>
            </a:lvl3pPr>
          </a:lstStyle>
          <a:p>
            <a:pPr lvl="0"/>
            <a:r>
              <a:rPr lang="en-US" dirty="0"/>
              <a:t>Click to edit text</a:t>
            </a:r>
          </a:p>
          <a:p>
            <a:pPr lvl="1"/>
            <a:r>
              <a:rPr lang="en-US" dirty="0"/>
              <a:t>Second level</a:t>
            </a:r>
          </a:p>
          <a:p>
            <a:pPr lvl="2"/>
            <a:r>
              <a:rPr lang="en-US" dirty="0"/>
              <a:t>Third level</a:t>
            </a:r>
          </a:p>
        </p:txBody>
      </p:sp>
      <p:sp>
        <p:nvSpPr>
          <p:cNvPr id="51" name="Text Placeholder 4"/>
          <p:cNvSpPr>
            <a:spLocks noGrp="1"/>
          </p:cNvSpPr>
          <p:nvPr>
            <p:ph type="body" sz="quarter" idx="60" hasCustomPrompt="1"/>
          </p:nvPr>
        </p:nvSpPr>
        <p:spPr>
          <a:xfrm>
            <a:off x="728413" y="4580856"/>
            <a:ext cx="2502508" cy="382229"/>
          </a:xfrm>
          <a:solidFill>
            <a:schemeClr val="accent1"/>
          </a:solidFill>
          <a:ln w="6350">
            <a:noFill/>
          </a:ln>
        </p:spPr>
        <p:txBody>
          <a:bodyPr lIns="72000" tIns="72000" rIns="72000" bIns="72000" anchor="ctr" anchorCtr="0">
            <a:noAutofit/>
          </a:bodyPr>
          <a:lstStyle>
            <a:lvl1pPr>
              <a:defRPr sz="816">
                <a:solidFill>
                  <a:schemeClr val="bg1"/>
                </a:solidFill>
              </a:defRPr>
            </a:lvl1pPr>
          </a:lstStyle>
          <a:p>
            <a:pPr lvl="0"/>
            <a:r>
              <a:rPr lang="en-US" dirty="0"/>
              <a:t>Click to edit text</a:t>
            </a:r>
          </a:p>
        </p:txBody>
      </p:sp>
      <p:sp>
        <p:nvSpPr>
          <p:cNvPr id="52" name="Text Placeholder 4"/>
          <p:cNvSpPr>
            <a:spLocks noGrp="1"/>
          </p:cNvSpPr>
          <p:nvPr>
            <p:ph type="body" sz="quarter" idx="61" hasCustomPrompt="1"/>
          </p:nvPr>
        </p:nvSpPr>
        <p:spPr>
          <a:xfrm>
            <a:off x="3472811" y="4580856"/>
            <a:ext cx="2502508" cy="382229"/>
          </a:xfrm>
          <a:solidFill>
            <a:schemeClr val="accent1"/>
          </a:solidFill>
          <a:ln w="6350">
            <a:noFill/>
          </a:ln>
        </p:spPr>
        <p:txBody>
          <a:bodyPr lIns="72000" tIns="72000" rIns="72000" bIns="72000" anchor="ctr" anchorCtr="0">
            <a:noAutofit/>
          </a:bodyPr>
          <a:lstStyle>
            <a:lvl1pPr>
              <a:defRPr sz="816">
                <a:solidFill>
                  <a:schemeClr val="bg1"/>
                </a:solidFill>
              </a:defRPr>
            </a:lvl1pPr>
          </a:lstStyle>
          <a:p>
            <a:pPr lvl="0"/>
            <a:r>
              <a:rPr lang="en-US" dirty="0"/>
              <a:t>Click to edit text</a:t>
            </a:r>
          </a:p>
        </p:txBody>
      </p:sp>
      <p:sp>
        <p:nvSpPr>
          <p:cNvPr id="53" name="Text Placeholder 4"/>
          <p:cNvSpPr>
            <a:spLocks noGrp="1"/>
          </p:cNvSpPr>
          <p:nvPr>
            <p:ph type="body" sz="quarter" idx="62" hasCustomPrompt="1"/>
          </p:nvPr>
        </p:nvSpPr>
        <p:spPr>
          <a:xfrm>
            <a:off x="6217210" y="4580856"/>
            <a:ext cx="2502508" cy="382229"/>
          </a:xfrm>
          <a:solidFill>
            <a:schemeClr val="accent1"/>
          </a:solidFill>
          <a:ln w="6350">
            <a:noFill/>
          </a:ln>
        </p:spPr>
        <p:txBody>
          <a:bodyPr lIns="72000" tIns="72000" rIns="72000" bIns="72000" anchor="ctr" anchorCtr="0">
            <a:noAutofit/>
          </a:bodyPr>
          <a:lstStyle>
            <a:lvl1pPr>
              <a:defRPr sz="816">
                <a:solidFill>
                  <a:schemeClr val="bg1"/>
                </a:solidFill>
              </a:defRPr>
            </a:lvl1pPr>
          </a:lstStyle>
          <a:p>
            <a:pPr lvl="0"/>
            <a:r>
              <a:rPr lang="en-US" dirty="0"/>
              <a:t>Click to edit text</a:t>
            </a:r>
          </a:p>
        </p:txBody>
      </p:sp>
      <p:sp>
        <p:nvSpPr>
          <p:cNvPr id="54" name="Text Placeholder 4"/>
          <p:cNvSpPr>
            <a:spLocks noGrp="1"/>
          </p:cNvSpPr>
          <p:nvPr>
            <p:ph type="body" sz="quarter" idx="63" hasCustomPrompt="1"/>
          </p:nvPr>
        </p:nvSpPr>
        <p:spPr>
          <a:xfrm>
            <a:off x="8961608" y="4580856"/>
            <a:ext cx="2502508" cy="382229"/>
          </a:xfrm>
          <a:solidFill>
            <a:schemeClr val="accent1"/>
          </a:solidFill>
          <a:ln w="6350">
            <a:noFill/>
          </a:ln>
        </p:spPr>
        <p:txBody>
          <a:bodyPr lIns="72000" tIns="72000" rIns="72000" bIns="72000" anchor="ctr" anchorCtr="0">
            <a:noAutofit/>
          </a:bodyPr>
          <a:lstStyle>
            <a:lvl1pPr>
              <a:defRPr sz="816">
                <a:solidFill>
                  <a:schemeClr val="bg1"/>
                </a:solidFill>
              </a:defRPr>
            </a:lvl1pPr>
          </a:lstStyle>
          <a:p>
            <a:pPr lvl="0"/>
            <a:r>
              <a:rPr lang="en-US" dirty="0"/>
              <a:t>Click to edit text</a:t>
            </a:r>
          </a:p>
        </p:txBody>
      </p:sp>
      <p:sp>
        <p:nvSpPr>
          <p:cNvPr id="55" name="Picture Placeholder 2"/>
          <p:cNvSpPr>
            <a:spLocks noGrp="1"/>
          </p:cNvSpPr>
          <p:nvPr>
            <p:ph type="pic" sz="quarter" idx="64" hasCustomPrompt="1"/>
          </p:nvPr>
        </p:nvSpPr>
        <p:spPr>
          <a:xfrm>
            <a:off x="10190640" y="4616126"/>
            <a:ext cx="1229611" cy="311682"/>
          </a:xfrm>
          <a:noFill/>
        </p:spPr>
        <p:txBody>
          <a:bodyPr anchor="ctr" anchorCtr="1">
            <a:noAutofit/>
          </a:bodyPr>
          <a:lstStyle>
            <a:lvl1pPr>
              <a:defRPr sz="816">
                <a:solidFill>
                  <a:schemeClr val="bg1"/>
                </a:solidFill>
              </a:defRPr>
            </a:lvl1pPr>
          </a:lstStyle>
          <a:p>
            <a:r>
              <a:rPr lang="en-GB" dirty="0"/>
              <a:t>Client logo</a:t>
            </a:r>
            <a:endParaRPr lang="en-US" dirty="0"/>
          </a:p>
        </p:txBody>
      </p:sp>
      <p:sp>
        <p:nvSpPr>
          <p:cNvPr id="56" name="Picture Placeholder 2"/>
          <p:cNvSpPr>
            <a:spLocks noGrp="1"/>
          </p:cNvSpPr>
          <p:nvPr>
            <p:ph type="pic" sz="quarter" idx="65" hasCustomPrompt="1"/>
          </p:nvPr>
        </p:nvSpPr>
        <p:spPr>
          <a:xfrm>
            <a:off x="7444713" y="4616126"/>
            <a:ext cx="1229611" cy="311682"/>
          </a:xfrm>
          <a:noFill/>
        </p:spPr>
        <p:txBody>
          <a:bodyPr anchor="ctr" anchorCtr="1">
            <a:noAutofit/>
          </a:bodyPr>
          <a:lstStyle>
            <a:lvl1pPr>
              <a:defRPr sz="816">
                <a:solidFill>
                  <a:schemeClr val="bg1"/>
                </a:solidFill>
              </a:defRPr>
            </a:lvl1pPr>
          </a:lstStyle>
          <a:p>
            <a:r>
              <a:rPr lang="en-GB" dirty="0"/>
              <a:t>Client logo</a:t>
            </a:r>
            <a:endParaRPr lang="en-US" dirty="0"/>
          </a:p>
        </p:txBody>
      </p:sp>
      <p:sp>
        <p:nvSpPr>
          <p:cNvPr id="57" name="Picture Placeholder 2"/>
          <p:cNvSpPr>
            <a:spLocks noGrp="1"/>
          </p:cNvSpPr>
          <p:nvPr>
            <p:ph type="pic" sz="quarter" idx="66" hasCustomPrompt="1"/>
          </p:nvPr>
        </p:nvSpPr>
        <p:spPr>
          <a:xfrm>
            <a:off x="4698789" y="4616126"/>
            <a:ext cx="1229611" cy="311682"/>
          </a:xfrm>
          <a:noFill/>
        </p:spPr>
        <p:txBody>
          <a:bodyPr anchor="ctr" anchorCtr="1">
            <a:noAutofit/>
          </a:bodyPr>
          <a:lstStyle>
            <a:lvl1pPr>
              <a:defRPr sz="816">
                <a:solidFill>
                  <a:schemeClr val="bg1"/>
                </a:solidFill>
              </a:defRPr>
            </a:lvl1pPr>
          </a:lstStyle>
          <a:p>
            <a:r>
              <a:rPr lang="en-GB" dirty="0"/>
              <a:t>Client logo</a:t>
            </a:r>
            <a:endParaRPr lang="en-US" dirty="0"/>
          </a:p>
        </p:txBody>
      </p:sp>
      <p:sp>
        <p:nvSpPr>
          <p:cNvPr id="58" name="Picture Placeholder 2"/>
          <p:cNvSpPr>
            <a:spLocks noGrp="1"/>
          </p:cNvSpPr>
          <p:nvPr>
            <p:ph type="pic" sz="quarter" idx="67" hasCustomPrompt="1"/>
          </p:nvPr>
        </p:nvSpPr>
        <p:spPr>
          <a:xfrm>
            <a:off x="1952865" y="4616126"/>
            <a:ext cx="1229611" cy="311682"/>
          </a:xfrm>
          <a:noFill/>
        </p:spPr>
        <p:txBody>
          <a:bodyPr anchor="ctr" anchorCtr="1">
            <a:noAutofit/>
          </a:bodyPr>
          <a:lstStyle>
            <a:lvl1pPr>
              <a:defRPr sz="816">
                <a:solidFill>
                  <a:schemeClr val="bg1"/>
                </a:solidFill>
              </a:defRPr>
            </a:lvl1pPr>
          </a:lstStyle>
          <a:p>
            <a:r>
              <a:rPr lang="en-GB" dirty="0"/>
              <a:t>Client logo</a:t>
            </a:r>
            <a:endParaRPr lang="en-US" dirty="0"/>
          </a:p>
        </p:txBody>
      </p:sp>
      <p:grpSp>
        <p:nvGrpSpPr>
          <p:cNvPr id="4" name="Group 39"/>
          <p:cNvGrpSpPr/>
          <p:nvPr userDrawn="1"/>
        </p:nvGrpSpPr>
        <p:grpSpPr>
          <a:xfrm>
            <a:off x="12417653" y="2"/>
            <a:ext cx="2873478" cy="1720847"/>
            <a:chOff x="10891316" y="0"/>
            <a:chExt cx="2520280" cy="1897314"/>
          </a:xfrm>
        </p:grpSpPr>
        <p:sp>
          <p:nvSpPr>
            <p:cNvPr id="41" name="TextBox 40"/>
            <p:cNvSpPr txBox="1"/>
            <p:nvPr/>
          </p:nvSpPr>
          <p:spPr>
            <a:xfrm>
              <a:off x="10891316" y="0"/>
              <a:ext cx="2520280" cy="1897314"/>
            </a:xfrm>
            <a:prstGeom prst="rect">
              <a:avLst/>
            </a:prstGeom>
            <a:solidFill>
              <a:schemeClr val="bg1">
                <a:lumMod val="85000"/>
              </a:schemeClr>
            </a:solidFill>
            <a:ln w="9525">
              <a:noFill/>
              <a:miter lim="800000"/>
              <a:headEnd/>
              <a:tailEnd/>
            </a:ln>
            <a:effectLst/>
          </p:spPr>
          <p:txBody>
            <a:bodyPr lIns="36000" tIns="36000" rIns="36000" bIns="36000">
              <a:spAutoFit/>
            </a:bodyPr>
            <a:lstStyle/>
            <a:p>
              <a:pPr>
                <a:spcAft>
                  <a:spcPts val="272"/>
                </a:spcAft>
              </a:pPr>
              <a:r>
                <a:rPr lang="en-GB" sz="726" dirty="0"/>
                <a:t>The client logo placeholders are picture placeholders.</a:t>
              </a:r>
            </a:p>
            <a:p>
              <a:pPr>
                <a:spcAft>
                  <a:spcPts val="272"/>
                </a:spcAft>
              </a:pPr>
              <a:r>
                <a:rPr lang="en-GB" sz="726" dirty="0"/>
                <a:t>To add a logo:</a:t>
              </a:r>
            </a:p>
            <a:p>
              <a:pPr marL="137886" indent="-137886">
                <a:spcAft>
                  <a:spcPts val="272"/>
                </a:spcAft>
                <a:buFont typeface="Arial" pitchFamily="34" charset="0"/>
                <a:buChar char="•"/>
              </a:pPr>
              <a:r>
                <a:rPr lang="en-GB" sz="726" dirty="0"/>
                <a:t>select the client logo</a:t>
              </a:r>
              <a:r>
                <a:rPr lang="en-GB" sz="726" baseline="0" dirty="0"/>
                <a:t> placeholder and zoom</a:t>
              </a:r>
              <a:br>
                <a:rPr lang="en-GB" sz="726" baseline="0" dirty="0"/>
              </a:br>
              <a:r>
                <a:rPr lang="en-GB" sz="726" baseline="0" dirty="0"/>
                <a:t>in to see the picture placeholder icon</a:t>
              </a:r>
            </a:p>
            <a:p>
              <a:pPr marL="137886" indent="-137886">
                <a:spcAft>
                  <a:spcPts val="272"/>
                </a:spcAft>
                <a:buFont typeface="Arial" pitchFamily="34" charset="0"/>
                <a:buChar char="•"/>
              </a:pPr>
              <a:r>
                <a:rPr lang="en-GB" sz="726" dirty="0"/>
                <a:t>click on the picture </a:t>
              </a:r>
              <a:br>
                <a:rPr lang="en-GB" sz="726" dirty="0"/>
              </a:br>
              <a:r>
                <a:rPr lang="en-GB" sz="726" dirty="0"/>
                <a:t>placeholder icon</a:t>
              </a:r>
            </a:p>
            <a:p>
              <a:pPr marL="137886" indent="-137886">
                <a:spcAft>
                  <a:spcPts val="272"/>
                </a:spcAft>
                <a:buFont typeface="Arial" pitchFamily="34" charset="0"/>
                <a:buChar char="•"/>
              </a:pPr>
              <a:r>
                <a:rPr lang="en-GB" sz="726" dirty="0"/>
                <a:t>Windows Explorer will open, navigate to the required image file and click on ‘Insert’.</a:t>
              </a:r>
            </a:p>
            <a:p>
              <a:pPr marL="0" indent="0">
                <a:spcAft>
                  <a:spcPts val="272"/>
                </a:spcAft>
                <a:buFont typeface="Arial" pitchFamily="34" charset="0"/>
                <a:buNone/>
              </a:pPr>
              <a:r>
                <a:rPr lang="en-GB" sz="726" dirty="0"/>
                <a:t>To change the image:</a:t>
              </a:r>
            </a:p>
            <a:p>
              <a:pPr marL="137886" indent="-137886">
                <a:spcAft>
                  <a:spcPts val="272"/>
                </a:spcAft>
                <a:buFont typeface="Arial" pitchFamily="34" charset="0"/>
                <a:buChar char="•"/>
              </a:pPr>
              <a:r>
                <a:rPr lang="en-GB" sz="726" dirty="0"/>
                <a:t>select the picture</a:t>
              </a:r>
            </a:p>
            <a:p>
              <a:pPr marL="137886" indent="-137886">
                <a:spcAft>
                  <a:spcPts val="272"/>
                </a:spcAft>
                <a:buFont typeface="Arial" pitchFamily="34" charset="0"/>
                <a:buChar char="•"/>
              </a:pPr>
              <a:r>
                <a:rPr lang="en-GB" sz="726" dirty="0"/>
                <a:t>right-click and select ‘Change Picture’</a:t>
              </a:r>
            </a:p>
            <a:p>
              <a:pPr marL="137886" indent="-137886">
                <a:spcAft>
                  <a:spcPts val="272"/>
                </a:spcAft>
                <a:buFont typeface="Arial" pitchFamily="34" charset="0"/>
                <a:buChar char="•"/>
              </a:pPr>
              <a:r>
                <a:rPr lang="en-GB" sz="726" dirty="0"/>
                <a:t>navigate to the required image file and click on ‘Insert’</a:t>
              </a:r>
            </a:p>
          </p:txBody>
        </p:sp>
        <p:pic>
          <p:nvPicPr>
            <p:cNvPr id="42" name="Picture 4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2187460" y="720291"/>
              <a:ext cx="323810" cy="323810"/>
            </a:xfrm>
            <a:prstGeom prst="rect">
              <a:avLst/>
            </a:prstGeom>
          </p:spPr>
        </p:pic>
      </p:grpSp>
    </p:spTree>
    <p:extLst>
      <p:ext uri="{BB962C8B-B14F-4D97-AF65-F5344CB8AC3E}">
        <p14:creationId xmlns:p14="http://schemas.microsoft.com/office/powerpoint/2010/main" val="226835774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hree col + image-Sand">
    <p:spTree>
      <p:nvGrpSpPr>
        <p:cNvPr id="1" name=""/>
        <p:cNvGrpSpPr/>
        <p:nvPr/>
      </p:nvGrpSpPr>
      <p:grpSpPr>
        <a:xfrm>
          <a:off x="0" y="0"/>
          <a:ext cx="0" cy="0"/>
          <a:chOff x="0" y="0"/>
          <a:chExt cx="0" cy="0"/>
        </a:xfrm>
      </p:grpSpPr>
      <p:sp>
        <p:nvSpPr>
          <p:cNvPr id="16" name="Picture Placeholder 2">
            <a:extLst>
              <a:ext uri="{FF2B5EF4-FFF2-40B4-BE49-F238E27FC236}">
                <a16:creationId xmlns:a16="http://schemas.microsoft.com/office/drawing/2014/main" id="{8CFB1AA5-B380-40C2-8230-13DD416F2D48}"/>
              </a:ext>
            </a:extLst>
          </p:cNvPr>
          <p:cNvSpPr>
            <a:spLocks noGrp="1"/>
          </p:cNvSpPr>
          <p:nvPr>
            <p:ph type="pic" sz="quarter" idx="18" hasCustomPrompt="1"/>
          </p:nvPr>
        </p:nvSpPr>
        <p:spPr>
          <a:xfrm>
            <a:off x="349683" y="273571"/>
            <a:ext cx="11492637" cy="6138517"/>
          </a:xfrm>
          <a:solidFill>
            <a:schemeClr val="bg2"/>
          </a:solidFill>
        </p:spPr>
        <p:txBody>
          <a:bodyPr anchor="ctr" anchorCtr="1">
            <a:noAutofit/>
          </a:bodyPr>
          <a:lstStyle>
            <a:lvl1pPr>
              <a:defRPr/>
            </a:lvl1pPr>
          </a:lstStyle>
          <a:p>
            <a:r>
              <a:rPr lang="en-GB" dirty="0"/>
              <a:t> </a:t>
            </a:r>
          </a:p>
        </p:txBody>
      </p:sp>
      <p:grpSp>
        <p:nvGrpSpPr>
          <p:cNvPr id="2" name="Group 10"/>
          <p:cNvGrpSpPr/>
          <p:nvPr userDrawn="1"/>
        </p:nvGrpSpPr>
        <p:grpSpPr>
          <a:xfrm>
            <a:off x="12417653" y="1"/>
            <a:ext cx="2873478" cy="2317805"/>
            <a:chOff x="10891316" y="0"/>
            <a:chExt cx="2520280" cy="2555487"/>
          </a:xfrm>
        </p:grpSpPr>
        <p:sp>
          <p:nvSpPr>
            <p:cNvPr id="12" name="TextBox 11"/>
            <p:cNvSpPr txBox="1"/>
            <p:nvPr/>
          </p:nvSpPr>
          <p:spPr>
            <a:xfrm>
              <a:off x="10891316" y="0"/>
              <a:ext cx="2520280" cy="2555487"/>
            </a:xfrm>
            <a:prstGeom prst="rect">
              <a:avLst/>
            </a:prstGeom>
            <a:solidFill>
              <a:schemeClr val="bg1">
                <a:lumMod val="85000"/>
              </a:schemeClr>
            </a:solidFill>
            <a:ln w="9525">
              <a:noFill/>
              <a:miter lim="800000"/>
              <a:headEnd/>
              <a:tailEnd/>
            </a:ln>
            <a:effectLst/>
          </p:spPr>
          <p:txBody>
            <a:bodyPr lIns="36000" tIns="36000" rIns="36000" bIns="36000">
              <a:spAutoFit/>
            </a:bodyPr>
            <a:lstStyle/>
            <a:p>
              <a:pPr>
                <a:spcAft>
                  <a:spcPts val="272"/>
                </a:spcAft>
              </a:pPr>
              <a:r>
                <a:rPr lang="en-GB" sz="726" dirty="0"/>
                <a:t>This layout can be used with a colour background or an image.</a:t>
              </a:r>
            </a:p>
            <a:p>
              <a:pPr>
                <a:spcAft>
                  <a:spcPts val="272"/>
                </a:spcAft>
              </a:pPr>
              <a:r>
                <a:rPr lang="en-GB" sz="726" dirty="0"/>
                <a:t>To add an image on this page:</a:t>
              </a:r>
            </a:p>
            <a:p>
              <a:pPr marL="137886" indent="-137886">
                <a:spcAft>
                  <a:spcPts val="272"/>
                </a:spcAft>
                <a:buFont typeface="Arial" pitchFamily="34" charset="0"/>
                <a:buChar char="•"/>
              </a:pPr>
              <a:r>
                <a:rPr lang="en-GB" sz="726" dirty="0"/>
                <a:t>first select the central text placeholder, right-click and select ‘Send to Back’</a:t>
              </a:r>
            </a:p>
            <a:p>
              <a:pPr marL="137886" indent="-137886">
                <a:spcAft>
                  <a:spcPts val="272"/>
                </a:spcAft>
                <a:buFont typeface="Arial" pitchFamily="34" charset="0"/>
                <a:buChar char="•"/>
              </a:pPr>
              <a:r>
                <a:rPr lang="en-GB" sz="726" dirty="0"/>
                <a:t>then</a:t>
              </a:r>
              <a:r>
                <a:rPr lang="en-GB" sz="726" baseline="0" dirty="0"/>
                <a:t> </a:t>
              </a:r>
              <a:r>
                <a:rPr lang="en-GB" sz="726" dirty="0"/>
                <a:t>click on the picture </a:t>
              </a:r>
              <a:br>
                <a:rPr lang="en-GB" sz="726" dirty="0"/>
              </a:br>
              <a:r>
                <a:rPr lang="en-GB" sz="726" dirty="0"/>
                <a:t>placeholder icon</a:t>
              </a:r>
            </a:p>
            <a:p>
              <a:pPr marL="137886" indent="-137886">
                <a:spcAft>
                  <a:spcPts val="272"/>
                </a:spcAft>
                <a:buFont typeface="Arial" pitchFamily="34" charset="0"/>
                <a:buChar char="•"/>
              </a:pPr>
              <a:r>
                <a:rPr lang="en-GB" sz="726" dirty="0"/>
                <a:t>Windows Explorer will open, find your required image and click ‘Insert’</a:t>
              </a:r>
            </a:p>
            <a:p>
              <a:pPr marL="137886" indent="-137886">
                <a:spcAft>
                  <a:spcPts val="272"/>
                </a:spcAft>
                <a:buFont typeface="Arial" pitchFamily="34" charset="0"/>
                <a:buChar char="•"/>
              </a:pPr>
              <a:r>
                <a:rPr lang="en-GB" sz="726" dirty="0"/>
                <a:t>select the image, right-click and select ‘Send to </a:t>
              </a:r>
              <a:r>
                <a:rPr lang="en-GB" sz="726" b="0" dirty="0"/>
                <a:t>B</a:t>
              </a:r>
              <a:r>
                <a:rPr lang="en-GB" sz="726" dirty="0"/>
                <a:t>ack’</a:t>
              </a:r>
            </a:p>
            <a:p>
              <a:pPr marL="137886" indent="-137886">
                <a:spcAft>
                  <a:spcPts val="272"/>
                </a:spcAft>
                <a:buFont typeface="Arial" pitchFamily="34" charset="0"/>
                <a:buChar char="•"/>
              </a:pPr>
              <a:r>
                <a:rPr lang="en-GB" sz="726" dirty="0"/>
                <a:t>to change the image, select it, right-click and select ‘Change Picture’, navigate to the required image file, select and click ‘Insert’.</a:t>
              </a:r>
            </a:p>
            <a:p>
              <a:pPr marL="0" indent="0">
                <a:spcAft>
                  <a:spcPts val="272"/>
                </a:spcAft>
                <a:buFont typeface="Arial" pitchFamily="34" charset="0"/>
                <a:buNone/>
              </a:pPr>
              <a:r>
                <a:rPr lang="en-GB" sz="726" dirty="0"/>
                <a:t>To colour the background placeholder:</a:t>
              </a:r>
            </a:p>
            <a:p>
              <a:pPr marL="161250" indent="-161250">
                <a:spcAft>
                  <a:spcPts val="272"/>
                </a:spcAft>
                <a:buFont typeface="Arial" pitchFamily="34" charset="0"/>
                <a:buChar char="•"/>
              </a:pPr>
              <a:r>
                <a:rPr lang="en-GB" sz="726" dirty="0"/>
                <a:t>select the placeholder, right-click and click on the ‘Fill’ button</a:t>
              </a:r>
            </a:p>
            <a:p>
              <a:pPr marL="161250" indent="-161250">
                <a:spcAft>
                  <a:spcPts val="272"/>
                </a:spcAft>
                <a:buFont typeface="Arial" pitchFamily="34" charset="0"/>
                <a:buChar char="•"/>
              </a:pPr>
              <a:r>
                <a:rPr lang="en-GB" sz="726" dirty="0"/>
                <a:t>select the desired colour from the top row ‘Theme </a:t>
              </a:r>
              <a:r>
                <a:rPr lang="en-GB" sz="726" dirty="0" err="1"/>
                <a:t>Colors</a:t>
              </a:r>
              <a:r>
                <a:rPr lang="en-GB" sz="726" dirty="0"/>
                <a:t>’.</a:t>
              </a:r>
            </a:p>
          </p:txBody>
        </p:sp>
        <p:pic>
          <p:nvPicPr>
            <p:cNvPr id="14" name="Picture 1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2592751" y="710459"/>
              <a:ext cx="323810" cy="323810"/>
            </a:xfrm>
            <a:prstGeom prst="rect">
              <a:avLst/>
            </a:prstGeom>
          </p:spPr>
        </p:pic>
      </p:grpSp>
      <p:sp>
        <p:nvSpPr>
          <p:cNvPr id="30" name="Text Placeholder 3">
            <a:extLst>
              <a:ext uri="{FF2B5EF4-FFF2-40B4-BE49-F238E27FC236}">
                <a16:creationId xmlns:a16="http://schemas.microsoft.com/office/drawing/2014/main" id="{6E22BC78-90B2-463A-B4B0-35845BAE5409}"/>
              </a:ext>
            </a:extLst>
          </p:cNvPr>
          <p:cNvSpPr>
            <a:spLocks noGrp="1"/>
          </p:cNvSpPr>
          <p:nvPr>
            <p:ph type="body" sz="quarter" idx="10" hasCustomPrompt="1"/>
          </p:nvPr>
        </p:nvSpPr>
        <p:spPr>
          <a:xfrm>
            <a:off x="720373" y="1534882"/>
            <a:ext cx="3364746" cy="4637752"/>
          </a:xfrm>
        </p:spPr>
        <p:txBody>
          <a:bodyPr>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1" name="Text Placeholder 5">
            <a:extLst>
              <a:ext uri="{FF2B5EF4-FFF2-40B4-BE49-F238E27FC236}">
                <a16:creationId xmlns:a16="http://schemas.microsoft.com/office/drawing/2014/main" id="{1E8B628C-9CC4-4F35-A0BE-014891FDC84B}"/>
              </a:ext>
            </a:extLst>
          </p:cNvPr>
          <p:cNvSpPr>
            <a:spLocks noGrp="1"/>
          </p:cNvSpPr>
          <p:nvPr>
            <p:ph type="body" sz="quarter" idx="11" hasCustomPrompt="1"/>
          </p:nvPr>
        </p:nvSpPr>
        <p:spPr>
          <a:xfrm>
            <a:off x="4420188" y="1534879"/>
            <a:ext cx="3359091" cy="4637753"/>
          </a:xfrm>
        </p:spPr>
        <p:txBody>
          <a:bodyPr>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2" name="Text Placeholder 5">
            <a:extLst>
              <a:ext uri="{FF2B5EF4-FFF2-40B4-BE49-F238E27FC236}">
                <a16:creationId xmlns:a16="http://schemas.microsoft.com/office/drawing/2014/main" id="{0631AAAE-D92D-4A3E-A098-F52531D0D2B6}"/>
              </a:ext>
            </a:extLst>
          </p:cNvPr>
          <p:cNvSpPr>
            <a:spLocks noGrp="1"/>
          </p:cNvSpPr>
          <p:nvPr>
            <p:ph type="body" sz="quarter" idx="13" hasCustomPrompt="1"/>
          </p:nvPr>
        </p:nvSpPr>
        <p:spPr>
          <a:xfrm>
            <a:off x="8106886" y="1534879"/>
            <a:ext cx="3359091" cy="4637753"/>
          </a:xfrm>
        </p:spPr>
        <p:txBody>
          <a:bodyPr>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Title 2">
            <a:extLst>
              <a:ext uri="{FF2B5EF4-FFF2-40B4-BE49-F238E27FC236}">
                <a16:creationId xmlns:a16="http://schemas.microsoft.com/office/drawing/2014/main" id="{D99CDE9C-54F8-4AC9-B5F1-191B4C169C4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0264579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Key msg + two columns-Ston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page title</a:t>
            </a:r>
            <a:endParaRPr lang="en-GB" dirty="0"/>
          </a:p>
        </p:txBody>
      </p:sp>
      <p:sp>
        <p:nvSpPr>
          <p:cNvPr id="16" name="Text Placeholder 15"/>
          <p:cNvSpPr>
            <a:spLocks noGrp="1"/>
          </p:cNvSpPr>
          <p:nvPr>
            <p:ph type="body" sz="quarter" idx="11" hasCustomPrompt="1"/>
          </p:nvPr>
        </p:nvSpPr>
        <p:spPr>
          <a:xfrm>
            <a:off x="4412723" y="1534881"/>
            <a:ext cx="3366555" cy="1067868"/>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15"/>
          <p:cNvSpPr>
            <a:spLocks noGrp="1"/>
          </p:cNvSpPr>
          <p:nvPr>
            <p:ph type="body" sz="quarter" idx="12" hasCustomPrompt="1"/>
          </p:nvPr>
        </p:nvSpPr>
        <p:spPr>
          <a:xfrm>
            <a:off x="8106885" y="1534881"/>
            <a:ext cx="3366555" cy="1067868"/>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TextBox 5">
            <a:extLst>
              <a:ext uri="{FF2B5EF4-FFF2-40B4-BE49-F238E27FC236}">
                <a16:creationId xmlns:a16="http://schemas.microsoft.com/office/drawing/2014/main" id="{BB9F14FA-5D63-4541-8BAB-66D7594FC628}"/>
              </a:ext>
            </a:extLst>
          </p:cNvPr>
          <p:cNvSpPr txBox="1"/>
          <p:nvPr userDrawn="1"/>
        </p:nvSpPr>
        <p:spPr>
          <a:xfrm>
            <a:off x="12417653" y="2"/>
            <a:ext cx="2873478" cy="177635"/>
          </a:xfrm>
          <a:prstGeom prst="rect">
            <a:avLst/>
          </a:prstGeom>
          <a:solidFill>
            <a:srgbClr val="E6E6E6"/>
          </a:solidFill>
          <a:ln w="9525">
            <a:noFill/>
            <a:miter lim="800000"/>
            <a:headEnd/>
            <a:tailEnd/>
          </a:ln>
          <a:effectLst/>
        </p:spPr>
        <p:txBody>
          <a:bodyPr lIns="32650" tIns="32650" rIns="32650" bIns="32650">
            <a:spAutoFit/>
          </a:bodyPr>
          <a:lstStyle/>
          <a:p>
            <a:pPr>
              <a:spcAft>
                <a:spcPts val="544"/>
              </a:spcAft>
            </a:pPr>
            <a:endParaRPr lang="en-GB" sz="726" dirty="0"/>
          </a:p>
        </p:txBody>
      </p:sp>
      <p:sp>
        <p:nvSpPr>
          <p:cNvPr id="7" name="Text Placeholder 3">
            <a:extLst>
              <a:ext uri="{FF2B5EF4-FFF2-40B4-BE49-F238E27FC236}">
                <a16:creationId xmlns:a16="http://schemas.microsoft.com/office/drawing/2014/main" id="{868011EB-746F-48E6-BFC1-97214050367B}"/>
              </a:ext>
            </a:extLst>
          </p:cNvPr>
          <p:cNvSpPr>
            <a:spLocks noGrp="1"/>
          </p:cNvSpPr>
          <p:nvPr>
            <p:ph type="body" sz="quarter" idx="10" hasCustomPrompt="1"/>
          </p:nvPr>
        </p:nvSpPr>
        <p:spPr>
          <a:xfrm>
            <a:off x="720373" y="1534882"/>
            <a:ext cx="3364746" cy="4637752"/>
          </a:xfrm>
          <a:solidFill>
            <a:schemeClr val="bg2"/>
          </a:solidFill>
        </p:spPr>
        <p:txBody>
          <a:bodyPr lIns="72000" tIns="72000" rIns="72000" bIns="7200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79476942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Key msg + one column &amp; image-Ston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page title</a:t>
            </a:r>
            <a:endParaRPr lang="en-GB" dirty="0"/>
          </a:p>
        </p:txBody>
      </p:sp>
      <p:sp>
        <p:nvSpPr>
          <p:cNvPr id="16" name="Text Placeholder 15"/>
          <p:cNvSpPr>
            <a:spLocks noGrp="1"/>
          </p:cNvSpPr>
          <p:nvPr>
            <p:ph type="body" sz="quarter" idx="11" hasCustomPrompt="1"/>
          </p:nvPr>
        </p:nvSpPr>
        <p:spPr>
          <a:xfrm>
            <a:off x="4412722" y="3429001"/>
            <a:ext cx="7060717" cy="1067868"/>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Picture Placeholder 3"/>
          <p:cNvSpPr>
            <a:spLocks noGrp="1"/>
          </p:cNvSpPr>
          <p:nvPr>
            <p:ph type="pic" sz="quarter" idx="13" hasCustomPrompt="1"/>
          </p:nvPr>
        </p:nvSpPr>
        <p:spPr>
          <a:xfrm>
            <a:off x="4412722" y="1534881"/>
            <a:ext cx="7060717" cy="1763500"/>
          </a:xfrm>
          <a:solidFill>
            <a:schemeClr val="bg1">
              <a:lumMod val="95000"/>
            </a:schemeClr>
          </a:solidFill>
        </p:spPr>
        <p:txBody>
          <a:bodyPr anchor="ctr" anchorCtr="1">
            <a:noAutofit/>
          </a:bodyPr>
          <a:lstStyle>
            <a:lvl1pPr>
              <a:defRPr/>
            </a:lvl1pPr>
          </a:lstStyle>
          <a:p>
            <a:r>
              <a:rPr lang="en-US" dirty="0"/>
              <a:t>Click to insert picture</a:t>
            </a:r>
            <a:endParaRPr lang="en-GB" dirty="0"/>
          </a:p>
        </p:txBody>
      </p:sp>
      <p:grpSp>
        <p:nvGrpSpPr>
          <p:cNvPr id="3" name="Group 8">
            <a:extLst>
              <a:ext uri="{FF2B5EF4-FFF2-40B4-BE49-F238E27FC236}">
                <a16:creationId xmlns:a16="http://schemas.microsoft.com/office/drawing/2014/main" id="{1C78F2B7-4905-498C-A07A-F064889CB656}"/>
              </a:ext>
            </a:extLst>
          </p:cNvPr>
          <p:cNvGrpSpPr/>
          <p:nvPr userDrawn="1"/>
        </p:nvGrpSpPr>
        <p:grpSpPr>
          <a:xfrm>
            <a:off x="12417653" y="2"/>
            <a:ext cx="2873478" cy="1120169"/>
            <a:chOff x="10891316" y="0"/>
            <a:chExt cx="2520280" cy="1235038"/>
          </a:xfrm>
        </p:grpSpPr>
        <p:sp>
          <p:nvSpPr>
            <p:cNvPr id="10" name="TextBox 9">
              <a:extLst>
                <a:ext uri="{FF2B5EF4-FFF2-40B4-BE49-F238E27FC236}">
                  <a16:creationId xmlns:a16="http://schemas.microsoft.com/office/drawing/2014/main" id="{D98FBF9D-91D5-42EF-8095-8C793C1F8EB0}"/>
                </a:ext>
              </a:extLst>
            </p:cNvPr>
            <p:cNvSpPr txBox="1"/>
            <p:nvPr/>
          </p:nvSpPr>
          <p:spPr>
            <a:xfrm>
              <a:off x="10891316" y="0"/>
              <a:ext cx="2520280" cy="1235038"/>
            </a:xfrm>
            <a:prstGeom prst="rect">
              <a:avLst/>
            </a:prstGeom>
            <a:solidFill>
              <a:schemeClr val="bg1">
                <a:lumMod val="85000"/>
              </a:schemeClr>
            </a:solidFill>
            <a:ln w="9525">
              <a:noFill/>
              <a:miter lim="800000"/>
              <a:headEnd/>
              <a:tailEnd/>
            </a:ln>
            <a:effectLst/>
          </p:spPr>
          <p:txBody>
            <a:bodyPr lIns="36000" tIns="36000" rIns="36000" bIns="36000">
              <a:spAutoFit/>
            </a:bodyPr>
            <a:lstStyle/>
            <a:p>
              <a:pPr>
                <a:spcAft>
                  <a:spcPts val="272"/>
                </a:spcAft>
              </a:pPr>
              <a:r>
                <a:rPr lang="en-GB" sz="726" dirty="0"/>
                <a:t>To add an image:</a:t>
              </a:r>
            </a:p>
            <a:p>
              <a:pPr marL="137886" indent="-137886">
                <a:spcAft>
                  <a:spcPts val="272"/>
                </a:spcAft>
                <a:buFont typeface="Arial" pitchFamily="34" charset="0"/>
                <a:buChar char="•"/>
              </a:pPr>
              <a:r>
                <a:rPr lang="en-GB" sz="726" dirty="0"/>
                <a:t>click on the picture placeholder icon</a:t>
              </a:r>
            </a:p>
            <a:p>
              <a:pPr marL="137886" indent="-137886">
                <a:spcAft>
                  <a:spcPts val="272"/>
                </a:spcAft>
                <a:buFont typeface="Arial" pitchFamily="34" charset="0"/>
                <a:buChar char="•"/>
              </a:pPr>
              <a:r>
                <a:rPr lang="en-GB" sz="726" dirty="0"/>
                <a:t>Windows Explorer will open, find your required image and click ‘Insert’</a:t>
              </a:r>
            </a:p>
            <a:p>
              <a:pPr marL="137886" indent="-137886">
                <a:spcAft>
                  <a:spcPts val="272"/>
                </a:spcAft>
                <a:buFont typeface="Arial" pitchFamily="34" charset="0"/>
                <a:buChar char="•"/>
              </a:pPr>
              <a:r>
                <a:rPr lang="en-GB" sz="726" dirty="0"/>
                <a:t>select the image, right-click and select ‘Send to </a:t>
              </a:r>
              <a:r>
                <a:rPr lang="en-GB" sz="726" b="0" dirty="0"/>
                <a:t>B</a:t>
              </a:r>
              <a:r>
                <a:rPr lang="en-GB" sz="726" dirty="0"/>
                <a:t>ack’</a:t>
              </a:r>
            </a:p>
            <a:p>
              <a:pPr marL="137886" indent="-137886">
                <a:spcAft>
                  <a:spcPts val="272"/>
                </a:spcAft>
                <a:buFont typeface="Arial" pitchFamily="34" charset="0"/>
                <a:buChar char="•"/>
              </a:pPr>
              <a:r>
                <a:rPr lang="en-GB" sz="726" dirty="0"/>
                <a:t>to change the image, select it, right-click and select ‘Change Picture’, navigate to the required image file, select and click ‘Insert’.</a:t>
              </a:r>
            </a:p>
          </p:txBody>
        </p:sp>
        <p:pic>
          <p:nvPicPr>
            <p:cNvPr id="11" name="Picture 10">
              <a:extLst>
                <a:ext uri="{FF2B5EF4-FFF2-40B4-BE49-F238E27FC236}">
                  <a16:creationId xmlns:a16="http://schemas.microsoft.com/office/drawing/2014/main" id="{37E2A5B0-5574-43C3-8835-004464C4BAD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3025615" y="68609"/>
              <a:ext cx="323810" cy="323810"/>
            </a:xfrm>
            <a:prstGeom prst="rect">
              <a:avLst/>
            </a:prstGeom>
          </p:spPr>
        </p:pic>
      </p:grpSp>
      <p:sp>
        <p:nvSpPr>
          <p:cNvPr id="13" name="Text Placeholder 3">
            <a:extLst>
              <a:ext uri="{FF2B5EF4-FFF2-40B4-BE49-F238E27FC236}">
                <a16:creationId xmlns:a16="http://schemas.microsoft.com/office/drawing/2014/main" id="{DDDB6496-6055-4931-A50C-A306B425C373}"/>
              </a:ext>
            </a:extLst>
          </p:cNvPr>
          <p:cNvSpPr>
            <a:spLocks noGrp="1"/>
          </p:cNvSpPr>
          <p:nvPr>
            <p:ph type="body" sz="quarter" idx="10" hasCustomPrompt="1"/>
          </p:nvPr>
        </p:nvSpPr>
        <p:spPr>
          <a:xfrm>
            <a:off x="720373" y="1534882"/>
            <a:ext cx="3364746" cy="4637752"/>
          </a:xfrm>
          <a:solidFill>
            <a:schemeClr val="bg2"/>
          </a:solidFill>
        </p:spPr>
        <p:txBody>
          <a:bodyPr lIns="72000" tIns="72000" rIns="72000" bIns="7200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46424414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ase study_one col + image-Stone">
    <p:spTree>
      <p:nvGrpSpPr>
        <p:cNvPr id="1" name=""/>
        <p:cNvGrpSpPr/>
        <p:nvPr/>
      </p:nvGrpSpPr>
      <p:grpSpPr>
        <a:xfrm>
          <a:off x="0" y="0"/>
          <a:ext cx="0" cy="0"/>
          <a:chOff x="0" y="0"/>
          <a:chExt cx="0" cy="0"/>
        </a:xfrm>
      </p:grpSpPr>
      <p:sp>
        <p:nvSpPr>
          <p:cNvPr id="9" name="Picture Placeholder 15"/>
          <p:cNvSpPr>
            <a:spLocks noGrp="1"/>
          </p:cNvSpPr>
          <p:nvPr>
            <p:ph type="pic" sz="quarter" idx="18" hasCustomPrompt="1"/>
          </p:nvPr>
        </p:nvSpPr>
        <p:spPr>
          <a:xfrm>
            <a:off x="6272417" y="1543521"/>
            <a:ext cx="5201024" cy="3419641"/>
          </a:xfrm>
          <a:solidFill>
            <a:schemeClr val="bg1">
              <a:lumMod val="95000"/>
            </a:schemeClr>
          </a:solidFill>
        </p:spPr>
        <p:txBody>
          <a:bodyPr anchor="ctr" anchorCtr="1">
            <a:noAutofit/>
          </a:bodyPr>
          <a:lstStyle>
            <a:lvl1pPr>
              <a:defRPr sz="726" b="0">
                <a:solidFill>
                  <a:schemeClr val="tx1"/>
                </a:solidFill>
              </a:defRPr>
            </a:lvl1pPr>
          </a:lstStyle>
          <a:p>
            <a:r>
              <a:rPr lang="en-NZ" dirty="0"/>
              <a:t>Click to insert picture</a:t>
            </a:r>
          </a:p>
        </p:txBody>
      </p:sp>
      <p:sp>
        <p:nvSpPr>
          <p:cNvPr id="2" name="Title 1"/>
          <p:cNvSpPr>
            <a:spLocks noGrp="1"/>
          </p:cNvSpPr>
          <p:nvPr>
            <p:ph type="title" hasCustomPrompt="1"/>
          </p:nvPr>
        </p:nvSpPr>
        <p:spPr/>
        <p:txBody>
          <a:bodyPr/>
          <a:lstStyle>
            <a:lvl1pPr>
              <a:defRPr/>
            </a:lvl1pPr>
          </a:lstStyle>
          <a:p>
            <a:r>
              <a:rPr lang="en-US" dirty="0"/>
              <a:t>Click to edit page title</a:t>
            </a:r>
            <a:endParaRPr lang="en-GB" dirty="0"/>
          </a:p>
        </p:txBody>
      </p:sp>
      <p:sp>
        <p:nvSpPr>
          <p:cNvPr id="14" name="Text Placeholder 3"/>
          <p:cNvSpPr>
            <a:spLocks noGrp="1"/>
          </p:cNvSpPr>
          <p:nvPr>
            <p:ph type="body" sz="quarter" idx="15" hasCustomPrompt="1"/>
          </p:nvPr>
        </p:nvSpPr>
        <p:spPr>
          <a:xfrm>
            <a:off x="720500" y="1538974"/>
            <a:ext cx="5210793" cy="1067868"/>
          </a:xfrm>
        </p:spPr>
        <p:txBody>
          <a:bodyPr wrap="square">
            <a:sp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3" name="Group 7"/>
          <p:cNvGrpSpPr/>
          <p:nvPr userDrawn="1"/>
        </p:nvGrpSpPr>
        <p:grpSpPr>
          <a:xfrm>
            <a:off x="12417653" y="2"/>
            <a:ext cx="2873478" cy="1120169"/>
            <a:chOff x="10891316" y="0"/>
            <a:chExt cx="2520280" cy="1235038"/>
          </a:xfrm>
        </p:grpSpPr>
        <p:sp>
          <p:nvSpPr>
            <p:cNvPr id="11" name="TextBox 10"/>
            <p:cNvSpPr txBox="1"/>
            <p:nvPr/>
          </p:nvSpPr>
          <p:spPr>
            <a:xfrm>
              <a:off x="10891316" y="0"/>
              <a:ext cx="2520280" cy="1235038"/>
            </a:xfrm>
            <a:prstGeom prst="rect">
              <a:avLst/>
            </a:prstGeom>
            <a:solidFill>
              <a:schemeClr val="bg1">
                <a:lumMod val="85000"/>
              </a:schemeClr>
            </a:solidFill>
            <a:ln w="9525">
              <a:noFill/>
              <a:miter lim="800000"/>
              <a:headEnd/>
              <a:tailEnd/>
            </a:ln>
            <a:effectLst/>
          </p:spPr>
          <p:txBody>
            <a:bodyPr lIns="36000" tIns="36000" rIns="36000" bIns="36000">
              <a:spAutoFit/>
            </a:bodyPr>
            <a:lstStyle/>
            <a:p>
              <a:pPr>
                <a:spcAft>
                  <a:spcPts val="272"/>
                </a:spcAft>
              </a:pPr>
              <a:r>
                <a:rPr lang="en-GB" sz="726" dirty="0"/>
                <a:t>To add an image:</a:t>
              </a:r>
            </a:p>
            <a:p>
              <a:pPr marL="137886" indent="-137886">
                <a:spcAft>
                  <a:spcPts val="272"/>
                </a:spcAft>
                <a:buFont typeface="Arial" pitchFamily="34" charset="0"/>
                <a:buChar char="•"/>
              </a:pPr>
              <a:r>
                <a:rPr lang="en-GB" sz="726" dirty="0"/>
                <a:t>click on the picture placeholder icon</a:t>
              </a:r>
            </a:p>
            <a:p>
              <a:pPr marL="137886" indent="-137886">
                <a:spcAft>
                  <a:spcPts val="272"/>
                </a:spcAft>
                <a:buFont typeface="Arial" pitchFamily="34" charset="0"/>
                <a:buChar char="•"/>
              </a:pPr>
              <a:r>
                <a:rPr lang="en-GB" sz="726" dirty="0"/>
                <a:t>Windows Explorer will open, find your required image and click ‘Insert’</a:t>
              </a:r>
            </a:p>
            <a:p>
              <a:pPr marL="137886" indent="-137886">
                <a:spcAft>
                  <a:spcPts val="272"/>
                </a:spcAft>
                <a:buFont typeface="Arial" pitchFamily="34" charset="0"/>
                <a:buChar char="•"/>
              </a:pPr>
              <a:r>
                <a:rPr lang="en-GB" sz="726" dirty="0"/>
                <a:t>select the image, right-click and select ‘Send to </a:t>
              </a:r>
              <a:r>
                <a:rPr lang="en-GB" sz="726" b="0" dirty="0"/>
                <a:t>B</a:t>
              </a:r>
              <a:r>
                <a:rPr lang="en-GB" sz="726" dirty="0"/>
                <a:t>ack’</a:t>
              </a:r>
            </a:p>
            <a:p>
              <a:pPr marL="137886" indent="-137886">
                <a:spcAft>
                  <a:spcPts val="272"/>
                </a:spcAft>
                <a:buFont typeface="Arial" pitchFamily="34" charset="0"/>
                <a:buChar char="•"/>
              </a:pPr>
              <a:r>
                <a:rPr lang="en-GB" sz="726" dirty="0"/>
                <a:t>to change the image, select it, right-click and select ‘Change Picture’, navigate to the required image file, select and click ‘Insert’.</a:t>
              </a:r>
            </a:p>
          </p:txBody>
        </p:sp>
        <p:pic>
          <p:nvPicPr>
            <p:cNvPr id="13" name="Picture 1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3025615" y="68609"/>
              <a:ext cx="323810" cy="323810"/>
            </a:xfrm>
            <a:prstGeom prst="rect">
              <a:avLst/>
            </a:prstGeom>
          </p:spPr>
        </p:pic>
      </p:grpSp>
      <p:sp>
        <p:nvSpPr>
          <p:cNvPr id="12" name="Text Placeholder 15">
            <a:extLst>
              <a:ext uri="{FF2B5EF4-FFF2-40B4-BE49-F238E27FC236}">
                <a16:creationId xmlns:a16="http://schemas.microsoft.com/office/drawing/2014/main" id="{FC67CFF8-5AE9-4729-B572-AEE1AFAF656B}"/>
              </a:ext>
            </a:extLst>
          </p:cNvPr>
          <p:cNvSpPr>
            <a:spLocks noGrp="1"/>
          </p:cNvSpPr>
          <p:nvPr>
            <p:ph type="body" sz="quarter" idx="12" hasCustomPrompt="1"/>
          </p:nvPr>
        </p:nvSpPr>
        <p:spPr>
          <a:xfrm>
            <a:off x="6272417" y="4963159"/>
            <a:ext cx="5201024" cy="1199750"/>
          </a:xfrm>
          <a:solidFill>
            <a:schemeClr val="bg2"/>
          </a:solidFill>
        </p:spPr>
        <p:txBody>
          <a:bodyPr lIns="72000" tIns="72000" rIns="72000" bIns="72000"/>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45226978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ase study_two col + image-Stone">
    <p:spTree>
      <p:nvGrpSpPr>
        <p:cNvPr id="1" name=""/>
        <p:cNvGrpSpPr/>
        <p:nvPr/>
      </p:nvGrpSpPr>
      <p:grpSpPr>
        <a:xfrm>
          <a:off x="0" y="0"/>
          <a:ext cx="0" cy="0"/>
          <a:chOff x="0" y="0"/>
          <a:chExt cx="0" cy="0"/>
        </a:xfrm>
      </p:grpSpPr>
      <p:sp>
        <p:nvSpPr>
          <p:cNvPr id="10" name="Text Placeholder 15">
            <a:extLst>
              <a:ext uri="{FF2B5EF4-FFF2-40B4-BE49-F238E27FC236}">
                <a16:creationId xmlns:a16="http://schemas.microsoft.com/office/drawing/2014/main" id="{C2F6E332-E21D-41E6-B252-D3FB9708E4F7}"/>
              </a:ext>
            </a:extLst>
          </p:cNvPr>
          <p:cNvSpPr>
            <a:spLocks noGrp="1"/>
          </p:cNvSpPr>
          <p:nvPr>
            <p:ph type="body" sz="quarter" idx="12" hasCustomPrompt="1"/>
          </p:nvPr>
        </p:nvSpPr>
        <p:spPr>
          <a:xfrm>
            <a:off x="8106885" y="4963159"/>
            <a:ext cx="3366555" cy="1199750"/>
          </a:xfrm>
          <a:solidFill>
            <a:schemeClr val="bg2"/>
          </a:solidFill>
        </p:spPr>
        <p:txBody>
          <a:bodyPr lIns="72000" tIns="72000" rIns="72000" bIns="72000"/>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Title 2"/>
          <p:cNvSpPr>
            <a:spLocks noGrp="1"/>
          </p:cNvSpPr>
          <p:nvPr>
            <p:ph type="title" hasCustomPrompt="1"/>
          </p:nvPr>
        </p:nvSpPr>
        <p:spPr/>
        <p:txBody>
          <a:bodyPr/>
          <a:lstStyle>
            <a:lvl1pPr>
              <a:defRPr/>
            </a:lvl1pPr>
          </a:lstStyle>
          <a:p>
            <a:r>
              <a:rPr lang="en-US" dirty="0"/>
              <a:t>Click to edit page title</a:t>
            </a:r>
            <a:endParaRPr lang="en-GB" dirty="0"/>
          </a:p>
        </p:txBody>
      </p:sp>
      <p:sp>
        <p:nvSpPr>
          <p:cNvPr id="13" name="Picture Placeholder 15"/>
          <p:cNvSpPr>
            <a:spLocks noGrp="1"/>
          </p:cNvSpPr>
          <p:nvPr>
            <p:ph type="pic" sz="quarter" idx="18" hasCustomPrompt="1"/>
          </p:nvPr>
        </p:nvSpPr>
        <p:spPr>
          <a:xfrm>
            <a:off x="8106885" y="1543521"/>
            <a:ext cx="3366555" cy="3419641"/>
          </a:xfrm>
          <a:solidFill>
            <a:schemeClr val="bg1">
              <a:lumMod val="95000"/>
            </a:schemeClr>
          </a:solidFill>
        </p:spPr>
        <p:txBody>
          <a:bodyPr anchor="ctr" anchorCtr="1">
            <a:noAutofit/>
          </a:bodyPr>
          <a:lstStyle>
            <a:lvl1pPr>
              <a:defRPr sz="726" b="0">
                <a:solidFill>
                  <a:schemeClr val="tx1"/>
                </a:solidFill>
              </a:defRPr>
            </a:lvl1pPr>
          </a:lstStyle>
          <a:p>
            <a:r>
              <a:rPr lang="en-NZ" dirty="0"/>
              <a:t>Click to insert picture</a:t>
            </a:r>
          </a:p>
        </p:txBody>
      </p:sp>
      <p:sp>
        <p:nvSpPr>
          <p:cNvPr id="14" name="Text Placeholder 3"/>
          <p:cNvSpPr>
            <a:spLocks noGrp="1"/>
          </p:cNvSpPr>
          <p:nvPr>
            <p:ph type="body" sz="quarter" idx="15" hasCustomPrompt="1"/>
          </p:nvPr>
        </p:nvSpPr>
        <p:spPr>
          <a:xfrm>
            <a:off x="720499" y="1538974"/>
            <a:ext cx="3365701" cy="1067868"/>
          </a:xfrm>
        </p:spPr>
        <p:txBody>
          <a:bodyPr>
            <a:sp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Text Placeholder 3"/>
          <p:cNvSpPr>
            <a:spLocks noGrp="1"/>
          </p:cNvSpPr>
          <p:nvPr>
            <p:ph type="body" sz="quarter" idx="19" hasCustomPrompt="1"/>
          </p:nvPr>
        </p:nvSpPr>
        <p:spPr>
          <a:xfrm>
            <a:off x="4413691" y="1538974"/>
            <a:ext cx="3365701" cy="1067868"/>
          </a:xfrm>
        </p:spPr>
        <p:txBody>
          <a:bodyPr>
            <a:sp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2" name="Group 16">
            <a:extLst>
              <a:ext uri="{FF2B5EF4-FFF2-40B4-BE49-F238E27FC236}">
                <a16:creationId xmlns:a16="http://schemas.microsoft.com/office/drawing/2014/main" id="{A17677EB-6887-480D-ABD9-269036ABF840}"/>
              </a:ext>
            </a:extLst>
          </p:cNvPr>
          <p:cNvGrpSpPr/>
          <p:nvPr userDrawn="1"/>
        </p:nvGrpSpPr>
        <p:grpSpPr>
          <a:xfrm>
            <a:off x="12417653" y="2"/>
            <a:ext cx="2873478" cy="1120169"/>
            <a:chOff x="10891316" y="0"/>
            <a:chExt cx="2520280" cy="1235038"/>
          </a:xfrm>
        </p:grpSpPr>
        <p:sp>
          <p:nvSpPr>
            <p:cNvPr id="18" name="TextBox 17">
              <a:extLst>
                <a:ext uri="{FF2B5EF4-FFF2-40B4-BE49-F238E27FC236}">
                  <a16:creationId xmlns:a16="http://schemas.microsoft.com/office/drawing/2014/main" id="{FE6AD345-AA91-4326-A6D7-5ECA58D4AF8F}"/>
                </a:ext>
              </a:extLst>
            </p:cNvPr>
            <p:cNvSpPr txBox="1"/>
            <p:nvPr/>
          </p:nvSpPr>
          <p:spPr>
            <a:xfrm>
              <a:off x="10891316" y="0"/>
              <a:ext cx="2520280" cy="1235038"/>
            </a:xfrm>
            <a:prstGeom prst="rect">
              <a:avLst/>
            </a:prstGeom>
            <a:solidFill>
              <a:schemeClr val="bg1">
                <a:lumMod val="85000"/>
              </a:schemeClr>
            </a:solidFill>
            <a:ln w="9525">
              <a:noFill/>
              <a:miter lim="800000"/>
              <a:headEnd/>
              <a:tailEnd/>
            </a:ln>
            <a:effectLst/>
          </p:spPr>
          <p:txBody>
            <a:bodyPr lIns="36000" tIns="36000" rIns="36000" bIns="36000">
              <a:spAutoFit/>
            </a:bodyPr>
            <a:lstStyle/>
            <a:p>
              <a:pPr>
                <a:spcAft>
                  <a:spcPts val="272"/>
                </a:spcAft>
              </a:pPr>
              <a:r>
                <a:rPr lang="en-GB" sz="726" dirty="0"/>
                <a:t>To add an image:</a:t>
              </a:r>
            </a:p>
            <a:p>
              <a:pPr marL="137886" indent="-137886">
                <a:spcAft>
                  <a:spcPts val="272"/>
                </a:spcAft>
                <a:buFont typeface="Arial" pitchFamily="34" charset="0"/>
                <a:buChar char="•"/>
              </a:pPr>
              <a:r>
                <a:rPr lang="en-GB" sz="726" dirty="0"/>
                <a:t>click on the picture placeholder icon</a:t>
              </a:r>
            </a:p>
            <a:p>
              <a:pPr marL="137886" indent="-137886">
                <a:spcAft>
                  <a:spcPts val="272"/>
                </a:spcAft>
                <a:buFont typeface="Arial" pitchFamily="34" charset="0"/>
                <a:buChar char="•"/>
              </a:pPr>
              <a:r>
                <a:rPr lang="en-GB" sz="726" dirty="0"/>
                <a:t>Windows Explorer will open, find your required image and click ‘Insert’</a:t>
              </a:r>
            </a:p>
            <a:p>
              <a:pPr marL="137886" indent="-137886">
                <a:spcAft>
                  <a:spcPts val="272"/>
                </a:spcAft>
                <a:buFont typeface="Arial" pitchFamily="34" charset="0"/>
                <a:buChar char="•"/>
              </a:pPr>
              <a:r>
                <a:rPr lang="en-GB" sz="726" dirty="0"/>
                <a:t>select the image, right-click and select ‘Send to </a:t>
              </a:r>
              <a:r>
                <a:rPr lang="en-GB" sz="726" b="0" dirty="0"/>
                <a:t>B</a:t>
              </a:r>
              <a:r>
                <a:rPr lang="en-GB" sz="726" dirty="0"/>
                <a:t>ack’</a:t>
              </a:r>
            </a:p>
            <a:p>
              <a:pPr marL="137886" indent="-137886">
                <a:spcAft>
                  <a:spcPts val="272"/>
                </a:spcAft>
                <a:buFont typeface="Arial" pitchFamily="34" charset="0"/>
                <a:buChar char="•"/>
              </a:pPr>
              <a:r>
                <a:rPr lang="en-GB" sz="726" dirty="0"/>
                <a:t>to change the image, select it, right-click and select ‘Change Picture’, navigate to the required image file, select and click ‘Insert’.</a:t>
              </a:r>
            </a:p>
          </p:txBody>
        </p:sp>
        <p:pic>
          <p:nvPicPr>
            <p:cNvPr id="19" name="Picture 18">
              <a:extLst>
                <a:ext uri="{FF2B5EF4-FFF2-40B4-BE49-F238E27FC236}">
                  <a16:creationId xmlns:a16="http://schemas.microsoft.com/office/drawing/2014/main" id="{F20A9EAA-BCDB-44C9-8284-0D9CDADA28E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3025615" y="68609"/>
              <a:ext cx="323810" cy="323810"/>
            </a:xfrm>
            <a:prstGeom prst="rect">
              <a:avLst/>
            </a:prstGeom>
          </p:spPr>
        </p:pic>
      </p:grpSp>
    </p:spTree>
    <p:extLst>
      <p:ext uri="{BB962C8B-B14F-4D97-AF65-F5344CB8AC3E}">
        <p14:creationId xmlns:p14="http://schemas.microsoft.com/office/powerpoint/2010/main" val="238508996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ase study_two col + image small-Stone">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lvl1pPr>
              <a:defRPr/>
            </a:lvl1pPr>
          </a:lstStyle>
          <a:p>
            <a:r>
              <a:rPr lang="en-US" dirty="0"/>
              <a:t>Click to edit page title</a:t>
            </a:r>
            <a:endParaRPr lang="en-GB" dirty="0"/>
          </a:p>
        </p:txBody>
      </p:sp>
      <p:sp>
        <p:nvSpPr>
          <p:cNvPr id="14" name="Text Placeholder 3"/>
          <p:cNvSpPr>
            <a:spLocks noGrp="1"/>
          </p:cNvSpPr>
          <p:nvPr>
            <p:ph type="body" sz="quarter" idx="15" hasCustomPrompt="1"/>
          </p:nvPr>
        </p:nvSpPr>
        <p:spPr>
          <a:xfrm>
            <a:off x="720499" y="1538974"/>
            <a:ext cx="3365701" cy="1067868"/>
          </a:xfrm>
        </p:spPr>
        <p:txBody>
          <a:bodyPr>
            <a:sp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Text Placeholder 3"/>
          <p:cNvSpPr>
            <a:spLocks noGrp="1"/>
          </p:cNvSpPr>
          <p:nvPr>
            <p:ph type="body" sz="quarter" idx="19" hasCustomPrompt="1"/>
          </p:nvPr>
        </p:nvSpPr>
        <p:spPr>
          <a:xfrm>
            <a:off x="4413691" y="1538974"/>
            <a:ext cx="3365701" cy="1067868"/>
          </a:xfrm>
        </p:spPr>
        <p:txBody>
          <a:bodyPr>
            <a:sp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2" name="Group 16">
            <a:extLst>
              <a:ext uri="{FF2B5EF4-FFF2-40B4-BE49-F238E27FC236}">
                <a16:creationId xmlns:a16="http://schemas.microsoft.com/office/drawing/2014/main" id="{1CA64079-EADE-492F-A503-3577910C6623}"/>
              </a:ext>
            </a:extLst>
          </p:cNvPr>
          <p:cNvGrpSpPr/>
          <p:nvPr userDrawn="1"/>
        </p:nvGrpSpPr>
        <p:grpSpPr>
          <a:xfrm>
            <a:off x="12417653" y="2"/>
            <a:ext cx="2873478" cy="1120169"/>
            <a:chOff x="10891316" y="0"/>
            <a:chExt cx="2520280" cy="1235038"/>
          </a:xfrm>
        </p:grpSpPr>
        <p:sp>
          <p:nvSpPr>
            <p:cNvPr id="18" name="TextBox 17">
              <a:extLst>
                <a:ext uri="{FF2B5EF4-FFF2-40B4-BE49-F238E27FC236}">
                  <a16:creationId xmlns:a16="http://schemas.microsoft.com/office/drawing/2014/main" id="{709A011F-128A-43EA-94B2-812D1AB63596}"/>
                </a:ext>
              </a:extLst>
            </p:cNvPr>
            <p:cNvSpPr txBox="1"/>
            <p:nvPr/>
          </p:nvSpPr>
          <p:spPr>
            <a:xfrm>
              <a:off x="10891316" y="0"/>
              <a:ext cx="2520280" cy="1235038"/>
            </a:xfrm>
            <a:prstGeom prst="rect">
              <a:avLst/>
            </a:prstGeom>
            <a:solidFill>
              <a:schemeClr val="bg1">
                <a:lumMod val="85000"/>
              </a:schemeClr>
            </a:solidFill>
            <a:ln w="9525">
              <a:noFill/>
              <a:miter lim="800000"/>
              <a:headEnd/>
              <a:tailEnd/>
            </a:ln>
            <a:effectLst/>
          </p:spPr>
          <p:txBody>
            <a:bodyPr lIns="36000" tIns="36000" rIns="36000" bIns="36000">
              <a:spAutoFit/>
            </a:bodyPr>
            <a:lstStyle/>
            <a:p>
              <a:pPr>
                <a:spcAft>
                  <a:spcPts val="272"/>
                </a:spcAft>
              </a:pPr>
              <a:r>
                <a:rPr lang="en-GB" sz="726" dirty="0"/>
                <a:t>To add an image:</a:t>
              </a:r>
            </a:p>
            <a:p>
              <a:pPr marL="137886" indent="-137886">
                <a:spcAft>
                  <a:spcPts val="272"/>
                </a:spcAft>
                <a:buFont typeface="Arial" pitchFamily="34" charset="0"/>
                <a:buChar char="•"/>
              </a:pPr>
              <a:r>
                <a:rPr lang="en-GB" sz="726" dirty="0"/>
                <a:t>click on the picture placeholder icon</a:t>
              </a:r>
            </a:p>
            <a:p>
              <a:pPr marL="137886" indent="-137886">
                <a:spcAft>
                  <a:spcPts val="272"/>
                </a:spcAft>
                <a:buFont typeface="Arial" pitchFamily="34" charset="0"/>
                <a:buChar char="•"/>
              </a:pPr>
              <a:r>
                <a:rPr lang="en-GB" sz="726" dirty="0"/>
                <a:t>Windows Explorer will open, find your required image and click ‘Insert’</a:t>
              </a:r>
            </a:p>
            <a:p>
              <a:pPr marL="137886" indent="-137886">
                <a:spcAft>
                  <a:spcPts val="272"/>
                </a:spcAft>
                <a:buFont typeface="Arial" pitchFamily="34" charset="0"/>
                <a:buChar char="•"/>
              </a:pPr>
              <a:r>
                <a:rPr lang="en-GB" sz="726" dirty="0"/>
                <a:t>select the image, right-click and select ‘Send to </a:t>
              </a:r>
              <a:r>
                <a:rPr lang="en-GB" sz="726" b="0" dirty="0"/>
                <a:t>B</a:t>
              </a:r>
              <a:r>
                <a:rPr lang="en-GB" sz="726" dirty="0"/>
                <a:t>ack’</a:t>
              </a:r>
            </a:p>
            <a:p>
              <a:pPr marL="137886" indent="-137886">
                <a:spcAft>
                  <a:spcPts val="272"/>
                </a:spcAft>
                <a:buFont typeface="Arial" pitchFamily="34" charset="0"/>
                <a:buChar char="•"/>
              </a:pPr>
              <a:r>
                <a:rPr lang="en-GB" sz="726" dirty="0"/>
                <a:t>to change the image, select it, right-click and select ‘Change Picture’, navigate to the required image file, select and click ‘Insert’.</a:t>
              </a:r>
            </a:p>
          </p:txBody>
        </p:sp>
        <p:pic>
          <p:nvPicPr>
            <p:cNvPr id="19" name="Picture 18">
              <a:extLst>
                <a:ext uri="{FF2B5EF4-FFF2-40B4-BE49-F238E27FC236}">
                  <a16:creationId xmlns:a16="http://schemas.microsoft.com/office/drawing/2014/main" id="{1DE214C5-B153-44D8-80A4-F25C0AE8240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3025615" y="68609"/>
              <a:ext cx="323810" cy="323810"/>
            </a:xfrm>
            <a:prstGeom prst="rect">
              <a:avLst/>
            </a:prstGeom>
          </p:spPr>
        </p:pic>
      </p:grpSp>
      <p:sp>
        <p:nvSpPr>
          <p:cNvPr id="10" name="Picture Placeholder 15">
            <a:extLst>
              <a:ext uri="{FF2B5EF4-FFF2-40B4-BE49-F238E27FC236}">
                <a16:creationId xmlns:a16="http://schemas.microsoft.com/office/drawing/2014/main" id="{98B453D7-7A18-4425-88C1-EF5E65DAA0F8}"/>
              </a:ext>
            </a:extLst>
          </p:cNvPr>
          <p:cNvSpPr>
            <a:spLocks noGrp="1"/>
          </p:cNvSpPr>
          <p:nvPr>
            <p:ph type="pic" sz="quarter" idx="18" hasCustomPrompt="1"/>
          </p:nvPr>
        </p:nvSpPr>
        <p:spPr>
          <a:xfrm>
            <a:off x="8106885" y="4965129"/>
            <a:ext cx="3366555" cy="1203184"/>
          </a:xfrm>
          <a:solidFill>
            <a:schemeClr val="bg1">
              <a:lumMod val="95000"/>
            </a:schemeClr>
          </a:solidFill>
        </p:spPr>
        <p:txBody>
          <a:bodyPr anchor="ctr" anchorCtr="1">
            <a:noAutofit/>
          </a:bodyPr>
          <a:lstStyle>
            <a:lvl1pPr>
              <a:defRPr sz="726" b="0" baseline="0">
                <a:solidFill>
                  <a:schemeClr val="tx1"/>
                </a:solidFill>
              </a:defRPr>
            </a:lvl1pPr>
          </a:lstStyle>
          <a:p>
            <a:r>
              <a:rPr lang="en-NZ" dirty="0"/>
              <a:t>Click to insert picture</a:t>
            </a:r>
          </a:p>
        </p:txBody>
      </p:sp>
      <p:sp>
        <p:nvSpPr>
          <p:cNvPr id="11" name="Text Placeholder 15">
            <a:extLst>
              <a:ext uri="{FF2B5EF4-FFF2-40B4-BE49-F238E27FC236}">
                <a16:creationId xmlns:a16="http://schemas.microsoft.com/office/drawing/2014/main" id="{66764E89-1FC2-4976-8CC2-57D74503594A}"/>
              </a:ext>
            </a:extLst>
          </p:cNvPr>
          <p:cNvSpPr>
            <a:spLocks noGrp="1"/>
          </p:cNvSpPr>
          <p:nvPr>
            <p:ph type="body" sz="quarter" idx="12" hasCustomPrompt="1"/>
          </p:nvPr>
        </p:nvSpPr>
        <p:spPr>
          <a:xfrm>
            <a:off x="8106885" y="1534879"/>
            <a:ext cx="3366555" cy="3428921"/>
          </a:xfrm>
          <a:solidFill>
            <a:schemeClr val="bg2"/>
          </a:solidFill>
        </p:spPr>
        <p:txBody>
          <a:bodyPr lIns="72000" tIns="72000" rIns="72000" bIns="7200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428573002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Graphic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C28DA7-D2C5-44B5-9130-32033A9E3A37}"/>
              </a:ext>
            </a:extLst>
          </p:cNvPr>
          <p:cNvSpPr>
            <a:spLocks noGrp="1"/>
          </p:cNvSpPr>
          <p:nvPr>
            <p:ph type="title"/>
          </p:nvPr>
        </p:nvSpPr>
        <p:spPr/>
        <p:txBody>
          <a:bodyPr/>
          <a:lstStyle/>
          <a:p>
            <a:r>
              <a:rPr lang="en-US" dirty="0"/>
              <a:t>Click to edit Master title style</a:t>
            </a:r>
          </a:p>
        </p:txBody>
      </p:sp>
      <p:sp>
        <p:nvSpPr>
          <p:cNvPr id="3" name="Rectangle 2">
            <a:extLst>
              <a:ext uri="{FF2B5EF4-FFF2-40B4-BE49-F238E27FC236}">
                <a16:creationId xmlns:a16="http://schemas.microsoft.com/office/drawing/2014/main" id="{6201731D-9750-41EC-A758-23570250943B}"/>
              </a:ext>
            </a:extLst>
          </p:cNvPr>
          <p:cNvSpPr/>
          <p:nvPr userDrawn="1"/>
        </p:nvSpPr>
        <p:spPr>
          <a:xfrm>
            <a:off x="731360" y="1534879"/>
            <a:ext cx="10753824" cy="46377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8975" tIns="48975" rIns="48975" bIns="48975" rtlCol="0" anchor="ctr"/>
          <a:lstStyle/>
          <a:p>
            <a:pPr algn="ctr"/>
            <a:endParaRPr lang="en-US" sz="1814"/>
          </a:p>
        </p:txBody>
      </p:sp>
    </p:spTree>
    <p:extLst>
      <p:ext uri="{BB962C8B-B14F-4D97-AF65-F5344CB8AC3E}">
        <p14:creationId xmlns:p14="http://schemas.microsoft.com/office/powerpoint/2010/main" val="1770402899"/>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theme" Target="../theme/theme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92.xml"/><Relationship Id="rId18" Type="http://schemas.openxmlformats.org/officeDocument/2006/relationships/slideLayout" Target="../slideLayouts/slideLayout97.xml"/><Relationship Id="rId26" Type="http://schemas.openxmlformats.org/officeDocument/2006/relationships/slideLayout" Target="../slideLayouts/slideLayout105.xml"/><Relationship Id="rId39" Type="http://schemas.openxmlformats.org/officeDocument/2006/relationships/oleObject" Target="../embeddings/oleObject1.bin"/><Relationship Id="rId21" Type="http://schemas.openxmlformats.org/officeDocument/2006/relationships/slideLayout" Target="../slideLayouts/slideLayout100.xml"/><Relationship Id="rId34" Type="http://schemas.openxmlformats.org/officeDocument/2006/relationships/theme" Target="../theme/theme2.xml"/><Relationship Id="rId7" Type="http://schemas.openxmlformats.org/officeDocument/2006/relationships/slideLayout" Target="../slideLayouts/slideLayout86.xml"/><Relationship Id="rId12" Type="http://schemas.openxmlformats.org/officeDocument/2006/relationships/slideLayout" Target="../slideLayouts/slideLayout91.xml"/><Relationship Id="rId17" Type="http://schemas.openxmlformats.org/officeDocument/2006/relationships/slideLayout" Target="../slideLayouts/slideLayout96.xml"/><Relationship Id="rId25" Type="http://schemas.openxmlformats.org/officeDocument/2006/relationships/slideLayout" Target="../slideLayouts/slideLayout104.xml"/><Relationship Id="rId33" Type="http://schemas.openxmlformats.org/officeDocument/2006/relationships/slideLayout" Target="../slideLayouts/slideLayout112.xml"/><Relationship Id="rId38" Type="http://schemas.openxmlformats.org/officeDocument/2006/relationships/tags" Target="../tags/tag4.xml"/><Relationship Id="rId2" Type="http://schemas.openxmlformats.org/officeDocument/2006/relationships/slideLayout" Target="../slideLayouts/slideLayout81.xml"/><Relationship Id="rId16" Type="http://schemas.openxmlformats.org/officeDocument/2006/relationships/slideLayout" Target="../slideLayouts/slideLayout95.xml"/><Relationship Id="rId20" Type="http://schemas.openxmlformats.org/officeDocument/2006/relationships/slideLayout" Target="../slideLayouts/slideLayout99.xml"/><Relationship Id="rId29" Type="http://schemas.openxmlformats.org/officeDocument/2006/relationships/slideLayout" Target="../slideLayouts/slideLayout108.xml"/><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slideLayout" Target="../slideLayouts/slideLayout90.xml"/><Relationship Id="rId24" Type="http://schemas.openxmlformats.org/officeDocument/2006/relationships/slideLayout" Target="../slideLayouts/slideLayout103.xml"/><Relationship Id="rId32" Type="http://schemas.openxmlformats.org/officeDocument/2006/relationships/slideLayout" Target="../slideLayouts/slideLayout111.xml"/><Relationship Id="rId37" Type="http://schemas.openxmlformats.org/officeDocument/2006/relationships/tags" Target="../tags/tag3.xml"/><Relationship Id="rId40" Type="http://schemas.openxmlformats.org/officeDocument/2006/relationships/image" Target="../media/image15.emf"/><Relationship Id="rId5" Type="http://schemas.openxmlformats.org/officeDocument/2006/relationships/slideLayout" Target="../slideLayouts/slideLayout84.xml"/><Relationship Id="rId15" Type="http://schemas.openxmlformats.org/officeDocument/2006/relationships/slideLayout" Target="../slideLayouts/slideLayout94.xml"/><Relationship Id="rId23" Type="http://schemas.openxmlformats.org/officeDocument/2006/relationships/slideLayout" Target="../slideLayouts/slideLayout102.xml"/><Relationship Id="rId28" Type="http://schemas.openxmlformats.org/officeDocument/2006/relationships/slideLayout" Target="../slideLayouts/slideLayout107.xml"/><Relationship Id="rId36" Type="http://schemas.openxmlformats.org/officeDocument/2006/relationships/tags" Target="../tags/tag2.xml"/><Relationship Id="rId10" Type="http://schemas.openxmlformats.org/officeDocument/2006/relationships/slideLayout" Target="../slideLayouts/slideLayout89.xml"/><Relationship Id="rId19" Type="http://schemas.openxmlformats.org/officeDocument/2006/relationships/slideLayout" Target="../slideLayouts/slideLayout98.xml"/><Relationship Id="rId31" Type="http://schemas.openxmlformats.org/officeDocument/2006/relationships/slideLayout" Target="../slideLayouts/slideLayout110.xml"/><Relationship Id="rId4" Type="http://schemas.openxmlformats.org/officeDocument/2006/relationships/slideLayout" Target="../slideLayouts/slideLayout83.xml"/><Relationship Id="rId9" Type="http://schemas.openxmlformats.org/officeDocument/2006/relationships/slideLayout" Target="../slideLayouts/slideLayout88.xml"/><Relationship Id="rId14" Type="http://schemas.openxmlformats.org/officeDocument/2006/relationships/slideLayout" Target="../slideLayouts/slideLayout93.xml"/><Relationship Id="rId22" Type="http://schemas.openxmlformats.org/officeDocument/2006/relationships/slideLayout" Target="../slideLayouts/slideLayout101.xml"/><Relationship Id="rId27" Type="http://schemas.openxmlformats.org/officeDocument/2006/relationships/slideLayout" Target="../slideLayouts/slideLayout106.xml"/><Relationship Id="rId30" Type="http://schemas.openxmlformats.org/officeDocument/2006/relationships/slideLayout" Target="../slideLayouts/slideLayout109.xml"/><Relationship Id="rId35" Type="http://schemas.openxmlformats.org/officeDocument/2006/relationships/tags" Target="../tags/tag1.xml"/><Relationship Id="rId8" Type="http://schemas.openxmlformats.org/officeDocument/2006/relationships/slideLayout" Target="../slideLayouts/slideLayout87.xml"/><Relationship Id="rId3" Type="http://schemas.openxmlformats.org/officeDocument/2006/relationships/slideLayout" Target="../slideLayouts/slideLayout8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slideLayout" Target="../slideLayouts/slideLayout125.xml"/><Relationship Id="rId18" Type="http://schemas.openxmlformats.org/officeDocument/2006/relationships/theme" Target="../theme/theme3.xml"/><Relationship Id="rId3" Type="http://schemas.openxmlformats.org/officeDocument/2006/relationships/slideLayout" Target="../slideLayouts/slideLayout115.xml"/><Relationship Id="rId7" Type="http://schemas.openxmlformats.org/officeDocument/2006/relationships/slideLayout" Target="../slideLayouts/slideLayout119.xml"/><Relationship Id="rId12" Type="http://schemas.openxmlformats.org/officeDocument/2006/relationships/slideLayout" Target="../slideLayouts/slideLayout124.xml"/><Relationship Id="rId17" Type="http://schemas.openxmlformats.org/officeDocument/2006/relationships/slideLayout" Target="../slideLayouts/slideLayout129.xml"/><Relationship Id="rId2" Type="http://schemas.openxmlformats.org/officeDocument/2006/relationships/slideLayout" Target="../slideLayouts/slideLayout114.xml"/><Relationship Id="rId16" Type="http://schemas.openxmlformats.org/officeDocument/2006/relationships/slideLayout" Target="../slideLayouts/slideLayout128.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slideLayout" Target="../slideLayouts/slideLayout123.xml"/><Relationship Id="rId5" Type="http://schemas.openxmlformats.org/officeDocument/2006/relationships/slideLayout" Target="../slideLayouts/slideLayout117.xml"/><Relationship Id="rId15" Type="http://schemas.openxmlformats.org/officeDocument/2006/relationships/slideLayout" Target="../slideLayouts/slideLayout127.xml"/><Relationship Id="rId10" Type="http://schemas.openxmlformats.org/officeDocument/2006/relationships/slideLayout" Target="../slideLayouts/slideLayout122.xml"/><Relationship Id="rId19" Type="http://schemas.openxmlformats.org/officeDocument/2006/relationships/image" Target="../media/image16.jpeg"/><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slideLayout" Target="../slideLayouts/slideLayout126.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155.xml"/><Relationship Id="rId21" Type="http://schemas.openxmlformats.org/officeDocument/2006/relationships/slideLayout" Target="../slideLayouts/slideLayout150.xml"/><Relationship Id="rId42" Type="http://schemas.openxmlformats.org/officeDocument/2006/relationships/slideLayout" Target="../slideLayouts/slideLayout171.xml"/><Relationship Id="rId47" Type="http://schemas.openxmlformats.org/officeDocument/2006/relationships/slideLayout" Target="../slideLayouts/slideLayout176.xml"/><Relationship Id="rId63" Type="http://schemas.openxmlformats.org/officeDocument/2006/relationships/slideLayout" Target="../slideLayouts/slideLayout192.xml"/><Relationship Id="rId68" Type="http://schemas.openxmlformats.org/officeDocument/2006/relationships/slideLayout" Target="../slideLayouts/slideLayout197.xml"/><Relationship Id="rId2" Type="http://schemas.openxmlformats.org/officeDocument/2006/relationships/slideLayout" Target="../slideLayouts/slideLayout131.xml"/><Relationship Id="rId16" Type="http://schemas.openxmlformats.org/officeDocument/2006/relationships/slideLayout" Target="../slideLayouts/slideLayout145.xml"/><Relationship Id="rId29" Type="http://schemas.openxmlformats.org/officeDocument/2006/relationships/slideLayout" Target="../slideLayouts/slideLayout158.xml"/><Relationship Id="rId11" Type="http://schemas.openxmlformats.org/officeDocument/2006/relationships/slideLayout" Target="../slideLayouts/slideLayout140.xml"/><Relationship Id="rId24" Type="http://schemas.openxmlformats.org/officeDocument/2006/relationships/slideLayout" Target="../slideLayouts/slideLayout153.xml"/><Relationship Id="rId32" Type="http://schemas.openxmlformats.org/officeDocument/2006/relationships/slideLayout" Target="../slideLayouts/slideLayout161.xml"/><Relationship Id="rId37" Type="http://schemas.openxmlformats.org/officeDocument/2006/relationships/slideLayout" Target="../slideLayouts/slideLayout166.xml"/><Relationship Id="rId40" Type="http://schemas.openxmlformats.org/officeDocument/2006/relationships/slideLayout" Target="../slideLayouts/slideLayout169.xml"/><Relationship Id="rId45" Type="http://schemas.openxmlformats.org/officeDocument/2006/relationships/slideLayout" Target="../slideLayouts/slideLayout174.xml"/><Relationship Id="rId53" Type="http://schemas.openxmlformats.org/officeDocument/2006/relationships/slideLayout" Target="../slideLayouts/slideLayout182.xml"/><Relationship Id="rId58" Type="http://schemas.openxmlformats.org/officeDocument/2006/relationships/slideLayout" Target="../slideLayouts/slideLayout187.xml"/><Relationship Id="rId66" Type="http://schemas.openxmlformats.org/officeDocument/2006/relationships/slideLayout" Target="../slideLayouts/slideLayout195.xml"/><Relationship Id="rId74" Type="http://schemas.openxmlformats.org/officeDocument/2006/relationships/slideLayout" Target="../slideLayouts/slideLayout203.xml"/><Relationship Id="rId5" Type="http://schemas.openxmlformats.org/officeDocument/2006/relationships/slideLayout" Target="../slideLayouts/slideLayout134.xml"/><Relationship Id="rId61" Type="http://schemas.openxmlformats.org/officeDocument/2006/relationships/slideLayout" Target="../slideLayouts/slideLayout190.xml"/><Relationship Id="rId19" Type="http://schemas.openxmlformats.org/officeDocument/2006/relationships/slideLayout" Target="../slideLayouts/slideLayout148.xml"/><Relationship Id="rId14" Type="http://schemas.openxmlformats.org/officeDocument/2006/relationships/slideLayout" Target="../slideLayouts/slideLayout143.xml"/><Relationship Id="rId22" Type="http://schemas.openxmlformats.org/officeDocument/2006/relationships/slideLayout" Target="../slideLayouts/slideLayout151.xml"/><Relationship Id="rId27" Type="http://schemas.openxmlformats.org/officeDocument/2006/relationships/slideLayout" Target="../slideLayouts/slideLayout156.xml"/><Relationship Id="rId30" Type="http://schemas.openxmlformats.org/officeDocument/2006/relationships/slideLayout" Target="../slideLayouts/slideLayout159.xml"/><Relationship Id="rId35" Type="http://schemas.openxmlformats.org/officeDocument/2006/relationships/slideLayout" Target="../slideLayouts/slideLayout164.xml"/><Relationship Id="rId43" Type="http://schemas.openxmlformats.org/officeDocument/2006/relationships/slideLayout" Target="../slideLayouts/slideLayout172.xml"/><Relationship Id="rId48" Type="http://schemas.openxmlformats.org/officeDocument/2006/relationships/slideLayout" Target="../slideLayouts/slideLayout177.xml"/><Relationship Id="rId56" Type="http://schemas.openxmlformats.org/officeDocument/2006/relationships/slideLayout" Target="../slideLayouts/slideLayout185.xml"/><Relationship Id="rId64" Type="http://schemas.openxmlformats.org/officeDocument/2006/relationships/slideLayout" Target="../slideLayouts/slideLayout193.xml"/><Relationship Id="rId69" Type="http://schemas.openxmlformats.org/officeDocument/2006/relationships/slideLayout" Target="../slideLayouts/slideLayout198.xml"/><Relationship Id="rId8" Type="http://schemas.openxmlformats.org/officeDocument/2006/relationships/slideLayout" Target="../slideLayouts/slideLayout137.xml"/><Relationship Id="rId51" Type="http://schemas.openxmlformats.org/officeDocument/2006/relationships/slideLayout" Target="../slideLayouts/slideLayout180.xml"/><Relationship Id="rId72" Type="http://schemas.openxmlformats.org/officeDocument/2006/relationships/slideLayout" Target="../slideLayouts/slideLayout201.xml"/><Relationship Id="rId3" Type="http://schemas.openxmlformats.org/officeDocument/2006/relationships/slideLayout" Target="../slideLayouts/slideLayout132.xml"/><Relationship Id="rId12" Type="http://schemas.openxmlformats.org/officeDocument/2006/relationships/slideLayout" Target="../slideLayouts/slideLayout141.xml"/><Relationship Id="rId17" Type="http://schemas.openxmlformats.org/officeDocument/2006/relationships/slideLayout" Target="../slideLayouts/slideLayout146.xml"/><Relationship Id="rId25" Type="http://schemas.openxmlformats.org/officeDocument/2006/relationships/slideLayout" Target="../slideLayouts/slideLayout154.xml"/><Relationship Id="rId33" Type="http://schemas.openxmlformats.org/officeDocument/2006/relationships/slideLayout" Target="../slideLayouts/slideLayout162.xml"/><Relationship Id="rId38" Type="http://schemas.openxmlformats.org/officeDocument/2006/relationships/slideLayout" Target="../slideLayouts/slideLayout167.xml"/><Relationship Id="rId46" Type="http://schemas.openxmlformats.org/officeDocument/2006/relationships/slideLayout" Target="../slideLayouts/slideLayout175.xml"/><Relationship Id="rId59" Type="http://schemas.openxmlformats.org/officeDocument/2006/relationships/slideLayout" Target="../slideLayouts/slideLayout188.xml"/><Relationship Id="rId67" Type="http://schemas.openxmlformats.org/officeDocument/2006/relationships/slideLayout" Target="../slideLayouts/slideLayout196.xml"/><Relationship Id="rId20" Type="http://schemas.openxmlformats.org/officeDocument/2006/relationships/slideLayout" Target="../slideLayouts/slideLayout149.xml"/><Relationship Id="rId41" Type="http://schemas.openxmlformats.org/officeDocument/2006/relationships/slideLayout" Target="../slideLayouts/slideLayout170.xml"/><Relationship Id="rId54" Type="http://schemas.openxmlformats.org/officeDocument/2006/relationships/slideLayout" Target="../slideLayouts/slideLayout183.xml"/><Relationship Id="rId62" Type="http://schemas.openxmlformats.org/officeDocument/2006/relationships/slideLayout" Target="../slideLayouts/slideLayout191.xml"/><Relationship Id="rId70" Type="http://schemas.openxmlformats.org/officeDocument/2006/relationships/slideLayout" Target="../slideLayouts/slideLayout199.xml"/><Relationship Id="rId75" Type="http://schemas.openxmlformats.org/officeDocument/2006/relationships/slideLayout" Target="../slideLayouts/slideLayout204.xml"/><Relationship Id="rId1" Type="http://schemas.openxmlformats.org/officeDocument/2006/relationships/slideLayout" Target="../slideLayouts/slideLayout130.xml"/><Relationship Id="rId6" Type="http://schemas.openxmlformats.org/officeDocument/2006/relationships/slideLayout" Target="../slideLayouts/slideLayout135.xml"/><Relationship Id="rId15" Type="http://schemas.openxmlformats.org/officeDocument/2006/relationships/slideLayout" Target="../slideLayouts/slideLayout144.xml"/><Relationship Id="rId23" Type="http://schemas.openxmlformats.org/officeDocument/2006/relationships/slideLayout" Target="../slideLayouts/slideLayout152.xml"/><Relationship Id="rId28" Type="http://schemas.openxmlformats.org/officeDocument/2006/relationships/slideLayout" Target="../slideLayouts/slideLayout157.xml"/><Relationship Id="rId36" Type="http://schemas.openxmlformats.org/officeDocument/2006/relationships/slideLayout" Target="../slideLayouts/slideLayout165.xml"/><Relationship Id="rId49" Type="http://schemas.openxmlformats.org/officeDocument/2006/relationships/slideLayout" Target="../slideLayouts/slideLayout178.xml"/><Relationship Id="rId57" Type="http://schemas.openxmlformats.org/officeDocument/2006/relationships/slideLayout" Target="../slideLayouts/slideLayout186.xml"/><Relationship Id="rId10" Type="http://schemas.openxmlformats.org/officeDocument/2006/relationships/slideLayout" Target="../slideLayouts/slideLayout139.xml"/><Relationship Id="rId31" Type="http://schemas.openxmlformats.org/officeDocument/2006/relationships/slideLayout" Target="../slideLayouts/slideLayout160.xml"/><Relationship Id="rId44" Type="http://schemas.openxmlformats.org/officeDocument/2006/relationships/slideLayout" Target="../slideLayouts/slideLayout173.xml"/><Relationship Id="rId52" Type="http://schemas.openxmlformats.org/officeDocument/2006/relationships/slideLayout" Target="../slideLayouts/slideLayout181.xml"/><Relationship Id="rId60" Type="http://schemas.openxmlformats.org/officeDocument/2006/relationships/slideLayout" Target="../slideLayouts/slideLayout189.xml"/><Relationship Id="rId65" Type="http://schemas.openxmlformats.org/officeDocument/2006/relationships/slideLayout" Target="../slideLayouts/slideLayout194.xml"/><Relationship Id="rId73" Type="http://schemas.openxmlformats.org/officeDocument/2006/relationships/slideLayout" Target="../slideLayouts/slideLayout202.xml"/><Relationship Id="rId4" Type="http://schemas.openxmlformats.org/officeDocument/2006/relationships/slideLayout" Target="../slideLayouts/slideLayout133.xml"/><Relationship Id="rId9" Type="http://schemas.openxmlformats.org/officeDocument/2006/relationships/slideLayout" Target="../slideLayouts/slideLayout138.xml"/><Relationship Id="rId13" Type="http://schemas.openxmlformats.org/officeDocument/2006/relationships/slideLayout" Target="../slideLayouts/slideLayout142.xml"/><Relationship Id="rId18" Type="http://schemas.openxmlformats.org/officeDocument/2006/relationships/slideLayout" Target="../slideLayouts/slideLayout147.xml"/><Relationship Id="rId39" Type="http://schemas.openxmlformats.org/officeDocument/2006/relationships/slideLayout" Target="../slideLayouts/slideLayout168.xml"/><Relationship Id="rId34" Type="http://schemas.openxmlformats.org/officeDocument/2006/relationships/slideLayout" Target="../slideLayouts/slideLayout163.xml"/><Relationship Id="rId50" Type="http://schemas.openxmlformats.org/officeDocument/2006/relationships/slideLayout" Target="../slideLayouts/slideLayout179.xml"/><Relationship Id="rId55" Type="http://schemas.openxmlformats.org/officeDocument/2006/relationships/slideLayout" Target="../slideLayouts/slideLayout184.xml"/><Relationship Id="rId76" Type="http://schemas.openxmlformats.org/officeDocument/2006/relationships/theme" Target="../theme/theme4.xml"/><Relationship Id="rId7" Type="http://schemas.openxmlformats.org/officeDocument/2006/relationships/slideLayout" Target="../slideLayouts/slideLayout136.xml"/><Relationship Id="rId71" Type="http://schemas.openxmlformats.org/officeDocument/2006/relationships/slideLayout" Target="../slideLayouts/slideLayout20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08000" y="454013"/>
            <a:ext cx="11174413" cy="1039999"/>
          </a:xfrm>
          <a:prstGeom prst="rect">
            <a:avLst/>
          </a:prstGeom>
        </p:spPr>
        <p:txBody>
          <a:bodyPr vert="horz" lIns="0" tIns="0" rIns="0" bIns="72000" rtlCol="0" anchor="t" anchorCtr="0">
            <a:noAutofit/>
          </a:bodyPr>
          <a:lstStyle/>
          <a:p>
            <a:r>
              <a:rPr lang="en-US" dirty="0"/>
              <a:t>CLICK TO EDIT MASTER </a:t>
            </a:r>
            <a:br>
              <a:rPr lang="en-US" dirty="0"/>
            </a:br>
            <a:r>
              <a:rPr lang="en-US" dirty="0"/>
              <a:t>TITLE STYLE</a:t>
            </a:r>
          </a:p>
        </p:txBody>
      </p:sp>
      <p:sp>
        <p:nvSpPr>
          <p:cNvPr id="3" name="Text Placeholder 2"/>
          <p:cNvSpPr>
            <a:spLocks noGrp="1"/>
          </p:cNvSpPr>
          <p:nvPr>
            <p:ph type="body" idx="1"/>
          </p:nvPr>
        </p:nvSpPr>
        <p:spPr>
          <a:xfrm>
            <a:off x="508000" y="1687451"/>
            <a:ext cx="11174414" cy="4532373"/>
          </a:xfrm>
          <a:prstGeom prst="rect">
            <a:avLst/>
          </a:prstGeom>
        </p:spPr>
        <p:txBody>
          <a:bodyPr vert="horz" lIns="0" tIns="45720" rIns="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3"/>
          </p:nvPr>
        </p:nvSpPr>
        <p:spPr>
          <a:xfrm>
            <a:off x="508000" y="6429657"/>
            <a:ext cx="4114800" cy="239183"/>
          </a:xfrm>
          <a:prstGeom prst="rect">
            <a:avLst/>
          </a:prstGeom>
        </p:spPr>
        <p:txBody>
          <a:bodyPr vert="horz" lIns="0" tIns="45720" rIns="91440" bIns="45720" rtlCol="0" anchor="ctr"/>
          <a:lstStyle>
            <a:lvl1pPr algn="l">
              <a:defRPr sz="900" cap="all" baseline="0">
                <a:solidFill>
                  <a:schemeClr val="tx1"/>
                </a:solidFill>
              </a:defRPr>
            </a:lvl1pPr>
          </a:lstStyle>
          <a:p>
            <a:r>
              <a:rPr lang="en-GB"/>
              <a:t>INSERT FOOTER HERE</a:t>
            </a:r>
            <a:endParaRPr lang="en-GB" dirty="0"/>
          </a:p>
        </p:txBody>
      </p:sp>
      <p:sp>
        <p:nvSpPr>
          <p:cNvPr id="6" name="Slide Number Placeholder 5"/>
          <p:cNvSpPr>
            <a:spLocks noGrp="1"/>
          </p:cNvSpPr>
          <p:nvPr>
            <p:ph type="sldNum" sz="quarter" idx="4"/>
          </p:nvPr>
        </p:nvSpPr>
        <p:spPr>
          <a:xfrm>
            <a:off x="11345863" y="6429657"/>
            <a:ext cx="355600" cy="239183"/>
          </a:xfrm>
          <a:prstGeom prst="rect">
            <a:avLst/>
          </a:prstGeom>
        </p:spPr>
        <p:txBody>
          <a:bodyPr vert="horz" lIns="0" tIns="45720" rIns="0" bIns="45720" rtlCol="0" anchor="ctr"/>
          <a:lstStyle>
            <a:lvl1pPr algn="r">
              <a:defRPr sz="900">
                <a:solidFill>
                  <a:schemeClr val="tx1"/>
                </a:solidFill>
              </a:defRPr>
            </a:lvl1pPr>
          </a:lstStyle>
          <a:p>
            <a:fld id="{8CFE0557-AA98-4E6C-B0C3-581794696B68}" type="slidenum">
              <a:rPr lang="en-GB" smtClean="0"/>
              <a:pPr/>
              <a:t>‹#›</a:t>
            </a:fld>
            <a:endParaRPr lang="en-GB" dirty="0"/>
          </a:p>
        </p:txBody>
      </p:sp>
      <p:grpSp>
        <p:nvGrpSpPr>
          <p:cNvPr id="21" name="Group 20">
            <a:extLst>
              <a:ext uri="{FF2B5EF4-FFF2-40B4-BE49-F238E27FC236}">
                <a16:creationId xmlns:a16="http://schemas.microsoft.com/office/drawing/2014/main" id="{AA28E80D-D9EA-5395-F97D-C7B6A2148B2E}"/>
              </a:ext>
            </a:extLst>
          </p:cNvPr>
          <p:cNvGrpSpPr/>
          <p:nvPr userDrawn="1"/>
        </p:nvGrpSpPr>
        <p:grpSpPr>
          <a:xfrm>
            <a:off x="-1304825" y="118928"/>
            <a:ext cx="1061686" cy="2750168"/>
            <a:chOff x="-1271974" y="-190213"/>
            <a:chExt cx="1061686" cy="2750168"/>
          </a:xfrm>
        </p:grpSpPr>
        <p:sp>
          <p:nvSpPr>
            <p:cNvPr id="7" name="Rectangle 6">
              <a:extLst>
                <a:ext uri="{FF2B5EF4-FFF2-40B4-BE49-F238E27FC236}">
                  <a16:creationId xmlns:a16="http://schemas.microsoft.com/office/drawing/2014/main" id="{CFE60673-64AE-7E13-BC6A-BD0341C30958}"/>
                </a:ext>
              </a:extLst>
            </p:cNvPr>
            <p:cNvSpPr/>
            <p:nvPr userDrawn="1"/>
          </p:nvSpPr>
          <p:spPr>
            <a:xfrm>
              <a:off x="-1218692" y="84221"/>
              <a:ext cx="955122" cy="28090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8" name="Rectangle 7">
              <a:extLst>
                <a:ext uri="{FF2B5EF4-FFF2-40B4-BE49-F238E27FC236}">
                  <a16:creationId xmlns:a16="http://schemas.microsoft.com/office/drawing/2014/main" id="{F5FE23E6-C6A6-931E-A506-FFE1E44640B7}"/>
                </a:ext>
              </a:extLst>
            </p:cNvPr>
            <p:cNvSpPr/>
            <p:nvPr userDrawn="1"/>
          </p:nvSpPr>
          <p:spPr>
            <a:xfrm>
              <a:off x="-1218692" y="450026"/>
              <a:ext cx="955122" cy="28090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9" name="Rectangle 8">
              <a:extLst>
                <a:ext uri="{FF2B5EF4-FFF2-40B4-BE49-F238E27FC236}">
                  <a16:creationId xmlns:a16="http://schemas.microsoft.com/office/drawing/2014/main" id="{4D9E4572-5B9E-2994-D288-786D245FB9C2}"/>
                </a:ext>
              </a:extLst>
            </p:cNvPr>
            <p:cNvSpPr/>
            <p:nvPr userDrawn="1"/>
          </p:nvSpPr>
          <p:spPr>
            <a:xfrm>
              <a:off x="-1218692" y="815831"/>
              <a:ext cx="955122" cy="28090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Rectangle 9">
              <a:extLst>
                <a:ext uri="{FF2B5EF4-FFF2-40B4-BE49-F238E27FC236}">
                  <a16:creationId xmlns:a16="http://schemas.microsoft.com/office/drawing/2014/main" id="{4CE4FF5F-73FC-74C6-4094-C26D88A0BF8F}"/>
                </a:ext>
              </a:extLst>
            </p:cNvPr>
            <p:cNvSpPr/>
            <p:nvPr userDrawn="1"/>
          </p:nvSpPr>
          <p:spPr>
            <a:xfrm>
              <a:off x="-1218692" y="1181636"/>
              <a:ext cx="955122" cy="28090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1" name="Rectangle 10">
              <a:extLst>
                <a:ext uri="{FF2B5EF4-FFF2-40B4-BE49-F238E27FC236}">
                  <a16:creationId xmlns:a16="http://schemas.microsoft.com/office/drawing/2014/main" id="{EA036BE5-778D-0A22-9160-1AF70B37244F}"/>
                </a:ext>
              </a:extLst>
            </p:cNvPr>
            <p:cNvSpPr/>
            <p:nvPr userDrawn="1"/>
          </p:nvSpPr>
          <p:spPr>
            <a:xfrm>
              <a:off x="-1218692" y="1547441"/>
              <a:ext cx="955122" cy="28090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8" name="TextBox 17">
              <a:extLst>
                <a:ext uri="{FF2B5EF4-FFF2-40B4-BE49-F238E27FC236}">
                  <a16:creationId xmlns:a16="http://schemas.microsoft.com/office/drawing/2014/main" id="{6A1A5D27-4F1B-8962-5A4F-BC9FF20FB658}"/>
                </a:ext>
              </a:extLst>
            </p:cNvPr>
            <p:cNvSpPr txBox="1"/>
            <p:nvPr userDrawn="1"/>
          </p:nvSpPr>
          <p:spPr>
            <a:xfrm>
              <a:off x="-1271974" y="-190213"/>
              <a:ext cx="1061686" cy="276999"/>
            </a:xfrm>
            <a:prstGeom prst="rect">
              <a:avLst/>
            </a:prstGeom>
            <a:noFill/>
          </p:spPr>
          <p:txBody>
            <a:bodyPr wrap="square" rtlCol="0">
              <a:spAutoFit/>
            </a:bodyPr>
            <a:lstStyle/>
            <a:p>
              <a:pPr algn="ctr"/>
              <a:r>
                <a:rPr lang="en-GB" sz="1200" dirty="0">
                  <a:solidFill>
                    <a:schemeClr val="tx1"/>
                  </a:solidFill>
                </a:rPr>
                <a:t>Core brand</a:t>
              </a:r>
            </a:p>
          </p:txBody>
        </p:sp>
        <p:sp>
          <p:nvSpPr>
            <p:cNvPr id="4" name="Rectangle 3">
              <a:extLst>
                <a:ext uri="{FF2B5EF4-FFF2-40B4-BE49-F238E27FC236}">
                  <a16:creationId xmlns:a16="http://schemas.microsoft.com/office/drawing/2014/main" id="{6F28C9A8-058B-121D-C645-60D738637B1F}"/>
                </a:ext>
              </a:extLst>
            </p:cNvPr>
            <p:cNvSpPr/>
            <p:nvPr userDrawn="1"/>
          </p:nvSpPr>
          <p:spPr>
            <a:xfrm>
              <a:off x="-1218692" y="1913246"/>
              <a:ext cx="955122" cy="28090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4" name="Rectangle 23">
              <a:extLst>
                <a:ext uri="{FF2B5EF4-FFF2-40B4-BE49-F238E27FC236}">
                  <a16:creationId xmlns:a16="http://schemas.microsoft.com/office/drawing/2014/main" id="{E46E1BA1-6011-5681-1BB2-4A162CA74C35}"/>
                </a:ext>
              </a:extLst>
            </p:cNvPr>
            <p:cNvSpPr/>
            <p:nvPr userDrawn="1"/>
          </p:nvSpPr>
          <p:spPr>
            <a:xfrm>
              <a:off x="-1218692" y="2279049"/>
              <a:ext cx="955122" cy="2809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pSp>
    </p:spTree>
    <p:extLst>
      <p:ext uri="{BB962C8B-B14F-4D97-AF65-F5344CB8AC3E}">
        <p14:creationId xmlns:p14="http://schemas.microsoft.com/office/powerpoint/2010/main" val="2281842296"/>
      </p:ext>
    </p:extLst>
  </p:cSld>
  <p:clrMap bg1="lt1" tx1="dk1" bg2="lt2" tx2="dk2" accent1="accent1" accent2="accent2" accent3="accent3" accent4="accent4" accent5="accent5" accent6="accent6" hlink="hlink" folHlink="folHlink"/>
  <p:sldLayoutIdLst>
    <p:sldLayoutId id="2147483684" r:id="rId1"/>
    <p:sldLayoutId id="2147483966" r:id="rId2"/>
    <p:sldLayoutId id="2147483967" r:id="rId3"/>
    <p:sldLayoutId id="2147484028" r:id="rId4"/>
    <p:sldLayoutId id="2147484029" r:id="rId5"/>
    <p:sldLayoutId id="2147484030" r:id="rId6"/>
    <p:sldLayoutId id="2147484031" r:id="rId7"/>
    <p:sldLayoutId id="2147484032" r:id="rId8"/>
    <p:sldLayoutId id="2147483968" r:id="rId9"/>
    <p:sldLayoutId id="2147483685" r:id="rId10"/>
    <p:sldLayoutId id="2147483687" r:id="rId11"/>
    <p:sldLayoutId id="2147483969" r:id="rId12"/>
    <p:sldLayoutId id="2147484011" r:id="rId13"/>
    <p:sldLayoutId id="2147483970" r:id="rId14"/>
    <p:sldLayoutId id="2147484040" r:id="rId15"/>
    <p:sldLayoutId id="2147483971" r:id="rId16"/>
    <p:sldLayoutId id="2147484012" r:id="rId17"/>
    <p:sldLayoutId id="2147484013" r:id="rId18"/>
    <p:sldLayoutId id="2147484014" r:id="rId19"/>
    <p:sldLayoutId id="2147484015" r:id="rId20"/>
    <p:sldLayoutId id="2147484016" r:id="rId21"/>
    <p:sldLayoutId id="2147483978" r:id="rId22"/>
    <p:sldLayoutId id="2147484033" r:id="rId23"/>
    <p:sldLayoutId id="2147484034" r:id="rId24"/>
    <p:sldLayoutId id="2147484035" r:id="rId25"/>
    <p:sldLayoutId id="2147484036" r:id="rId26"/>
    <p:sldLayoutId id="2147483979" r:id="rId27"/>
    <p:sldLayoutId id="2147483980" r:id="rId28"/>
    <p:sldLayoutId id="2147483981" r:id="rId29"/>
    <p:sldLayoutId id="2147483982" r:id="rId30"/>
    <p:sldLayoutId id="2147483983" r:id="rId31"/>
    <p:sldLayoutId id="2147483984" r:id="rId32"/>
    <p:sldLayoutId id="2147483985" r:id="rId33"/>
    <p:sldLayoutId id="2147483986" r:id="rId34"/>
    <p:sldLayoutId id="2147483987" r:id="rId35"/>
    <p:sldLayoutId id="2147483988" r:id="rId36"/>
    <p:sldLayoutId id="2147483989" r:id="rId37"/>
    <p:sldLayoutId id="2147483990" r:id="rId38"/>
    <p:sldLayoutId id="2147483700" r:id="rId39"/>
    <p:sldLayoutId id="2147483991" r:id="rId40"/>
    <p:sldLayoutId id="2147483992" r:id="rId41"/>
    <p:sldLayoutId id="2147483993" r:id="rId42"/>
    <p:sldLayoutId id="2147483994" r:id="rId43"/>
    <p:sldLayoutId id="2147483995" r:id="rId44"/>
    <p:sldLayoutId id="2147483996" r:id="rId45"/>
    <p:sldLayoutId id="2147483997" r:id="rId46"/>
    <p:sldLayoutId id="2147483998" r:id="rId47"/>
    <p:sldLayoutId id="2147483999" r:id="rId48"/>
    <p:sldLayoutId id="2147484027" r:id="rId49"/>
    <p:sldLayoutId id="2147484025" r:id="rId50"/>
    <p:sldLayoutId id="2147484026" r:id="rId51"/>
    <p:sldLayoutId id="2147484000" r:id="rId52"/>
    <p:sldLayoutId id="2147484001" r:id="rId53"/>
    <p:sldLayoutId id="2147484002" r:id="rId54"/>
    <p:sldLayoutId id="2147484005" r:id="rId55"/>
    <p:sldLayoutId id="2147484010" r:id="rId56"/>
    <p:sldLayoutId id="2147484006" r:id="rId57"/>
    <p:sldLayoutId id="2147484007" r:id="rId58"/>
    <p:sldLayoutId id="2147483707" r:id="rId59"/>
    <p:sldLayoutId id="2147484017" r:id="rId60"/>
    <p:sldLayoutId id="2147484018" r:id="rId61"/>
    <p:sldLayoutId id="2147484019" r:id="rId62"/>
    <p:sldLayoutId id="2147484020" r:id="rId63"/>
    <p:sldLayoutId id="2147484021" r:id="rId64"/>
    <p:sldLayoutId id="2147484037" r:id="rId65"/>
    <p:sldLayoutId id="2147484041" r:id="rId66"/>
    <p:sldLayoutId id="2147484023" r:id="rId67"/>
    <p:sldLayoutId id="2147484024" r:id="rId68"/>
    <p:sldLayoutId id="2147484022" r:id="rId69"/>
    <p:sldLayoutId id="2147484038" r:id="rId70"/>
    <p:sldLayoutId id="2147484039" r:id="rId71"/>
    <p:sldLayoutId id="2147483729" r:id="rId72"/>
    <p:sldLayoutId id="2147484008" r:id="rId73"/>
    <p:sldLayoutId id="2147484009" r:id="rId74"/>
    <p:sldLayoutId id="2147483724" r:id="rId75"/>
    <p:sldLayoutId id="2147484255" r:id="rId76"/>
    <p:sldLayoutId id="2147484256" r:id="rId77"/>
    <p:sldLayoutId id="2147484257" r:id="rId78"/>
    <p:sldLayoutId id="2147484258" r:id="rId79"/>
  </p:sldLayoutIdLst>
  <p:transition spd="med">
    <p:fade/>
  </p:transition>
  <p:hf hdr="0" ftr="0" dt="0"/>
  <p:txStyles>
    <p:titleStyle>
      <a:lvl1pPr algn="l" defTabSz="914400" rtl="0" eaLnBrk="1" latinLnBrk="0" hangingPunct="1">
        <a:lnSpc>
          <a:spcPct val="90000"/>
        </a:lnSpc>
        <a:spcBef>
          <a:spcPct val="0"/>
        </a:spcBef>
        <a:buNone/>
        <a:defRPr sz="3200" kern="1200" cap="all" baseline="0">
          <a:solidFill>
            <a:schemeClr val="tx2"/>
          </a:solidFill>
          <a:latin typeface="+mn-lt"/>
          <a:ea typeface="+mj-ea"/>
          <a:cs typeface="+mj-cs"/>
        </a:defRPr>
      </a:lvl1pPr>
    </p:titleStyle>
    <p:bodyStyle>
      <a:lvl1pPr marL="0" indent="0" algn="l" defTabSz="914400" rtl="0" eaLnBrk="1" latinLnBrk="0" hangingPunct="1">
        <a:lnSpc>
          <a:spcPct val="130000"/>
        </a:lnSpc>
        <a:spcBef>
          <a:spcPts val="300"/>
        </a:spcBef>
        <a:spcAft>
          <a:spcPts val="300"/>
        </a:spcAft>
        <a:buFont typeface="Arial" panose="020B0604020202020204" pitchFamily="34" charset="0"/>
        <a:buNone/>
        <a:defRPr sz="1400" kern="1200">
          <a:solidFill>
            <a:schemeClr val="tx2"/>
          </a:solidFill>
          <a:latin typeface="+mj-lt"/>
          <a:ea typeface="+mn-ea"/>
          <a:cs typeface="+mn-cs"/>
        </a:defRPr>
      </a:lvl1pPr>
      <a:lvl2pPr marL="0" indent="0" algn="l" defTabSz="914400" rtl="0" eaLnBrk="1" latinLnBrk="0" hangingPunct="1">
        <a:lnSpc>
          <a:spcPct val="130000"/>
        </a:lnSpc>
        <a:spcBef>
          <a:spcPts val="300"/>
        </a:spcBef>
        <a:spcAft>
          <a:spcPts val="300"/>
        </a:spcAft>
        <a:buFont typeface="Arial" panose="020B0604020202020204" pitchFamily="34" charset="0"/>
        <a:buNone/>
        <a:defRPr sz="1100" kern="1200">
          <a:solidFill>
            <a:schemeClr val="tx1"/>
          </a:solidFill>
          <a:latin typeface="+mn-lt"/>
          <a:ea typeface="+mn-ea"/>
          <a:cs typeface="+mn-cs"/>
        </a:defRPr>
      </a:lvl2pPr>
      <a:lvl3pPr marL="180975" indent="-180975" algn="l" defTabSz="914400" rtl="0" eaLnBrk="1" latinLnBrk="0" hangingPunct="1">
        <a:lnSpc>
          <a:spcPct val="130000"/>
        </a:lnSpc>
        <a:spcBef>
          <a:spcPts val="300"/>
        </a:spcBef>
        <a:spcAft>
          <a:spcPts val="300"/>
        </a:spcAft>
        <a:buClr>
          <a:schemeClr val="tx2"/>
        </a:buClr>
        <a:buSzPct val="105000"/>
        <a:buFont typeface="Arial" panose="020B0604020202020204" pitchFamily="34" charset="0"/>
        <a:buChar char="•"/>
        <a:defRPr sz="1100" kern="1200">
          <a:solidFill>
            <a:schemeClr val="tx1"/>
          </a:solidFill>
          <a:latin typeface="+mn-lt"/>
          <a:ea typeface="+mn-ea"/>
          <a:cs typeface="+mn-cs"/>
        </a:defRPr>
      </a:lvl3pPr>
      <a:lvl4pPr marL="539750" indent="-180975" algn="l" defTabSz="914400" rtl="0" eaLnBrk="1" latinLnBrk="0" hangingPunct="1">
        <a:lnSpc>
          <a:spcPct val="130000"/>
        </a:lnSpc>
        <a:spcBef>
          <a:spcPts val="300"/>
        </a:spcBef>
        <a:spcAft>
          <a:spcPts val="300"/>
        </a:spcAft>
        <a:buClr>
          <a:schemeClr val="tx2"/>
        </a:buClr>
        <a:buSzPct val="105000"/>
        <a:buFont typeface="Arial" panose="020B0604020202020204" pitchFamily="34" charset="0"/>
        <a:buChar char="•"/>
        <a:defRPr sz="1050" kern="1200">
          <a:solidFill>
            <a:schemeClr val="tx1"/>
          </a:solidFill>
          <a:latin typeface="+mn-lt"/>
          <a:ea typeface="+mn-ea"/>
          <a:cs typeface="+mn-cs"/>
        </a:defRPr>
      </a:lvl4pPr>
      <a:lvl5pPr marL="898525" indent="-180975" algn="l" defTabSz="914400" rtl="0" eaLnBrk="1" latinLnBrk="0" hangingPunct="1">
        <a:lnSpc>
          <a:spcPct val="130000"/>
        </a:lnSpc>
        <a:spcBef>
          <a:spcPts val="300"/>
        </a:spcBef>
        <a:spcAft>
          <a:spcPts val="300"/>
        </a:spcAft>
        <a:buClr>
          <a:schemeClr val="tx2"/>
        </a:buClr>
        <a:buSzPct val="105000"/>
        <a:buFont typeface="Arial" panose="020B0604020202020204" pitchFamily="34" charset="0"/>
        <a:buChar char="•"/>
        <a:defRPr sz="105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2562" userDrawn="1">
          <p15:clr>
            <a:srgbClr val="F26B43"/>
          </p15:clr>
        </p15:guide>
        <p15:guide id="7" orient="horz" pos="319" userDrawn="1">
          <p15:clr>
            <a:srgbClr val="F26B43"/>
          </p15:clr>
        </p15:guide>
        <p15:guide id="8" pos="320" userDrawn="1">
          <p15:clr>
            <a:srgbClr val="F26B43"/>
          </p15:clr>
        </p15:guide>
        <p15:guide id="9" pos="7359" userDrawn="1">
          <p15:clr>
            <a:srgbClr val="F26B43"/>
          </p15:clr>
        </p15:guide>
        <p15:guide id="10" orient="horz" pos="3918" userDrawn="1">
          <p15:clr>
            <a:srgbClr val="F26B43"/>
          </p15:clr>
        </p15:guide>
        <p15:guide id="11" pos="5119" userDrawn="1">
          <p15:clr>
            <a:srgbClr val="F26B43"/>
          </p15:clr>
        </p15:guide>
        <p15:guide id="12" pos="5019" userDrawn="1">
          <p15:clr>
            <a:srgbClr val="F26B43"/>
          </p15:clr>
        </p15:guide>
        <p15:guide id="13" pos="5218" userDrawn="1">
          <p15:clr>
            <a:srgbClr val="F26B43"/>
          </p15:clr>
        </p15:guide>
        <p15:guide id="14" pos="2462" userDrawn="1">
          <p15:clr>
            <a:srgbClr val="F26B43"/>
          </p15:clr>
        </p15:guide>
        <p15:guide id="15" pos="2662"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35"/>
            </p:custDataLst>
            <p:extLst>
              <p:ext uri="{D42A27DB-BD31-4B8C-83A1-F6EECF244321}">
                <p14:modId xmlns:p14="http://schemas.microsoft.com/office/powerpoint/2010/main" val="1953372193"/>
              </p:ext>
            </p:extLst>
          </p:nvPr>
        </p:nvGraphicFramePr>
        <p:xfrm>
          <a:off x="1" y="0"/>
          <a:ext cx="180998" cy="143985"/>
        </p:xfrm>
        <a:graphic>
          <a:graphicData uri="http://schemas.openxmlformats.org/presentationml/2006/ole">
            <mc:AlternateContent xmlns:mc="http://schemas.openxmlformats.org/markup-compatibility/2006">
              <mc:Choice xmlns:v="urn:schemas-microsoft-com:vml" Requires="v">
                <p:oleObj name="think-cell Slide" r:id="rId39" imgW="360" imgH="360" progId="">
                  <p:embed/>
                </p:oleObj>
              </mc:Choice>
              <mc:Fallback>
                <p:oleObj name="think-cell Slide" r:id="rId39" imgW="360" imgH="360" progId="">
                  <p:embed/>
                  <p:pic>
                    <p:nvPicPr>
                      <p:cNvPr id="10" name="Object 9" hidden="1"/>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1" y="0"/>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custDataLst>
              <p:tags r:id="rId36"/>
            </p:custDataLst>
          </p:nvPr>
        </p:nvSpPr>
        <p:spPr>
          <a:xfrm>
            <a:off x="720501" y="1534881"/>
            <a:ext cx="10752315" cy="2129919"/>
          </a:xfrm>
          <a:prstGeom prst="rect">
            <a:avLst/>
          </a:prstGeom>
        </p:spPr>
        <p:txBody>
          <a:bodyPr vert="horz" wrap="square" lIns="0" tIns="0" rIns="0" bIns="0" rtlCol="0">
            <a:spAutoFit/>
          </a:bodyPr>
          <a:lstStyle/>
          <a:p>
            <a:pPr lvl="0"/>
            <a:r>
              <a:rPr lang="en-US" dirty="0"/>
              <a:t>Heading </a:t>
            </a:r>
          </a:p>
          <a:p>
            <a:pPr lvl="1"/>
            <a:r>
              <a:rPr lang="en-US" dirty="0"/>
              <a:t>Body text</a:t>
            </a:r>
          </a:p>
          <a:p>
            <a:pPr lvl="2"/>
            <a:r>
              <a:rPr lang="en-US" dirty="0"/>
              <a:t>Bullet 1</a:t>
            </a:r>
          </a:p>
          <a:p>
            <a:pPr lvl="3"/>
            <a:r>
              <a:rPr lang="en-US" dirty="0"/>
              <a:t>Bullet 2</a:t>
            </a:r>
          </a:p>
          <a:p>
            <a:pPr lvl="4"/>
            <a:r>
              <a:rPr lang="en-US" dirty="0"/>
              <a:t>Bullet three</a:t>
            </a:r>
          </a:p>
          <a:p>
            <a:pPr lvl="5"/>
            <a:r>
              <a:rPr lang="en-US" dirty="0"/>
              <a:t>Key message text</a:t>
            </a:r>
          </a:p>
          <a:p>
            <a:pPr lvl="6"/>
            <a:r>
              <a:rPr lang="en-US" dirty="0"/>
              <a:t>Numbered list 1</a:t>
            </a:r>
          </a:p>
          <a:p>
            <a:pPr lvl="7"/>
            <a:r>
              <a:rPr lang="en-US" dirty="0"/>
              <a:t>Numbered list 2</a:t>
            </a:r>
          </a:p>
          <a:p>
            <a:pPr lvl="8"/>
            <a:r>
              <a:rPr lang="en-US" dirty="0"/>
              <a:t>Heading 2</a:t>
            </a:r>
            <a:endParaRPr lang="en-NZ" dirty="0"/>
          </a:p>
        </p:txBody>
      </p:sp>
      <p:sp>
        <p:nvSpPr>
          <p:cNvPr id="2" name="Title Placeholder 1"/>
          <p:cNvSpPr>
            <a:spLocks noGrp="1"/>
          </p:cNvSpPr>
          <p:nvPr>
            <p:ph type="title"/>
            <p:custDataLst>
              <p:tags r:id="rId37"/>
            </p:custDataLst>
          </p:nvPr>
        </p:nvSpPr>
        <p:spPr>
          <a:xfrm>
            <a:off x="720501" y="562126"/>
            <a:ext cx="10752315" cy="351729"/>
          </a:xfrm>
          <a:prstGeom prst="rect">
            <a:avLst/>
          </a:prstGeom>
        </p:spPr>
        <p:txBody>
          <a:bodyPr vert="horz" wrap="square" lIns="0" tIns="0" rIns="0" bIns="0" rtlCol="0" anchor="t" anchorCtr="0">
            <a:spAutoFit/>
          </a:bodyPr>
          <a:lstStyle/>
          <a:p>
            <a:r>
              <a:rPr lang="en-US" dirty="0"/>
              <a:t>Page title</a:t>
            </a:r>
            <a:endParaRPr lang="en-NZ" dirty="0"/>
          </a:p>
        </p:txBody>
      </p:sp>
      <p:sp>
        <p:nvSpPr>
          <p:cNvPr id="16" name="TextBox 15"/>
          <p:cNvSpPr txBox="1"/>
          <p:nvPr userDrawn="1">
            <p:custDataLst>
              <p:tags r:id="rId38"/>
            </p:custDataLst>
          </p:nvPr>
        </p:nvSpPr>
        <p:spPr>
          <a:xfrm>
            <a:off x="720499" y="6498327"/>
            <a:ext cx="367439" cy="111697"/>
          </a:xfrm>
          <a:prstGeom prst="rect">
            <a:avLst/>
          </a:prstGeom>
          <a:noFill/>
        </p:spPr>
        <p:txBody>
          <a:bodyPr wrap="square" lIns="0" tIns="0" rIns="0" bIns="0" rtlCol="0">
            <a:spAutoFit/>
          </a:bodyPr>
          <a:lstStyle/>
          <a:p>
            <a:pPr algn="l"/>
            <a:r>
              <a:rPr lang="en-NZ" sz="726" b="0" dirty="0">
                <a:solidFill>
                  <a:schemeClr val="tx1"/>
                </a:solidFill>
                <a:latin typeface="+mj-lt"/>
              </a:rPr>
              <a:t>HFW</a:t>
            </a:r>
          </a:p>
        </p:txBody>
      </p:sp>
      <p:sp>
        <p:nvSpPr>
          <p:cNvPr id="17" name="TextBox 16"/>
          <p:cNvSpPr txBox="1"/>
          <p:nvPr userDrawn="1"/>
        </p:nvSpPr>
        <p:spPr>
          <a:xfrm>
            <a:off x="5931292" y="6498327"/>
            <a:ext cx="329416" cy="111697"/>
          </a:xfrm>
          <a:prstGeom prst="rect">
            <a:avLst/>
          </a:prstGeom>
          <a:noFill/>
        </p:spPr>
        <p:txBody>
          <a:bodyPr wrap="square" lIns="0" tIns="0" rIns="0" bIns="0" rtlCol="0">
            <a:spAutoFit/>
          </a:bodyPr>
          <a:lstStyle/>
          <a:p>
            <a:pPr algn="ctr"/>
            <a:fld id="{24C64549-C66C-4AC2-AB0E-ABAD38841D4C}" type="slidenum">
              <a:rPr lang="en-NZ" sz="726" b="0" i="0" smtClean="0">
                <a:solidFill>
                  <a:schemeClr val="tx1"/>
                </a:solidFill>
                <a:latin typeface="+mn-lt"/>
              </a:rPr>
              <a:pPr algn="ctr"/>
              <a:t>‹#›</a:t>
            </a:fld>
            <a:endParaRPr lang="en-NZ" sz="726" b="0" i="0" dirty="0">
              <a:solidFill>
                <a:schemeClr val="tx1"/>
              </a:solidFill>
              <a:latin typeface="+mn-lt"/>
            </a:endParaRPr>
          </a:p>
        </p:txBody>
      </p:sp>
    </p:spTree>
    <p:extLst>
      <p:ext uri="{BB962C8B-B14F-4D97-AF65-F5344CB8AC3E}">
        <p14:creationId xmlns:p14="http://schemas.microsoft.com/office/powerpoint/2010/main" val="1005681223"/>
      </p:ext>
    </p:extLst>
  </p:cSld>
  <p:clrMap bg1="lt1" tx1="dk1" bg2="lt2" tx2="dk2" accent1="accent1" accent2="accent2" accent3="accent3" accent4="accent4" accent5="accent5" accent6="accent6" hlink="hlink" folHlink="folHlink"/>
  <p:sldLayoutIdLst>
    <p:sldLayoutId id="2147484044" r:id="rId1"/>
    <p:sldLayoutId id="2147484045" r:id="rId2"/>
    <p:sldLayoutId id="2147484046" r:id="rId3"/>
    <p:sldLayoutId id="2147484047" r:id="rId4"/>
    <p:sldLayoutId id="2147484048" r:id="rId5"/>
    <p:sldLayoutId id="2147484049" r:id="rId6"/>
    <p:sldLayoutId id="2147484050" r:id="rId7"/>
    <p:sldLayoutId id="2147484051" r:id="rId8"/>
    <p:sldLayoutId id="2147484052" r:id="rId9"/>
    <p:sldLayoutId id="2147484053" r:id="rId10"/>
    <p:sldLayoutId id="2147484054" r:id="rId11"/>
    <p:sldLayoutId id="2147484055" r:id="rId12"/>
    <p:sldLayoutId id="2147484056" r:id="rId13"/>
    <p:sldLayoutId id="2147484057" r:id="rId14"/>
    <p:sldLayoutId id="2147484058" r:id="rId15"/>
    <p:sldLayoutId id="2147484059" r:id="rId16"/>
    <p:sldLayoutId id="2147484060" r:id="rId17"/>
    <p:sldLayoutId id="2147484061" r:id="rId18"/>
    <p:sldLayoutId id="2147484062" r:id="rId19"/>
    <p:sldLayoutId id="2147484063" r:id="rId20"/>
    <p:sldLayoutId id="2147484064" r:id="rId21"/>
    <p:sldLayoutId id="2147484065" r:id="rId22"/>
    <p:sldLayoutId id="2147484066" r:id="rId23"/>
    <p:sldLayoutId id="2147484067" r:id="rId24"/>
    <p:sldLayoutId id="2147484068" r:id="rId25"/>
    <p:sldLayoutId id="2147484069" r:id="rId26"/>
    <p:sldLayoutId id="2147484070" r:id="rId27"/>
    <p:sldLayoutId id="2147484071" r:id="rId28"/>
    <p:sldLayoutId id="2147484072" r:id="rId29"/>
    <p:sldLayoutId id="2147484073" r:id="rId30"/>
    <p:sldLayoutId id="2147484074" r:id="rId31"/>
    <p:sldLayoutId id="2147484075" r:id="rId32"/>
    <p:sldLayoutId id="2147484076" r:id="rId33"/>
  </p:sldLayoutIdLst>
  <p:hf hdr="0" ftr="0" dt="0"/>
  <p:txStyles>
    <p:titleStyle>
      <a:lvl1pPr algn="l" defTabSz="903012" rtl="0" eaLnBrk="1" latinLnBrk="0" hangingPunct="1">
        <a:lnSpc>
          <a:spcPct val="90000"/>
        </a:lnSpc>
        <a:spcBef>
          <a:spcPct val="0"/>
        </a:spcBef>
        <a:buNone/>
        <a:defRPr sz="2539" b="0" strike="noStrike" kern="1200" cap="all" spc="0" baseline="0">
          <a:solidFill>
            <a:schemeClr val="tx1"/>
          </a:solidFill>
          <a:latin typeface="+mj-lt"/>
          <a:ea typeface="Verdana" panose="020B0604030504040204" pitchFamily="34" charset="0"/>
          <a:cs typeface="Verdana" panose="020B0604030504040204" pitchFamily="34" charset="0"/>
        </a:defRPr>
      </a:lvl1pPr>
    </p:titleStyle>
    <p:bodyStyle>
      <a:lvl1pPr marL="0" indent="0" algn="l" defTabSz="903012" rtl="0" eaLnBrk="1" latinLnBrk="0" hangingPunct="1">
        <a:lnSpc>
          <a:spcPct val="110000"/>
        </a:lnSpc>
        <a:spcBef>
          <a:spcPts val="0"/>
        </a:spcBef>
        <a:spcAft>
          <a:spcPts val="544"/>
        </a:spcAft>
        <a:buFont typeface="Arial" panose="020B0604020202020204" pitchFamily="34" charset="0"/>
        <a:buNone/>
        <a:defRPr sz="1088" b="0" kern="1200">
          <a:solidFill>
            <a:schemeClr val="accent1"/>
          </a:solidFill>
          <a:latin typeface="+mj-lt"/>
          <a:ea typeface="+mn-ea"/>
          <a:cs typeface="+mn-cs"/>
        </a:defRPr>
      </a:lvl1pPr>
      <a:lvl2pPr marL="1440" indent="0" algn="l" defTabSz="903012" rtl="0" eaLnBrk="1" latinLnBrk="0" hangingPunct="1">
        <a:lnSpc>
          <a:spcPct val="110000"/>
        </a:lnSpc>
        <a:spcBef>
          <a:spcPts val="0"/>
        </a:spcBef>
        <a:spcAft>
          <a:spcPts val="544"/>
        </a:spcAft>
        <a:buFont typeface="Arial" panose="020B0604020202020204" pitchFamily="34" charset="0"/>
        <a:buNone/>
        <a:defRPr sz="907" kern="1200">
          <a:solidFill>
            <a:schemeClr val="tx1"/>
          </a:solidFill>
          <a:latin typeface="+mn-lt"/>
          <a:ea typeface="+mn-ea"/>
          <a:cs typeface="+mn-cs"/>
        </a:defRPr>
      </a:lvl2pPr>
      <a:lvl3pPr marL="163246" indent="-163246" algn="l" defTabSz="903012" rtl="0" eaLnBrk="1" latinLnBrk="0" hangingPunct="1">
        <a:lnSpc>
          <a:spcPct val="110000"/>
        </a:lnSpc>
        <a:spcBef>
          <a:spcPts val="0"/>
        </a:spcBef>
        <a:spcAft>
          <a:spcPts val="544"/>
        </a:spcAft>
        <a:buClrTx/>
        <a:buSzPct val="100000"/>
        <a:buFont typeface="Arial" panose="020B0604020202020204" pitchFamily="34" charset="0"/>
        <a:buChar char="•"/>
        <a:defRPr sz="907" kern="1200">
          <a:solidFill>
            <a:schemeClr val="tx1"/>
          </a:solidFill>
          <a:latin typeface="+mn-lt"/>
          <a:ea typeface="+mn-ea"/>
          <a:cs typeface="+mn-cs"/>
        </a:defRPr>
      </a:lvl3pPr>
      <a:lvl4pPr marL="325380" indent="-163246" algn="l" defTabSz="903012" rtl="0" eaLnBrk="1" latinLnBrk="0" hangingPunct="1">
        <a:lnSpc>
          <a:spcPct val="110000"/>
        </a:lnSpc>
        <a:spcBef>
          <a:spcPts val="0"/>
        </a:spcBef>
        <a:spcAft>
          <a:spcPts val="544"/>
        </a:spcAft>
        <a:buClrTx/>
        <a:buFont typeface="Arial" panose="020B0604020202020204" pitchFamily="34" charset="0"/>
        <a:buChar char="–"/>
        <a:defRPr sz="907" kern="1200">
          <a:solidFill>
            <a:schemeClr val="tx1"/>
          </a:solidFill>
          <a:latin typeface="+mn-lt"/>
          <a:ea typeface="+mn-ea"/>
          <a:cs typeface="+mn-cs"/>
        </a:defRPr>
      </a:lvl4pPr>
      <a:lvl5pPr marL="490950" indent="-163246" algn="l" defTabSz="903012" rtl="0" eaLnBrk="1" latinLnBrk="0" hangingPunct="1">
        <a:lnSpc>
          <a:spcPct val="110000"/>
        </a:lnSpc>
        <a:spcBef>
          <a:spcPts val="0"/>
        </a:spcBef>
        <a:spcAft>
          <a:spcPts val="544"/>
        </a:spcAft>
        <a:buClrTx/>
        <a:buFont typeface="Arial" panose="020B0604020202020204" pitchFamily="34" charset="0"/>
        <a:buChar char="–"/>
        <a:defRPr sz="907" kern="1200">
          <a:solidFill>
            <a:schemeClr val="tx1"/>
          </a:solidFill>
          <a:latin typeface="+mn-lt"/>
          <a:ea typeface="+mn-ea"/>
          <a:cs typeface="+mn-cs"/>
        </a:defRPr>
      </a:lvl5pPr>
      <a:lvl6pPr marL="0" indent="0" algn="l" defTabSz="903012" rtl="0" eaLnBrk="1" latinLnBrk="0" hangingPunct="1">
        <a:lnSpc>
          <a:spcPct val="90000"/>
        </a:lnSpc>
        <a:spcBef>
          <a:spcPts val="0"/>
        </a:spcBef>
        <a:spcAft>
          <a:spcPts val="544"/>
        </a:spcAft>
        <a:buFont typeface="Arial" panose="020B0604020202020204" pitchFamily="34" charset="0"/>
        <a:buNone/>
        <a:defRPr sz="1451" b="0" kern="1200" baseline="0">
          <a:solidFill>
            <a:schemeClr val="accent1"/>
          </a:solidFill>
          <a:latin typeface="+mj-lt"/>
          <a:ea typeface="+mn-ea"/>
          <a:cs typeface="+mn-cs"/>
        </a:defRPr>
      </a:lvl6pPr>
      <a:lvl7pPr marL="163246" indent="-163246" algn="l" defTabSz="903012" rtl="0" eaLnBrk="1" latinLnBrk="0" hangingPunct="1">
        <a:lnSpc>
          <a:spcPct val="110000"/>
        </a:lnSpc>
        <a:spcBef>
          <a:spcPts val="0"/>
        </a:spcBef>
        <a:spcAft>
          <a:spcPts val="544"/>
        </a:spcAft>
        <a:buClrTx/>
        <a:buFont typeface="+mj-lt"/>
        <a:buAutoNum type="arabicPeriod"/>
        <a:defRPr sz="907" kern="1200">
          <a:solidFill>
            <a:schemeClr val="tx1"/>
          </a:solidFill>
          <a:latin typeface="+mn-lt"/>
          <a:ea typeface="+mn-ea"/>
          <a:cs typeface="+mn-cs"/>
        </a:defRPr>
      </a:lvl7pPr>
      <a:lvl8pPr marL="326491" indent="-163246" algn="l" defTabSz="903012" rtl="0" eaLnBrk="1" latinLnBrk="0" hangingPunct="1">
        <a:lnSpc>
          <a:spcPct val="110000"/>
        </a:lnSpc>
        <a:spcBef>
          <a:spcPts val="0"/>
        </a:spcBef>
        <a:spcAft>
          <a:spcPts val="544"/>
        </a:spcAft>
        <a:buClrTx/>
        <a:buFont typeface="+mj-lt"/>
        <a:buAutoNum type="alphaLcPeriod"/>
        <a:defRPr sz="907" kern="1200">
          <a:solidFill>
            <a:schemeClr val="tx1"/>
          </a:solidFill>
          <a:latin typeface="+mn-lt"/>
          <a:ea typeface="+mn-ea"/>
          <a:cs typeface="+mn-cs"/>
        </a:defRPr>
      </a:lvl8pPr>
      <a:lvl9pPr marL="0" indent="0" algn="l" defTabSz="903012" rtl="0" eaLnBrk="1" latinLnBrk="0" hangingPunct="1">
        <a:spcBef>
          <a:spcPts val="544"/>
        </a:spcBef>
        <a:buFontTx/>
        <a:buNone/>
        <a:defRPr sz="1270" b="0" i="0" kern="1200">
          <a:solidFill>
            <a:schemeClr val="accent1"/>
          </a:solidFill>
          <a:latin typeface="+mj-lt"/>
          <a:ea typeface="+mn-ea"/>
          <a:cs typeface="+mn-cs"/>
        </a:defRPr>
      </a:lvl9pPr>
    </p:bodyStyle>
    <p:otherStyle>
      <a:defPPr>
        <a:defRPr lang="en-US"/>
      </a:defPPr>
      <a:lvl1pPr marL="0" algn="l" defTabSz="903012" rtl="0" eaLnBrk="1" latinLnBrk="0" hangingPunct="1">
        <a:defRPr sz="1814" kern="1200">
          <a:solidFill>
            <a:schemeClr val="tx1"/>
          </a:solidFill>
          <a:latin typeface="+mn-lt"/>
          <a:ea typeface="+mn-ea"/>
          <a:cs typeface="+mn-cs"/>
        </a:defRPr>
      </a:lvl1pPr>
      <a:lvl2pPr marL="451507" algn="l" defTabSz="903012" rtl="0" eaLnBrk="1" latinLnBrk="0" hangingPunct="1">
        <a:defRPr sz="1814" kern="1200">
          <a:solidFill>
            <a:schemeClr val="tx1"/>
          </a:solidFill>
          <a:latin typeface="+mn-lt"/>
          <a:ea typeface="+mn-ea"/>
          <a:cs typeface="+mn-cs"/>
        </a:defRPr>
      </a:lvl2pPr>
      <a:lvl3pPr marL="903012" algn="l" defTabSz="903012" rtl="0" eaLnBrk="1" latinLnBrk="0" hangingPunct="1">
        <a:defRPr sz="1814" kern="1200">
          <a:solidFill>
            <a:schemeClr val="tx1"/>
          </a:solidFill>
          <a:latin typeface="+mn-lt"/>
          <a:ea typeface="+mn-ea"/>
          <a:cs typeface="+mn-cs"/>
        </a:defRPr>
      </a:lvl3pPr>
      <a:lvl4pPr marL="1354519" algn="l" defTabSz="903012" rtl="0" eaLnBrk="1" latinLnBrk="0" hangingPunct="1">
        <a:defRPr sz="1814" kern="1200">
          <a:solidFill>
            <a:schemeClr val="tx1"/>
          </a:solidFill>
          <a:latin typeface="+mn-lt"/>
          <a:ea typeface="+mn-ea"/>
          <a:cs typeface="+mn-cs"/>
        </a:defRPr>
      </a:lvl4pPr>
      <a:lvl5pPr marL="1806024" algn="l" defTabSz="903012" rtl="0" eaLnBrk="1" latinLnBrk="0" hangingPunct="1">
        <a:defRPr sz="1814" kern="1200">
          <a:solidFill>
            <a:schemeClr val="tx1"/>
          </a:solidFill>
          <a:latin typeface="+mn-lt"/>
          <a:ea typeface="+mn-ea"/>
          <a:cs typeface="+mn-cs"/>
        </a:defRPr>
      </a:lvl5pPr>
      <a:lvl6pPr marL="2257531" algn="l" defTabSz="903012" rtl="0" eaLnBrk="1" latinLnBrk="0" hangingPunct="1">
        <a:defRPr sz="1814" kern="1200">
          <a:solidFill>
            <a:schemeClr val="tx1"/>
          </a:solidFill>
          <a:latin typeface="+mn-lt"/>
          <a:ea typeface="+mn-ea"/>
          <a:cs typeface="+mn-cs"/>
        </a:defRPr>
      </a:lvl6pPr>
      <a:lvl7pPr marL="2709036" algn="l" defTabSz="903012" rtl="0" eaLnBrk="1" latinLnBrk="0" hangingPunct="1">
        <a:defRPr sz="1814" kern="1200">
          <a:solidFill>
            <a:schemeClr val="tx1"/>
          </a:solidFill>
          <a:latin typeface="+mn-lt"/>
          <a:ea typeface="+mn-ea"/>
          <a:cs typeface="+mn-cs"/>
        </a:defRPr>
      </a:lvl7pPr>
      <a:lvl8pPr marL="3160543" algn="l" defTabSz="903012" rtl="0" eaLnBrk="1" latinLnBrk="0" hangingPunct="1">
        <a:defRPr sz="1814" kern="1200">
          <a:solidFill>
            <a:schemeClr val="tx1"/>
          </a:solidFill>
          <a:latin typeface="+mn-lt"/>
          <a:ea typeface="+mn-ea"/>
          <a:cs typeface="+mn-cs"/>
        </a:defRPr>
      </a:lvl8pPr>
      <a:lvl9pPr marL="3612049" algn="l" defTabSz="903012" rtl="0" eaLnBrk="1" latinLnBrk="0" hangingPunct="1">
        <a:defRPr sz="1814" kern="1200">
          <a:solidFill>
            <a:schemeClr val="tx1"/>
          </a:solidFill>
          <a:latin typeface="+mn-lt"/>
          <a:ea typeface="+mn-ea"/>
          <a:cs typeface="+mn-cs"/>
        </a:defRPr>
      </a:lvl9pPr>
    </p:otherStyle>
  </p:txStyles>
  <p:extLst>
    <p:ext uri="{27BBF7A9-308A-43DC-89C8-2F10F3537804}">
      <p15:sldGuideLst xmlns:p15="http://schemas.microsoft.com/office/powerpoint/2012/main">
        <p15:guide id="2" pos="499">
          <p15:clr>
            <a:srgbClr val="F26B43"/>
          </p15:clr>
        </p15:guide>
        <p15:guide id="3" pos="7981">
          <p15:clr>
            <a:srgbClr val="F26B43"/>
          </p15:clr>
        </p15:guide>
        <p15:guide id="4" orient="horz" pos="382">
          <p15:clr>
            <a:srgbClr val="F26B43"/>
          </p15:clr>
        </p15:guide>
        <p15:guide id="6" orient="horz" pos="1066">
          <p15:clr>
            <a:srgbClr val="F26B43"/>
          </p15:clr>
        </p15:guide>
        <p15:guide id="11" pos="3065">
          <p15:clr>
            <a:srgbClr val="F26B43"/>
          </p15:clr>
        </p15:guide>
        <p15:guide id="12" pos="2837">
          <p15:clr>
            <a:srgbClr val="F26B43"/>
          </p15:clr>
        </p15:guide>
        <p15:guide id="14" pos="5403">
          <p15:clr>
            <a:srgbClr val="F26B43"/>
          </p15:clr>
        </p15:guide>
        <p15:guide id="15" pos="5631">
          <p15:clr>
            <a:srgbClr val="F26B43"/>
          </p15:clr>
        </p15:guide>
        <p15:guide id="16" pos="4348">
          <p15:clr>
            <a:srgbClr val="F26B43"/>
          </p15:clr>
        </p15:guide>
        <p15:guide id="19" pos="4120">
          <p15:clr>
            <a:srgbClr val="F26B43"/>
          </p15:clr>
        </p15:guide>
        <p15:guide id="25" orient="horz" pos="4287">
          <p15:clr>
            <a:srgbClr val="F26B43"/>
          </p15:clr>
        </p15:guide>
        <p15:guide id="26" orient="horz" pos="4427">
          <p15:clr>
            <a:srgbClr val="F26B43"/>
          </p15:clr>
        </p15:guide>
        <p15:guide id="27" pos="243">
          <p15:clr>
            <a:srgbClr val="F26B43"/>
          </p15:clr>
        </p15:guide>
        <p15:guide id="28" pos="8225">
          <p15:clr>
            <a:srgbClr val="F26B43"/>
          </p15:clr>
        </p15:guide>
        <p15:guide id="29" orient="horz" pos="182">
          <p15:clr>
            <a:srgbClr val="F26B43"/>
          </p15:clr>
        </p15:guide>
        <p15:guide id="30" orient="horz" pos="1633">
          <p15:clr>
            <a:srgbClr val="F26B43"/>
          </p15:clr>
        </p15:guide>
        <p15:guide id="31" orient="horz" pos="3447">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3A4D2EB-176E-4AAB-B3CE-468F0FE6DAAD}"/>
              </a:ext>
            </a:extLst>
          </p:cNvPr>
          <p:cNvSpPr>
            <a:spLocks noGrp="1"/>
          </p:cNvSpPr>
          <p:nvPr>
            <p:ph type="title"/>
          </p:nvPr>
        </p:nvSpPr>
        <p:spPr>
          <a:xfrm>
            <a:off x="7031426" y="450680"/>
            <a:ext cx="4681151" cy="314497"/>
          </a:xfrm>
          <a:prstGeom prst="rect">
            <a:avLst/>
          </a:prstGeom>
        </p:spPr>
        <p:txBody>
          <a:bodyPr vert="horz" lIns="0" tIns="0" rIns="0" bIns="0" rtlCol="0" anchor="t" anchorCtr="0">
            <a:noAutofit/>
          </a:bodyPr>
          <a:lstStyle/>
          <a:p>
            <a:r>
              <a:rPr lang="en-US" dirty="0"/>
              <a:t>Click to add title</a:t>
            </a:r>
            <a:endParaRPr lang="en-GB" dirty="0"/>
          </a:p>
        </p:txBody>
      </p:sp>
      <p:sp>
        <p:nvSpPr>
          <p:cNvPr id="3" name="Text Placeholder 2">
            <a:extLst>
              <a:ext uri="{FF2B5EF4-FFF2-40B4-BE49-F238E27FC236}">
                <a16:creationId xmlns:a16="http://schemas.microsoft.com/office/drawing/2014/main" id="{539ADA34-01CD-476D-A351-075B14965050}"/>
              </a:ext>
            </a:extLst>
          </p:cNvPr>
          <p:cNvSpPr>
            <a:spLocks noGrp="1"/>
          </p:cNvSpPr>
          <p:nvPr>
            <p:ph type="body" idx="1"/>
          </p:nvPr>
        </p:nvSpPr>
        <p:spPr>
          <a:xfrm>
            <a:off x="479426" y="1341439"/>
            <a:ext cx="11233151" cy="4787900"/>
          </a:xfrm>
          <a:prstGeom prst="rect">
            <a:avLst/>
          </a:prstGeom>
        </p:spPr>
        <p:txBody>
          <a:bodyPr vert="horz" lIns="0" tIns="0" rIns="0" bIns="0" rtlCol="0" anchor="t" anchorCtr="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GB"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4" name="Date Placeholder 3">
            <a:extLst>
              <a:ext uri="{FF2B5EF4-FFF2-40B4-BE49-F238E27FC236}">
                <a16:creationId xmlns:a16="http://schemas.microsoft.com/office/drawing/2014/main" id="{0B613454-D4C6-4A13-A74A-5982C1C7AB76}"/>
              </a:ext>
            </a:extLst>
          </p:cNvPr>
          <p:cNvSpPr>
            <a:spLocks noGrp="1"/>
          </p:cNvSpPr>
          <p:nvPr>
            <p:ph type="dt" sz="half" idx="2"/>
          </p:nvPr>
        </p:nvSpPr>
        <p:spPr>
          <a:xfrm>
            <a:off x="479425" y="6300000"/>
            <a:ext cx="2743200" cy="365125"/>
          </a:xfrm>
          <a:prstGeom prst="rect">
            <a:avLst/>
          </a:prstGeom>
        </p:spPr>
        <p:txBody>
          <a:bodyPr vert="horz" lIns="0" tIns="54000" rIns="0" bIns="34290" rtlCol="0" anchor="t" anchorCtr="0"/>
          <a:lstStyle>
            <a:lvl1pPr algn="l">
              <a:defRPr sz="933">
                <a:solidFill>
                  <a:schemeClr val="tx1">
                    <a:tint val="75000"/>
                  </a:schemeClr>
                </a:solidFill>
              </a:defRPr>
            </a:lvl1pPr>
          </a:lstStyle>
          <a:p>
            <a:endParaRPr lang="en-GB" dirty="0"/>
          </a:p>
        </p:txBody>
      </p:sp>
      <p:sp>
        <p:nvSpPr>
          <p:cNvPr id="5" name="Footer Placeholder 4">
            <a:extLst>
              <a:ext uri="{FF2B5EF4-FFF2-40B4-BE49-F238E27FC236}">
                <a16:creationId xmlns:a16="http://schemas.microsoft.com/office/drawing/2014/main" id="{1635D082-283D-4065-90AC-C271964CEF5D}"/>
              </a:ext>
            </a:extLst>
          </p:cNvPr>
          <p:cNvSpPr>
            <a:spLocks noGrp="1"/>
          </p:cNvSpPr>
          <p:nvPr>
            <p:ph type="ftr" sz="quarter" idx="3"/>
          </p:nvPr>
        </p:nvSpPr>
        <p:spPr>
          <a:xfrm>
            <a:off x="7572164" y="6309320"/>
            <a:ext cx="4114800" cy="365125"/>
          </a:xfrm>
          <a:prstGeom prst="rect">
            <a:avLst/>
          </a:prstGeom>
        </p:spPr>
        <p:txBody>
          <a:bodyPr vert="horz" lIns="0" tIns="54000" rIns="0" bIns="34290" rtlCol="0" anchor="t" anchorCtr="0"/>
          <a:lstStyle>
            <a:lvl1pPr algn="r">
              <a:defRPr sz="933">
                <a:solidFill>
                  <a:schemeClr val="tx1">
                    <a:tint val="75000"/>
                  </a:schemeClr>
                </a:solidFill>
              </a:defRPr>
            </a:lvl1pPr>
          </a:lstStyle>
          <a:p>
            <a:r>
              <a:rPr lang="en-GB"/>
              <a:t>INSERT FOOTER HERE</a:t>
            </a:r>
            <a:endParaRPr lang="en-GB" dirty="0"/>
          </a:p>
        </p:txBody>
      </p:sp>
      <p:sp>
        <p:nvSpPr>
          <p:cNvPr id="6" name="Slide Number Placeholder 5">
            <a:extLst>
              <a:ext uri="{FF2B5EF4-FFF2-40B4-BE49-F238E27FC236}">
                <a16:creationId xmlns:a16="http://schemas.microsoft.com/office/drawing/2014/main" id="{F831572E-378E-41C1-A8B9-6410AC8627DE}"/>
              </a:ext>
            </a:extLst>
          </p:cNvPr>
          <p:cNvSpPr>
            <a:spLocks noGrp="1"/>
          </p:cNvSpPr>
          <p:nvPr>
            <p:ph type="sldNum" sz="quarter" idx="4"/>
          </p:nvPr>
        </p:nvSpPr>
        <p:spPr>
          <a:xfrm>
            <a:off x="5376260" y="6300002"/>
            <a:ext cx="1439480" cy="240847"/>
          </a:xfrm>
          <a:prstGeom prst="rect">
            <a:avLst/>
          </a:prstGeom>
        </p:spPr>
        <p:txBody>
          <a:bodyPr vert="horz" lIns="0" tIns="34290" rIns="0" bIns="34290" rtlCol="0" anchor="ctr"/>
          <a:lstStyle>
            <a:lvl1pPr algn="ctr">
              <a:defRPr sz="933">
                <a:solidFill>
                  <a:srgbClr val="9EA9B2"/>
                </a:solidFill>
              </a:defRPr>
            </a:lvl1pPr>
          </a:lstStyle>
          <a:p>
            <a:fld id="{7DAB47CC-2047-4FFE-9F3B-6C9AB62C3816}" type="slidenum">
              <a:rPr lang="en-GB" smtClean="0"/>
              <a:pPr/>
              <a:t>‹#›</a:t>
            </a:fld>
            <a:endParaRPr lang="en-GB" dirty="0"/>
          </a:p>
        </p:txBody>
      </p:sp>
      <p:cxnSp>
        <p:nvCxnSpPr>
          <p:cNvPr id="9" name="Straight Connector 8"/>
          <p:cNvCxnSpPr/>
          <p:nvPr userDrawn="1"/>
        </p:nvCxnSpPr>
        <p:spPr>
          <a:xfrm>
            <a:off x="479426" y="6300000"/>
            <a:ext cx="11233151" cy="0"/>
          </a:xfrm>
          <a:prstGeom prst="line">
            <a:avLst/>
          </a:prstGeom>
          <a:ln>
            <a:solidFill>
              <a:srgbClr val="9EA9B2"/>
            </a:solidFill>
          </a:ln>
        </p:spPr>
        <p:style>
          <a:lnRef idx="1">
            <a:schemeClr val="accent1"/>
          </a:lnRef>
          <a:fillRef idx="0">
            <a:schemeClr val="accent1"/>
          </a:fillRef>
          <a:effectRef idx="0">
            <a:schemeClr val="accent1"/>
          </a:effectRef>
          <a:fontRef idx="minor">
            <a:schemeClr val="tx1"/>
          </a:fontRef>
        </p:style>
      </p:cxnSp>
      <p:pic>
        <p:nvPicPr>
          <p:cNvPr id="10" name="Picture 9" descr="HFW_Standard_RGB_Green.jpg"/>
          <p:cNvPicPr>
            <a:picLocks noChangeAspect="1"/>
          </p:cNvPicPr>
          <p:nvPr userDrawn="1"/>
        </p:nvPicPr>
        <p:blipFill>
          <a:blip r:embed="rId19" cstate="print"/>
          <a:stretch>
            <a:fillRect/>
          </a:stretch>
        </p:blipFill>
        <p:spPr>
          <a:xfrm>
            <a:off x="479425" y="432000"/>
            <a:ext cx="1197000" cy="729600"/>
          </a:xfrm>
          <a:prstGeom prst="rect">
            <a:avLst/>
          </a:prstGeom>
        </p:spPr>
      </p:pic>
    </p:spTree>
    <p:extLst>
      <p:ext uri="{BB962C8B-B14F-4D97-AF65-F5344CB8AC3E}">
        <p14:creationId xmlns:p14="http://schemas.microsoft.com/office/powerpoint/2010/main" val="221061999"/>
      </p:ext>
    </p:extLst>
  </p:cSld>
  <p:clrMap bg1="lt1" tx1="dk1" bg2="lt2" tx2="dk2" accent1="accent1" accent2="accent2" accent3="accent3" accent4="accent4" accent5="accent5" accent6="accent6" hlink="hlink" folHlink="folHlink"/>
  <p:sldLayoutIdLst>
    <p:sldLayoutId id="2147484078" r:id="rId1"/>
    <p:sldLayoutId id="2147484079" r:id="rId2"/>
    <p:sldLayoutId id="2147484080" r:id="rId3"/>
    <p:sldLayoutId id="2147484081" r:id="rId4"/>
    <p:sldLayoutId id="2147484082" r:id="rId5"/>
    <p:sldLayoutId id="2147484083" r:id="rId6"/>
    <p:sldLayoutId id="2147484084" r:id="rId7"/>
    <p:sldLayoutId id="2147484085" r:id="rId8"/>
    <p:sldLayoutId id="2147484086" r:id="rId9"/>
    <p:sldLayoutId id="2147484087" r:id="rId10"/>
    <p:sldLayoutId id="2147484088" r:id="rId11"/>
    <p:sldLayoutId id="2147484089" r:id="rId12"/>
    <p:sldLayoutId id="2147484090" r:id="rId13"/>
    <p:sldLayoutId id="2147484091" r:id="rId14"/>
    <p:sldLayoutId id="2147484092" r:id="rId15"/>
    <p:sldLayoutId id="2147484093" r:id="rId16"/>
    <p:sldLayoutId id="2147484094" r:id="rId17"/>
  </p:sldLayoutIdLst>
  <p:hf hdr="0" ftr="0" dt="0"/>
  <p:txStyles>
    <p:titleStyle>
      <a:lvl1pPr algn="r" defTabSz="914377" rtl="0" eaLnBrk="1" latinLnBrk="0" hangingPunct="1">
        <a:lnSpc>
          <a:spcPct val="90000"/>
        </a:lnSpc>
        <a:spcBef>
          <a:spcPct val="0"/>
        </a:spcBef>
        <a:buNone/>
        <a:defRPr sz="2133" kern="1200" cap="all" baseline="0">
          <a:solidFill>
            <a:schemeClr val="accent3"/>
          </a:solidFill>
          <a:latin typeface="+mj-lt"/>
          <a:ea typeface="+mj-ea"/>
          <a:cs typeface="+mj-cs"/>
        </a:defRPr>
      </a:lvl1pPr>
    </p:titleStyle>
    <p:bodyStyle>
      <a:lvl1pPr marL="0" indent="0" algn="l" defTabSz="914377" rtl="0" eaLnBrk="1" latinLnBrk="0" hangingPunct="1">
        <a:lnSpc>
          <a:spcPct val="90000"/>
        </a:lnSpc>
        <a:spcBef>
          <a:spcPts val="400"/>
        </a:spcBef>
        <a:spcAft>
          <a:spcPts val="800"/>
        </a:spcAft>
        <a:buFont typeface="Arial" panose="020B0604020202020204" pitchFamily="34" charset="0"/>
        <a:buNone/>
        <a:defRPr sz="2133" kern="1200" cap="all" baseline="0">
          <a:solidFill>
            <a:schemeClr val="accent3"/>
          </a:solidFill>
          <a:latin typeface="+mn-lt"/>
          <a:ea typeface="+mn-ea"/>
          <a:cs typeface="+mn-cs"/>
        </a:defRPr>
      </a:lvl1pPr>
      <a:lvl2pPr marL="0" indent="0" algn="l" defTabSz="914377" rtl="0" eaLnBrk="1" latinLnBrk="0" hangingPunct="1">
        <a:lnSpc>
          <a:spcPct val="90000"/>
        </a:lnSpc>
        <a:spcBef>
          <a:spcPts val="0"/>
        </a:spcBef>
        <a:spcAft>
          <a:spcPts val="800"/>
        </a:spcAft>
        <a:buFontTx/>
        <a:buNone/>
        <a:defRPr sz="2133" kern="1200">
          <a:solidFill>
            <a:schemeClr val="accent3"/>
          </a:solidFill>
          <a:latin typeface="+mn-lt"/>
          <a:ea typeface="+mn-ea"/>
          <a:cs typeface="+mn-cs"/>
        </a:defRPr>
      </a:lvl2pPr>
      <a:lvl3pPr marL="0" indent="0" algn="l" defTabSz="914377" rtl="0" eaLnBrk="1" latinLnBrk="0" hangingPunct="1">
        <a:lnSpc>
          <a:spcPct val="90000"/>
        </a:lnSpc>
        <a:spcBef>
          <a:spcPts val="0"/>
        </a:spcBef>
        <a:spcAft>
          <a:spcPts val="800"/>
        </a:spcAft>
        <a:buFont typeface="Arial" panose="020B0604020202020204" pitchFamily="34" charset="0"/>
        <a:buNone/>
        <a:defRPr sz="2133" kern="1200">
          <a:solidFill>
            <a:schemeClr val="tx1"/>
          </a:solidFill>
          <a:latin typeface="+mn-lt"/>
          <a:ea typeface="+mn-ea"/>
          <a:cs typeface="+mn-cs"/>
        </a:defRPr>
      </a:lvl3pPr>
      <a:lvl4pPr marL="239178" indent="-239178" algn="l" defTabSz="914377" rtl="0" eaLnBrk="1" latinLnBrk="0" hangingPunct="1">
        <a:lnSpc>
          <a:spcPct val="90000"/>
        </a:lnSpc>
        <a:spcBef>
          <a:spcPts val="0"/>
        </a:spcBef>
        <a:spcAft>
          <a:spcPts val="800"/>
        </a:spcAft>
        <a:buFont typeface="Arial" panose="020B0604020202020204" pitchFamily="34" charset="0"/>
        <a:buChar char="•"/>
        <a:defRPr sz="2133" kern="1200">
          <a:solidFill>
            <a:schemeClr val="tx1"/>
          </a:solidFill>
          <a:latin typeface="+mn-lt"/>
          <a:ea typeface="+mn-ea"/>
          <a:cs typeface="+mn-cs"/>
        </a:defRPr>
      </a:lvl4pPr>
      <a:lvl5pPr marL="479988" indent="-239994" algn="l" defTabSz="914377" rtl="0" eaLnBrk="1" latinLnBrk="0" hangingPunct="1">
        <a:lnSpc>
          <a:spcPct val="90000"/>
        </a:lnSpc>
        <a:spcBef>
          <a:spcPts val="0"/>
        </a:spcBef>
        <a:spcAft>
          <a:spcPts val="800"/>
        </a:spcAft>
        <a:buFont typeface="Arial" panose="020B0604020202020204" pitchFamily="34" charset="0"/>
        <a:buChar char="–"/>
        <a:defRPr sz="2133" kern="1200">
          <a:solidFill>
            <a:schemeClr val="tx1"/>
          </a:solidFill>
          <a:latin typeface="+mn-lt"/>
          <a:ea typeface="+mn-ea"/>
          <a:cs typeface="+mn-cs"/>
        </a:defRPr>
      </a:lvl5pPr>
      <a:lvl6pPr marL="719982" indent="-241294" algn="l" defTabSz="914377" rtl="0" eaLnBrk="1" latinLnBrk="0" hangingPunct="1">
        <a:lnSpc>
          <a:spcPct val="90000"/>
        </a:lnSpc>
        <a:spcBef>
          <a:spcPts val="0"/>
        </a:spcBef>
        <a:spcAft>
          <a:spcPts val="800"/>
        </a:spcAft>
        <a:buFont typeface="Arial" panose="020B0604020202020204" pitchFamily="34" charset="0"/>
        <a:buChar char="‒"/>
        <a:defRPr sz="2133" kern="1200">
          <a:solidFill>
            <a:schemeClr val="tx1"/>
          </a:solidFill>
          <a:latin typeface="+mn-lt"/>
          <a:ea typeface="+mn-ea"/>
          <a:cs typeface="+mn-cs"/>
        </a:defRPr>
      </a:lvl6pPr>
      <a:lvl7pPr marL="959976" indent="-241294" algn="l" defTabSz="914377" rtl="0" eaLnBrk="1" latinLnBrk="0" hangingPunct="1">
        <a:lnSpc>
          <a:spcPct val="90000"/>
        </a:lnSpc>
        <a:spcBef>
          <a:spcPts val="0"/>
        </a:spcBef>
        <a:spcAft>
          <a:spcPts val="800"/>
        </a:spcAft>
        <a:buFont typeface="Arial" panose="020B0604020202020204" pitchFamily="34" charset="0"/>
        <a:buChar char="–"/>
        <a:defRPr sz="2133" kern="1200">
          <a:solidFill>
            <a:schemeClr val="tx1"/>
          </a:solidFill>
          <a:latin typeface="+mn-lt"/>
          <a:ea typeface="+mn-ea"/>
          <a:cs typeface="+mn-cs"/>
        </a:defRPr>
      </a:lvl7pPr>
      <a:lvl8pPr marL="959976" indent="0" algn="l" defTabSz="914377" rtl="0" eaLnBrk="1" latinLnBrk="0" hangingPunct="1">
        <a:lnSpc>
          <a:spcPct val="90000"/>
        </a:lnSpc>
        <a:spcBef>
          <a:spcPts val="0"/>
        </a:spcBef>
        <a:spcAft>
          <a:spcPts val="800"/>
        </a:spcAft>
        <a:buFontTx/>
        <a:buNone/>
        <a:defRPr sz="2133" kern="1200">
          <a:solidFill>
            <a:schemeClr val="tx1"/>
          </a:solidFill>
          <a:latin typeface="+mn-lt"/>
          <a:ea typeface="+mn-ea"/>
          <a:cs typeface="+mn-cs"/>
        </a:defRPr>
      </a:lvl8pPr>
      <a:lvl9pPr marL="959976" indent="0" algn="l" defTabSz="914377" rtl="0" eaLnBrk="1" latinLnBrk="0" hangingPunct="1">
        <a:lnSpc>
          <a:spcPct val="90000"/>
        </a:lnSpc>
        <a:spcBef>
          <a:spcPts val="0"/>
        </a:spcBef>
        <a:spcAft>
          <a:spcPts val="800"/>
        </a:spcAft>
        <a:buFontTx/>
        <a:buNone/>
        <a:defRPr sz="2133" kern="1200">
          <a:solidFill>
            <a:schemeClr val="tx1"/>
          </a:solidFill>
          <a:latin typeface="+mn-lt"/>
          <a:ea typeface="+mn-ea"/>
          <a:cs typeface="+mn-cs"/>
        </a:defRPr>
      </a:lvl9pPr>
    </p:bodyStyle>
    <p:otherStyle>
      <a:defPPr>
        <a:defRPr lang="en-US"/>
      </a:defPPr>
      <a:lvl1pPr marL="0" algn="l" defTabSz="914377" rtl="0" eaLnBrk="1" latinLnBrk="0" hangingPunct="1">
        <a:defRPr sz="1867" kern="1200">
          <a:solidFill>
            <a:schemeClr val="tx1"/>
          </a:solidFill>
          <a:latin typeface="+mn-lt"/>
          <a:ea typeface="+mn-ea"/>
          <a:cs typeface="+mn-cs"/>
        </a:defRPr>
      </a:lvl1pPr>
      <a:lvl2pPr marL="457189" algn="l" defTabSz="914377" rtl="0" eaLnBrk="1" latinLnBrk="0" hangingPunct="1">
        <a:defRPr sz="1867" kern="1200">
          <a:solidFill>
            <a:schemeClr val="tx1"/>
          </a:solidFill>
          <a:latin typeface="+mn-lt"/>
          <a:ea typeface="+mn-ea"/>
          <a:cs typeface="+mn-cs"/>
        </a:defRPr>
      </a:lvl2pPr>
      <a:lvl3pPr marL="914377" algn="l" defTabSz="914377" rtl="0" eaLnBrk="1" latinLnBrk="0" hangingPunct="1">
        <a:defRPr sz="1867" kern="1200">
          <a:solidFill>
            <a:schemeClr val="tx1"/>
          </a:solidFill>
          <a:latin typeface="+mn-lt"/>
          <a:ea typeface="+mn-ea"/>
          <a:cs typeface="+mn-cs"/>
        </a:defRPr>
      </a:lvl3pPr>
      <a:lvl4pPr marL="1371566" algn="l" defTabSz="914377" rtl="0" eaLnBrk="1" latinLnBrk="0" hangingPunct="1">
        <a:defRPr sz="1867" kern="1200">
          <a:solidFill>
            <a:schemeClr val="tx1"/>
          </a:solidFill>
          <a:latin typeface="+mn-lt"/>
          <a:ea typeface="+mn-ea"/>
          <a:cs typeface="+mn-cs"/>
        </a:defRPr>
      </a:lvl4pPr>
      <a:lvl5pPr marL="1828754" algn="l" defTabSz="914377" rtl="0" eaLnBrk="1" latinLnBrk="0" hangingPunct="1">
        <a:defRPr sz="1867" kern="1200">
          <a:solidFill>
            <a:schemeClr val="tx1"/>
          </a:solidFill>
          <a:latin typeface="+mn-lt"/>
          <a:ea typeface="+mn-ea"/>
          <a:cs typeface="+mn-cs"/>
        </a:defRPr>
      </a:lvl5pPr>
      <a:lvl6pPr marL="2285943" algn="l" defTabSz="914377" rtl="0" eaLnBrk="1" latinLnBrk="0" hangingPunct="1">
        <a:defRPr sz="1867" kern="1200">
          <a:solidFill>
            <a:schemeClr val="tx1"/>
          </a:solidFill>
          <a:latin typeface="+mn-lt"/>
          <a:ea typeface="+mn-ea"/>
          <a:cs typeface="+mn-cs"/>
        </a:defRPr>
      </a:lvl6pPr>
      <a:lvl7pPr marL="2743131" algn="l" defTabSz="914377" rtl="0" eaLnBrk="1" latinLnBrk="0" hangingPunct="1">
        <a:defRPr sz="1867" kern="1200">
          <a:solidFill>
            <a:schemeClr val="tx1"/>
          </a:solidFill>
          <a:latin typeface="+mn-lt"/>
          <a:ea typeface="+mn-ea"/>
          <a:cs typeface="+mn-cs"/>
        </a:defRPr>
      </a:lvl7pPr>
      <a:lvl8pPr marL="3200320" algn="l" defTabSz="914377" rtl="0" eaLnBrk="1" latinLnBrk="0" hangingPunct="1">
        <a:defRPr sz="1867" kern="1200">
          <a:solidFill>
            <a:schemeClr val="tx1"/>
          </a:solidFill>
          <a:latin typeface="+mn-lt"/>
          <a:ea typeface="+mn-ea"/>
          <a:cs typeface="+mn-cs"/>
        </a:defRPr>
      </a:lvl8pPr>
      <a:lvl9pPr marL="3657509" algn="l" defTabSz="914377" rtl="0" eaLnBrk="1" latinLnBrk="0" hangingPunct="1">
        <a:defRPr sz="1867"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08000" y="454013"/>
            <a:ext cx="11174413" cy="1039999"/>
          </a:xfrm>
          <a:prstGeom prst="rect">
            <a:avLst/>
          </a:prstGeom>
        </p:spPr>
        <p:txBody>
          <a:bodyPr vert="horz" lIns="0" tIns="0" rIns="0" bIns="72000" rtlCol="0" anchor="t" anchorCtr="0">
            <a:noAutofit/>
          </a:bodyPr>
          <a:lstStyle/>
          <a:p>
            <a:r>
              <a:rPr lang="en-US" dirty="0"/>
              <a:t>CLICK TO EDIT MASTER </a:t>
            </a:r>
            <a:br>
              <a:rPr lang="en-US" dirty="0"/>
            </a:br>
            <a:r>
              <a:rPr lang="en-US" dirty="0"/>
              <a:t>TITLE STYLE</a:t>
            </a:r>
          </a:p>
        </p:txBody>
      </p:sp>
      <p:sp>
        <p:nvSpPr>
          <p:cNvPr id="3" name="Text Placeholder 2"/>
          <p:cNvSpPr>
            <a:spLocks noGrp="1"/>
          </p:cNvSpPr>
          <p:nvPr>
            <p:ph type="body" idx="1"/>
          </p:nvPr>
        </p:nvSpPr>
        <p:spPr>
          <a:xfrm>
            <a:off x="508000" y="1687451"/>
            <a:ext cx="11174414" cy="4532373"/>
          </a:xfrm>
          <a:prstGeom prst="rect">
            <a:avLst/>
          </a:prstGeom>
        </p:spPr>
        <p:txBody>
          <a:bodyPr vert="horz" lIns="0" tIns="45720" rIns="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3"/>
          </p:nvPr>
        </p:nvSpPr>
        <p:spPr>
          <a:xfrm>
            <a:off x="508000" y="6429657"/>
            <a:ext cx="4114800" cy="239183"/>
          </a:xfrm>
          <a:prstGeom prst="rect">
            <a:avLst/>
          </a:prstGeom>
        </p:spPr>
        <p:txBody>
          <a:bodyPr vert="horz" lIns="0" tIns="45720" rIns="91440" bIns="45720" rtlCol="0" anchor="ctr"/>
          <a:lstStyle>
            <a:lvl1pPr algn="l">
              <a:defRPr sz="900" cap="all" baseline="0">
                <a:solidFill>
                  <a:schemeClr val="tx1"/>
                </a:solidFill>
              </a:defRPr>
            </a:lvl1pPr>
          </a:lstStyle>
          <a:p>
            <a:r>
              <a:rPr lang="en-GB"/>
              <a:t>INSERT FOOTER HERE</a:t>
            </a:r>
            <a:endParaRPr lang="en-GB" dirty="0"/>
          </a:p>
        </p:txBody>
      </p:sp>
      <p:sp>
        <p:nvSpPr>
          <p:cNvPr id="6" name="Slide Number Placeholder 5"/>
          <p:cNvSpPr>
            <a:spLocks noGrp="1"/>
          </p:cNvSpPr>
          <p:nvPr>
            <p:ph type="sldNum" sz="quarter" idx="4"/>
          </p:nvPr>
        </p:nvSpPr>
        <p:spPr>
          <a:xfrm>
            <a:off x="11345863" y="6429657"/>
            <a:ext cx="355600" cy="239183"/>
          </a:xfrm>
          <a:prstGeom prst="rect">
            <a:avLst/>
          </a:prstGeom>
        </p:spPr>
        <p:txBody>
          <a:bodyPr vert="horz" lIns="0" tIns="45720" rIns="0" bIns="45720" rtlCol="0" anchor="ctr"/>
          <a:lstStyle>
            <a:lvl1pPr algn="r">
              <a:defRPr sz="900">
                <a:solidFill>
                  <a:schemeClr val="tx1"/>
                </a:solidFill>
              </a:defRPr>
            </a:lvl1pPr>
          </a:lstStyle>
          <a:p>
            <a:fld id="{8CFE0557-AA98-4E6C-B0C3-581794696B68}" type="slidenum">
              <a:rPr lang="en-GB" smtClean="0"/>
              <a:pPr/>
              <a:t>‹#›</a:t>
            </a:fld>
            <a:endParaRPr lang="en-GB" dirty="0"/>
          </a:p>
        </p:txBody>
      </p:sp>
      <p:grpSp>
        <p:nvGrpSpPr>
          <p:cNvPr id="21" name="Group 20">
            <a:extLst>
              <a:ext uri="{FF2B5EF4-FFF2-40B4-BE49-F238E27FC236}">
                <a16:creationId xmlns:a16="http://schemas.microsoft.com/office/drawing/2014/main" id="{AA28E80D-D9EA-5395-F97D-C7B6A2148B2E}"/>
              </a:ext>
            </a:extLst>
          </p:cNvPr>
          <p:cNvGrpSpPr/>
          <p:nvPr userDrawn="1"/>
        </p:nvGrpSpPr>
        <p:grpSpPr>
          <a:xfrm>
            <a:off x="-1304825" y="118928"/>
            <a:ext cx="1061686" cy="2750168"/>
            <a:chOff x="-1271974" y="-190213"/>
            <a:chExt cx="1061686" cy="2750168"/>
          </a:xfrm>
        </p:grpSpPr>
        <p:sp>
          <p:nvSpPr>
            <p:cNvPr id="7" name="Rectangle 6">
              <a:extLst>
                <a:ext uri="{FF2B5EF4-FFF2-40B4-BE49-F238E27FC236}">
                  <a16:creationId xmlns:a16="http://schemas.microsoft.com/office/drawing/2014/main" id="{CFE60673-64AE-7E13-BC6A-BD0341C30958}"/>
                </a:ext>
              </a:extLst>
            </p:cNvPr>
            <p:cNvSpPr/>
            <p:nvPr userDrawn="1"/>
          </p:nvSpPr>
          <p:spPr>
            <a:xfrm>
              <a:off x="-1218692" y="84221"/>
              <a:ext cx="955122" cy="28090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8" name="Rectangle 7">
              <a:extLst>
                <a:ext uri="{FF2B5EF4-FFF2-40B4-BE49-F238E27FC236}">
                  <a16:creationId xmlns:a16="http://schemas.microsoft.com/office/drawing/2014/main" id="{F5FE23E6-C6A6-931E-A506-FFE1E44640B7}"/>
                </a:ext>
              </a:extLst>
            </p:cNvPr>
            <p:cNvSpPr/>
            <p:nvPr userDrawn="1"/>
          </p:nvSpPr>
          <p:spPr>
            <a:xfrm>
              <a:off x="-1218692" y="450026"/>
              <a:ext cx="955122" cy="28090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9" name="Rectangle 8">
              <a:extLst>
                <a:ext uri="{FF2B5EF4-FFF2-40B4-BE49-F238E27FC236}">
                  <a16:creationId xmlns:a16="http://schemas.microsoft.com/office/drawing/2014/main" id="{4D9E4572-5B9E-2994-D288-786D245FB9C2}"/>
                </a:ext>
              </a:extLst>
            </p:cNvPr>
            <p:cNvSpPr/>
            <p:nvPr userDrawn="1"/>
          </p:nvSpPr>
          <p:spPr>
            <a:xfrm>
              <a:off x="-1218692" y="815831"/>
              <a:ext cx="955122" cy="28090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Rectangle 9">
              <a:extLst>
                <a:ext uri="{FF2B5EF4-FFF2-40B4-BE49-F238E27FC236}">
                  <a16:creationId xmlns:a16="http://schemas.microsoft.com/office/drawing/2014/main" id="{4CE4FF5F-73FC-74C6-4094-C26D88A0BF8F}"/>
                </a:ext>
              </a:extLst>
            </p:cNvPr>
            <p:cNvSpPr/>
            <p:nvPr userDrawn="1"/>
          </p:nvSpPr>
          <p:spPr>
            <a:xfrm>
              <a:off x="-1218692" y="1181636"/>
              <a:ext cx="955122" cy="28090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1" name="Rectangle 10">
              <a:extLst>
                <a:ext uri="{FF2B5EF4-FFF2-40B4-BE49-F238E27FC236}">
                  <a16:creationId xmlns:a16="http://schemas.microsoft.com/office/drawing/2014/main" id="{EA036BE5-778D-0A22-9160-1AF70B37244F}"/>
                </a:ext>
              </a:extLst>
            </p:cNvPr>
            <p:cNvSpPr/>
            <p:nvPr userDrawn="1"/>
          </p:nvSpPr>
          <p:spPr>
            <a:xfrm>
              <a:off x="-1218692" y="1547441"/>
              <a:ext cx="955122" cy="28090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8" name="TextBox 17">
              <a:extLst>
                <a:ext uri="{FF2B5EF4-FFF2-40B4-BE49-F238E27FC236}">
                  <a16:creationId xmlns:a16="http://schemas.microsoft.com/office/drawing/2014/main" id="{6A1A5D27-4F1B-8962-5A4F-BC9FF20FB658}"/>
                </a:ext>
              </a:extLst>
            </p:cNvPr>
            <p:cNvSpPr txBox="1"/>
            <p:nvPr userDrawn="1"/>
          </p:nvSpPr>
          <p:spPr>
            <a:xfrm>
              <a:off x="-1271974" y="-190213"/>
              <a:ext cx="1061686" cy="276999"/>
            </a:xfrm>
            <a:prstGeom prst="rect">
              <a:avLst/>
            </a:prstGeom>
            <a:noFill/>
          </p:spPr>
          <p:txBody>
            <a:bodyPr wrap="square" rtlCol="0">
              <a:spAutoFit/>
            </a:bodyPr>
            <a:lstStyle/>
            <a:p>
              <a:pPr algn="ctr"/>
              <a:r>
                <a:rPr lang="en-GB" sz="1200" dirty="0">
                  <a:solidFill>
                    <a:schemeClr val="tx1"/>
                  </a:solidFill>
                </a:rPr>
                <a:t>Core brand</a:t>
              </a:r>
            </a:p>
          </p:txBody>
        </p:sp>
        <p:sp>
          <p:nvSpPr>
            <p:cNvPr id="4" name="Rectangle 3">
              <a:extLst>
                <a:ext uri="{FF2B5EF4-FFF2-40B4-BE49-F238E27FC236}">
                  <a16:creationId xmlns:a16="http://schemas.microsoft.com/office/drawing/2014/main" id="{6F28C9A8-058B-121D-C645-60D738637B1F}"/>
                </a:ext>
              </a:extLst>
            </p:cNvPr>
            <p:cNvSpPr/>
            <p:nvPr userDrawn="1"/>
          </p:nvSpPr>
          <p:spPr>
            <a:xfrm>
              <a:off x="-1218692" y="1913246"/>
              <a:ext cx="955122" cy="28090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4" name="Rectangle 23">
              <a:extLst>
                <a:ext uri="{FF2B5EF4-FFF2-40B4-BE49-F238E27FC236}">
                  <a16:creationId xmlns:a16="http://schemas.microsoft.com/office/drawing/2014/main" id="{E46E1BA1-6011-5681-1BB2-4A162CA74C35}"/>
                </a:ext>
              </a:extLst>
            </p:cNvPr>
            <p:cNvSpPr/>
            <p:nvPr userDrawn="1"/>
          </p:nvSpPr>
          <p:spPr>
            <a:xfrm>
              <a:off x="-1218692" y="2279049"/>
              <a:ext cx="955122" cy="2809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pSp>
    </p:spTree>
    <p:extLst>
      <p:ext uri="{BB962C8B-B14F-4D97-AF65-F5344CB8AC3E}">
        <p14:creationId xmlns:p14="http://schemas.microsoft.com/office/powerpoint/2010/main" val="1419487080"/>
      </p:ext>
    </p:extLst>
  </p:cSld>
  <p:clrMap bg1="lt1" tx1="dk1" bg2="lt2" tx2="dk2" accent1="accent1" accent2="accent2" accent3="accent3" accent4="accent4" accent5="accent5" accent6="accent6" hlink="hlink" folHlink="folHlink"/>
  <p:sldLayoutIdLst>
    <p:sldLayoutId id="2147484180" r:id="rId1"/>
    <p:sldLayoutId id="2147484181" r:id="rId2"/>
    <p:sldLayoutId id="2147484182" r:id="rId3"/>
    <p:sldLayoutId id="2147484183" r:id="rId4"/>
    <p:sldLayoutId id="2147484184" r:id="rId5"/>
    <p:sldLayoutId id="2147484185" r:id="rId6"/>
    <p:sldLayoutId id="2147484186" r:id="rId7"/>
    <p:sldLayoutId id="2147484187" r:id="rId8"/>
    <p:sldLayoutId id="2147484188" r:id="rId9"/>
    <p:sldLayoutId id="2147484189" r:id="rId10"/>
    <p:sldLayoutId id="2147484190" r:id="rId11"/>
    <p:sldLayoutId id="2147484191" r:id="rId12"/>
    <p:sldLayoutId id="2147484192" r:id="rId13"/>
    <p:sldLayoutId id="2147484193" r:id="rId14"/>
    <p:sldLayoutId id="2147484194" r:id="rId15"/>
    <p:sldLayoutId id="2147484195" r:id="rId16"/>
    <p:sldLayoutId id="2147484196" r:id="rId17"/>
    <p:sldLayoutId id="2147484197" r:id="rId18"/>
    <p:sldLayoutId id="2147484198" r:id="rId19"/>
    <p:sldLayoutId id="2147484199" r:id="rId20"/>
    <p:sldLayoutId id="2147484200" r:id="rId21"/>
    <p:sldLayoutId id="2147484201" r:id="rId22"/>
    <p:sldLayoutId id="2147484202" r:id="rId23"/>
    <p:sldLayoutId id="2147484203" r:id="rId24"/>
    <p:sldLayoutId id="2147484204" r:id="rId25"/>
    <p:sldLayoutId id="2147484205" r:id="rId26"/>
    <p:sldLayoutId id="2147484206" r:id="rId27"/>
    <p:sldLayoutId id="2147484207" r:id="rId28"/>
    <p:sldLayoutId id="2147484208" r:id="rId29"/>
    <p:sldLayoutId id="2147484209" r:id="rId30"/>
    <p:sldLayoutId id="2147484210" r:id="rId31"/>
    <p:sldLayoutId id="2147484211" r:id="rId32"/>
    <p:sldLayoutId id="2147484212" r:id="rId33"/>
    <p:sldLayoutId id="2147484213" r:id="rId34"/>
    <p:sldLayoutId id="2147484214" r:id="rId35"/>
    <p:sldLayoutId id="2147484215" r:id="rId36"/>
    <p:sldLayoutId id="2147484216" r:id="rId37"/>
    <p:sldLayoutId id="2147484217" r:id="rId38"/>
    <p:sldLayoutId id="2147484218" r:id="rId39"/>
    <p:sldLayoutId id="2147484219" r:id="rId40"/>
    <p:sldLayoutId id="2147484220" r:id="rId41"/>
    <p:sldLayoutId id="2147484221" r:id="rId42"/>
    <p:sldLayoutId id="2147484222" r:id="rId43"/>
    <p:sldLayoutId id="2147484223" r:id="rId44"/>
    <p:sldLayoutId id="2147484224" r:id="rId45"/>
    <p:sldLayoutId id="2147484225" r:id="rId46"/>
    <p:sldLayoutId id="2147484226" r:id="rId47"/>
    <p:sldLayoutId id="2147484227" r:id="rId48"/>
    <p:sldLayoutId id="2147484228" r:id="rId49"/>
    <p:sldLayoutId id="2147484229" r:id="rId50"/>
    <p:sldLayoutId id="2147484230" r:id="rId51"/>
    <p:sldLayoutId id="2147484231" r:id="rId52"/>
    <p:sldLayoutId id="2147484232" r:id="rId53"/>
    <p:sldLayoutId id="2147484233" r:id="rId54"/>
    <p:sldLayoutId id="2147484234" r:id="rId55"/>
    <p:sldLayoutId id="2147484235" r:id="rId56"/>
    <p:sldLayoutId id="2147484236" r:id="rId57"/>
    <p:sldLayoutId id="2147484237" r:id="rId58"/>
    <p:sldLayoutId id="2147484238" r:id="rId59"/>
    <p:sldLayoutId id="2147484239" r:id="rId60"/>
    <p:sldLayoutId id="2147484240" r:id="rId61"/>
    <p:sldLayoutId id="2147484241" r:id="rId62"/>
    <p:sldLayoutId id="2147484242" r:id="rId63"/>
    <p:sldLayoutId id="2147484243" r:id="rId64"/>
    <p:sldLayoutId id="2147484244" r:id="rId65"/>
    <p:sldLayoutId id="2147484245" r:id="rId66"/>
    <p:sldLayoutId id="2147484246" r:id="rId67"/>
    <p:sldLayoutId id="2147484247" r:id="rId68"/>
    <p:sldLayoutId id="2147484248" r:id="rId69"/>
    <p:sldLayoutId id="2147484249" r:id="rId70"/>
    <p:sldLayoutId id="2147484250" r:id="rId71"/>
    <p:sldLayoutId id="2147484251" r:id="rId72"/>
    <p:sldLayoutId id="2147484252" r:id="rId73"/>
    <p:sldLayoutId id="2147484253" r:id="rId74"/>
    <p:sldLayoutId id="2147484254" r:id="rId75"/>
  </p:sldLayoutIdLst>
  <p:transition spd="med">
    <p:fade/>
  </p:transition>
  <p:hf hdr="0" ftr="0" dt="0"/>
  <p:txStyles>
    <p:titleStyle>
      <a:lvl1pPr algn="l" defTabSz="914400" rtl="0" eaLnBrk="1" latinLnBrk="0" hangingPunct="1">
        <a:lnSpc>
          <a:spcPct val="90000"/>
        </a:lnSpc>
        <a:spcBef>
          <a:spcPct val="0"/>
        </a:spcBef>
        <a:buNone/>
        <a:defRPr sz="3200" kern="1200" cap="all" baseline="0">
          <a:solidFill>
            <a:schemeClr val="tx2"/>
          </a:solidFill>
          <a:latin typeface="+mn-lt"/>
          <a:ea typeface="+mj-ea"/>
          <a:cs typeface="+mj-cs"/>
        </a:defRPr>
      </a:lvl1pPr>
    </p:titleStyle>
    <p:bodyStyle>
      <a:lvl1pPr marL="0" indent="0" algn="l" defTabSz="914400" rtl="0" eaLnBrk="1" latinLnBrk="0" hangingPunct="1">
        <a:lnSpc>
          <a:spcPct val="130000"/>
        </a:lnSpc>
        <a:spcBef>
          <a:spcPts val="300"/>
        </a:spcBef>
        <a:spcAft>
          <a:spcPts val="300"/>
        </a:spcAft>
        <a:buFont typeface="Arial" panose="020B0604020202020204" pitchFamily="34" charset="0"/>
        <a:buNone/>
        <a:defRPr sz="1400" kern="1200">
          <a:solidFill>
            <a:schemeClr val="tx2"/>
          </a:solidFill>
          <a:latin typeface="+mj-lt"/>
          <a:ea typeface="+mn-ea"/>
          <a:cs typeface="+mn-cs"/>
        </a:defRPr>
      </a:lvl1pPr>
      <a:lvl2pPr marL="0" indent="0" algn="l" defTabSz="914400" rtl="0" eaLnBrk="1" latinLnBrk="0" hangingPunct="1">
        <a:lnSpc>
          <a:spcPct val="130000"/>
        </a:lnSpc>
        <a:spcBef>
          <a:spcPts val="300"/>
        </a:spcBef>
        <a:spcAft>
          <a:spcPts val="300"/>
        </a:spcAft>
        <a:buFont typeface="Arial" panose="020B0604020202020204" pitchFamily="34" charset="0"/>
        <a:buNone/>
        <a:defRPr sz="1100" kern="1200">
          <a:solidFill>
            <a:schemeClr val="tx1"/>
          </a:solidFill>
          <a:latin typeface="+mn-lt"/>
          <a:ea typeface="+mn-ea"/>
          <a:cs typeface="+mn-cs"/>
        </a:defRPr>
      </a:lvl2pPr>
      <a:lvl3pPr marL="180975" indent="-180975" algn="l" defTabSz="914400" rtl="0" eaLnBrk="1" latinLnBrk="0" hangingPunct="1">
        <a:lnSpc>
          <a:spcPct val="130000"/>
        </a:lnSpc>
        <a:spcBef>
          <a:spcPts val="300"/>
        </a:spcBef>
        <a:spcAft>
          <a:spcPts val="300"/>
        </a:spcAft>
        <a:buClr>
          <a:schemeClr val="tx2"/>
        </a:buClr>
        <a:buSzPct val="105000"/>
        <a:buFont typeface="Arial" panose="020B0604020202020204" pitchFamily="34" charset="0"/>
        <a:buChar char="•"/>
        <a:defRPr sz="1100" kern="1200">
          <a:solidFill>
            <a:schemeClr val="tx1"/>
          </a:solidFill>
          <a:latin typeface="+mn-lt"/>
          <a:ea typeface="+mn-ea"/>
          <a:cs typeface="+mn-cs"/>
        </a:defRPr>
      </a:lvl3pPr>
      <a:lvl4pPr marL="539750" indent="-180975" algn="l" defTabSz="914400" rtl="0" eaLnBrk="1" latinLnBrk="0" hangingPunct="1">
        <a:lnSpc>
          <a:spcPct val="130000"/>
        </a:lnSpc>
        <a:spcBef>
          <a:spcPts val="300"/>
        </a:spcBef>
        <a:spcAft>
          <a:spcPts val="300"/>
        </a:spcAft>
        <a:buClr>
          <a:schemeClr val="tx2"/>
        </a:buClr>
        <a:buSzPct val="105000"/>
        <a:buFont typeface="Arial" panose="020B0604020202020204" pitchFamily="34" charset="0"/>
        <a:buChar char="•"/>
        <a:defRPr sz="1050" kern="1200">
          <a:solidFill>
            <a:schemeClr val="tx1"/>
          </a:solidFill>
          <a:latin typeface="+mn-lt"/>
          <a:ea typeface="+mn-ea"/>
          <a:cs typeface="+mn-cs"/>
        </a:defRPr>
      </a:lvl4pPr>
      <a:lvl5pPr marL="898525" indent="-180975" algn="l" defTabSz="914400" rtl="0" eaLnBrk="1" latinLnBrk="0" hangingPunct="1">
        <a:lnSpc>
          <a:spcPct val="130000"/>
        </a:lnSpc>
        <a:spcBef>
          <a:spcPts val="300"/>
        </a:spcBef>
        <a:spcAft>
          <a:spcPts val="300"/>
        </a:spcAft>
        <a:buClr>
          <a:schemeClr val="tx2"/>
        </a:buClr>
        <a:buSzPct val="105000"/>
        <a:buFont typeface="Arial" panose="020B0604020202020204" pitchFamily="34" charset="0"/>
        <a:buChar char="•"/>
        <a:defRPr sz="105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562">
          <p15:clr>
            <a:srgbClr val="F26B43"/>
          </p15:clr>
        </p15:guide>
        <p15:guide id="7" orient="horz" pos="319">
          <p15:clr>
            <a:srgbClr val="F26B43"/>
          </p15:clr>
        </p15:guide>
        <p15:guide id="8" pos="320">
          <p15:clr>
            <a:srgbClr val="F26B43"/>
          </p15:clr>
        </p15:guide>
        <p15:guide id="9" pos="7359">
          <p15:clr>
            <a:srgbClr val="F26B43"/>
          </p15:clr>
        </p15:guide>
        <p15:guide id="10" orient="horz" pos="3918">
          <p15:clr>
            <a:srgbClr val="F26B43"/>
          </p15:clr>
        </p15:guide>
        <p15:guide id="11" pos="5119">
          <p15:clr>
            <a:srgbClr val="F26B43"/>
          </p15:clr>
        </p15:guide>
        <p15:guide id="12" pos="5019">
          <p15:clr>
            <a:srgbClr val="F26B43"/>
          </p15:clr>
        </p15:guide>
        <p15:guide id="13" pos="5218">
          <p15:clr>
            <a:srgbClr val="F26B43"/>
          </p15:clr>
        </p15:guide>
        <p15:guide id="14" pos="2462">
          <p15:clr>
            <a:srgbClr val="F26B43"/>
          </p15:clr>
        </p15:guide>
        <p15:guide id="15" pos="2662">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2.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notesSlide" Target="../notesSlides/notesSlide1.xml"/><Relationship Id="rId1" Type="http://schemas.openxmlformats.org/officeDocument/2006/relationships/slideLayout" Target="../slideLayouts/slideLayout14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22.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Layout" Target="../slideLayouts/slideLayout5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26.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Layout" Target="../slideLayouts/slideLayout54.xml"/></Relationships>
</file>

<file path=ppt/slides/_rels/slide27.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1.jpg"/><Relationship Id="rId1" Type="http://schemas.openxmlformats.org/officeDocument/2006/relationships/slideLayout" Target="../slideLayouts/slideLayout6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3.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svg"/><Relationship Id="rId7" Type="http://schemas.openxmlformats.org/officeDocument/2006/relationships/image" Target="../media/image25.svg"/><Relationship Id="rId2" Type="http://schemas.openxmlformats.org/officeDocument/2006/relationships/image" Target="../media/image20.png"/><Relationship Id="rId1" Type="http://schemas.openxmlformats.org/officeDocument/2006/relationships/slideLayout" Target="../slideLayouts/slideLayout54.xml"/><Relationship Id="rId6" Type="http://schemas.openxmlformats.org/officeDocument/2006/relationships/image" Target="../media/image24.png"/><Relationship Id="rId5" Type="http://schemas.openxmlformats.org/officeDocument/2006/relationships/image" Target="../media/image23.svg"/><Relationship Id="rId4" Type="http://schemas.openxmlformats.org/officeDocument/2006/relationships/image" Target="../media/image22.png"/></Relationships>
</file>

<file path=ppt/slides/_rels/slide4.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notesSlide" Target="../notesSlides/notesSlide2.xml"/><Relationship Id="rId1" Type="http://schemas.openxmlformats.org/officeDocument/2006/relationships/slideLayout" Target="../slideLayouts/slideLayout5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7.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Layout" Target="../slideLayouts/slideLayout5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Placeholder 18">
            <a:extLst>
              <a:ext uri="{FF2B5EF4-FFF2-40B4-BE49-F238E27FC236}">
                <a16:creationId xmlns:a16="http://schemas.microsoft.com/office/drawing/2014/main" id="{796B9635-F449-BAD3-1304-9A1EAE6BC2AD}"/>
              </a:ext>
            </a:extLst>
          </p:cNvPr>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l="16680" r="16680"/>
          <a:stretch/>
        </p:blipFill>
        <p:spPr/>
      </p:pic>
      <p:sp>
        <p:nvSpPr>
          <p:cNvPr id="4" name="Title 3">
            <a:extLst>
              <a:ext uri="{FF2B5EF4-FFF2-40B4-BE49-F238E27FC236}">
                <a16:creationId xmlns:a16="http://schemas.microsoft.com/office/drawing/2014/main" id="{32B932C7-B00A-73F1-F66E-39062CC68687}"/>
              </a:ext>
            </a:extLst>
          </p:cNvPr>
          <p:cNvSpPr>
            <a:spLocks noGrp="1"/>
          </p:cNvSpPr>
          <p:nvPr>
            <p:ph type="ctrTitle"/>
          </p:nvPr>
        </p:nvSpPr>
        <p:spPr>
          <a:xfrm>
            <a:off x="338610" y="2430692"/>
            <a:ext cx="3557470" cy="1684108"/>
          </a:xfrm>
        </p:spPr>
        <p:txBody>
          <a:bodyPr/>
          <a:lstStyle/>
          <a:p>
            <a:r>
              <a:rPr lang="en-GB" sz="2000" b="1" i="0" dirty="0">
                <a:effectLst/>
                <a:latin typeface="Lato" panose="020F0502020204030203" pitchFamily="34" charset="0"/>
              </a:rPr>
              <a:t>Legal and risk developments that will affect your business</a:t>
            </a:r>
            <a:endParaRPr lang="en-GB" sz="2000" dirty="0"/>
          </a:p>
        </p:txBody>
      </p:sp>
      <p:sp>
        <p:nvSpPr>
          <p:cNvPr id="9" name="Text Placeholder 8">
            <a:extLst>
              <a:ext uri="{FF2B5EF4-FFF2-40B4-BE49-F238E27FC236}">
                <a16:creationId xmlns:a16="http://schemas.microsoft.com/office/drawing/2014/main" id="{21C688CA-66AE-DC43-CE41-0A6BE9D8348B}"/>
              </a:ext>
            </a:extLst>
          </p:cNvPr>
          <p:cNvSpPr>
            <a:spLocks noGrp="1"/>
          </p:cNvSpPr>
          <p:nvPr>
            <p:ph type="body" sz="quarter" idx="14"/>
          </p:nvPr>
        </p:nvSpPr>
        <p:spPr>
          <a:xfrm>
            <a:off x="338609" y="5944815"/>
            <a:ext cx="3387140" cy="230187"/>
          </a:xfrm>
        </p:spPr>
        <p:txBody>
          <a:bodyPr/>
          <a:lstStyle/>
          <a:p>
            <a:r>
              <a:rPr lang="en-GB" dirty="0"/>
              <a:t>CJI Malta </a:t>
            </a:r>
          </a:p>
          <a:p>
            <a:r>
              <a:rPr lang="en-GB" dirty="0"/>
              <a:t>11</a:t>
            </a:r>
            <a:r>
              <a:rPr lang="en-GB" baseline="30000" dirty="0"/>
              <a:t>th</a:t>
            </a:r>
            <a:r>
              <a:rPr lang="en-GB" dirty="0"/>
              <a:t> June 2025</a:t>
            </a:r>
          </a:p>
        </p:txBody>
      </p:sp>
      <p:sp>
        <p:nvSpPr>
          <p:cNvPr id="13" name="TextBox 12">
            <a:extLst>
              <a:ext uri="{FF2B5EF4-FFF2-40B4-BE49-F238E27FC236}">
                <a16:creationId xmlns:a16="http://schemas.microsoft.com/office/drawing/2014/main" id="{8E5F442F-7C8E-AF13-2958-1089CE93D31E}"/>
              </a:ext>
            </a:extLst>
          </p:cNvPr>
          <p:cNvSpPr txBox="1"/>
          <p:nvPr/>
        </p:nvSpPr>
        <p:spPr>
          <a:xfrm>
            <a:off x="338609" y="4190999"/>
            <a:ext cx="3190994" cy="1473200"/>
          </a:xfrm>
          <a:prstGeom prst="rect">
            <a:avLst/>
          </a:prstGeom>
        </p:spPr>
        <p:txBody>
          <a:bodyPr vert="horz" wrap="square" lIns="0" tIns="45720" rIns="0" bIns="45720" rtlCol="0">
            <a:normAutofit/>
          </a:bodyPr>
          <a:lstStyle/>
          <a:p>
            <a:pPr defTabSz="457200"/>
            <a:r>
              <a:rPr lang="en-GB" sz="1600" dirty="0">
                <a:solidFill>
                  <a:srgbClr val="FFFFFF"/>
                </a:solidFill>
                <a:latin typeface="Montserrat"/>
              </a:rPr>
              <a:t>Peter Coles, </a:t>
            </a:r>
            <a:r>
              <a:rPr lang="en-GB" sz="1600" dirty="0" err="1">
                <a:solidFill>
                  <a:srgbClr val="FFFFFF"/>
                </a:solidFill>
                <a:latin typeface="Montserrat"/>
              </a:rPr>
              <a:t>FRAeS</a:t>
            </a:r>
            <a:endParaRPr lang="en-GB" sz="1600" dirty="0">
              <a:solidFill>
                <a:srgbClr val="FFFFFF"/>
              </a:solidFill>
              <a:latin typeface="Montserrat"/>
            </a:endParaRPr>
          </a:p>
          <a:p>
            <a:pPr defTabSz="457200"/>
            <a:r>
              <a:rPr lang="en-GB" sz="1600" dirty="0">
                <a:solidFill>
                  <a:srgbClr val="FFFFFF"/>
                </a:solidFill>
                <a:latin typeface="Montserrat"/>
              </a:rPr>
              <a:t>Partner, HFW London </a:t>
            </a:r>
          </a:p>
        </p:txBody>
      </p:sp>
    </p:spTree>
    <p:extLst>
      <p:ext uri="{BB962C8B-B14F-4D97-AF65-F5344CB8AC3E}">
        <p14:creationId xmlns:p14="http://schemas.microsoft.com/office/powerpoint/2010/main" val="1669641886"/>
      </p:ext>
    </p:extLst>
  </p:cSld>
  <p:clrMapOvr>
    <a:masterClrMapping/>
  </p:clrMapOvr>
  <p:transition spd="med">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BCD6F79-AFC5-3592-3190-F001D0743520}"/>
              </a:ext>
            </a:extLst>
          </p:cNvPr>
          <p:cNvSpPr>
            <a:spLocks noGrp="1"/>
          </p:cNvSpPr>
          <p:nvPr>
            <p:ph type="title"/>
          </p:nvPr>
        </p:nvSpPr>
        <p:spPr>
          <a:xfrm>
            <a:off x="335524" y="423480"/>
            <a:ext cx="11232000" cy="467488"/>
          </a:xfrm>
        </p:spPr>
        <p:txBody>
          <a:bodyPr>
            <a:normAutofit fontScale="90000"/>
          </a:bodyPr>
          <a:lstStyle/>
          <a:p>
            <a:r>
              <a:rPr lang="en-GB" sz="3100" b="1" dirty="0">
                <a:solidFill>
                  <a:srgbClr val="414A75"/>
                </a:solidFill>
                <a:latin typeface="Arial" panose="020B0604020202020204" pitchFamily="34" charset="0"/>
                <a:ea typeface="Times New Roman" panose="02020603050405020304" pitchFamily="18" charset="0"/>
                <a:cs typeface="Arial" panose="020B0604020202020204" pitchFamily="34" charset="0"/>
              </a:rPr>
              <a:t>Reasons to uphold exclusive jurisdiction clause </a:t>
            </a:r>
            <a:br>
              <a:rPr lang="en-GB" sz="2400" dirty="0">
                <a:latin typeface="Arial" panose="020B0604020202020204" pitchFamily="34" charset="0"/>
                <a:ea typeface="Times New Roman" panose="02020603050405020304" pitchFamily="18" charset="0"/>
                <a:cs typeface="Times New Roman" panose="02020603050405020304" pitchFamily="18" charset="0"/>
              </a:rPr>
            </a:br>
            <a:endParaRPr lang="en-GB" dirty="0"/>
          </a:p>
        </p:txBody>
      </p:sp>
      <p:sp>
        <p:nvSpPr>
          <p:cNvPr id="10" name="Content Placeholder 9">
            <a:extLst>
              <a:ext uri="{FF2B5EF4-FFF2-40B4-BE49-F238E27FC236}">
                <a16:creationId xmlns:a16="http://schemas.microsoft.com/office/drawing/2014/main" id="{AB8B3604-7EB0-17EB-3559-BB6D261F56A4}"/>
              </a:ext>
            </a:extLst>
          </p:cNvPr>
          <p:cNvSpPr>
            <a:spLocks noGrp="1"/>
          </p:cNvSpPr>
          <p:nvPr>
            <p:ph sz="quarter" idx="14"/>
          </p:nvPr>
        </p:nvSpPr>
        <p:spPr>
          <a:xfrm>
            <a:off x="256010" y="890968"/>
            <a:ext cx="11232000" cy="4788000"/>
          </a:xfrm>
        </p:spPr>
        <p:txBody>
          <a:bodyPr>
            <a:noAutofit/>
          </a:bodyPr>
          <a:lstStyle/>
          <a:p>
            <a:pPr marL="0" lvl="3" indent="0">
              <a:buNone/>
            </a:pPr>
            <a:r>
              <a:rPr lang="en-GB" sz="1800" dirty="0">
                <a:solidFill>
                  <a:srgbClr val="333F48"/>
                </a:solidFill>
                <a:highlight>
                  <a:srgbClr val="FFFFFF"/>
                </a:highlight>
                <a:latin typeface="Arial" panose="020B0604020202020204" pitchFamily="34" charset="0"/>
                <a:ea typeface="Times New Roman" panose="02020603050405020304" pitchFamily="18" charset="0"/>
                <a:cs typeface="Arial" panose="020B0604020202020204" pitchFamily="34" charset="0"/>
              </a:rPr>
              <a:t>In most, but not all, cases the courts of England will give effect to a jurisdiction clause vesting jurisdiction in them or in the courts of another state. </a:t>
            </a:r>
          </a:p>
          <a:p>
            <a:pPr marL="0" lvl="3" indent="0">
              <a:buNone/>
            </a:pPr>
            <a:r>
              <a:rPr lang="en-GB" sz="1800" dirty="0">
                <a:solidFill>
                  <a:srgbClr val="333F48"/>
                </a:solidFill>
                <a:highlight>
                  <a:srgbClr val="FFFFFF"/>
                </a:highlight>
                <a:latin typeface="Arial" panose="020B0604020202020204" pitchFamily="34" charset="0"/>
                <a:cs typeface="Arial" panose="020B0604020202020204" pitchFamily="34" charset="0"/>
              </a:rPr>
              <a:t>The strong policy reasons include:</a:t>
            </a:r>
          </a:p>
          <a:p>
            <a:pPr lvl="3"/>
            <a:r>
              <a:rPr lang="en-GB" sz="1800" dirty="0">
                <a:solidFill>
                  <a:srgbClr val="333F48"/>
                </a:solidFill>
                <a:highlight>
                  <a:srgbClr val="FFFFFF"/>
                </a:highlight>
                <a:latin typeface="Arial" panose="020B0604020202020204" pitchFamily="34" charset="0"/>
                <a:cs typeface="Arial" panose="020B0604020202020204" pitchFamily="34" charset="0"/>
              </a:rPr>
              <a:t>Recognition of the freedom of parties to contract as they wish.</a:t>
            </a:r>
            <a:r>
              <a:rPr lang="en-GB" sz="1800" dirty="0">
                <a:solidFill>
                  <a:srgbClr val="1C1C1C"/>
                </a:solidFill>
                <a:highlight>
                  <a:srgbClr val="FBFAF6"/>
                </a:highlight>
                <a:latin typeface="Arial" panose="020B0604020202020204" pitchFamily="34" charset="0"/>
                <a:cs typeface="Arial" panose="020B0604020202020204" pitchFamily="34" charset="0"/>
              </a:rPr>
              <a:t> </a:t>
            </a:r>
            <a:endParaRPr lang="en-GB" sz="1800" dirty="0">
              <a:solidFill>
                <a:srgbClr val="333F48"/>
              </a:solidFill>
              <a:highlight>
                <a:srgbClr val="FFFFFF"/>
              </a:highlight>
              <a:latin typeface="Arial" panose="020B0604020202020204" pitchFamily="34" charset="0"/>
              <a:cs typeface="Arial" panose="020B0604020202020204" pitchFamily="34" charset="0"/>
            </a:endParaRPr>
          </a:p>
          <a:p>
            <a:pPr lvl="3"/>
            <a:r>
              <a:rPr lang="en-GB" sz="1800" dirty="0">
                <a:solidFill>
                  <a:srgbClr val="333F48"/>
                </a:solidFill>
                <a:highlight>
                  <a:srgbClr val="FFFFFF"/>
                </a:highlight>
                <a:latin typeface="Arial" panose="020B0604020202020204" pitchFamily="34" charset="0"/>
                <a:cs typeface="Arial" panose="020B0604020202020204" pitchFamily="34" charset="0"/>
              </a:rPr>
              <a:t>The interest of justice and the courts may be served by holding parties to their bargain.</a:t>
            </a:r>
          </a:p>
          <a:p>
            <a:pPr lvl="3"/>
            <a:r>
              <a:rPr lang="en-GB" sz="1800" dirty="0">
                <a:solidFill>
                  <a:srgbClr val="333F48"/>
                </a:solidFill>
                <a:highlight>
                  <a:srgbClr val="FFFFFF"/>
                </a:highlight>
                <a:latin typeface="Arial" panose="020B0604020202020204" pitchFamily="34" charset="0"/>
                <a:cs typeface="Arial" panose="020B0604020202020204" pitchFamily="34" charset="0"/>
              </a:rPr>
              <a:t>Commercial certainty.</a:t>
            </a:r>
          </a:p>
          <a:p>
            <a:pPr marL="0" lvl="3" indent="0">
              <a:buNone/>
            </a:pPr>
            <a:r>
              <a:rPr lang="en-GB" sz="1800" dirty="0">
                <a:solidFill>
                  <a:srgbClr val="333F48"/>
                </a:solidFill>
                <a:highlight>
                  <a:srgbClr val="FFFFFF"/>
                </a:highlight>
                <a:latin typeface="Arial" panose="020B0604020202020204" pitchFamily="34" charset="0"/>
                <a:cs typeface="Arial" panose="020B0604020202020204" pitchFamily="34" charset="0"/>
              </a:rPr>
              <a:t>Local law in certain common and civil law jurisdictions may also require that courts give effect to them.</a:t>
            </a:r>
          </a:p>
          <a:p>
            <a:pPr marL="0" lvl="3" indent="0">
              <a:buNone/>
            </a:pPr>
            <a:endParaRPr lang="en-GB" sz="1867" dirty="0">
              <a:solidFill>
                <a:srgbClr val="333F48"/>
              </a:solidFill>
              <a:highlight>
                <a:srgbClr val="FFFFFF"/>
              </a:highlight>
            </a:endParaRPr>
          </a:p>
        </p:txBody>
      </p:sp>
      <p:sp>
        <p:nvSpPr>
          <p:cNvPr id="2" name="Slide Number Placeholder 1">
            <a:extLst>
              <a:ext uri="{FF2B5EF4-FFF2-40B4-BE49-F238E27FC236}">
                <a16:creationId xmlns:a16="http://schemas.microsoft.com/office/drawing/2014/main" id="{62572A63-3020-5BE6-E8DA-3C1B4705FA4A}"/>
              </a:ext>
            </a:extLst>
          </p:cNvPr>
          <p:cNvSpPr>
            <a:spLocks noGrp="1"/>
          </p:cNvSpPr>
          <p:nvPr>
            <p:ph type="sldNum" sz="quarter" idx="12"/>
          </p:nvPr>
        </p:nvSpPr>
        <p:spPr/>
        <p:txBody>
          <a:bodyPr/>
          <a:lstStyle/>
          <a:p>
            <a:fld id="{7DAB47CC-2047-4FFE-9F3B-6C9AB62C3816}" type="slidenum">
              <a:rPr lang="en-GB" smtClean="0"/>
              <a:pPr/>
              <a:t>10</a:t>
            </a:fld>
            <a:endParaRPr lang="en-GB"/>
          </a:p>
        </p:txBody>
      </p:sp>
    </p:spTree>
    <p:extLst>
      <p:ext uri="{BB962C8B-B14F-4D97-AF65-F5344CB8AC3E}">
        <p14:creationId xmlns:p14="http://schemas.microsoft.com/office/powerpoint/2010/main" val="37093012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BCD6F79-AFC5-3592-3190-F001D0743520}"/>
              </a:ext>
            </a:extLst>
          </p:cNvPr>
          <p:cNvSpPr>
            <a:spLocks noGrp="1"/>
          </p:cNvSpPr>
          <p:nvPr>
            <p:ph type="title"/>
          </p:nvPr>
        </p:nvSpPr>
        <p:spPr>
          <a:xfrm>
            <a:off x="302127" y="423480"/>
            <a:ext cx="11038421" cy="467488"/>
          </a:xfrm>
        </p:spPr>
        <p:txBody>
          <a:bodyPr>
            <a:normAutofit fontScale="90000"/>
          </a:bodyPr>
          <a:lstStyle/>
          <a:p>
            <a:r>
              <a:rPr lang="en-GB" sz="3100" b="1" dirty="0">
                <a:solidFill>
                  <a:srgbClr val="414A75"/>
                </a:solidFill>
                <a:latin typeface="Montserrat" panose="00000500000000000000" pitchFamily="50" charset="0"/>
                <a:ea typeface="Times New Roman" panose="02020603050405020304" pitchFamily="18" charset="0"/>
                <a:cs typeface="Times New Roman" panose="02020603050405020304" pitchFamily="18" charset="0"/>
              </a:rPr>
              <a:t>CIRCUMSTANCES WHERE A EJC MAY NOT be upheld</a:t>
            </a:r>
            <a:br>
              <a:rPr lang="en-GB" sz="2400" dirty="0">
                <a:latin typeface="Arial" panose="020B0604020202020204" pitchFamily="34" charset="0"/>
                <a:ea typeface="Times New Roman" panose="02020603050405020304" pitchFamily="18" charset="0"/>
                <a:cs typeface="Times New Roman" panose="02020603050405020304" pitchFamily="18" charset="0"/>
              </a:rPr>
            </a:br>
            <a:endParaRPr lang="en-GB" dirty="0"/>
          </a:p>
        </p:txBody>
      </p:sp>
      <p:sp>
        <p:nvSpPr>
          <p:cNvPr id="10" name="Content Placeholder 9">
            <a:extLst>
              <a:ext uri="{FF2B5EF4-FFF2-40B4-BE49-F238E27FC236}">
                <a16:creationId xmlns:a16="http://schemas.microsoft.com/office/drawing/2014/main" id="{AB8B3604-7EB0-17EB-3559-BB6D261F56A4}"/>
              </a:ext>
            </a:extLst>
          </p:cNvPr>
          <p:cNvSpPr>
            <a:spLocks noGrp="1"/>
          </p:cNvSpPr>
          <p:nvPr>
            <p:ph sz="quarter" idx="14"/>
          </p:nvPr>
        </p:nvSpPr>
        <p:spPr>
          <a:xfrm>
            <a:off x="302127" y="1176103"/>
            <a:ext cx="11232000" cy="4788000"/>
          </a:xfrm>
        </p:spPr>
        <p:txBody>
          <a:bodyPr>
            <a:noAutofit/>
          </a:bodyPr>
          <a:lstStyle/>
          <a:p>
            <a:pPr marL="0" lvl="3" indent="0">
              <a:buNone/>
            </a:pPr>
            <a:r>
              <a:rPr lang="en-GB" sz="2000" dirty="0">
                <a:solidFill>
                  <a:srgbClr val="333F48"/>
                </a:solidFill>
                <a:highlight>
                  <a:srgbClr val="FFFFFF"/>
                </a:highlight>
                <a:latin typeface="Arial" panose="020B0604020202020204" pitchFamily="34" charset="0"/>
                <a:ea typeface="Times New Roman" panose="02020603050405020304" pitchFamily="18" charset="0"/>
                <a:cs typeface="Arial" panose="020B0604020202020204" pitchFamily="34" charset="0"/>
              </a:rPr>
              <a:t>However, they do not always give effect to jurisdiction clauses:</a:t>
            </a:r>
            <a:endParaRPr lang="en-GB" sz="2000" dirty="0">
              <a:highlight>
                <a:srgbClr val="FFFFFF"/>
              </a:highlight>
              <a:latin typeface="Arial" panose="020B0604020202020204" pitchFamily="34" charset="0"/>
              <a:ea typeface="Times New Roman" panose="02020603050405020304" pitchFamily="18" charset="0"/>
              <a:cs typeface="Arial" panose="020B0604020202020204" pitchFamily="34" charset="0"/>
            </a:endParaRPr>
          </a:p>
          <a:p>
            <a:pPr marL="457189" indent="-457189" fontAlgn="base">
              <a:spcBef>
                <a:spcPts val="0"/>
              </a:spcBef>
              <a:buSzPts val="1000"/>
              <a:buFont typeface="Wingdings" panose="05000000000000000000" pitchFamily="2" charset="2"/>
              <a:buChar char=""/>
              <a:tabLst>
                <a:tab pos="609585" algn="l"/>
              </a:tabLst>
            </a:pPr>
            <a:r>
              <a:rPr lang="en-GB" sz="2000" dirty="0">
                <a:solidFill>
                  <a:srgbClr val="333F48"/>
                </a:solidFill>
                <a:highlight>
                  <a:srgbClr val="FFFFFF"/>
                </a:highlight>
                <a:latin typeface="Arial" panose="020B0604020202020204" pitchFamily="34" charset="0"/>
                <a:ea typeface="Times New Roman" panose="02020603050405020304" pitchFamily="18" charset="0"/>
                <a:cs typeface="Arial" panose="020B0604020202020204" pitchFamily="34" charset="0"/>
              </a:rPr>
              <a:t>where the clause is poorly drafted / ambiguous;</a:t>
            </a:r>
          </a:p>
          <a:p>
            <a:pPr marL="457189" indent="-457189" fontAlgn="base">
              <a:spcBef>
                <a:spcPts val="0"/>
              </a:spcBef>
              <a:buSzPts val="1000"/>
              <a:buFont typeface="Wingdings" panose="05000000000000000000" pitchFamily="2" charset="2"/>
              <a:buChar char=""/>
              <a:tabLst>
                <a:tab pos="609585" algn="l"/>
              </a:tabLst>
            </a:pPr>
            <a:r>
              <a:rPr lang="en-GB" sz="2000" dirty="0">
                <a:solidFill>
                  <a:srgbClr val="333F48"/>
                </a:solidFill>
                <a:highlight>
                  <a:srgbClr val="FFFFFF"/>
                </a:highlight>
                <a:latin typeface="Arial" panose="020B0604020202020204" pitchFamily="34" charset="0"/>
                <a:ea typeface="Times New Roman" panose="02020603050405020304" pitchFamily="18" charset="0"/>
                <a:cs typeface="Arial" panose="020B0604020202020204" pitchFamily="34" charset="0"/>
              </a:rPr>
              <a:t>the "battle of forms" - not clear on which terms the parties have contracted; </a:t>
            </a:r>
            <a:endParaRPr lang="en-GB" sz="2000" dirty="0">
              <a:highlight>
                <a:srgbClr val="FFFFFF"/>
              </a:highlight>
              <a:latin typeface="Arial" panose="020B0604020202020204" pitchFamily="34" charset="0"/>
              <a:ea typeface="Times New Roman" panose="02020603050405020304" pitchFamily="18" charset="0"/>
              <a:cs typeface="Arial" panose="020B0604020202020204" pitchFamily="34" charset="0"/>
            </a:endParaRPr>
          </a:p>
          <a:p>
            <a:pPr marL="457189" indent="-457189" fontAlgn="base">
              <a:spcBef>
                <a:spcPts val="0"/>
              </a:spcBef>
              <a:buSzPts val="1000"/>
              <a:buFont typeface="Wingdings" panose="05000000000000000000" pitchFamily="2" charset="2"/>
              <a:buChar char=""/>
              <a:tabLst>
                <a:tab pos="609585" algn="l"/>
              </a:tabLst>
            </a:pPr>
            <a:r>
              <a:rPr lang="en-GB" sz="2000" dirty="0">
                <a:solidFill>
                  <a:srgbClr val="333F48"/>
                </a:solidFill>
                <a:highlight>
                  <a:srgbClr val="FFFFFF"/>
                </a:highlight>
                <a:latin typeface="Arial" panose="020B0604020202020204" pitchFamily="34" charset="0"/>
                <a:ea typeface="Times New Roman" panose="02020603050405020304" pitchFamily="18" charset="0"/>
                <a:cs typeface="Arial" panose="020B0604020202020204" pitchFamily="34" charset="0"/>
              </a:rPr>
              <a:t>where, since agreeing the clause, some factor that could not have been foreseen at the time the bargain was struck has occurred;</a:t>
            </a:r>
            <a:endParaRPr lang="en-GB" sz="2000" dirty="0">
              <a:highlight>
                <a:srgbClr val="FFFFFF"/>
              </a:highlight>
              <a:latin typeface="Arial" panose="020B0604020202020204" pitchFamily="34" charset="0"/>
              <a:ea typeface="Times New Roman" panose="02020603050405020304" pitchFamily="18" charset="0"/>
              <a:cs typeface="Arial" panose="020B0604020202020204" pitchFamily="34" charset="0"/>
            </a:endParaRPr>
          </a:p>
          <a:p>
            <a:pPr marL="457189" indent="-457189" fontAlgn="base">
              <a:spcBef>
                <a:spcPts val="0"/>
              </a:spcBef>
              <a:buSzPts val="1000"/>
              <a:buFont typeface="Wingdings" panose="05000000000000000000" pitchFamily="2" charset="2"/>
              <a:buChar char=""/>
              <a:tabLst>
                <a:tab pos="609585" algn="l"/>
              </a:tabLst>
            </a:pPr>
            <a:r>
              <a:rPr lang="en-GB" sz="2000" dirty="0">
                <a:solidFill>
                  <a:srgbClr val="333F48"/>
                </a:solidFill>
                <a:highlight>
                  <a:srgbClr val="FFFFFF"/>
                </a:highlight>
                <a:latin typeface="Arial" panose="020B0604020202020204" pitchFamily="34" charset="0"/>
                <a:ea typeface="Times New Roman" panose="02020603050405020304" pitchFamily="18" charset="0"/>
                <a:cs typeface="Arial" panose="020B0604020202020204" pitchFamily="34" charset="0"/>
              </a:rPr>
              <a:t>where rules of jurisdiction provide that certain disputes have to be decided by certain courts;</a:t>
            </a:r>
            <a:endParaRPr lang="en-GB" sz="2000" dirty="0">
              <a:highlight>
                <a:srgbClr val="FFFFFF"/>
              </a:highlight>
              <a:latin typeface="Arial" panose="020B0604020202020204" pitchFamily="34" charset="0"/>
              <a:ea typeface="Times New Roman" panose="02020603050405020304" pitchFamily="18" charset="0"/>
              <a:cs typeface="Arial" panose="020B0604020202020204" pitchFamily="34" charset="0"/>
            </a:endParaRPr>
          </a:p>
          <a:p>
            <a:pPr marL="457189" indent="-457189" fontAlgn="base">
              <a:spcBef>
                <a:spcPts val="0"/>
              </a:spcBef>
              <a:buSzPts val="1000"/>
              <a:buFont typeface="Wingdings" panose="05000000000000000000" pitchFamily="2" charset="2"/>
              <a:buChar char=""/>
              <a:tabLst>
                <a:tab pos="609585" algn="l"/>
              </a:tabLst>
            </a:pPr>
            <a:r>
              <a:rPr lang="en-GB" sz="2000" dirty="0">
                <a:solidFill>
                  <a:srgbClr val="333F48"/>
                </a:solidFill>
                <a:highlight>
                  <a:srgbClr val="FFFFFF"/>
                </a:highlight>
                <a:latin typeface="Arial" panose="020B0604020202020204" pitchFamily="34" charset="0"/>
                <a:ea typeface="Times New Roman" panose="02020603050405020304" pitchFamily="18" charset="0"/>
                <a:cs typeface="Arial" panose="020B0604020202020204" pitchFamily="34" charset="0"/>
              </a:rPr>
              <a:t>where the clause is non-exclusive and the other party initiates proceedings in another state; </a:t>
            </a:r>
          </a:p>
          <a:p>
            <a:pPr marL="457189" indent="-457189" fontAlgn="base">
              <a:spcBef>
                <a:spcPts val="0"/>
              </a:spcBef>
              <a:buSzPts val="1000"/>
              <a:buFont typeface="Wingdings" panose="05000000000000000000" pitchFamily="2" charset="2"/>
              <a:buChar char=""/>
              <a:tabLst>
                <a:tab pos="609585" algn="l"/>
              </a:tabLst>
            </a:pPr>
            <a:r>
              <a:rPr lang="en-GB" sz="2000" dirty="0">
                <a:solidFill>
                  <a:srgbClr val="333F48"/>
                </a:solidFill>
                <a:highlight>
                  <a:srgbClr val="FFFFFF"/>
                </a:highlight>
                <a:latin typeface="Arial" panose="020B0604020202020204" pitchFamily="34" charset="0"/>
                <a:ea typeface="Times New Roman" panose="02020603050405020304" pitchFamily="18" charset="0"/>
                <a:cs typeface="Arial" panose="020B0604020202020204" pitchFamily="34" charset="0"/>
              </a:rPr>
              <a:t>where there are “</a:t>
            </a:r>
            <a:r>
              <a:rPr lang="en-GB" sz="2000" b="1" dirty="0">
                <a:solidFill>
                  <a:srgbClr val="333F48"/>
                </a:solidFill>
                <a:highlight>
                  <a:srgbClr val="FFFFFF"/>
                </a:highlight>
                <a:latin typeface="Arial" panose="020B0604020202020204" pitchFamily="34" charset="0"/>
                <a:ea typeface="Times New Roman" panose="02020603050405020304" pitchFamily="18" charset="0"/>
                <a:cs typeface="Arial" panose="020B0604020202020204" pitchFamily="34" charset="0"/>
              </a:rPr>
              <a:t>strong reasons</a:t>
            </a:r>
            <a:r>
              <a:rPr lang="en-GB" sz="2000" dirty="0">
                <a:solidFill>
                  <a:srgbClr val="333F48"/>
                </a:solidFill>
                <a:highlight>
                  <a:srgbClr val="FFFFFF"/>
                </a:highlight>
                <a:latin typeface="Arial" panose="020B0604020202020204" pitchFamily="34" charset="0"/>
                <a:ea typeface="Times New Roman" panose="02020603050405020304" pitchFamily="18" charset="0"/>
                <a:cs typeface="Arial" panose="020B0604020202020204" pitchFamily="34" charset="0"/>
              </a:rPr>
              <a:t>” (policy reasons underly the test) not to do so.</a:t>
            </a:r>
          </a:p>
          <a:p>
            <a:pPr fontAlgn="base">
              <a:spcBef>
                <a:spcPts val="0"/>
              </a:spcBef>
              <a:buSzPts val="1000"/>
              <a:tabLst>
                <a:tab pos="609585" algn="l"/>
              </a:tabLst>
            </a:pPr>
            <a:r>
              <a:rPr lang="en-GB" sz="2000" dirty="0">
                <a:solidFill>
                  <a:srgbClr val="333F48"/>
                </a:solidFill>
                <a:highlight>
                  <a:srgbClr val="FFFFFF"/>
                </a:highlight>
                <a:latin typeface="Arial" panose="020B0604020202020204" pitchFamily="34" charset="0"/>
                <a:ea typeface="Times New Roman" panose="02020603050405020304" pitchFamily="18" charset="0"/>
                <a:cs typeface="Arial" panose="020B0604020202020204" pitchFamily="34" charset="0"/>
              </a:rPr>
              <a:t>   </a:t>
            </a:r>
            <a:endParaRPr lang="en-GB" sz="2000" dirty="0">
              <a:highlight>
                <a:srgbClr val="FFFFFF"/>
              </a:highlight>
              <a:latin typeface="Arial" panose="020B0604020202020204" pitchFamily="34" charset="0"/>
              <a:ea typeface="Times New Roman" panose="02020603050405020304" pitchFamily="18" charset="0"/>
              <a:cs typeface="Arial" panose="020B0604020202020204" pitchFamily="34" charset="0"/>
            </a:endParaRPr>
          </a:p>
        </p:txBody>
      </p:sp>
      <p:sp>
        <p:nvSpPr>
          <p:cNvPr id="2" name="Slide Number Placeholder 1">
            <a:extLst>
              <a:ext uri="{FF2B5EF4-FFF2-40B4-BE49-F238E27FC236}">
                <a16:creationId xmlns:a16="http://schemas.microsoft.com/office/drawing/2014/main" id="{E6420389-8485-E5E9-6675-CB55102A0C8B}"/>
              </a:ext>
            </a:extLst>
          </p:cNvPr>
          <p:cNvSpPr>
            <a:spLocks noGrp="1"/>
          </p:cNvSpPr>
          <p:nvPr>
            <p:ph type="sldNum" sz="quarter" idx="12"/>
          </p:nvPr>
        </p:nvSpPr>
        <p:spPr/>
        <p:txBody>
          <a:bodyPr/>
          <a:lstStyle/>
          <a:p>
            <a:fld id="{7DAB47CC-2047-4FFE-9F3B-6C9AB62C3816}" type="slidenum">
              <a:rPr lang="en-GB" smtClean="0"/>
              <a:pPr/>
              <a:t>11</a:t>
            </a:fld>
            <a:endParaRPr lang="en-GB"/>
          </a:p>
        </p:txBody>
      </p:sp>
    </p:spTree>
    <p:extLst>
      <p:ext uri="{BB962C8B-B14F-4D97-AF65-F5344CB8AC3E}">
        <p14:creationId xmlns:p14="http://schemas.microsoft.com/office/powerpoint/2010/main" val="385296427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EF4E1C-E250-F6D0-C547-4B652EE04610}"/>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EE2D4ADA-ED49-3192-0D7D-01AD0AE76C4F}"/>
              </a:ext>
            </a:extLst>
          </p:cNvPr>
          <p:cNvSpPr>
            <a:spLocks noGrp="1"/>
          </p:cNvSpPr>
          <p:nvPr>
            <p:ph type="title"/>
          </p:nvPr>
        </p:nvSpPr>
        <p:spPr>
          <a:xfrm>
            <a:off x="302127" y="423480"/>
            <a:ext cx="11038421" cy="467488"/>
          </a:xfrm>
        </p:spPr>
        <p:txBody>
          <a:bodyPr>
            <a:normAutofit fontScale="90000"/>
          </a:bodyPr>
          <a:lstStyle/>
          <a:p>
            <a:r>
              <a:rPr lang="en-GB" sz="3100" b="1" dirty="0">
                <a:solidFill>
                  <a:srgbClr val="414A75"/>
                </a:solidFill>
                <a:latin typeface="Montserrat" panose="00000500000000000000" pitchFamily="50" charset="0"/>
                <a:ea typeface="Times New Roman" panose="02020603050405020304" pitchFamily="18" charset="0"/>
                <a:cs typeface="Times New Roman" panose="02020603050405020304" pitchFamily="18" charset="0"/>
              </a:rPr>
              <a:t>CIRCUMSTANCES WHERE A EJC MAY NOT be upheld</a:t>
            </a:r>
            <a:br>
              <a:rPr lang="en-GB" sz="2400" dirty="0">
                <a:latin typeface="Arial" panose="020B0604020202020204" pitchFamily="34" charset="0"/>
                <a:ea typeface="Times New Roman" panose="02020603050405020304" pitchFamily="18" charset="0"/>
                <a:cs typeface="Times New Roman" panose="02020603050405020304" pitchFamily="18" charset="0"/>
              </a:rPr>
            </a:br>
            <a:endParaRPr lang="en-GB" dirty="0"/>
          </a:p>
        </p:txBody>
      </p:sp>
      <p:sp>
        <p:nvSpPr>
          <p:cNvPr id="10" name="Content Placeholder 9">
            <a:extLst>
              <a:ext uri="{FF2B5EF4-FFF2-40B4-BE49-F238E27FC236}">
                <a16:creationId xmlns:a16="http://schemas.microsoft.com/office/drawing/2014/main" id="{AAC94C8C-E21D-4A10-E38C-D409A8EAE996}"/>
              </a:ext>
            </a:extLst>
          </p:cNvPr>
          <p:cNvSpPr>
            <a:spLocks noGrp="1"/>
          </p:cNvSpPr>
          <p:nvPr>
            <p:ph sz="quarter" idx="14"/>
          </p:nvPr>
        </p:nvSpPr>
        <p:spPr>
          <a:xfrm>
            <a:off x="302127" y="890968"/>
            <a:ext cx="11587746" cy="4788000"/>
          </a:xfrm>
        </p:spPr>
        <p:txBody>
          <a:bodyPr>
            <a:noAutofit/>
          </a:bodyPr>
          <a:lstStyle/>
          <a:p>
            <a:pPr marL="0" lvl="3" indent="0">
              <a:lnSpc>
                <a:spcPct val="100000"/>
              </a:lnSpc>
              <a:buNone/>
            </a:pPr>
            <a:r>
              <a:rPr lang="en-GB" sz="2000" dirty="0">
                <a:solidFill>
                  <a:schemeClr val="tx2"/>
                </a:solidFill>
                <a:highlight>
                  <a:srgbClr val="FFFFFF"/>
                </a:highlight>
                <a:latin typeface="Arial" panose="020B0604020202020204" pitchFamily="34" charset="0"/>
                <a:ea typeface="Times New Roman" panose="02020603050405020304" pitchFamily="18" charset="0"/>
                <a:cs typeface="Arial" panose="020B0604020202020204" pitchFamily="34" charset="0"/>
              </a:rPr>
              <a:t>Strong reasons test considerations:</a:t>
            </a:r>
          </a:p>
          <a:p>
            <a:pPr lvl="4">
              <a:lnSpc>
                <a:spcPct val="100000"/>
              </a:lnSpc>
            </a:pPr>
            <a:r>
              <a:rPr lang="en-GB" sz="2000" kern="0" dirty="0">
                <a:effectLst/>
                <a:latin typeface="Arial" panose="020B0604020202020204" pitchFamily="34" charset="0"/>
                <a:ea typeface="Times New Roman" panose="02020603050405020304" pitchFamily="18" charset="0"/>
                <a:cs typeface="Arial" panose="020B0604020202020204" pitchFamily="34" charset="0"/>
              </a:rPr>
              <a:t>the location of evidence</a:t>
            </a:r>
          </a:p>
          <a:p>
            <a:pPr lvl="4">
              <a:lnSpc>
                <a:spcPct val="100000"/>
              </a:lnSpc>
            </a:pPr>
            <a:r>
              <a:rPr lang="en-GB" sz="2000" kern="0" dirty="0">
                <a:latin typeface="Arial" panose="020B0604020202020204" pitchFamily="34" charset="0"/>
                <a:ea typeface="Times New Roman" panose="02020603050405020304" pitchFamily="18" charset="0"/>
                <a:cs typeface="Arial" panose="020B0604020202020204" pitchFamily="34" charset="0"/>
              </a:rPr>
              <a:t>whether the law of the foreign court applies and, if so, how it differs from English law </a:t>
            </a:r>
            <a:endParaRPr lang="en-GB" sz="2000" kern="0" dirty="0">
              <a:effectLst/>
              <a:latin typeface="Arial" panose="020B0604020202020204" pitchFamily="34" charset="0"/>
              <a:ea typeface="Times New Roman" panose="02020603050405020304" pitchFamily="18" charset="0"/>
              <a:cs typeface="Arial" panose="020B0604020202020204" pitchFamily="34" charset="0"/>
            </a:endParaRPr>
          </a:p>
          <a:p>
            <a:pPr lvl="4">
              <a:lnSpc>
                <a:spcPct val="100000"/>
              </a:lnSpc>
            </a:pPr>
            <a:r>
              <a:rPr lang="en-GB" sz="2000" kern="0" dirty="0">
                <a:effectLst/>
                <a:latin typeface="Arial" panose="020B0604020202020204" pitchFamily="34" charset="0"/>
                <a:ea typeface="Times New Roman" panose="02020603050405020304" pitchFamily="18" charset="0"/>
                <a:cs typeface="Arial" panose="020B0604020202020204" pitchFamily="34" charset="0"/>
              </a:rPr>
              <a:t>the relative convenience and expense of trial between England and the foreign country</a:t>
            </a:r>
          </a:p>
          <a:p>
            <a:pPr lvl="4">
              <a:lnSpc>
                <a:spcPct val="100000"/>
              </a:lnSpc>
            </a:pPr>
            <a:r>
              <a:rPr lang="en-GB" sz="2000" kern="0" dirty="0">
                <a:effectLst/>
                <a:latin typeface="Arial" panose="020B0604020202020204" pitchFamily="34" charset="0"/>
                <a:ea typeface="Times New Roman" panose="02020603050405020304" pitchFamily="18" charset="0"/>
                <a:cs typeface="Arial" panose="020B0604020202020204" pitchFamily="34" charset="0"/>
              </a:rPr>
              <a:t>the connections of the parties with either country</a:t>
            </a:r>
          </a:p>
          <a:p>
            <a:pPr lvl="4">
              <a:lnSpc>
                <a:spcPct val="100000"/>
              </a:lnSpc>
            </a:pPr>
            <a:r>
              <a:rPr lang="en-GB" sz="2000" kern="0" dirty="0">
                <a:latin typeface="Arial" panose="020B0604020202020204" pitchFamily="34" charset="0"/>
                <a:ea typeface="Times New Roman" panose="02020603050405020304" pitchFamily="18" charset="0"/>
                <a:cs typeface="Arial" panose="020B0604020202020204" pitchFamily="34" charset="0"/>
              </a:rPr>
              <a:t>whether defendants genuinely desire trial in a foreign country or are only seeking procedural advantages</a:t>
            </a:r>
            <a:endParaRPr lang="en-GB" sz="2000" kern="0" dirty="0">
              <a:effectLst/>
              <a:latin typeface="Arial" panose="020B0604020202020204" pitchFamily="34" charset="0"/>
              <a:ea typeface="Times New Roman" panose="02020603050405020304" pitchFamily="18" charset="0"/>
              <a:cs typeface="Arial" panose="020B0604020202020204" pitchFamily="34" charset="0"/>
            </a:endParaRPr>
          </a:p>
          <a:p>
            <a:pPr lvl="4">
              <a:lnSpc>
                <a:spcPct val="100000"/>
              </a:lnSpc>
            </a:pPr>
            <a:r>
              <a:rPr lang="en-GB" sz="2000" kern="0" dirty="0">
                <a:effectLst/>
                <a:latin typeface="Arial" panose="020B0604020202020204" pitchFamily="34" charset="0"/>
                <a:ea typeface="Times New Roman" panose="02020603050405020304" pitchFamily="18" charset="0"/>
                <a:cs typeface="Arial" panose="020B0604020202020204" pitchFamily="34" charset="0"/>
              </a:rPr>
              <a:t>whether claimants would be prejudiced by having to sue in the foreign court because, among other things, they would be unlikely to get a fair trial.</a:t>
            </a:r>
            <a:endParaRPr lang="en-GB" sz="2000" dirty="0">
              <a:solidFill>
                <a:schemeClr val="tx2"/>
              </a:solidFill>
              <a:highlight>
                <a:srgbClr val="FFFFFF"/>
              </a:highlight>
              <a:latin typeface="Arial" panose="020B0604020202020204" pitchFamily="34" charset="0"/>
              <a:ea typeface="Times New Roman" panose="02020603050405020304" pitchFamily="18" charset="0"/>
              <a:cs typeface="Arial" panose="020B0604020202020204" pitchFamily="34" charset="0"/>
            </a:endParaRPr>
          </a:p>
          <a:p>
            <a:pPr marL="0" lvl="3" indent="0">
              <a:lnSpc>
                <a:spcPct val="100000"/>
              </a:lnSpc>
              <a:buNone/>
            </a:pPr>
            <a:r>
              <a:rPr lang="en-GB" sz="2000" kern="0" dirty="0">
                <a:solidFill>
                  <a:srgbClr val="000000"/>
                </a:solidFill>
                <a:latin typeface="Arial" panose="020B0604020202020204" pitchFamily="34" charset="0"/>
                <a:ea typeface="Times New Roman" panose="02020603050405020304" pitchFamily="18" charset="0"/>
                <a:cs typeface="Arial" panose="020B0604020202020204" pitchFamily="34" charset="0"/>
              </a:rPr>
              <a:t>Consequences of war capable of being strong reasons to decline a stay as may make it unreasonable to hold a party to a bargain.</a:t>
            </a:r>
          </a:p>
          <a:p>
            <a:pPr marL="0" lvl="3" indent="0">
              <a:lnSpc>
                <a:spcPct val="100000"/>
              </a:lnSpc>
              <a:buNone/>
            </a:pPr>
            <a:r>
              <a:rPr lang="en-GB" sz="2000" kern="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English courts will not enforce or recognise a right or legal relationship arising under the law of a foreign country, if this would be inconsistent with fundamental public policy of English law.</a:t>
            </a:r>
            <a:endParaRPr lang="en-GB" sz="2000" kern="100" dirty="0">
              <a:effectLst/>
              <a:latin typeface="Arial" panose="020B0604020202020204" pitchFamily="34" charset="0"/>
              <a:ea typeface="Times New Roman" panose="02020603050405020304" pitchFamily="18" charset="0"/>
              <a:cs typeface="Arial" panose="020B0604020202020204" pitchFamily="34" charset="0"/>
            </a:endParaRPr>
          </a:p>
          <a:p>
            <a:pPr marL="0" lvl="3" indent="0">
              <a:buNone/>
            </a:pPr>
            <a:endParaRPr lang="en-GB" sz="1800" dirty="0">
              <a:highlight>
                <a:srgbClr val="FFFFFF"/>
              </a:highlight>
              <a:latin typeface="Arial" panose="020B0604020202020204" pitchFamily="34" charset="0"/>
              <a:ea typeface="Times New Roman" panose="02020603050405020304" pitchFamily="18" charset="0"/>
              <a:cs typeface="Arial" panose="020B0604020202020204" pitchFamily="34" charset="0"/>
            </a:endParaRPr>
          </a:p>
        </p:txBody>
      </p:sp>
      <p:sp>
        <p:nvSpPr>
          <p:cNvPr id="2" name="Slide Number Placeholder 1">
            <a:extLst>
              <a:ext uri="{FF2B5EF4-FFF2-40B4-BE49-F238E27FC236}">
                <a16:creationId xmlns:a16="http://schemas.microsoft.com/office/drawing/2014/main" id="{A8DFC057-88E7-574D-B811-DF95E95E7FE8}"/>
              </a:ext>
            </a:extLst>
          </p:cNvPr>
          <p:cNvSpPr>
            <a:spLocks noGrp="1"/>
          </p:cNvSpPr>
          <p:nvPr>
            <p:ph type="sldNum" sz="quarter" idx="12"/>
          </p:nvPr>
        </p:nvSpPr>
        <p:spPr/>
        <p:txBody>
          <a:bodyPr/>
          <a:lstStyle/>
          <a:p>
            <a:fld id="{7DAB47CC-2047-4FFE-9F3B-6C9AB62C3816}" type="slidenum">
              <a:rPr lang="en-GB" smtClean="0"/>
              <a:pPr/>
              <a:t>12</a:t>
            </a:fld>
            <a:endParaRPr lang="en-GB"/>
          </a:p>
        </p:txBody>
      </p:sp>
    </p:spTree>
    <p:extLst>
      <p:ext uri="{BB962C8B-B14F-4D97-AF65-F5344CB8AC3E}">
        <p14:creationId xmlns:p14="http://schemas.microsoft.com/office/powerpoint/2010/main" val="169007666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CE8A803C-920A-5FD0-D758-2C8A115465FD}"/>
              </a:ext>
            </a:extLst>
          </p:cNvPr>
          <p:cNvSpPr txBox="1">
            <a:spLocks/>
          </p:cNvSpPr>
          <p:nvPr/>
        </p:nvSpPr>
        <p:spPr>
          <a:xfrm>
            <a:off x="508793" y="480907"/>
            <a:ext cx="11174413" cy="1039999"/>
          </a:xfrm>
          <a:prstGeom prst="rect">
            <a:avLst/>
          </a:prstGeom>
        </p:spPr>
        <p:txBody>
          <a:bodyPr/>
          <a:lstStyle>
            <a:lvl1pPr algn="l" defTabSz="914400" rtl="0" eaLnBrk="1" latinLnBrk="0" hangingPunct="1">
              <a:lnSpc>
                <a:spcPct val="90000"/>
              </a:lnSpc>
              <a:spcBef>
                <a:spcPct val="0"/>
              </a:spcBef>
              <a:buNone/>
              <a:defRPr sz="3200" kern="1200" cap="all" baseline="0">
                <a:solidFill>
                  <a:schemeClr val="tx2"/>
                </a:solidFill>
                <a:latin typeface="+mn-lt"/>
                <a:ea typeface="+mj-ea"/>
                <a:cs typeface="+mj-cs"/>
              </a:defRPr>
            </a:lvl1pPr>
          </a:lstStyle>
          <a:p>
            <a:r>
              <a:rPr lang="en-US" sz="2800" b="1" dirty="0"/>
              <a:t>Case law 2024: : exclusive jurisdiction clauses </a:t>
            </a:r>
            <a:endParaRPr lang="en-GB" sz="2800" dirty="0"/>
          </a:p>
        </p:txBody>
      </p:sp>
      <p:sp>
        <p:nvSpPr>
          <p:cNvPr id="4" name="TextBox 3">
            <a:extLst>
              <a:ext uri="{FF2B5EF4-FFF2-40B4-BE49-F238E27FC236}">
                <a16:creationId xmlns:a16="http://schemas.microsoft.com/office/drawing/2014/main" id="{C3DDD847-7964-717C-FC11-241981CC4F9D}"/>
              </a:ext>
            </a:extLst>
          </p:cNvPr>
          <p:cNvSpPr txBox="1"/>
          <p:nvPr/>
        </p:nvSpPr>
        <p:spPr>
          <a:xfrm>
            <a:off x="286870" y="1000906"/>
            <a:ext cx="11396336" cy="5616922"/>
          </a:xfrm>
          <a:prstGeom prst="rect">
            <a:avLst/>
          </a:prstGeom>
          <a:noFill/>
        </p:spPr>
        <p:txBody>
          <a:bodyPr wrap="square">
            <a:spAutoFit/>
          </a:bodyPr>
          <a:lstStyle/>
          <a:p>
            <a:r>
              <a:rPr lang="en-GB" dirty="0">
                <a:latin typeface="Arial" panose="020B0604020202020204" pitchFamily="34" charset="0"/>
                <a:ea typeface="Times New Roman" panose="02020603050405020304" pitchFamily="18" charset="0"/>
                <a:cs typeface="Arial" panose="020B0604020202020204" pitchFamily="34" charset="0"/>
              </a:rPr>
              <a:t>M</a:t>
            </a:r>
            <a:r>
              <a:rPr lang="en-GB" dirty="0">
                <a:effectLst/>
                <a:latin typeface="Arial" panose="020B0604020202020204" pitchFamily="34" charset="0"/>
                <a:ea typeface="Times New Roman" panose="02020603050405020304" pitchFamily="18" charset="0"/>
                <a:cs typeface="Arial" panose="020B0604020202020204" pitchFamily="34" charset="0"/>
              </a:rPr>
              <a:t>ajority of reinsurance policies contained governing law clauses applying Russian or Ukrainian law and  exclusive jurisdiction clauses requiring the resolution of disputes in Russia and Ukraine. These were challenged.</a:t>
            </a:r>
            <a:endParaRPr lang="en-GB" dirty="0">
              <a:solidFill>
                <a:srgbClr val="002060"/>
              </a:solidFill>
              <a:effectLst/>
              <a:highlight>
                <a:srgbClr val="FFFFFF"/>
              </a:highlight>
              <a:latin typeface="Arial" panose="020B0604020202020204" pitchFamily="34" charset="0"/>
              <a:ea typeface="Times New Roman" panose="02020603050405020304" pitchFamily="18" charset="0"/>
              <a:cs typeface="Arial" panose="020B0604020202020204" pitchFamily="34" charset="0"/>
            </a:endParaRPr>
          </a:p>
          <a:p>
            <a:endParaRPr lang="en-GB" dirty="0">
              <a:solidFill>
                <a:srgbClr val="002060"/>
              </a:solidFill>
              <a:highlight>
                <a:srgbClr val="FFFFFF"/>
              </a:highlight>
              <a:latin typeface="+mj-lt"/>
              <a:ea typeface="Times New Roman" panose="02020603050405020304" pitchFamily="18" charset="0"/>
              <a:cs typeface="Times New Roman" panose="02020603050405020304" pitchFamily="18" charset="0"/>
            </a:endParaRPr>
          </a:p>
          <a:p>
            <a:pPr algn="l">
              <a:spcAft>
                <a:spcPts val="1100"/>
              </a:spcAft>
            </a:pPr>
            <a:r>
              <a:rPr lang="en-GB" dirty="0">
                <a:solidFill>
                  <a:srgbClr val="002060"/>
                </a:solidFill>
                <a:effectLst/>
                <a:highlight>
                  <a:srgbClr val="FFFFFF"/>
                </a:highlight>
                <a:latin typeface="Arial" panose="020B0604020202020204" pitchFamily="34" charset="0"/>
                <a:ea typeface="Times New Roman" panose="02020603050405020304" pitchFamily="18" charset="0"/>
                <a:cs typeface="Arial" panose="020B0604020202020204" pitchFamily="34" charset="0"/>
              </a:rPr>
              <a:t>Zephyrus Capital Aviation Partners 1d Limited And Others - and - Fidelis Underwriting Limited And Others 28</a:t>
            </a:r>
            <a:r>
              <a:rPr lang="en-GB" baseline="30000" dirty="0">
                <a:solidFill>
                  <a:srgbClr val="002060"/>
                </a:solidFill>
                <a:effectLst/>
                <a:highlight>
                  <a:srgbClr val="FFFFFF"/>
                </a:highlight>
                <a:latin typeface="Arial" panose="020B0604020202020204" pitchFamily="34" charset="0"/>
                <a:ea typeface="Times New Roman" panose="02020603050405020304" pitchFamily="18" charset="0"/>
                <a:cs typeface="Arial" panose="020B0604020202020204" pitchFamily="34" charset="0"/>
              </a:rPr>
              <a:t>th</a:t>
            </a:r>
            <a:r>
              <a:rPr lang="en-GB" dirty="0">
                <a:solidFill>
                  <a:srgbClr val="002060"/>
                </a:solidFill>
                <a:effectLst/>
                <a:highlight>
                  <a:srgbClr val="FFFFFF"/>
                </a:highlight>
                <a:latin typeface="Arial" panose="020B0604020202020204" pitchFamily="34" charset="0"/>
                <a:ea typeface="Times New Roman" panose="02020603050405020304" pitchFamily="18" charset="0"/>
                <a:cs typeface="Arial" panose="020B0604020202020204" pitchFamily="34" charset="0"/>
              </a:rPr>
              <a:t> March 2024 </a:t>
            </a:r>
          </a:p>
          <a:p>
            <a:pPr marL="285750" indent="-285750" algn="just">
              <a:spcAft>
                <a:spcPts val="1100"/>
              </a:spcAft>
              <a:buFont typeface="Arial" panose="020B0604020202020204" pitchFamily="34" charset="0"/>
              <a:buChar char="•"/>
            </a:pPr>
            <a:r>
              <a:rPr lang="en-GB" dirty="0">
                <a:highlight>
                  <a:srgbClr val="FFFFFF"/>
                </a:highlight>
                <a:latin typeface="Arial" panose="020B0604020202020204" pitchFamily="34" charset="0"/>
                <a:ea typeface="Times New Roman" panose="02020603050405020304" pitchFamily="18" charset="0"/>
                <a:cs typeface="Arial" panose="020B0604020202020204" pitchFamily="34" charset="0"/>
              </a:rPr>
              <a:t>Russian Operator Claims. </a:t>
            </a:r>
            <a:r>
              <a:rPr lang="en-GB" dirty="0">
                <a:effectLst/>
                <a:highlight>
                  <a:srgbClr val="FFFFFF"/>
                </a:highlight>
                <a:latin typeface="Arial" panose="020B0604020202020204" pitchFamily="34" charset="0"/>
                <a:ea typeface="Times New Roman" panose="02020603050405020304" pitchFamily="18" charset="0"/>
                <a:cs typeface="Arial" panose="020B0604020202020204" pitchFamily="34" charset="0"/>
              </a:rPr>
              <a:t>Lessors won. London Commercial Court has jurisdiction to hear claims, but they remain governed by Russian law. </a:t>
            </a:r>
          </a:p>
          <a:p>
            <a:pPr marL="285750" indent="-285750" algn="just">
              <a:spcAft>
                <a:spcPts val="1100"/>
              </a:spcAft>
              <a:buFont typeface="Arial" panose="020B0604020202020204" pitchFamily="34" charset="0"/>
              <a:buChar char="•"/>
            </a:pPr>
            <a:r>
              <a:rPr lang="en-GB" dirty="0">
                <a:highlight>
                  <a:srgbClr val="FFFFFF"/>
                </a:highlight>
                <a:latin typeface="Arial" panose="020B0604020202020204" pitchFamily="34" charset="0"/>
                <a:ea typeface="Times New Roman" panose="02020603050405020304" pitchFamily="18" charset="0"/>
                <a:cs typeface="Arial" panose="020B0604020202020204" pitchFamily="34" charset="0"/>
              </a:rPr>
              <a:t>Key issues: likelihood of a fair trial, state interference.</a:t>
            </a:r>
          </a:p>
          <a:p>
            <a:r>
              <a:rPr lang="en-GB" dirty="0" err="1">
                <a:solidFill>
                  <a:srgbClr val="002060"/>
                </a:solidFill>
                <a:effectLst/>
                <a:highlight>
                  <a:srgbClr val="FFFFFF"/>
                </a:highlight>
                <a:latin typeface="Arial" panose="020B0604020202020204" pitchFamily="34" charset="0"/>
                <a:ea typeface="Times New Roman" panose="02020603050405020304" pitchFamily="18" charset="0"/>
                <a:cs typeface="Arial" panose="020B0604020202020204" pitchFamily="34" charset="0"/>
              </a:rPr>
              <a:t>Aercap</a:t>
            </a:r>
            <a:r>
              <a:rPr lang="en-GB" dirty="0">
                <a:solidFill>
                  <a:srgbClr val="002060"/>
                </a:solidFill>
                <a:effectLst/>
                <a:highlight>
                  <a:srgbClr val="FFFFFF"/>
                </a:highlight>
                <a:latin typeface="Arial" panose="020B0604020202020204" pitchFamily="34" charset="0"/>
                <a:ea typeface="Times New Roman" panose="02020603050405020304" pitchFamily="18" charset="0"/>
                <a:cs typeface="Arial" panose="020B0604020202020204" pitchFamily="34" charset="0"/>
              </a:rPr>
              <a:t> Ireland Capital Designated Activity Company and others  - and - PJSC Insurance Company </a:t>
            </a:r>
            <a:r>
              <a:rPr lang="en-GB" dirty="0" err="1">
                <a:solidFill>
                  <a:srgbClr val="002060"/>
                </a:solidFill>
                <a:effectLst/>
                <a:highlight>
                  <a:srgbClr val="FFFFFF"/>
                </a:highlight>
                <a:latin typeface="Arial" panose="020B0604020202020204" pitchFamily="34" charset="0"/>
                <a:ea typeface="Times New Roman" panose="02020603050405020304" pitchFamily="18" charset="0"/>
                <a:cs typeface="Arial" panose="020B0604020202020204" pitchFamily="34" charset="0"/>
              </a:rPr>
              <a:t>Universalna</a:t>
            </a:r>
            <a:r>
              <a:rPr lang="en-GB" dirty="0">
                <a:solidFill>
                  <a:srgbClr val="002060"/>
                </a:solidFill>
                <a:effectLst/>
                <a:highlight>
                  <a:srgbClr val="FFFFFF"/>
                </a:highlight>
                <a:latin typeface="Arial" panose="020B0604020202020204" pitchFamily="34" charset="0"/>
                <a:ea typeface="Times New Roman" panose="02020603050405020304" pitchFamily="18" charset="0"/>
                <a:cs typeface="Arial" panose="020B0604020202020204" pitchFamily="34" charset="0"/>
              </a:rPr>
              <a:t> and others 6</a:t>
            </a:r>
            <a:r>
              <a:rPr lang="en-GB" baseline="30000" dirty="0">
                <a:solidFill>
                  <a:srgbClr val="002060"/>
                </a:solidFill>
                <a:effectLst/>
                <a:highlight>
                  <a:srgbClr val="FFFFFF"/>
                </a:highlight>
                <a:latin typeface="Arial" panose="020B0604020202020204" pitchFamily="34" charset="0"/>
                <a:ea typeface="Times New Roman" panose="02020603050405020304" pitchFamily="18" charset="0"/>
                <a:cs typeface="Arial" panose="020B0604020202020204" pitchFamily="34" charset="0"/>
              </a:rPr>
              <a:t>th</a:t>
            </a:r>
            <a:r>
              <a:rPr lang="en-GB" dirty="0">
                <a:solidFill>
                  <a:srgbClr val="002060"/>
                </a:solidFill>
                <a:effectLst/>
                <a:highlight>
                  <a:srgbClr val="FFFFFF"/>
                </a:highlight>
                <a:latin typeface="Arial" panose="020B0604020202020204" pitchFamily="34" charset="0"/>
                <a:ea typeface="Times New Roman" panose="02020603050405020304" pitchFamily="18" charset="0"/>
                <a:cs typeface="Arial" panose="020B0604020202020204" pitchFamily="34" charset="0"/>
              </a:rPr>
              <a:t> June 2024</a:t>
            </a:r>
          </a:p>
          <a:p>
            <a:endParaRPr lang="en-GB" dirty="0">
              <a:solidFill>
                <a:srgbClr val="002060"/>
              </a:solidFill>
              <a:effectLst/>
              <a:highlight>
                <a:srgbClr val="FFFFFF"/>
              </a:highlight>
              <a:latin typeface="Arial" panose="020B0604020202020204" pitchFamily="34" charset="0"/>
              <a:ea typeface="Times New Roman" panose="02020603050405020304" pitchFamily="18" charset="0"/>
              <a:cs typeface="Arial" panose="020B0604020202020204" pitchFamily="34" charset="0"/>
            </a:endParaRPr>
          </a:p>
          <a:p>
            <a:pPr marL="285750" indent="-285750" algn="just">
              <a:spcAft>
                <a:spcPts val="1100"/>
              </a:spcAft>
              <a:buFont typeface="Arial" panose="020B0604020202020204" pitchFamily="34" charset="0"/>
              <a:buChar char="•"/>
            </a:pPr>
            <a:r>
              <a:rPr lang="en-GB" dirty="0">
                <a:highlight>
                  <a:srgbClr val="FFFFFF"/>
                </a:highlight>
                <a:latin typeface="Arial" panose="020B0604020202020204" pitchFamily="34" charset="0"/>
                <a:ea typeface="Times New Roman" panose="02020603050405020304" pitchFamily="18" charset="0"/>
                <a:cs typeface="Arial" panose="020B0604020202020204" pitchFamily="34" charset="0"/>
              </a:rPr>
              <a:t>Ukraine Operator Claims. </a:t>
            </a:r>
            <a:r>
              <a:rPr lang="en-GB" dirty="0">
                <a:effectLst/>
                <a:highlight>
                  <a:srgbClr val="FFFFFF"/>
                </a:highlight>
                <a:latin typeface="Arial" panose="020B0604020202020204" pitchFamily="34" charset="0"/>
                <a:ea typeface="Times New Roman" panose="02020603050405020304" pitchFamily="18" charset="0"/>
                <a:cs typeface="Arial" panose="020B0604020202020204" pitchFamily="34" charset="0"/>
              </a:rPr>
              <a:t>Defendant reinsurers won. </a:t>
            </a:r>
            <a:r>
              <a:rPr lang="en-GB" dirty="0">
                <a:highlight>
                  <a:srgbClr val="FFFFFF"/>
                </a:highlight>
                <a:latin typeface="Arial" panose="020B0604020202020204" pitchFamily="34" charset="0"/>
                <a:ea typeface="Times New Roman" panose="02020603050405020304" pitchFamily="18" charset="0"/>
                <a:cs typeface="Arial" panose="020B0604020202020204" pitchFamily="34" charset="0"/>
              </a:rPr>
              <a:t>Proceedings need to be issued in Ukraine. Ukrainian law governs</a:t>
            </a:r>
            <a:r>
              <a:rPr lang="en-GB" b="1" dirty="0">
                <a:highlight>
                  <a:srgbClr val="FFFFFF"/>
                </a:highlight>
                <a:latin typeface="Arial" panose="020B0604020202020204" pitchFamily="34" charset="0"/>
                <a:ea typeface="Times New Roman" panose="02020603050405020304" pitchFamily="18" charset="0"/>
                <a:cs typeface="Arial" panose="020B0604020202020204" pitchFamily="34" charset="0"/>
              </a:rPr>
              <a:t>. </a:t>
            </a:r>
          </a:p>
          <a:p>
            <a:pPr marL="285750" indent="-285750" algn="just">
              <a:spcAft>
                <a:spcPts val="1100"/>
              </a:spcAft>
              <a:buFont typeface="Arial" panose="020B0604020202020204" pitchFamily="34" charset="0"/>
              <a:buChar char="•"/>
            </a:pPr>
            <a:r>
              <a:rPr lang="en-GB" dirty="0">
                <a:highlight>
                  <a:srgbClr val="FFFFFF"/>
                </a:highlight>
                <a:latin typeface="Arial" panose="020B0604020202020204" pitchFamily="34" charset="0"/>
                <a:ea typeface="Times New Roman" panose="02020603050405020304" pitchFamily="18" charset="0"/>
                <a:cs typeface="Arial" panose="020B0604020202020204" pitchFamily="34" charset="0"/>
              </a:rPr>
              <a:t>Key issue: war and ability of cases to proceed in Ukraine. </a:t>
            </a:r>
            <a:endParaRPr lang="en-GB" dirty="0">
              <a:effectLst/>
              <a:highlight>
                <a:srgbClr val="FFFFFF"/>
              </a:highlight>
              <a:latin typeface="Arial" panose="020B0604020202020204" pitchFamily="34" charset="0"/>
              <a:ea typeface="Times New Roman" panose="02020603050405020304" pitchFamily="18" charset="0"/>
              <a:cs typeface="Arial" panose="020B0604020202020204" pitchFamily="34" charset="0"/>
            </a:endParaRPr>
          </a:p>
          <a:p>
            <a:pPr marL="285750" indent="-285750" algn="just">
              <a:spcAft>
                <a:spcPts val="1100"/>
              </a:spcAft>
              <a:buFont typeface="Arial" panose="020B0604020202020204" pitchFamily="34" charset="0"/>
              <a:buChar char="•"/>
            </a:pPr>
            <a:endParaRPr lang="en-GB" sz="1800" b="1" dirty="0">
              <a:solidFill>
                <a:srgbClr val="002060"/>
              </a:solidFill>
              <a:effectLst/>
              <a:highlight>
                <a:srgbClr val="FFFFFF"/>
              </a:highlight>
              <a:latin typeface="Montserrat Light" panose="00000400000000000000" pitchFamily="50" charset="0"/>
              <a:ea typeface="Times New Roman" panose="02020603050405020304" pitchFamily="18" charset="0"/>
              <a:cs typeface="Times New Roman" panose="02020603050405020304" pitchFamily="18" charset="0"/>
            </a:endParaRPr>
          </a:p>
          <a:p>
            <a:r>
              <a:rPr lang="en-GB" sz="1600" b="1" i="0" u="none" strike="noStrike" baseline="0" dirty="0">
                <a:solidFill>
                  <a:schemeClr val="tx2"/>
                </a:solidFill>
                <a:latin typeface="Montserrat Light" panose="00000400000000000000" pitchFamily="50" charset="0"/>
              </a:rPr>
              <a:t> </a:t>
            </a:r>
            <a:endParaRPr lang="en-GB" sz="1600" b="1" dirty="0">
              <a:solidFill>
                <a:schemeClr val="tx2"/>
              </a:solidFill>
              <a:latin typeface="Montserrat Light" panose="00000400000000000000" pitchFamily="50" charset="0"/>
            </a:endParaRPr>
          </a:p>
        </p:txBody>
      </p:sp>
    </p:spTree>
    <p:extLst>
      <p:ext uri="{BB962C8B-B14F-4D97-AF65-F5344CB8AC3E}">
        <p14:creationId xmlns:p14="http://schemas.microsoft.com/office/powerpoint/2010/main" val="293773024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BCD6F79-AFC5-3592-3190-F001D0743520}"/>
              </a:ext>
            </a:extLst>
          </p:cNvPr>
          <p:cNvSpPr>
            <a:spLocks noGrp="1"/>
          </p:cNvSpPr>
          <p:nvPr>
            <p:ph type="title"/>
          </p:nvPr>
        </p:nvSpPr>
        <p:spPr>
          <a:xfrm>
            <a:off x="335360" y="604091"/>
            <a:ext cx="6828843" cy="371477"/>
          </a:xfrm>
        </p:spPr>
        <p:txBody>
          <a:bodyPr>
            <a:noAutofit/>
          </a:bodyPr>
          <a:lstStyle/>
          <a:p>
            <a:r>
              <a:rPr lang="en-GB" sz="2800" b="1" dirty="0">
                <a:solidFill>
                  <a:srgbClr val="414A75"/>
                </a:solidFill>
                <a:latin typeface="Montserrat" panose="00000500000000000000" pitchFamily="50" charset="0"/>
                <a:cs typeface="Times New Roman" panose="02020603050405020304" pitchFamily="18" charset="0"/>
              </a:rPr>
              <a:t>Risk management </a:t>
            </a:r>
            <a:endParaRPr lang="en-GB" sz="2800" dirty="0"/>
          </a:p>
        </p:txBody>
      </p:sp>
      <p:sp>
        <p:nvSpPr>
          <p:cNvPr id="10" name="Content Placeholder 9">
            <a:extLst>
              <a:ext uri="{FF2B5EF4-FFF2-40B4-BE49-F238E27FC236}">
                <a16:creationId xmlns:a16="http://schemas.microsoft.com/office/drawing/2014/main" id="{AB8B3604-7EB0-17EB-3559-BB6D261F56A4}"/>
              </a:ext>
            </a:extLst>
          </p:cNvPr>
          <p:cNvSpPr>
            <a:spLocks noGrp="1"/>
          </p:cNvSpPr>
          <p:nvPr>
            <p:ph sz="quarter" idx="14"/>
          </p:nvPr>
        </p:nvSpPr>
        <p:spPr>
          <a:xfrm>
            <a:off x="335360" y="1161527"/>
            <a:ext cx="11232000" cy="5260302"/>
          </a:xfrm>
        </p:spPr>
        <p:txBody>
          <a:bodyPr>
            <a:normAutofit fontScale="92500" lnSpcReduction="20000"/>
          </a:bodyPr>
          <a:lstStyle/>
          <a:p>
            <a:pPr algn="just">
              <a:spcAft>
                <a:spcPts val="1467"/>
              </a:spcAft>
            </a:pPr>
            <a:r>
              <a:rPr lang="en-GB" sz="2200" kern="0" dirty="0">
                <a:latin typeface="Arial" panose="020B0604020202020204" pitchFamily="34" charset="0"/>
                <a:ea typeface="Times New Roman" panose="02020603050405020304" pitchFamily="18" charset="0"/>
                <a:cs typeface="Arial" panose="020B0604020202020204" pitchFamily="34" charset="0"/>
              </a:rPr>
              <a:t>Always best to:</a:t>
            </a:r>
          </a:p>
          <a:p>
            <a:pPr marL="380990" indent="-380990" algn="just">
              <a:spcAft>
                <a:spcPts val="1467"/>
              </a:spcAft>
              <a:buFont typeface="Arial" panose="020B0604020202020204" pitchFamily="34" charset="0"/>
              <a:buChar char="•"/>
            </a:pPr>
            <a:r>
              <a:rPr lang="en-GB" sz="2200" kern="0" dirty="0">
                <a:solidFill>
                  <a:schemeClr val="tx1"/>
                </a:solidFill>
                <a:latin typeface="Arial" panose="020B0604020202020204" pitchFamily="34" charset="0"/>
                <a:ea typeface="Times New Roman" panose="02020603050405020304" pitchFamily="18" charset="0"/>
                <a:cs typeface="Arial" panose="020B0604020202020204" pitchFamily="34" charset="0"/>
              </a:rPr>
              <a:t>Include a jurisdiction clause in a contract. </a:t>
            </a:r>
          </a:p>
          <a:p>
            <a:pPr marL="380990" indent="-380990" algn="just">
              <a:spcAft>
                <a:spcPts val="1467"/>
              </a:spcAft>
              <a:buFont typeface="Arial" panose="020B0604020202020204" pitchFamily="34" charset="0"/>
              <a:buChar char="•"/>
            </a:pPr>
            <a:r>
              <a:rPr lang="en-GB" sz="2200" kern="0" dirty="0">
                <a:solidFill>
                  <a:schemeClr val="tx1"/>
                </a:solidFill>
                <a:latin typeface="Arial" panose="020B0604020202020204" pitchFamily="34" charset="0"/>
                <a:ea typeface="Times New Roman" panose="02020603050405020304" pitchFamily="18" charset="0"/>
                <a:cs typeface="Arial" panose="020B0604020202020204" pitchFamily="34" charset="0"/>
              </a:rPr>
              <a:t>Ensure that both parties have agreed to it.</a:t>
            </a:r>
          </a:p>
          <a:p>
            <a:pPr marL="380990" indent="-380990" algn="just">
              <a:spcAft>
                <a:spcPts val="1467"/>
              </a:spcAft>
              <a:buFont typeface="Arial" panose="020B0604020202020204" pitchFamily="34" charset="0"/>
              <a:buChar char="•"/>
            </a:pPr>
            <a:r>
              <a:rPr lang="en-GB" sz="2200" kern="0" dirty="0">
                <a:solidFill>
                  <a:schemeClr val="tx1"/>
                </a:solidFill>
                <a:latin typeface="Arial" panose="020B0604020202020204" pitchFamily="34" charset="0"/>
                <a:ea typeface="Times New Roman" panose="02020603050405020304" pitchFamily="18" charset="0"/>
                <a:cs typeface="Arial" panose="020B0604020202020204" pitchFamily="34" charset="0"/>
              </a:rPr>
              <a:t>Periodically review their appropriateness, particularly given the evolution of international politics and events and what may constitute public policy. Make a record of the assessment. </a:t>
            </a:r>
          </a:p>
          <a:p>
            <a:pPr algn="just">
              <a:spcAft>
                <a:spcPts val="1467"/>
              </a:spcAft>
            </a:pPr>
            <a:r>
              <a:rPr lang="en-GB" sz="2200" dirty="0">
                <a:highlight>
                  <a:srgbClr val="FFFFFF"/>
                </a:highlight>
                <a:latin typeface="Arial" panose="020B0604020202020204" pitchFamily="34" charset="0"/>
                <a:cs typeface="Arial" panose="020B0604020202020204" pitchFamily="34" charset="0"/>
              </a:rPr>
              <a:t>Act quickly if a party issues proceedings in another court / jurisdiction:</a:t>
            </a:r>
          </a:p>
          <a:p>
            <a:pPr marL="380990" indent="-380990" algn="just">
              <a:spcAft>
                <a:spcPts val="1467"/>
              </a:spcAft>
              <a:buFont typeface="Arial" panose="020B0604020202020204" pitchFamily="34" charset="0"/>
              <a:buChar char="•"/>
            </a:pPr>
            <a:r>
              <a:rPr lang="en-GB" sz="2200" dirty="0">
                <a:solidFill>
                  <a:schemeClr val="tx1"/>
                </a:solidFill>
                <a:highlight>
                  <a:srgbClr val="FFFFFF"/>
                </a:highlight>
                <a:latin typeface="Arial" panose="020B0604020202020204" pitchFamily="34" charset="0"/>
                <a:cs typeface="Arial" panose="020B0604020202020204" pitchFamily="34" charset="0"/>
              </a:rPr>
              <a:t>Disagreement as to venue must be resolved first and the court / tribunal should be made aware of your disagreement as soon as possible.</a:t>
            </a:r>
          </a:p>
          <a:p>
            <a:pPr marL="380990" indent="-380990" algn="just">
              <a:spcAft>
                <a:spcPts val="1467"/>
              </a:spcAft>
              <a:buFont typeface="Arial" panose="020B0604020202020204" pitchFamily="34" charset="0"/>
              <a:buChar char="•"/>
            </a:pPr>
            <a:r>
              <a:rPr lang="en-GB" sz="2200" dirty="0">
                <a:solidFill>
                  <a:schemeClr val="tx1"/>
                </a:solidFill>
                <a:highlight>
                  <a:srgbClr val="FFFFFF"/>
                </a:highlight>
                <a:latin typeface="Arial" panose="020B0604020202020204" pitchFamily="34" charset="0"/>
                <a:ea typeface="Times New Roman" panose="02020603050405020304" pitchFamily="18" charset="0"/>
                <a:cs typeface="Arial" panose="020B0604020202020204" pitchFamily="34" charset="0"/>
              </a:rPr>
              <a:t>A party may lose a claim to equitable relief by slowness, procrastination or unconscionable conduct.</a:t>
            </a:r>
            <a:endParaRPr lang="en-GB" sz="2200" dirty="0">
              <a:solidFill>
                <a:schemeClr val="tx1"/>
              </a:solidFill>
              <a:latin typeface="Arial" panose="020B0604020202020204" pitchFamily="34" charset="0"/>
              <a:ea typeface="Times New Roman" panose="02020603050405020304" pitchFamily="18" charset="0"/>
              <a:cs typeface="Arial" panose="020B0604020202020204" pitchFamily="34" charset="0"/>
            </a:endParaRPr>
          </a:p>
          <a:p>
            <a:endParaRPr lang="en-GB" dirty="0"/>
          </a:p>
        </p:txBody>
      </p:sp>
      <p:sp>
        <p:nvSpPr>
          <p:cNvPr id="2" name="Slide Number Placeholder 1">
            <a:extLst>
              <a:ext uri="{FF2B5EF4-FFF2-40B4-BE49-F238E27FC236}">
                <a16:creationId xmlns:a16="http://schemas.microsoft.com/office/drawing/2014/main" id="{3AD7E7C5-45A8-9E36-E2FD-B698B06834C4}"/>
              </a:ext>
            </a:extLst>
          </p:cNvPr>
          <p:cNvSpPr>
            <a:spLocks noGrp="1"/>
          </p:cNvSpPr>
          <p:nvPr>
            <p:ph type="sldNum" sz="quarter" idx="12"/>
          </p:nvPr>
        </p:nvSpPr>
        <p:spPr/>
        <p:txBody>
          <a:bodyPr/>
          <a:lstStyle/>
          <a:p>
            <a:fld id="{7DAB47CC-2047-4FFE-9F3B-6C9AB62C3816}" type="slidenum">
              <a:rPr lang="en-GB" smtClean="0"/>
              <a:pPr/>
              <a:t>14</a:t>
            </a:fld>
            <a:endParaRPr lang="en-GB"/>
          </a:p>
        </p:txBody>
      </p:sp>
    </p:spTree>
    <p:extLst>
      <p:ext uri="{BB962C8B-B14F-4D97-AF65-F5344CB8AC3E}">
        <p14:creationId xmlns:p14="http://schemas.microsoft.com/office/powerpoint/2010/main" val="130706585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CE8A803C-920A-5FD0-D758-2C8A115465FD}"/>
              </a:ext>
            </a:extLst>
          </p:cNvPr>
          <p:cNvSpPr txBox="1">
            <a:spLocks/>
          </p:cNvSpPr>
          <p:nvPr/>
        </p:nvSpPr>
        <p:spPr>
          <a:xfrm>
            <a:off x="415487" y="210321"/>
            <a:ext cx="11174413" cy="773654"/>
          </a:xfrm>
          <a:prstGeom prst="rect">
            <a:avLst/>
          </a:prstGeom>
        </p:spPr>
        <p:txBody>
          <a:bodyPr/>
          <a:lstStyle>
            <a:lvl1pPr algn="l" defTabSz="914400" rtl="0" eaLnBrk="1" latinLnBrk="0" hangingPunct="1">
              <a:lnSpc>
                <a:spcPct val="90000"/>
              </a:lnSpc>
              <a:spcBef>
                <a:spcPct val="0"/>
              </a:spcBef>
              <a:buNone/>
              <a:defRPr sz="3200" kern="1200" cap="all" baseline="0">
                <a:solidFill>
                  <a:schemeClr val="tx2"/>
                </a:solidFill>
                <a:latin typeface="+mn-lt"/>
                <a:ea typeface="+mj-ea"/>
                <a:cs typeface="+mj-cs"/>
              </a:defRPr>
            </a:lvl1pPr>
          </a:lstStyle>
          <a:p>
            <a:r>
              <a:rPr lang="en-GB" sz="2800" b="1" dirty="0">
                <a:solidFill>
                  <a:srgbClr val="002060"/>
                </a:solidFill>
                <a:highlight>
                  <a:srgbClr val="FFFFFF"/>
                </a:highlight>
                <a:latin typeface="Arial" panose="020B0604020202020204" pitchFamily="34" charset="0"/>
                <a:ea typeface="Times New Roman" panose="02020603050405020304" pitchFamily="18" charset="0"/>
                <a:cs typeface="Arial" panose="020B0604020202020204" pitchFamily="34" charset="0"/>
              </a:rPr>
              <a:t>Mega trial - Common Points Yet To be Judged</a:t>
            </a:r>
          </a:p>
          <a:p>
            <a:endParaRPr lang="en-GB" sz="2800" dirty="0"/>
          </a:p>
        </p:txBody>
      </p:sp>
      <p:sp>
        <p:nvSpPr>
          <p:cNvPr id="4" name="TextBox 3">
            <a:extLst>
              <a:ext uri="{FF2B5EF4-FFF2-40B4-BE49-F238E27FC236}">
                <a16:creationId xmlns:a16="http://schemas.microsoft.com/office/drawing/2014/main" id="{C3DDD847-7964-717C-FC11-241981CC4F9D}"/>
              </a:ext>
            </a:extLst>
          </p:cNvPr>
          <p:cNvSpPr txBox="1"/>
          <p:nvPr/>
        </p:nvSpPr>
        <p:spPr>
          <a:xfrm>
            <a:off x="397832" y="1127884"/>
            <a:ext cx="11396336" cy="5601533"/>
          </a:xfrm>
          <a:prstGeom prst="rect">
            <a:avLst/>
          </a:prstGeom>
          <a:noFill/>
        </p:spPr>
        <p:txBody>
          <a:bodyPr wrap="square">
            <a:spAutoFit/>
          </a:bodyPr>
          <a:lstStyle/>
          <a:p>
            <a:pPr marL="285750" indent="-285750">
              <a:buFont typeface="Wingdings" panose="05000000000000000000" pitchFamily="2" charset="2"/>
              <a:buChar char="§"/>
            </a:pPr>
            <a:r>
              <a:rPr lang="en-GB" dirty="0">
                <a:highlight>
                  <a:srgbClr val="FFFFFF"/>
                </a:highlight>
                <a:latin typeface="Arial" panose="020B0604020202020204" pitchFamily="34" charset="0"/>
                <a:ea typeface="Times New Roman" panose="02020603050405020304" pitchFamily="18" charset="0"/>
                <a:cs typeface="Arial" panose="020B0604020202020204" pitchFamily="34" charset="0"/>
              </a:rPr>
              <a:t>Which reinsurance should respond: Contingency, Operator.  AR &amp; WR.</a:t>
            </a:r>
          </a:p>
          <a:p>
            <a:pPr marL="285750" indent="-285750">
              <a:buFont typeface="Wingdings" panose="05000000000000000000" pitchFamily="2" charset="2"/>
              <a:buChar char="§"/>
            </a:pPr>
            <a:r>
              <a:rPr lang="en-GB" dirty="0">
                <a:highlight>
                  <a:srgbClr val="FFFFFF"/>
                </a:highlight>
                <a:latin typeface="Arial" panose="020B0604020202020204" pitchFamily="34" charset="0"/>
                <a:ea typeface="Times New Roman" panose="02020603050405020304" pitchFamily="18" charset="0"/>
                <a:cs typeface="Arial" panose="020B0604020202020204" pitchFamily="34" charset="0"/>
              </a:rPr>
              <a:t>Operators Cover</a:t>
            </a:r>
          </a:p>
          <a:p>
            <a:pPr marL="742950" lvl="1" indent="-285750">
              <a:buFont typeface="Arial" panose="020B0604020202020204" pitchFamily="34" charset="0"/>
              <a:buChar char="•"/>
            </a:pPr>
            <a:r>
              <a:rPr lang="en-GB" dirty="0">
                <a:highlight>
                  <a:srgbClr val="FFFFFF"/>
                </a:highlight>
                <a:latin typeface="Arial" panose="020B0604020202020204" pitchFamily="34" charset="0"/>
                <a:ea typeface="Times New Roman" panose="02020603050405020304" pitchFamily="18" charset="0"/>
                <a:cs typeface="Arial" panose="020B0604020202020204" pitchFamily="34" charset="0"/>
              </a:rPr>
              <a:t>Russian law approach to contracts and insurance</a:t>
            </a:r>
          </a:p>
          <a:p>
            <a:pPr marL="742950" lvl="1" indent="-285750">
              <a:buFont typeface="Arial" panose="020B0604020202020204" pitchFamily="34" charset="0"/>
              <a:buChar char="•"/>
            </a:pPr>
            <a:r>
              <a:rPr lang="en-GB" dirty="0">
                <a:highlight>
                  <a:srgbClr val="FFFFFF"/>
                </a:highlight>
                <a:latin typeface="Arial" panose="020B0604020202020204" pitchFamily="34" charset="0"/>
                <a:ea typeface="Times New Roman" panose="02020603050405020304" pitchFamily="18" charset="0"/>
                <a:cs typeface="Arial" panose="020B0604020202020204" pitchFamily="34" charset="0"/>
              </a:rPr>
              <a:t>Lessors’ status in insurance and reinsurance policies, given governing law</a:t>
            </a:r>
          </a:p>
          <a:p>
            <a:pPr marL="742950" lvl="1" indent="-285750">
              <a:buFont typeface="Arial" panose="020B0604020202020204" pitchFamily="34" charset="0"/>
              <a:buChar char="•"/>
            </a:pPr>
            <a:r>
              <a:rPr lang="en-GB" dirty="0">
                <a:highlight>
                  <a:srgbClr val="FFFFFF"/>
                </a:highlight>
                <a:latin typeface="Arial" panose="020B0604020202020204" pitchFamily="34" charset="0"/>
                <a:ea typeface="Times New Roman" panose="02020603050405020304" pitchFamily="18" charset="0"/>
                <a:cs typeface="Arial" panose="020B0604020202020204" pitchFamily="34" charset="0"/>
              </a:rPr>
              <a:t>Have losses or damage arisen?</a:t>
            </a:r>
          </a:p>
          <a:p>
            <a:pPr marL="1200150" lvl="2" indent="-285750">
              <a:buFont typeface="Arial" panose="020B0604020202020204" pitchFamily="34" charset="0"/>
              <a:buChar char="•"/>
            </a:pPr>
            <a:r>
              <a:rPr lang="en-GB" dirty="0">
                <a:highlight>
                  <a:srgbClr val="FFFFFF"/>
                </a:highlight>
                <a:latin typeface="Arial" panose="020B0604020202020204" pitchFamily="34" charset="0"/>
                <a:ea typeface="Times New Roman" panose="02020603050405020304" pitchFamily="18" charset="0"/>
                <a:cs typeface="Arial" panose="020B0604020202020204" pitchFamily="34" charset="0"/>
              </a:rPr>
              <a:t>Does a primary insured (airline) have to suffer loss/damage for a Lessor to benefit from its hull insurance</a:t>
            </a:r>
          </a:p>
          <a:p>
            <a:pPr marL="1200150" lvl="2" indent="-285750">
              <a:buFont typeface="Arial" panose="020B0604020202020204" pitchFamily="34" charset="0"/>
              <a:buChar char="•"/>
            </a:pPr>
            <a:r>
              <a:rPr lang="en-GB" dirty="0">
                <a:highlight>
                  <a:srgbClr val="FFFFFF"/>
                </a:highlight>
                <a:latin typeface="Arial" panose="020B0604020202020204" pitchFamily="34" charset="0"/>
                <a:ea typeface="Times New Roman" panose="02020603050405020304" pitchFamily="18" charset="0"/>
                <a:cs typeface="Arial" panose="020B0604020202020204" pitchFamily="34" charset="0"/>
              </a:rPr>
              <a:t>Did a loss arise by virtue of a peril insured against</a:t>
            </a:r>
          </a:p>
          <a:p>
            <a:pPr marL="1200150" lvl="2" indent="-285750">
              <a:buFont typeface="Arial" panose="020B0604020202020204" pitchFamily="34" charset="0"/>
              <a:buChar char="•"/>
            </a:pPr>
            <a:r>
              <a:rPr lang="en-GB" dirty="0">
                <a:highlight>
                  <a:srgbClr val="FFFFFF"/>
                </a:highlight>
                <a:latin typeface="Arial" panose="020B0604020202020204" pitchFamily="34" charset="0"/>
                <a:ea typeface="Times New Roman" panose="02020603050405020304" pitchFamily="18" charset="0"/>
                <a:cs typeface="Arial" panose="020B0604020202020204" pitchFamily="34" charset="0"/>
              </a:rPr>
              <a:t>Does a loss arise where an operator declines to return an aircraft</a:t>
            </a:r>
          </a:p>
          <a:p>
            <a:pPr marL="285750" indent="-285750">
              <a:buFont typeface="Wingdings" panose="05000000000000000000" pitchFamily="2" charset="2"/>
              <a:buChar char="§"/>
            </a:pPr>
            <a:r>
              <a:rPr lang="en-GB" dirty="0">
                <a:effectLst/>
                <a:latin typeface="Arial" panose="020B0604020202020204" pitchFamily="34" charset="0"/>
                <a:ea typeface="Times New Roman" panose="02020603050405020304" pitchFamily="18" charset="0"/>
                <a:cs typeface="Arial" panose="020B0604020202020204" pitchFamily="34" charset="0"/>
              </a:rPr>
              <a:t>Whether Lessors have a right to </a:t>
            </a:r>
            <a:r>
              <a:rPr lang="en-GB" dirty="0">
                <a:latin typeface="Arial" panose="020B0604020202020204" pitchFamily="34" charset="0"/>
                <a:ea typeface="Times New Roman" panose="02020603050405020304" pitchFamily="18" charset="0"/>
                <a:cs typeface="Arial" panose="020B0604020202020204" pitchFamily="34" charset="0"/>
              </a:rPr>
              <a:t>recover directly from Reinsurers</a:t>
            </a:r>
            <a:r>
              <a:rPr lang="en-GB" dirty="0">
                <a:effectLst/>
                <a:latin typeface="Arial" panose="020B0604020202020204" pitchFamily="34" charset="0"/>
                <a:ea typeface="Times New Roman" panose="02020603050405020304" pitchFamily="18" charset="0"/>
                <a:cs typeface="Arial" panose="020B0604020202020204" pitchFamily="34" charset="0"/>
              </a:rPr>
              <a:t> under a </a:t>
            </a:r>
            <a:r>
              <a:rPr lang="en-GB" dirty="0">
                <a:latin typeface="Arial" panose="020B0604020202020204" pitchFamily="34" charset="0"/>
                <a:ea typeface="Times New Roman" panose="02020603050405020304" pitchFamily="18" charset="0"/>
                <a:cs typeface="Arial" panose="020B0604020202020204" pitchFamily="34" charset="0"/>
              </a:rPr>
              <a:t>C</a:t>
            </a:r>
            <a:r>
              <a:rPr lang="en-GB" dirty="0">
                <a:effectLst/>
                <a:latin typeface="Arial" panose="020B0604020202020204" pitchFamily="34" charset="0"/>
                <a:ea typeface="Times New Roman" panose="02020603050405020304" pitchFamily="18" charset="0"/>
                <a:cs typeface="Arial" panose="020B0604020202020204" pitchFamily="34" charset="0"/>
              </a:rPr>
              <a:t>ut-Through </a:t>
            </a:r>
            <a:r>
              <a:rPr lang="en-GB" dirty="0">
                <a:latin typeface="Arial" panose="020B0604020202020204" pitchFamily="34" charset="0"/>
                <a:ea typeface="Times New Roman" panose="02020603050405020304" pitchFamily="18" charset="0"/>
                <a:cs typeface="Arial" panose="020B0604020202020204" pitchFamily="34" charset="0"/>
              </a:rPr>
              <a:t>C</a:t>
            </a:r>
            <a:r>
              <a:rPr lang="en-GB" dirty="0">
                <a:effectLst/>
                <a:latin typeface="Arial" panose="020B0604020202020204" pitchFamily="34" charset="0"/>
                <a:ea typeface="Times New Roman" panose="02020603050405020304" pitchFamily="18" charset="0"/>
                <a:cs typeface="Arial" panose="020B0604020202020204" pitchFamily="34" charset="0"/>
              </a:rPr>
              <a:t>lause</a:t>
            </a:r>
            <a:endParaRPr lang="en-GB" dirty="0">
              <a:highlight>
                <a:srgbClr val="FFFFFF"/>
              </a:highlight>
              <a:latin typeface="Arial" panose="020B0604020202020204" pitchFamily="34" charset="0"/>
              <a:ea typeface="Times New Roman" panose="02020603050405020304" pitchFamily="18" charset="0"/>
              <a:cs typeface="Arial" panose="020B0604020202020204" pitchFamily="34" charset="0"/>
            </a:endParaRPr>
          </a:p>
          <a:p>
            <a:pPr marL="285750" indent="-285750">
              <a:buFont typeface="Wingdings" panose="05000000000000000000" pitchFamily="2" charset="2"/>
              <a:buChar char="§"/>
            </a:pPr>
            <a:r>
              <a:rPr lang="en-GB" dirty="0">
                <a:highlight>
                  <a:srgbClr val="FFFFFF"/>
                </a:highlight>
                <a:latin typeface="Arial" panose="020B0604020202020204" pitchFamily="34" charset="0"/>
                <a:ea typeface="Times New Roman" panose="02020603050405020304" pitchFamily="18" charset="0"/>
                <a:cs typeface="Arial" panose="020B0604020202020204" pitchFamily="34" charset="0"/>
              </a:rPr>
              <a:t>Impact of sanctions : on policy coverage and payments</a:t>
            </a:r>
          </a:p>
          <a:p>
            <a:endParaRPr lang="en-GB" b="1" dirty="0">
              <a:solidFill>
                <a:srgbClr val="002060"/>
              </a:solidFill>
              <a:highlight>
                <a:srgbClr val="FFFFFF"/>
              </a:highlight>
              <a:latin typeface="Arial" panose="020B0604020202020204" pitchFamily="34" charset="0"/>
              <a:ea typeface="Times New Roman" panose="02020603050405020304" pitchFamily="18" charset="0"/>
              <a:cs typeface="Arial" panose="020B0604020202020204" pitchFamily="34" charset="0"/>
            </a:endParaRPr>
          </a:p>
          <a:p>
            <a:r>
              <a:rPr lang="en-GB" b="1" dirty="0">
                <a:solidFill>
                  <a:srgbClr val="002060"/>
                </a:solidFill>
                <a:highlight>
                  <a:srgbClr val="FFFFFF"/>
                </a:highlight>
                <a:latin typeface="Arial" panose="020B0604020202020204" pitchFamily="34" charset="0"/>
                <a:ea typeface="Times New Roman" panose="02020603050405020304" pitchFamily="18" charset="0"/>
                <a:cs typeface="Arial" panose="020B0604020202020204" pitchFamily="34" charset="0"/>
              </a:rPr>
              <a:t>Considerations - Checklists for In-House Counsel, Insurance Teams and CRO</a:t>
            </a:r>
          </a:p>
          <a:p>
            <a:pPr marL="285750" indent="-285750">
              <a:buFont typeface="Wingdings" panose="05000000000000000000" pitchFamily="2" charset="2"/>
              <a:buChar char="§"/>
            </a:pPr>
            <a:r>
              <a:rPr lang="en-GB" dirty="0">
                <a:highlight>
                  <a:srgbClr val="FFFFFF"/>
                </a:highlight>
                <a:latin typeface="Arial" panose="020B0604020202020204" pitchFamily="34" charset="0"/>
                <a:ea typeface="Times New Roman" panose="02020603050405020304" pitchFamily="18" charset="0"/>
                <a:cs typeface="Arial" panose="020B0604020202020204" pitchFamily="34" charset="0"/>
              </a:rPr>
              <a:t>Normal checks. Heightened attention – advanced scrutiny</a:t>
            </a:r>
          </a:p>
          <a:p>
            <a:pPr marL="285750" indent="-285750">
              <a:buFont typeface="Wingdings" panose="05000000000000000000" pitchFamily="2" charset="2"/>
              <a:buChar char="§"/>
            </a:pPr>
            <a:r>
              <a:rPr lang="en-GB" dirty="0">
                <a:highlight>
                  <a:srgbClr val="FFFFFF"/>
                </a:highlight>
                <a:latin typeface="Arial" panose="020B0604020202020204" pitchFamily="34" charset="0"/>
                <a:ea typeface="Times New Roman" panose="02020603050405020304" pitchFamily="18" charset="0"/>
                <a:cs typeface="Arial" panose="020B0604020202020204" pitchFamily="34" charset="0"/>
              </a:rPr>
              <a:t>What?</a:t>
            </a:r>
          </a:p>
          <a:p>
            <a:pPr marL="742950" lvl="1" indent="-285750">
              <a:buFont typeface="Arial" panose="020B0604020202020204" pitchFamily="34" charset="0"/>
              <a:buChar char="•"/>
            </a:pPr>
            <a:r>
              <a:rPr lang="en-GB" dirty="0">
                <a:highlight>
                  <a:srgbClr val="FFFFFF"/>
                </a:highlight>
                <a:latin typeface="Arial" panose="020B0604020202020204" pitchFamily="34" charset="0"/>
                <a:ea typeface="Times New Roman" panose="02020603050405020304" pitchFamily="18" charset="0"/>
                <a:cs typeface="Arial" panose="020B0604020202020204" pitchFamily="34" charset="0"/>
              </a:rPr>
              <a:t>Agreements, key terms, obligations of broker, schedules, governing law and jurisdiction</a:t>
            </a:r>
          </a:p>
          <a:p>
            <a:pPr marL="742950" lvl="1" indent="-285750">
              <a:buFont typeface="Arial" panose="020B0604020202020204" pitchFamily="34" charset="0"/>
              <a:buChar char="•"/>
            </a:pPr>
            <a:r>
              <a:rPr lang="en-GB" dirty="0">
                <a:highlight>
                  <a:srgbClr val="FFFFFF"/>
                </a:highlight>
                <a:latin typeface="Arial" panose="020B0604020202020204" pitchFamily="34" charset="0"/>
                <a:ea typeface="Times New Roman" panose="02020603050405020304" pitchFamily="18" charset="0"/>
                <a:cs typeface="Arial" panose="020B0604020202020204" pitchFamily="34" charset="0"/>
              </a:rPr>
              <a:t>Insurance and Insurance Certificate wording </a:t>
            </a:r>
          </a:p>
          <a:p>
            <a:pPr marL="742950" lvl="1" indent="-285750">
              <a:buFont typeface="Arial" panose="020B0604020202020204" pitchFamily="34" charset="0"/>
              <a:buChar char="•"/>
            </a:pPr>
            <a:r>
              <a:rPr lang="en-GB" dirty="0">
                <a:highlight>
                  <a:srgbClr val="FFFFFF"/>
                </a:highlight>
                <a:latin typeface="Arial" panose="020B0604020202020204" pitchFamily="34" charset="0"/>
                <a:ea typeface="Times New Roman" panose="02020603050405020304" pitchFamily="18" charset="0"/>
                <a:cs typeface="Arial" panose="020B0604020202020204" pitchFamily="34" charset="0"/>
              </a:rPr>
              <a:t>Reinsurance arrangements</a:t>
            </a:r>
          </a:p>
          <a:p>
            <a:pPr marL="742950" lvl="1" indent="-285750">
              <a:buFont typeface="Arial" panose="020B0604020202020204" pitchFamily="34" charset="0"/>
              <a:buChar char="•"/>
            </a:pPr>
            <a:r>
              <a:rPr lang="en-GB" dirty="0">
                <a:highlight>
                  <a:srgbClr val="FFFFFF"/>
                </a:highlight>
                <a:latin typeface="Arial" panose="020B0604020202020204" pitchFamily="34" charset="0"/>
                <a:ea typeface="Times New Roman" panose="02020603050405020304" pitchFamily="18" charset="0"/>
                <a:cs typeface="Arial" panose="020B0604020202020204" pitchFamily="34" charset="0"/>
              </a:rPr>
              <a:t>Regulations</a:t>
            </a:r>
            <a:endParaRPr lang="en-GB" sz="1800" b="1" dirty="0">
              <a:solidFill>
                <a:srgbClr val="002060"/>
              </a:solidFill>
              <a:effectLst/>
              <a:highlight>
                <a:srgbClr val="FFFFFF"/>
              </a:highlight>
              <a:latin typeface="Montserrat Light" panose="00000400000000000000" pitchFamily="50" charset="0"/>
              <a:ea typeface="Times New Roman" panose="02020603050405020304" pitchFamily="18" charset="0"/>
              <a:cs typeface="Times New Roman" panose="02020603050405020304" pitchFamily="18" charset="0"/>
            </a:endParaRPr>
          </a:p>
          <a:p>
            <a:r>
              <a:rPr lang="en-GB" sz="1600" b="1" i="0" u="none" strike="noStrike" baseline="0" dirty="0">
                <a:solidFill>
                  <a:schemeClr val="tx2"/>
                </a:solidFill>
                <a:latin typeface="Montserrat Light" panose="00000400000000000000" pitchFamily="50" charset="0"/>
              </a:rPr>
              <a:t> </a:t>
            </a:r>
            <a:endParaRPr lang="en-GB" sz="1600" b="1" dirty="0">
              <a:solidFill>
                <a:schemeClr val="tx2"/>
              </a:solidFill>
              <a:latin typeface="Montserrat Light" panose="00000400000000000000" pitchFamily="50" charset="0"/>
            </a:endParaRPr>
          </a:p>
        </p:txBody>
      </p:sp>
    </p:spTree>
    <p:extLst>
      <p:ext uri="{BB962C8B-B14F-4D97-AF65-F5344CB8AC3E}">
        <p14:creationId xmlns:p14="http://schemas.microsoft.com/office/powerpoint/2010/main" val="381802114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35EEC5-D0A5-499D-CE38-A6DA6B730765}"/>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BC30449-68A9-B581-2539-EEA12BB03A06}"/>
              </a:ext>
            </a:extLst>
          </p:cNvPr>
          <p:cNvSpPr>
            <a:spLocks noGrp="1"/>
          </p:cNvSpPr>
          <p:nvPr>
            <p:ph type="sldNum" sz="quarter" idx="12"/>
          </p:nvPr>
        </p:nvSpPr>
        <p:spPr/>
        <p:txBody>
          <a:bodyPr/>
          <a:lstStyle/>
          <a:p>
            <a:fld id="{8CFE0557-AA98-4E6C-B0C3-581794696B68}" type="slidenum">
              <a:rPr lang="en-GB" smtClean="0"/>
              <a:pPr/>
              <a:t>16</a:t>
            </a:fld>
            <a:endParaRPr lang="en-GB"/>
          </a:p>
        </p:txBody>
      </p:sp>
      <p:sp>
        <p:nvSpPr>
          <p:cNvPr id="3" name="Content Placeholder 2">
            <a:extLst>
              <a:ext uri="{FF2B5EF4-FFF2-40B4-BE49-F238E27FC236}">
                <a16:creationId xmlns:a16="http://schemas.microsoft.com/office/drawing/2014/main" id="{2875C9CF-404E-7756-CEF5-6730A753D6DA}"/>
              </a:ext>
            </a:extLst>
          </p:cNvPr>
          <p:cNvSpPr>
            <a:spLocks noGrp="1"/>
          </p:cNvSpPr>
          <p:nvPr>
            <p:ph idx="1"/>
          </p:nvPr>
        </p:nvSpPr>
        <p:spPr/>
        <p:txBody>
          <a:bodyPr/>
          <a:lstStyle/>
          <a:p>
            <a:r>
              <a:rPr lang="en-GB" dirty="0"/>
              <a:t>UNDER REVIEW</a:t>
            </a:r>
          </a:p>
        </p:txBody>
      </p:sp>
      <p:sp>
        <p:nvSpPr>
          <p:cNvPr id="4" name="Content Placeholder 3">
            <a:extLst>
              <a:ext uri="{FF2B5EF4-FFF2-40B4-BE49-F238E27FC236}">
                <a16:creationId xmlns:a16="http://schemas.microsoft.com/office/drawing/2014/main" id="{1063C0B3-40E6-0873-FA43-9B7F435A218D}"/>
              </a:ext>
            </a:extLst>
          </p:cNvPr>
          <p:cNvSpPr>
            <a:spLocks noGrp="1"/>
          </p:cNvSpPr>
          <p:nvPr>
            <p:ph idx="16"/>
          </p:nvPr>
        </p:nvSpPr>
        <p:spPr>
          <a:xfrm>
            <a:off x="508000" y="1613017"/>
            <a:ext cx="7502938" cy="4606808"/>
          </a:xfrm>
        </p:spPr>
        <p:txBody>
          <a:bodyPr>
            <a:normAutofit fontScale="92500" lnSpcReduction="10000"/>
          </a:bodyPr>
          <a:lstStyle/>
          <a:p>
            <a:pPr marL="171450" indent="-171450">
              <a:buFont typeface="Wingdings" panose="05000000000000000000" pitchFamily="2" charset="2"/>
              <a:buChar char="§"/>
            </a:pPr>
            <a:r>
              <a:rPr lang="en-GB" sz="2000" dirty="0">
                <a:latin typeface="Arial" panose="020B0604020202020204" pitchFamily="34" charset="0"/>
                <a:cs typeface="Arial" panose="020B0604020202020204" pitchFamily="34" charset="0"/>
              </a:rPr>
              <a:t>Various ground handling agreements in use since 1993 (IATA, IBAC, ACI)</a:t>
            </a:r>
          </a:p>
          <a:p>
            <a:pPr marL="171450" indent="-171450">
              <a:buFont typeface="Wingdings" panose="05000000000000000000" pitchFamily="2" charset="2"/>
              <a:buChar char="§"/>
            </a:pPr>
            <a:r>
              <a:rPr lang="en-GB" sz="2000" dirty="0">
                <a:latin typeface="Arial" panose="020B0604020202020204" pitchFamily="34" charset="0"/>
                <a:cs typeface="Arial" panose="020B0604020202020204" pitchFamily="34" charset="0"/>
              </a:rPr>
              <a:t>By far the most used is the IATA standard, piecemeal updates every 5 years</a:t>
            </a:r>
          </a:p>
          <a:p>
            <a:pPr marL="171450" indent="-171450">
              <a:buFont typeface="Wingdings" panose="05000000000000000000" pitchFamily="2" charset="2"/>
              <a:buChar char="§"/>
            </a:pPr>
            <a:r>
              <a:rPr lang="en-GB" sz="2000" dirty="0">
                <a:latin typeface="Arial" panose="020B0604020202020204" pitchFamily="34" charset="0"/>
                <a:cs typeface="Arial" panose="020B0604020202020204" pitchFamily="34" charset="0"/>
              </a:rPr>
              <a:t>Is it still fit for purpose? </a:t>
            </a:r>
          </a:p>
          <a:p>
            <a:pPr marL="352425" lvl="2" indent="-171450">
              <a:buFont typeface="Wingdings" panose="05000000000000000000" pitchFamily="2" charset="2"/>
              <a:buChar char="§"/>
            </a:pPr>
            <a:r>
              <a:rPr lang="en-GB" sz="2000" dirty="0">
                <a:latin typeface="Arial" panose="020B0604020202020204" pitchFamily="34" charset="0"/>
                <a:cs typeface="Arial" panose="020B0604020202020204" pitchFamily="34" charset="0"/>
              </a:rPr>
              <a:t>Cost of ground damage incidents rising</a:t>
            </a:r>
          </a:p>
          <a:p>
            <a:pPr marL="352425" lvl="2" indent="-171450">
              <a:buFont typeface="Wingdings" panose="05000000000000000000" pitchFamily="2" charset="2"/>
              <a:buChar char="§"/>
            </a:pPr>
            <a:r>
              <a:rPr lang="en-GB" sz="2000" dirty="0">
                <a:latin typeface="Arial" panose="020B0604020202020204" pitchFamily="34" charset="0"/>
                <a:cs typeface="Arial" panose="020B0604020202020204" pitchFamily="34" charset="0"/>
              </a:rPr>
              <a:t>Aircraft are more complex and expensive to repair. Are the limits appropriate?</a:t>
            </a:r>
          </a:p>
          <a:p>
            <a:pPr marL="352425" lvl="2" indent="-171450">
              <a:buFont typeface="Wingdings" panose="05000000000000000000" pitchFamily="2" charset="2"/>
              <a:buChar char="§"/>
            </a:pPr>
            <a:r>
              <a:rPr lang="en-GB" sz="2000" dirty="0">
                <a:latin typeface="Arial" panose="020B0604020202020204" pitchFamily="34" charset="0"/>
                <a:cs typeface="Arial" panose="020B0604020202020204" pitchFamily="34" charset="0"/>
              </a:rPr>
              <a:t>Operators are exposed to greater uninsured financial exposures</a:t>
            </a:r>
          </a:p>
          <a:p>
            <a:pPr marL="352425" lvl="2" indent="-171450">
              <a:buFont typeface="Wingdings" panose="05000000000000000000" pitchFamily="2" charset="2"/>
              <a:buChar char="§"/>
            </a:pPr>
            <a:r>
              <a:rPr lang="en-GB" sz="2000" dirty="0">
                <a:latin typeface="Arial" panose="020B0604020202020204" pitchFamily="34" charset="0"/>
                <a:cs typeface="Arial" panose="020B0604020202020204" pitchFamily="34" charset="0"/>
              </a:rPr>
              <a:t>Growth of independent ground handlers, better able to manage risks in operations and purchase adequate insurance cover</a:t>
            </a:r>
          </a:p>
          <a:p>
            <a:pPr marL="171450" indent="-171450">
              <a:buFont typeface="Wingdings" panose="05000000000000000000" pitchFamily="2" charset="2"/>
              <a:buChar char="§"/>
            </a:pPr>
            <a:endParaRPr lang="en-GB" sz="1950" dirty="0"/>
          </a:p>
          <a:p>
            <a:endParaRPr lang="en-GB" sz="2000" dirty="0"/>
          </a:p>
        </p:txBody>
      </p:sp>
      <p:sp>
        <p:nvSpPr>
          <p:cNvPr id="6" name="Title 5">
            <a:extLst>
              <a:ext uri="{FF2B5EF4-FFF2-40B4-BE49-F238E27FC236}">
                <a16:creationId xmlns:a16="http://schemas.microsoft.com/office/drawing/2014/main" id="{0E0AA5CA-0E03-F2B6-C53B-54962C92F2DD}"/>
              </a:ext>
            </a:extLst>
          </p:cNvPr>
          <p:cNvSpPr>
            <a:spLocks noGrp="1"/>
          </p:cNvSpPr>
          <p:nvPr>
            <p:ph type="title"/>
          </p:nvPr>
        </p:nvSpPr>
        <p:spPr>
          <a:xfrm>
            <a:off x="508001" y="454013"/>
            <a:ext cx="7502938" cy="790869"/>
          </a:xfrm>
        </p:spPr>
        <p:txBody>
          <a:bodyPr/>
          <a:lstStyle/>
          <a:p>
            <a:r>
              <a:rPr lang="en-GB" sz="2800" b="1" dirty="0"/>
              <a:t>Ground handling AGREEMENTS  </a:t>
            </a:r>
          </a:p>
        </p:txBody>
      </p:sp>
      <p:sp>
        <p:nvSpPr>
          <p:cNvPr id="7" name="Content Placeholder 6">
            <a:extLst>
              <a:ext uri="{FF2B5EF4-FFF2-40B4-BE49-F238E27FC236}">
                <a16:creationId xmlns:a16="http://schemas.microsoft.com/office/drawing/2014/main" id="{92A2C27C-DA14-3961-72C9-DB701BD95A34}"/>
              </a:ext>
            </a:extLst>
          </p:cNvPr>
          <p:cNvSpPr>
            <a:spLocks noGrp="1"/>
          </p:cNvSpPr>
          <p:nvPr>
            <p:ph idx="45"/>
          </p:nvPr>
        </p:nvSpPr>
        <p:spPr/>
        <p:txBody>
          <a:bodyPr/>
          <a:lstStyle/>
          <a:p>
            <a:pPr algn="r">
              <a:lnSpc>
                <a:spcPct val="100000"/>
              </a:lnSpc>
            </a:pPr>
            <a:r>
              <a:rPr lang="en-GB" sz="1800" i="1" dirty="0">
                <a:latin typeface="Arial" panose="020B0604020202020204" pitchFamily="34" charset="0"/>
                <a:cs typeface="Arial" panose="020B0604020202020204" pitchFamily="34" charset="0"/>
              </a:rPr>
              <a:t>“</a:t>
            </a:r>
            <a:r>
              <a:rPr lang="en-GB" sz="1800" b="1" i="1" dirty="0">
                <a:solidFill>
                  <a:srgbClr val="002060"/>
                </a:solidFill>
                <a:latin typeface="Arial" panose="020B0604020202020204" pitchFamily="34" charset="0"/>
                <a:cs typeface="Arial" panose="020B0604020202020204" pitchFamily="34" charset="0"/>
              </a:rPr>
              <a:t>The Standard IATA Ground handling Agreement is a dog’s breakfast</a:t>
            </a:r>
            <a:r>
              <a:rPr lang="en-GB" sz="1800" b="1" dirty="0">
                <a:solidFill>
                  <a:srgbClr val="002060"/>
                </a:solidFill>
                <a:latin typeface="Arial" panose="020B0604020202020204" pitchFamily="34" charset="0"/>
                <a:cs typeface="Arial" panose="020B0604020202020204" pitchFamily="34" charset="0"/>
              </a:rPr>
              <a:t>” </a:t>
            </a:r>
          </a:p>
          <a:p>
            <a:pPr algn="r">
              <a:lnSpc>
                <a:spcPct val="100000"/>
              </a:lnSpc>
            </a:pPr>
            <a:r>
              <a:rPr lang="en-GB" sz="1800" b="1" dirty="0">
                <a:solidFill>
                  <a:srgbClr val="002060"/>
                </a:solidFill>
                <a:latin typeface="Arial" panose="020B0604020202020204" pitchFamily="34" charset="0"/>
                <a:cs typeface="Arial" panose="020B0604020202020204" pitchFamily="34" charset="0"/>
              </a:rPr>
              <a:t>AIRLINE GENERAL COUNSEL</a:t>
            </a:r>
          </a:p>
          <a:p>
            <a:pPr algn="r">
              <a:lnSpc>
                <a:spcPct val="100000"/>
              </a:lnSpc>
            </a:pPr>
            <a:endParaRPr lang="en-GB" sz="1800" b="1" dirty="0">
              <a:solidFill>
                <a:srgbClr val="002060"/>
              </a:solidFill>
              <a:latin typeface="Arial" panose="020B0604020202020204" pitchFamily="34" charset="0"/>
              <a:cs typeface="Arial" panose="020B0604020202020204" pitchFamily="34" charset="0"/>
            </a:endParaRPr>
          </a:p>
          <a:p>
            <a:pPr algn="r">
              <a:lnSpc>
                <a:spcPct val="100000"/>
              </a:lnSpc>
            </a:pPr>
            <a:r>
              <a:rPr lang="en-GB" sz="1800" dirty="0">
                <a:latin typeface="Arial" panose="020B0604020202020204" pitchFamily="34" charset="0"/>
                <a:cs typeface="Arial" panose="020B0604020202020204" pitchFamily="34" charset="0"/>
              </a:rPr>
              <a:t>“</a:t>
            </a:r>
            <a:r>
              <a:rPr lang="en-GB" sz="1800" b="1" i="1" dirty="0">
                <a:solidFill>
                  <a:srgbClr val="002060"/>
                </a:solidFill>
                <a:latin typeface="Arial" panose="020B0604020202020204" pitchFamily="34" charset="0"/>
                <a:cs typeface="Arial" panose="020B0604020202020204" pitchFamily="34" charset="0"/>
              </a:rPr>
              <a:t>Article 8 is manifestly unfair “ </a:t>
            </a:r>
          </a:p>
          <a:p>
            <a:pPr algn="r">
              <a:lnSpc>
                <a:spcPct val="100000"/>
              </a:lnSpc>
            </a:pPr>
            <a:r>
              <a:rPr lang="en-GB" sz="1800" b="1" dirty="0">
                <a:solidFill>
                  <a:srgbClr val="002060"/>
                </a:solidFill>
                <a:latin typeface="Arial" panose="020B0604020202020204" pitchFamily="34" charset="0"/>
                <a:cs typeface="Arial" panose="020B0604020202020204" pitchFamily="34" charset="0"/>
              </a:rPr>
              <a:t>FBO RISK MANAGER</a:t>
            </a:r>
          </a:p>
          <a:p>
            <a:pPr algn="r"/>
            <a:r>
              <a:rPr lang="en-GB" sz="1800" b="1" dirty="0">
                <a:solidFill>
                  <a:srgbClr val="002060"/>
                </a:solidFill>
                <a:latin typeface="Arial" panose="020B0604020202020204" pitchFamily="34" charset="0"/>
                <a:cs typeface="Arial" panose="020B0604020202020204" pitchFamily="34" charset="0"/>
              </a:rPr>
              <a:t>	</a:t>
            </a:r>
          </a:p>
          <a:p>
            <a:endParaRPr lang="en-GB" dirty="0"/>
          </a:p>
        </p:txBody>
      </p:sp>
      <p:sp>
        <p:nvSpPr>
          <p:cNvPr id="8" name="Content Placeholder 7">
            <a:extLst>
              <a:ext uri="{FF2B5EF4-FFF2-40B4-BE49-F238E27FC236}">
                <a16:creationId xmlns:a16="http://schemas.microsoft.com/office/drawing/2014/main" id="{C4DDFCCC-01C6-1B01-A7C2-F0D6597B1153}"/>
              </a:ext>
            </a:extLst>
          </p:cNvPr>
          <p:cNvSpPr>
            <a:spLocks noGrp="1"/>
          </p:cNvSpPr>
          <p:nvPr>
            <p:ph idx="46"/>
          </p:nvPr>
        </p:nvSpPr>
        <p:spPr/>
        <p:txBody>
          <a:bodyPr/>
          <a:lstStyle/>
          <a:p>
            <a:r>
              <a:rPr lang="en-GB" dirty="0"/>
              <a:t>QUOTES</a:t>
            </a:r>
          </a:p>
        </p:txBody>
      </p:sp>
    </p:spTree>
    <p:extLst>
      <p:ext uri="{BB962C8B-B14F-4D97-AF65-F5344CB8AC3E}">
        <p14:creationId xmlns:p14="http://schemas.microsoft.com/office/powerpoint/2010/main" val="2609027477"/>
      </p:ext>
    </p:extLst>
  </p:cSld>
  <p:clrMapOvr>
    <a:masterClrMapping/>
  </p:clrMapOvr>
  <p:transition spd="med">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F2A634-CD90-8C57-A0D0-AC42C65A5FAF}"/>
              </a:ext>
            </a:extLst>
          </p:cNvPr>
          <p:cNvSpPr>
            <a:spLocks noGrp="1"/>
          </p:cNvSpPr>
          <p:nvPr>
            <p:ph type="title"/>
          </p:nvPr>
        </p:nvSpPr>
        <p:spPr/>
        <p:txBody>
          <a:bodyPr/>
          <a:lstStyle/>
          <a:p>
            <a:r>
              <a:rPr lang="en-GB" sz="2800" dirty="0"/>
              <a:t>Risk Allocation – operator and Handler</a:t>
            </a:r>
          </a:p>
        </p:txBody>
      </p:sp>
      <p:sp>
        <p:nvSpPr>
          <p:cNvPr id="3" name="Content Placeholder 2">
            <a:extLst>
              <a:ext uri="{FF2B5EF4-FFF2-40B4-BE49-F238E27FC236}">
                <a16:creationId xmlns:a16="http://schemas.microsoft.com/office/drawing/2014/main" id="{98FB2FB4-38B2-B186-BB26-9795FC4A39B0}"/>
              </a:ext>
            </a:extLst>
          </p:cNvPr>
          <p:cNvSpPr>
            <a:spLocks noGrp="1"/>
          </p:cNvSpPr>
          <p:nvPr>
            <p:ph idx="1"/>
          </p:nvPr>
        </p:nvSpPr>
        <p:spPr>
          <a:xfrm>
            <a:off x="398670" y="1078724"/>
            <a:ext cx="10515600" cy="5235810"/>
          </a:xfrm>
        </p:spPr>
        <p:txBody>
          <a:bodyPr>
            <a:normAutofit fontScale="85000" lnSpcReduction="10000"/>
          </a:bodyPr>
          <a:lstStyle/>
          <a:p>
            <a:pPr marL="285750" indent="-285750" algn="just">
              <a:buFont typeface="Wingdings" panose="05000000000000000000" pitchFamily="2" charset="2"/>
              <a:buChar char="§"/>
            </a:pPr>
            <a:r>
              <a:rPr lang="en-US" altLang="zh-TW" sz="1900" dirty="0">
                <a:latin typeface="Arial" panose="020B0604020202020204" pitchFamily="34" charset="0"/>
                <a:ea typeface="PMingLiU" pitchFamily="18" charset="-120"/>
                <a:cs typeface="Arial" panose="020B0604020202020204" pitchFamily="34" charset="0"/>
              </a:rPr>
              <a:t>Handler protection</a:t>
            </a:r>
            <a:r>
              <a:rPr lang="en-US" altLang="zh-TW" sz="1900" b="0" dirty="0">
                <a:latin typeface="Arial" panose="020B0604020202020204" pitchFamily="34" charset="0"/>
                <a:ea typeface="PMingLiU" pitchFamily="18" charset="-120"/>
                <a:cs typeface="Arial" panose="020B0604020202020204" pitchFamily="34" charset="0"/>
              </a:rPr>
              <a:t> - Articles 8.1 (a) to (d) (passenger injury, death, baggage, cargo; property):</a:t>
            </a:r>
          </a:p>
          <a:p>
            <a:pPr marL="645750" lvl="3" indent="-285750" algn="just">
              <a:buFont typeface="Wingdings" panose="05000000000000000000" pitchFamily="2" charset="2"/>
              <a:buChar char="§"/>
            </a:pPr>
            <a:r>
              <a:rPr lang="en-US" altLang="zh-TW" sz="1900" dirty="0">
                <a:latin typeface="Arial" panose="020B0604020202020204" pitchFamily="34" charset="0"/>
                <a:ea typeface="PMingLiU" pitchFamily="18" charset="-120"/>
                <a:cs typeface="Arial" panose="020B0604020202020204" pitchFamily="34" charset="0"/>
              </a:rPr>
              <a:t>Operator not permitted to make a claim against handler</a:t>
            </a:r>
          </a:p>
          <a:p>
            <a:pPr marL="645750" lvl="3" indent="-285750" algn="just">
              <a:buFont typeface="Wingdings" panose="05000000000000000000" pitchFamily="2" charset="2"/>
              <a:buChar char="§"/>
            </a:pPr>
            <a:r>
              <a:rPr lang="en-US" altLang="zh-TW" sz="1900" dirty="0">
                <a:latin typeface="Arial" panose="020B0604020202020204" pitchFamily="34" charset="0"/>
                <a:ea typeface="PMingLiU" pitchFamily="18" charset="-120"/>
                <a:cs typeface="Arial" panose="020B0604020202020204" pitchFamily="34" charset="0"/>
              </a:rPr>
              <a:t>Operator required to indemnify handler against any </a:t>
            </a:r>
            <a:r>
              <a:rPr lang="en-US" altLang="zh-TW" sz="1900" i="1" dirty="0">
                <a:latin typeface="Arial" panose="020B0604020202020204" pitchFamily="34" charset="0"/>
                <a:ea typeface="PMingLiU" pitchFamily="18" charset="-120"/>
                <a:cs typeface="Arial" panose="020B0604020202020204" pitchFamily="34" charset="0"/>
              </a:rPr>
              <a:t>“legal liability for claims or suits” and </a:t>
            </a:r>
            <a:r>
              <a:rPr lang="en-US" altLang="zh-TW" sz="1900" dirty="0">
                <a:latin typeface="Arial" panose="020B0604020202020204" pitchFamily="34" charset="0"/>
                <a:ea typeface="PMingLiU" pitchFamily="18" charset="-120"/>
                <a:cs typeface="Arial" panose="020B0604020202020204" pitchFamily="34" charset="0"/>
              </a:rPr>
              <a:t> </a:t>
            </a:r>
            <a:r>
              <a:rPr lang="en-US" altLang="zh-TW" sz="1900" i="1" dirty="0">
                <a:latin typeface="Arial" panose="020B0604020202020204" pitchFamily="34" charset="0"/>
                <a:ea typeface="PMingLiU" pitchFamily="18" charset="-120"/>
                <a:cs typeface="Arial" panose="020B0604020202020204" pitchFamily="34" charset="0"/>
              </a:rPr>
              <a:t>“costs and expenses”</a:t>
            </a:r>
          </a:p>
          <a:p>
            <a:pPr marL="645750" lvl="3" indent="-285750" algn="just">
              <a:buFont typeface="Wingdings" panose="05000000000000000000" pitchFamily="2" charset="2"/>
              <a:buChar char="§"/>
            </a:pPr>
            <a:r>
              <a:rPr lang="en-US" altLang="zh-TW" sz="1900" dirty="0">
                <a:latin typeface="Arial" panose="020B0604020202020204" pitchFamily="34" charset="0"/>
                <a:ea typeface="PMingLiU" pitchFamily="18" charset="-120"/>
                <a:cs typeface="Arial" panose="020B0604020202020204" pitchFamily="34" charset="0"/>
              </a:rPr>
              <a:t>D</a:t>
            </a:r>
            <a:r>
              <a:rPr lang="en-US" altLang="zh-TW" sz="1900" b="0" dirty="0">
                <a:latin typeface="Arial" panose="020B0604020202020204" pitchFamily="34" charset="0"/>
                <a:ea typeface="PMingLiU" pitchFamily="18" charset="-120"/>
                <a:cs typeface="Arial" panose="020B0604020202020204" pitchFamily="34" charset="0"/>
              </a:rPr>
              <a:t>esigned to be read together with a sweep up exclusion of </a:t>
            </a:r>
            <a:r>
              <a:rPr lang="en-US" altLang="zh-TW" sz="1900" b="0" i="1" dirty="0">
                <a:latin typeface="Arial" panose="020B0604020202020204" pitchFamily="34" charset="0"/>
                <a:ea typeface="PMingLiU" pitchFamily="18" charset="-120"/>
                <a:cs typeface="Arial" panose="020B0604020202020204" pitchFamily="34" charset="0"/>
              </a:rPr>
              <a:t>“any consequential loss or damage”.</a:t>
            </a:r>
            <a:endParaRPr lang="en-US" altLang="zh-TW" sz="1900" b="0" dirty="0">
              <a:latin typeface="Arial" panose="020B0604020202020204" pitchFamily="34" charset="0"/>
              <a:ea typeface="PMingLiU" pitchFamily="18" charset="-120"/>
              <a:cs typeface="Arial" panose="020B0604020202020204" pitchFamily="34" charset="0"/>
            </a:endParaRPr>
          </a:p>
          <a:p>
            <a:pPr marL="285750" indent="-285750" algn="just">
              <a:buFont typeface="Wingdings" panose="05000000000000000000" pitchFamily="2" charset="2"/>
              <a:buChar char="§"/>
            </a:pPr>
            <a:r>
              <a:rPr lang="en-US" altLang="zh-TW" sz="1900" b="0" dirty="0">
                <a:latin typeface="Arial" panose="020B0604020202020204" pitchFamily="34" charset="0"/>
                <a:ea typeface="PMingLiU" pitchFamily="18" charset="-120"/>
                <a:cs typeface="Arial" panose="020B0604020202020204" pitchFamily="34" charset="0"/>
              </a:rPr>
              <a:t>Exceptions</a:t>
            </a:r>
            <a:endParaRPr lang="en-GB" altLang="zh-TW" sz="1900" dirty="0">
              <a:latin typeface="Arial" panose="020B0604020202020204" pitchFamily="34" charset="0"/>
              <a:cs typeface="Arial" panose="020B0604020202020204" pitchFamily="34" charset="0"/>
            </a:endParaRPr>
          </a:p>
          <a:p>
            <a:pPr marL="645750" lvl="3" indent="-285750" algn="just">
              <a:buFont typeface="Wingdings" panose="05000000000000000000" pitchFamily="2" charset="2"/>
              <a:buChar char="§"/>
            </a:pPr>
            <a:r>
              <a:rPr lang="en-US" altLang="zh-TW" sz="1900" dirty="0">
                <a:latin typeface="Arial" panose="020B0604020202020204" pitchFamily="34" charset="0"/>
                <a:ea typeface="PMingLiU" pitchFamily="18" charset="-120"/>
                <a:cs typeface="Arial" panose="020B0604020202020204" pitchFamily="34" charset="0"/>
              </a:rPr>
              <a:t>Handler required to indemnify Operator for:</a:t>
            </a:r>
          </a:p>
          <a:p>
            <a:pPr marL="1005750" lvl="5" indent="-285750" algn="just">
              <a:lnSpc>
                <a:spcPct val="120000"/>
              </a:lnSpc>
              <a:buFont typeface="Wingdings" panose="05000000000000000000" pitchFamily="2" charset="2"/>
              <a:buChar char="§"/>
            </a:pPr>
            <a:r>
              <a:rPr lang="en-US" altLang="zh-TW" sz="1900" dirty="0">
                <a:latin typeface="Arial" panose="020B0604020202020204" pitchFamily="34" charset="0"/>
                <a:ea typeface="PMingLiU" pitchFamily="18" charset="-120"/>
                <a:cs typeface="Arial" panose="020B0604020202020204" pitchFamily="34" charset="0"/>
              </a:rPr>
              <a:t>Direct loss of or damage to cargo caused by Handler’s negligence. Rely on MC99 limits. Overall cap of USD1 million. [Sub-Article 8.6]</a:t>
            </a:r>
          </a:p>
          <a:p>
            <a:pPr marL="1005750" lvl="5" indent="-285750" algn="just">
              <a:lnSpc>
                <a:spcPct val="120000"/>
              </a:lnSpc>
              <a:buFont typeface="Wingdings" panose="05000000000000000000" pitchFamily="2" charset="2"/>
              <a:buChar char="§"/>
            </a:pPr>
            <a:r>
              <a:rPr lang="en-US" altLang="zh-TW" sz="1900" dirty="0">
                <a:latin typeface="Arial" panose="020B0604020202020204" pitchFamily="34" charset="0"/>
                <a:ea typeface="PMingLiU" pitchFamily="18" charset="-120"/>
                <a:cs typeface="Arial" panose="020B0604020202020204" pitchFamily="34" charset="0"/>
              </a:rPr>
              <a:t>Physical loss and damage to aircraft caused by Handler’s negligence. Limit based on hull deductible. Maximum USD 1.5 million. [Sub-Article 8.5]</a:t>
            </a:r>
          </a:p>
          <a:p>
            <a:pPr marL="645750" lvl="3" indent="-285750" algn="just">
              <a:buFont typeface="Wingdings" panose="05000000000000000000" pitchFamily="2" charset="2"/>
              <a:buChar char="§"/>
            </a:pPr>
            <a:r>
              <a:rPr lang="en-US" altLang="zh-TW" sz="1900" dirty="0">
                <a:latin typeface="Arial" panose="020B0604020202020204" pitchFamily="34" charset="0"/>
                <a:ea typeface="PMingLiU" pitchFamily="18" charset="-120"/>
                <a:cs typeface="Arial" panose="020B0604020202020204" pitchFamily="34" charset="0"/>
              </a:rPr>
              <a:t>Sub-Article 8.1 bad </a:t>
            </a:r>
            <a:r>
              <a:rPr lang="en-US" altLang="zh-TW" sz="1900" dirty="0" err="1">
                <a:latin typeface="Arial" panose="020B0604020202020204" pitchFamily="34" charset="0"/>
                <a:ea typeface="PMingLiU" pitchFamily="18" charset="-120"/>
                <a:cs typeface="Arial" panose="020B0604020202020204" pitchFamily="34" charset="0"/>
              </a:rPr>
              <a:t>behaviour</a:t>
            </a:r>
            <a:r>
              <a:rPr lang="en-US" altLang="zh-TW" sz="1900" dirty="0">
                <a:latin typeface="Arial" panose="020B0604020202020204" pitchFamily="34" charset="0"/>
                <a:ea typeface="PMingLiU" pitchFamily="18" charset="-120"/>
                <a:cs typeface="Arial" panose="020B0604020202020204" pitchFamily="34" charset="0"/>
              </a:rPr>
              <a:t> - where damage, death, delay, injury or loss </a:t>
            </a:r>
            <a:r>
              <a:rPr lang="en-US" altLang="zh-TW" sz="1900" dirty="0" err="1">
                <a:latin typeface="Arial" panose="020B0604020202020204" pitchFamily="34" charset="0"/>
                <a:ea typeface="PMingLiU" pitchFamily="18" charset="-120"/>
                <a:cs typeface="Arial" panose="020B0604020202020204" pitchFamily="34" charset="0"/>
              </a:rPr>
              <a:t>etc</a:t>
            </a:r>
            <a:r>
              <a:rPr lang="en-US" altLang="zh-TW" sz="1900" dirty="0">
                <a:latin typeface="Arial" panose="020B0604020202020204" pitchFamily="34" charset="0"/>
                <a:ea typeface="PMingLiU" pitchFamily="18" charset="-120"/>
                <a:cs typeface="Arial" panose="020B0604020202020204" pitchFamily="34" charset="0"/>
              </a:rPr>
              <a:t> caused by Handler’s:</a:t>
            </a:r>
          </a:p>
          <a:p>
            <a:pPr marL="1005750" lvl="5" indent="-285750" algn="just">
              <a:buFont typeface="Wingdings" panose="05000000000000000000" pitchFamily="2" charset="2"/>
              <a:buChar char="§"/>
            </a:pPr>
            <a:r>
              <a:rPr lang="en-US" altLang="zh-TW" sz="1900" dirty="0">
                <a:latin typeface="Arial" panose="020B0604020202020204" pitchFamily="34" charset="0"/>
                <a:ea typeface="PMingLiU" pitchFamily="18" charset="-120"/>
                <a:cs typeface="Arial" panose="020B0604020202020204" pitchFamily="34" charset="0"/>
              </a:rPr>
              <a:t>intending to cause damage </a:t>
            </a:r>
            <a:r>
              <a:rPr lang="en-US" altLang="zh-TW" sz="1900" dirty="0" err="1">
                <a:latin typeface="Arial" panose="020B0604020202020204" pitchFamily="34" charset="0"/>
                <a:ea typeface="PMingLiU" pitchFamily="18" charset="-120"/>
                <a:cs typeface="Arial" panose="020B0604020202020204" pitchFamily="34" charset="0"/>
              </a:rPr>
              <a:t>etc</a:t>
            </a:r>
            <a:r>
              <a:rPr lang="en-US" altLang="zh-TW" sz="1900" dirty="0">
                <a:latin typeface="Arial" panose="020B0604020202020204" pitchFamily="34" charset="0"/>
                <a:ea typeface="PMingLiU" pitchFamily="18" charset="-120"/>
                <a:cs typeface="Arial" panose="020B0604020202020204" pitchFamily="34" charset="0"/>
              </a:rPr>
              <a:t> or  </a:t>
            </a:r>
          </a:p>
          <a:p>
            <a:pPr marL="1005750" lvl="5" indent="-285750" algn="just">
              <a:buFont typeface="Wingdings" panose="05000000000000000000" pitchFamily="2" charset="2"/>
              <a:buChar char="§"/>
            </a:pPr>
            <a:r>
              <a:rPr lang="en-US" altLang="zh-TW" sz="1900" i="1" dirty="0">
                <a:latin typeface="Arial" panose="020B0604020202020204" pitchFamily="34" charset="0"/>
                <a:ea typeface="PMingLiU" pitchFamily="18" charset="-120"/>
                <a:cs typeface="Arial" panose="020B0604020202020204" pitchFamily="34" charset="0"/>
              </a:rPr>
              <a:t>“recklessly</a:t>
            </a:r>
            <a:r>
              <a:rPr lang="en-US" altLang="zh-TW" sz="1900" dirty="0">
                <a:latin typeface="Arial" panose="020B0604020202020204" pitchFamily="34" charset="0"/>
                <a:ea typeface="PMingLiU" pitchFamily="18" charset="-120"/>
                <a:cs typeface="Arial" panose="020B0604020202020204" pitchFamily="34" charset="0"/>
              </a:rPr>
              <a:t> </a:t>
            </a:r>
            <a:r>
              <a:rPr lang="en-US" altLang="zh-TW" sz="1900" i="1" dirty="0">
                <a:latin typeface="Arial" panose="020B0604020202020204" pitchFamily="34" charset="0"/>
                <a:ea typeface="PMingLiU" pitchFamily="18" charset="-120"/>
                <a:cs typeface="Arial" panose="020B0604020202020204" pitchFamily="34" charset="0"/>
              </a:rPr>
              <a:t>and</a:t>
            </a:r>
            <a:r>
              <a:rPr lang="en-US" altLang="zh-TW" sz="1900" dirty="0">
                <a:latin typeface="Arial" panose="020B0604020202020204" pitchFamily="34" charset="0"/>
                <a:ea typeface="PMingLiU" pitchFamily="18" charset="-120"/>
                <a:cs typeface="Arial" panose="020B0604020202020204" pitchFamily="34" charset="0"/>
              </a:rPr>
              <a:t> </a:t>
            </a:r>
            <a:r>
              <a:rPr lang="en-US" altLang="zh-TW" sz="1900" i="1" dirty="0">
                <a:latin typeface="Arial" panose="020B0604020202020204" pitchFamily="34" charset="0"/>
                <a:ea typeface="PMingLiU" pitchFamily="18" charset="-120"/>
                <a:cs typeface="Arial" panose="020B0604020202020204" pitchFamily="34" charset="0"/>
              </a:rPr>
              <a:t>with the knowledge that damage…would probably result”</a:t>
            </a:r>
          </a:p>
          <a:p>
            <a:pPr marL="720000" lvl="5" indent="0" algn="just">
              <a:buNone/>
            </a:pPr>
            <a:r>
              <a:rPr lang="en-US" altLang="zh-TW" sz="1900" b="0" dirty="0">
                <a:latin typeface="Arial" panose="020B0604020202020204" pitchFamily="34" charset="0"/>
                <a:ea typeface="PMingLiU" pitchFamily="18" charset="-120"/>
                <a:cs typeface="Arial" panose="020B0604020202020204" pitchFamily="34" charset="0"/>
              </a:rPr>
              <a:t>If these apply, then handler’s</a:t>
            </a:r>
            <a:r>
              <a:rPr lang="en-US" altLang="zh-TW" sz="1900" dirty="0">
                <a:latin typeface="Arial" panose="020B0604020202020204" pitchFamily="34" charset="0"/>
                <a:ea typeface="PMingLiU" pitchFamily="18" charset="-120"/>
                <a:cs typeface="Arial" panose="020B0604020202020204" pitchFamily="34" charset="0"/>
              </a:rPr>
              <a:t> liability unlimited but no obligation to indemnify Operator</a:t>
            </a:r>
            <a:endParaRPr lang="en-US" altLang="zh-TW" sz="1900" b="0" dirty="0">
              <a:latin typeface="Arial" panose="020B0604020202020204" pitchFamily="34" charset="0"/>
              <a:ea typeface="PMingLiU" pitchFamily="18" charset="-120"/>
              <a:cs typeface="Arial" panose="020B0604020202020204" pitchFamily="34" charset="0"/>
            </a:endParaRPr>
          </a:p>
          <a:p>
            <a:pPr marL="0" indent="0">
              <a:lnSpc>
                <a:spcPct val="120000"/>
              </a:lnSpc>
              <a:buNone/>
            </a:pPr>
            <a:endParaRPr lang="en-GB" dirty="0"/>
          </a:p>
        </p:txBody>
      </p:sp>
      <p:sp>
        <p:nvSpPr>
          <p:cNvPr id="4" name="Slide Number Placeholder 3">
            <a:extLst>
              <a:ext uri="{FF2B5EF4-FFF2-40B4-BE49-F238E27FC236}">
                <a16:creationId xmlns:a16="http://schemas.microsoft.com/office/drawing/2014/main" id="{ACBCB01D-516E-A1E3-44BD-F585C3CF3E43}"/>
              </a:ext>
            </a:extLst>
          </p:cNvPr>
          <p:cNvSpPr>
            <a:spLocks noGrp="1"/>
          </p:cNvSpPr>
          <p:nvPr>
            <p:ph type="sldNum" sz="quarter" idx="12"/>
          </p:nvPr>
        </p:nvSpPr>
        <p:spPr/>
        <p:txBody>
          <a:bodyPr/>
          <a:lstStyle/>
          <a:p>
            <a:fld id="{60BE71DF-3B06-48E0-B4DA-070A362D18E0}" type="slidenum">
              <a:rPr lang="en-GB" smtClean="0"/>
              <a:t>17</a:t>
            </a:fld>
            <a:endParaRPr lang="en-GB"/>
          </a:p>
        </p:txBody>
      </p:sp>
    </p:spTree>
    <p:extLst>
      <p:ext uri="{BB962C8B-B14F-4D97-AF65-F5344CB8AC3E}">
        <p14:creationId xmlns:p14="http://schemas.microsoft.com/office/powerpoint/2010/main" val="194755586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696DCE-DC74-B571-A9DC-BC2D92EFAA96}"/>
              </a:ext>
            </a:extLst>
          </p:cNvPr>
          <p:cNvSpPr>
            <a:spLocks noGrp="1"/>
          </p:cNvSpPr>
          <p:nvPr>
            <p:ph type="title"/>
          </p:nvPr>
        </p:nvSpPr>
        <p:spPr>
          <a:xfrm>
            <a:off x="508793" y="712430"/>
            <a:ext cx="11174413" cy="1039999"/>
          </a:xfrm>
        </p:spPr>
        <p:txBody>
          <a:bodyPr/>
          <a:lstStyle/>
          <a:p>
            <a:r>
              <a:rPr lang="en-GB" sz="2800" dirty="0"/>
              <a:t>Legal Issues: liabilities &amp; indemnities</a:t>
            </a:r>
          </a:p>
        </p:txBody>
      </p:sp>
      <p:sp>
        <p:nvSpPr>
          <p:cNvPr id="3" name="Content Placeholder 2">
            <a:extLst>
              <a:ext uri="{FF2B5EF4-FFF2-40B4-BE49-F238E27FC236}">
                <a16:creationId xmlns:a16="http://schemas.microsoft.com/office/drawing/2014/main" id="{ED4BDBEC-0F22-7512-51F3-5A6CB634D9A1}"/>
              </a:ext>
            </a:extLst>
          </p:cNvPr>
          <p:cNvSpPr>
            <a:spLocks noGrp="1"/>
          </p:cNvSpPr>
          <p:nvPr>
            <p:ph idx="1"/>
          </p:nvPr>
        </p:nvSpPr>
        <p:spPr>
          <a:xfrm>
            <a:off x="508793" y="1341278"/>
            <a:ext cx="10515600" cy="5198670"/>
          </a:xfrm>
        </p:spPr>
        <p:txBody>
          <a:bodyPr>
            <a:normAutofit fontScale="92500" lnSpcReduction="10000"/>
          </a:bodyPr>
          <a:lstStyle/>
          <a:p>
            <a:pPr marL="342900" indent="-342900">
              <a:buFont typeface="Wingdings" panose="05000000000000000000" pitchFamily="2" charset="2"/>
              <a:buChar char="§"/>
            </a:pPr>
            <a:r>
              <a:rPr lang="en-GB" sz="2000" dirty="0">
                <a:latin typeface="Arial" panose="020B0604020202020204" pitchFamily="34" charset="0"/>
                <a:cs typeface="Arial" panose="020B0604020202020204" pitchFamily="34" charset="0"/>
              </a:rPr>
              <a:t>Leakage </a:t>
            </a:r>
          </a:p>
          <a:p>
            <a:r>
              <a:rPr lang="en-GB" sz="2000" dirty="0">
                <a:solidFill>
                  <a:schemeClr val="tx1"/>
                </a:solidFill>
                <a:latin typeface="Arial" panose="020B0604020202020204" pitchFamily="34" charset="0"/>
                <a:cs typeface="Arial" panose="020B0604020202020204" pitchFamily="34" charset="0"/>
              </a:rPr>
              <a:t>Liability terms appearing in Annexes and SLAs. Should be in one place. </a:t>
            </a:r>
          </a:p>
          <a:p>
            <a:pPr marL="342900" indent="-342900">
              <a:buFont typeface="Wingdings" panose="05000000000000000000" pitchFamily="2" charset="2"/>
              <a:buChar char="§"/>
            </a:pPr>
            <a:r>
              <a:rPr lang="en-GB" sz="2000" dirty="0">
                <a:latin typeface="Arial" panose="020B0604020202020204" pitchFamily="34" charset="0"/>
                <a:cs typeface="Arial" panose="020B0604020202020204" pitchFamily="34" charset="0"/>
              </a:rPr>
              <a:t>Does Article 8 address all liabilities that operators and handlers may have?</a:t>
            </a:r>
          </a:p>
          <a:p>
            <a:pPr lvl="1"/>
            <a:r>
              <a:rPr lang="en-GB" sz="2000" dirty="0">
                <a:latin typeface="Arial" panose="020B0604020202020204" pitchFamily="34" charset="0"/>
                <a:cs typeface="Arial" panose="020B0604020202020204" pitchFamily="34" charset="0"/>
              </a:rPr>
              <a:t>What about purely commercial losses where the events and claims in it do not arise? </a:t>
            </a:r>
          </a:p>
          <a:p>
            <a:pPr lvl="1"/>
            <a:r>
              <a:rPr lang="en-GB" sz="2000" dirty="0">
                <a:latin typeface="Arial" panose="020B0604020202020204" pitchFamily="34" charset="0"/>
                <a:cs typeface="Arial" panose="020B0604020202020204" pitchFamily="34" charset="0"/>
              </a:rPr>
              <a:t>What about fines?  </a:t>
            </a:r>
          </a:p>
          <a:p>
            <a:pPr marL="342900" indent="-342900">
              <a:buFont typeface="Wingdings" panose="05000000000000000000" pitchFamily="2" charset="2"/>
              <a:buChar char="§"/>
            </a:pPr>
            <a:r>
              <a:rPr lang="en-GB" sz="2000" dirty="0">
                <a:latin typeface="Arial" panose="020B0604020202020204" pitchFamily="34" charset="0"/>
                <a:cs typeface="Arial" panose="020B0604020202020204" pitchFamily="34" charset="0"/>
              </a:rPr>
              <a:t>Indemnities </a:t>
            </a:r>
          </a:p>
          <a:p>
            <a:pPr lvl="1"/>
            <a:r>
              <a:rPr lang="en-GB" sz="2000" dirty="0">
                <a:latin typeface="Arial" panose="020B0604020202020204" pitchFamily="34" charset="0"/>
                <a:cs typeface="Arial" panose="020B0604020202020204" pitchFamily="34" charset="0"/>
              </a:rPr>
              <a:t>Valid / invalid under local law?</a:t>
            </a:r>
          </a:p>
          <a:p>
            <a:pPr lvl="1"/>
            <a:r>
              <a:rPr lang="en-GB" sz="2000" dirty="0">
                <a:latin typeface="Arial" panose="020B0604020202020204" pitchFamily="34" charset="0"/>
                <a:cs typeface="Arial" panose="020B0604020202020204" pitchFamily="34" charset="0"/>
              </a:rPr>
              <a:t>When are they triggered?  When is “</a:t>
            </a:r>
            <a:r>
              <a:rPr lang="en-GB" sz="2000" i="1" dirty="0">
                <a:latin typeface="Arial" panose="020B0604020202020204" pitchFamily="34" charset="0"/>
                <a:cs typeface="Arial" panose="020B0604020202020204" pitchFamily="34" charset="0"/>
              </a:rPr>
              <a:t>legal liability” </a:t>
            </a:r>
            <a:r>
              <a:rPr lang="en-GB" sz="2000" dirty="0">
                <a:latin typeface="Arial" panose="020B0604020202020204" pitchFamily="34" charset="0"/>
                <a:cs typeface="Arial" panose="020B0604020202020204" pitchFamily="34" charset="0"/>
              </a:rPr>
              <a:t>established?</a:t>
            </a:r>
          </a:p>
          <a:p>
            <a:pPr lvl="1"/>
            <a:r>
              <a:rPr lang="en-GB" sz="2000" dirty="0">
                <a:latin typeface="Arial" panose="020B0604020202020204" pitchFamily="34" charset="0"/>
                <a:cs typeface="Arial" panose="020B0604020202020204" pitchFamily="34" charset="0"/>
              </a:rPr>
              <a:t>What are </a:t>
            </a:r>
            <a:r>
              <a:rPr lang="en-GB" sz="2000" i="1" dirty="0">
                <a:latin typeface="Arial" panose="020B0604020202020204" pitchFamily="34" charset="0"/>
                <a:cs typeface="Arial" panose="020B0604020202020204" pitchFamily="34" charset="0"/>
              </a:rPr>
              <a:t>“costs and expenses incidental thereto”? </a:t>
            </a:r>
            <a:r>
              <a:rPr lang="en-GB" sz="2000" dirty="0">
                <a:latin typeface="Arial" panose="020B0604020202020204" pitchFamily="34" charset="0"/>
                <a:cs typeface="Arial" panose="020B0604020202020204" pitchFamily="34" charset="0"/>
              </a:rPr>
              <a:t>Are the cost of surveyors and  lawyers recoverable?</a:t>
            </a:r>
            <a:endParaRPr lang="en-GB" sz="2000" i="1" dirty="0">
              <a:latin typeface="Arial" panose="020B0604020202020204" pitchFamily="34" charset="0"/>
              <a:cs typeface="Arial" panose="020B0604020202020204" pitchFamily="34" charset="0"/>
            </a:endParaRPr>
          </a:p>
          <a:p>
            <a:pPr lvl="1"/>
            <a:r>
              <a:rPr lang="en-GB" sz="2000" dirty="0">
                <a:latin typeface="Arial" panose="020B0604020202020204" pitchFamily="34" charset="0"/>
                <a:cs typeface="Arial" panose="020B0604020202020204" pitchFamily="34" charset="0"/>
              </a:rPr>
              <a:t>When can the indemnities be withdrawn? </a:t>
            </a:r>
          </a:p>
          <a:p>
            <a:pPr lvl="2"/>
            <a:r>
              <a:rPr lang="en-GB" sz="2000" dirty="0">
                <a:latin typeface="Arial" panose="020B0604020202020204" pitchFamily="34" charset="0"/>
                <a:cs typeface="Arial" panose="020B0604020202020204" pitchFamily="34" charset="0"/>
              </a:rPr>
              <a:t>How define recklessness etc? Subjective / objective approach?</a:t>
            </a:r>
          </a:p>
          <a:p>
            <a:pPr lvl="2" indent="0">
              <a:spcBef>
                <a:spcPts val="1200"/>
              </a:spcBef>
              <a:buNone/>
            </a:pPr>
            <a:endParaRPr lang="en-US" sz="2000" i="1" dirty="0"/>
          </a:p>
          <a:p>
            <a:pPr lvl="1"/>
            <a:endParaRPr lang="en-GB" sz="1800" dirty="0"/>
          </a:p>
          <a:p>
            <a:pPr lvl="1"/>
            <a:endParaRPr lang="en-GB" sz="1800" dirty="0"/>
          </a:p>
          <a:p>
            <a:pPr lvl="1"/>
            <a:endParaRPr lang="en-GB" sz="1800" dirty="0"/>
          </a:p>
          <a:p>
            <a:pPr marL="0" indent="0">
              <a:buNone/>
            </a:pPr>
            <a:endParaRPr lang="en-GB" dirty="0"/>
          </a:p>
        </p:txBody>
      </p:sp>
      <p:sp>
        <p:nvSpPr>
          <p:cNvPr id="4" name="Slide Number Placeholder 3">
            <a:extLst>
              <a:ext uri="{FF2B5EF4-FFF2-40B4-BE49-F238E27FC236}">
                <a16:creationId xmlns:a16="http://schemas.microsoft.com/office/drawing/2014/main" id="{9DBC094B-895B-538F-A863-ACA0AD397DCD}"/>
              </a:ext>
            </a:extLst>
          </p:cNvPr>
          <p:cNvSpPr>
            <a:spLocks noGrp="1"/>
          </p:cNvSpPr>
          <p:nvPr>
            <p:ph type="sldNum" sz="quarter" idx="12"/>
          </p:nvPr>
        </p:nvSpPr>
        <p:spPr/>
        <p:txBody>
          <a:bodyPr/>
          <a:lstStyle/>
          <a:p>
            <a:fld id="{60BE71DF-3B06-48E0-B4DA-070A362D18E0}" type="slidenum">
              <a:rPr lang="en-GB" smtClean="0"/>
              <a:t>18</a:t>
            </a:fld>
            <a:endParaRPr lang="en-GB"/>
          </a:p>
        </p:txBody>
      </p:sp>
    </p:spTree>
    <p:extLst>
      <p:ext uri="{BB962C8B-B14F-4D97-AF65-F5344CB8AC3E}">
        <p14:creationId xmlns:p14="http://schemas.microsoft.com/office/powerpoint/2010/main" val="113589212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DC14E5-CE53-FEBC-C638-17B3188C1541}"/>
              </a:ext>
            </a:extLst>
          </p:cNvPr>
          <p:cNvSpPr>
            <a:spLocks noGrp="1"/>
          </p:cNvSpPr>
          <p:nvPr>
            <p:ph type="title"/>
          </p:nvPr>
        </p:nvSpPr>
        <p:spPr/>
        <p:txBody>
          <a:bodyPr/>
          <a:lstStyle/>
          <a:p>
            <a:r>
              <a:rPr lang="en-GB" sz="2800" dirty="0"/>
              <a:t>Potential losses – Aircraft Damage</a:t>
            </a:r>
          </a:p>
        </p:txBody>
      </p:sp>
      <p:sp>
        <p:nvSpPr>
          <p:cNvPr id="3" name="Content Placeholder 2">
            <a:extLst>
              <a:ext uri="{FF2B5EF4-FFF2-40B4-BE49-F238E27FC236}">
                <a16:creationId xmlns:a16="http://schemas.microsoft.com/office/drawing/2014/main" id="{DDCA3E7A-C886-9025-083A-4683F0417F18}"/>
              </a:ext>
            </a:extLst>
          </p:cNvPr>
          <p:cNvSpPr>
            <a:spLocks noGrp="1"/>
          </p:cNvSpPr>
          <p:nvPr>
            <p:ph sz="half" idx="1"/>
          </p:nvPr>
        </p:nvSpPr>
        <p:spPr>
          <a:xfrm>
            <a:off x="508000" y="1626842"/>
            <a:ext cx="5181600" cy="4351338"/>
          </a:xfrm>
        </p:spPr>
        <p:txBody>
          <a:bodyPr>
            <a:normAutofit lnSpcReduction="10000"/>
          </a:bodyPr>
          <a:lstStyle/>
          <a:p>
            <a:r>
              <a:rPr lang="en-GB" dirty="0">
                <a:solidFill>
                  <a:schemeClr val="tx1"/>
                </a:solidFill>
                <a:latin typeface="Arial" panose="020B0604020202020204" pitchFamily="34" charset="0"/>
                <a:cs typeface="Arial" panose="020B0604020202020204" pitchFamily="34" charset="0"/>
              </a:rPr>
              <a:t>Protecting passengers onto other flights, including HOTAC</a:t>
            </a:r>
          </a:p>
          <a:p>
            <a:r>
              <a:rPr lang="en-GB" dirty="0">
                <a:solidFill>
                  <a:schemeClr val="tx1"/>
                </a:solidFill>
                <a:latin typeface="Arial" panose="020B0604020202020204" pitchFamily="34" charset="0"/>
                <a:cs typeface="Arial" panose="020B0604020202020204" pitchFamily="34" charset="0"/>
              </a:rPr>
              <a:t>Cost of crew HOTAC and changes</a:t>
            </a:r>
          </a:p>
          <a:p>
            <a:r>
              <a:rPr lang="en-GB" dirty="0">
                <a:solidFill>
                  <a:schemeClr val="tx1"/>
                </a:solidFill>
                <a:latin typeface="Arial" panose="020B0604020202020204" pitchFamily="34" charset="0"/>
                <a:cs typeface="Arial" panose="020B0604020202020204" pitchFamily="34" charset="0"/>
              </a:rPr>
              <a:t>Cost of rescheduling </a:t>
            </a:r>
          </a:p>
          <a:p>
            <a:r>
              <a:rPr lang="en-GB" dirty="0">
                <a:solidFill>
                  <a:schemeClr val="tx1"/>
                </a:solidFill>
                <a:latin typeface="Arial" panose="020B0604020202020204" pitchFamily="34" charset="0"/>
                <a:cs typeface="Arial" panose="020B0604020202020204" pitchFamily="34" charset="0"/>
              </a:rPr>
              <a:t>AOG team flights, HOTAC</a:t>
            </a:r>
          </a:p>
          <a:p>
            <a:r>
              <a:rPr lang="en-GB" dirty="0">
                <a:solidFill>
                  <a:schemeClr val="tx1"/>
                </a:solidFill>
                <a:latin typeface="Arial" panose="020B0604020202020204" pitchFamily="34" charset="0"/>
                <a:cs typeface="Arial" panose="020B0604020202020204" pitchFamily="34" charset="0"/>
              </a:rPr>
              <a:t>External survey</a:t>
            </a:r>
          </a:p>
          <a:p>
            <a:r>
              <a:rPr lang="en-GB" dirty="0">
                <a:solidFill>
                  <a:schemeClr val="tx1"/>
                </a:solidFill>
                <a:latin typeface="Arial" panose="020B0604020202020204" pitchFamily="34" charset="0"/>
                <a:cs typeface="Arial" panose="020B0604020202020204" pitchFamily="34" charset="0"/>
              </a:rPr>
              <a:t>Actual costs of repairing aircraft on temporary and permanent basis: parts, materials, labour</a:t>
            </a:r>
          </a:p>
          <a:p>
            <a:r>
              <a:rPr lang="en-GB" dirty="0">
                <a:solidFill>
                  <a:schemeClr val="tx1"/>
                </a:solidFill>
                <a:latin typeface="Arial" panose="020B0604020202020204" pitchFamily="34" charset="0"/>
                <a:cs typeface="Arial" panose="020B0604020202020204" pitchFamily="34" charset="0"/>
              </a:rPr>
              <a:t>Handling fees for parts and materials – customs, transportation and storage</a:t>
            </a:r>
          </a:p>
          <a:p>
            <a:r>
              <a:rPr lang="en-GB" dirty="0">
                <a:solidFill>
                  <a:schemeClr val="tx1"/>
                </a:solidFill>
                <a:latin typeface="Arial" panose="020B0604020202020204" pitchFamily="34" charset="0"/>
                <a:cs typeface="Arial" panose="020B0604020202020204" pitchFamily="34" charset="0"/>
              </a:rPr>
              <a:t>Test flights, ferry flights, positioning</a:t>
            </a:r>
          </a:p>
          <a:p>
            <a:r>
              <a:rPr lang="en-GB" dirty="0">
                <a:solidFill>
                  <a:schemeClr val="tx1"/>
                </a:solidFill>
                <a:latin typeface="Arial" panose="020B0604020202020204" pitchFamily="34" charset="0"/>
                <a:cs typeface="Arial" panose="020B0604020202020204" pitchFamily="34" charset="0"/>
              </a:rPr>
              <a:t>Extra parking fees, handling </a:t>
            </a:r>
          </a:p>
          <a:p>
            <a:r>
              <a:rPr lang="en-GB" dirty="0">
                <a:solidFill>
                  <a:schemeClr val="tx1"/>
                </a:solidFill>
                <a:latin typeface="Arial" panose="020B0604020202020204" pitchFamily="34" charset="0"/>
                <a:cs typeface="Arial" panose="020B0604020202020204" pitchFamily="34" charset="0"/>
              </a:rPr>
              <a:t>Leasing / exchange of replacement parts </a:t>
            </a:r>
          </a:p>
          <a:p>
            <a:r>
              <a:rPr lang="en-GB" dirty="0">
                <a:solidFill>
                  <a:schemeClr val="tx1"/>
                </a:solidFill>
                <a:latin typeface="Arial" panose="020B0604020202020204" pitchFamily="34" charset="0"/>
                <a:cs typeface="Arial" panose="020B0604020202020204" pitchFamily="34" charset="0"/>
              </a:rPr>
              <a:t>Internal investigation costs</a:t>
            </a:r>
          </a:p>
          <a:p>
            <a:pPr marL="0" indent="0">
              <a:buNone/>
            </a:pPr>
            <a:endParaRPr lang="en-GB" dirty="0">
              <a:solidFill>
                <a:schemeClr val="tx1"/>
              </a:solidFill>
            </a:endParaRPr>
          </a:p>
          <a:p>
            <a:endParaRPr lang="en-GB" dirty="0">
              <a:solidFill>
                <a:schemeClr val="tx1"/>
              </a:solidFill>
            </a:endParaRPr>
          </a:p>
          <a:p>
            <a:endParaRPr lang="en-GB" dirty="0"/>
          </a:p>
          <a:p>
            <a:endParaRPr lang="en-GB" dirty="0"/>
          </a:p>
        </p:txBody>
      </p:sp>
      <p:sp>
        <p:nvSpPr>
          <p:cNvPr id="4" name="Content Placeholder 3">
            <a:extLst>
              <a:ext uri="{FF2B5EF4-FFF2-40B4-BE49-F238E27FC236}">
                <a16:creationId xmlns:a16="http://schemas.microsoft.com/office/drawing/2014/main" id="{5FF24DAE-E0A5-71A3-400F-1C175FE64419}"/>
              </a:ext>
            </a:extLst>
          </p:cNvPr>
          <p:cNvSpPr>
            <a:spLocks noGrp="1"/>
          </p:cNvSpPr>
          <p:nvPr>
            <p:ph sz="half" idx="2"/>
          </p:nvPr>
        </p:nvSpPr>
        <p:spPr>
          <a:xfrm>
            <a:off x="6095206" y="1626842"/>
            <a:ext cx="5181600" cy="4351338"/>
          </a:xfrm>
        </p:spPr>
        <p:txBody>
          <a:bodyPr>
            <a:normAutofit lnSpcReduction="10000"/>
          </a:bodyPr>
          <a:lstStyle/>
          <a:p>
            <a:r>
              <a:rPr lang="en-GB" dirty="0">
                <a:solidFill>
                  <a:schemeClr val="tx1"/>
                </a:solidFill>
                <a:latin typeface="Arial" panose="020B0604020202020204" pitchFamily="34" charset="0"/>
                <a:cs typeface="Arial" panose="020B0604020202020204" pitchFamily="34" charset="0"/>
              </a:rPr>
              <a:t>Compensation paid to Passengers for delay (MC99, EU261 or equivalent)</a:t>
            </a:r>
          </a:p>
          <a:p>
            <a:r>
              <a:rPr lang="en-GB" dirty="0">
                <a:solidFill>
                  <a:schemeClr val="tx1"/>
                </a:solidFill>
                <a:latin typeface="Arial" panose="020B0604020202020204" pitchFamily="34" charset="0"/>
                <a:cs typeface="Arial" panose="020B0604020202020204" pitchFamily="34" charset="0"/>
              </a:rPr>
              <a:t>Loss of priority payloads, spoilt cargo</a:t>
            </a:r>
          </a:p>
          <a:p>
            <a:r>
              <a:rPr lang="en-GB" dirty="0">
                <a:solidFill>
                  <a:schemeClr val="tx1"/>
                </a:solidFill>
                <a:latin typeface="Arial" panose="020B0604020202020204" pitchFamily="34" charset="0"/>
                <a:cs typeface="Arial" panose="020B0604020202020204" pitchFamily="34" charset="0"/>
              </a:rPr>
              <a:t>Compensation to cargo interests</a:t>
            </a:r>
          </a:p>
          <a:p>
            <a:r>
              <a:rPr lang="en-GB" dirty="0">
                <a:solidFill>
                  <a:schemeClr val="tx1"/>
                </a:solidFill>
                <a:latin typeface="Arial" panose="020B0604020202020204" pitchFamily="34" charset="0"/>
                <a:cs typeface="Arial" panose="020B0604020202020204" pitchFamily="34" charset="0"/>
              </a:rPr>
              <a:t>Aircraft finance / leasing charges for aircraft out of service</a:t>
            </a:r>
          </a:p>
          <a:p>
            <a:r>
              <a:rPr lang="en-GB" dirty="0">
                <a:solidFill>
                  <a:schemeClr val="tx1"/>
                </a:solidFill>
                <a:latin typeface="Arial" panose="020B0604020202020204" pitchFamily="34" charset="0"/>
                <a:cs typeface="Arial" panose="020B0604020202020204" pitchFamily="34" charset="0"/>
              </a:rPr>
              <a:t>Charges for chartering alternative aircraft.</a:t>
            </a:r>
          </a:p>
          <a:p>
            <a:r>
              <a:rPr lang="en-GB" dirty="0">
                <a:solidFill>
                  <a:schemeClr val="tx1"/>
                </a:solidFill>
                <a:latin typeface="Arial" panose="020B0604020202020204" pitchFamily="34" charset="0"/>
                <a:cs typeface="Arial" panose="020B0604020202020204" pitchFamily="34" charset="0"/>
              </a:rPr>
              <a:t>Loss of income and profit while aircraft out of service.</a:t>
            </a:r>
          </a:p>
          <a:p>
            <a:r>
              <a:rPr lang="en-GB" dirty="0">
                <a:solidFill>
                  <a:schemeClr val="tx1"/>
                </a:solidFill>
                <a:latin typeface="Arial" panose="020B0604020202020204" pitchFamily="34" charset="0"/>
                <a:cs typeface="Arial" panose="020B0604020202020204" pitchFamily="34" charset="0"/>
              </a:rPr>
              <a:t>Delay and cancellation of flights until suitable replacement aircraft deployed</a:t>
            </a:r>
          </a:p>
          <a:p>
            <a:r>
              <a:rPr lang="en-GB" dirty="0">
                <a:solidFill>
                  <a:schemeClr val="tx1"/>
                </a:solidFill>
                <a:latin typeface="Arial" panose="020B0604020202020204" pitchFamily="34" charset="0"/>
                <a:cs typeface="Arial" panose="020B0604020202020204" pitchFamily="34" charset="0"/>
              </a:rPr>
              <a:t>Diminution in value of the aircraft.</a:t>
            </a:r>
          </a:p>
          <a:p>
            <a:r>
              <a:rPr lang="en-GB" dirty="0">
                <a:solidFill>
                  <a:schemeClr val="tx1"/>
                </a:solidFill>
                <a:latin typeface="Arial" panose="020B0604020202020204" pitchFamily="34" charset="0"/>
                <a:cs typeface="Arial" panose="020B0604020202020204" pitchFamily="34" charset="0"/>
              </a:rPr>
              <a:t>Customs charges for aircraft undergoing maintenance for longer than expected</a:t>
            </a:r>
          </a:p>
        </p:txBody>
      </p:sp>
      <p:sp>
        <p:nvSpPr>
          <p:cNvPr id="5" name="Slide Number Placeholder 4">
            <a:extLst>
              <a:ext uri="{FF2B5EF4-FFF2-40B4-BE49-F238E27FC236}">
                <a16:creationId xmlns:a16="http://schemas.microsoft.com/office/drawing/2014/main" id="{16AF7EBB-B3F2-3150-E4A6-69F72EDE6787}"/>
              </a:ext>
            </a:extLst>
          </p:cNvPr>
          <p:cNvSpPr>
            <a:spLocks noGrp="1"/>
          </p:cNvSpPr>
          <p:nvPr>
            <p:ph type="sldNum" sz="quarter" idx="12"/>
          </p:nvPr>
        </p:nvSpPr>
        <p:spPr/>
        <p:txBody>
          <a:bodyPr/>
          <a:lstStyle/>
          <a:p>
            <a:fld id="{60BE71DF-3B06-48E0-B4DA-070A362D18E0}" type="slidenum">
              <a:rPr lang="en-GB" smtClean="0"/>
              <a:t>19</a:t>
            </a:fld>
            <a:endParaRPr lang="en-GB"/>
          </a:p>
        </p:txBody>
      </p:sp>
    </p:spTree>
    <p:extLst>
      <p:ext uri="{BB962C8B-B14F-4D97-AF65-F5344CB8AC3E}">
        <p14:creationId xmlns:p14="http://schemas.microsoft.com/office/powerpoint/2010/main" val="215140904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35410B0-BBA5-9C16-3C74-E304DB355723}"/>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CFE0557-AA98-4E6C-B0C3-581794696B68}" type="slidenum">
              <a:rPr kumimoji="0" lang="en-GB" sz="900" b="0" i="0" u="none" strike="noStrike" kern="1200" cap="none" spc="0" normalizeH="0" baseline="0" noProof="0" smtClean="0">
                <a:ln>
                  <a:noFill/>
                </a:ln>
                <a:solidFill>
                  <a:srgbClr val="5B5D62"/>
                </a:solidFill>
                <a:effectLst/>
                <a:uLnTx/>
                <a:uFillTx/>
                <a:latin typeface="Montserrat"/>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GB" sz="900" b="0" i="0" u="none" strike="noStrike" kern="1200" cap="none" spc="0" normalizeH="0" baseline="0" noProof="0" dirty="0">
              <a:ln>
                <a:noFill/>
              </a:ln>
              <a:solidFill>
                <a:srgbClr val="5B5D62"/>
              </a:solidFill>
              <a:effectLst/>
              <a:uLnTx/>
              <a:uFillTx/>
              <a:latin typeface="Montserrat"/>
              <a:ea typeface="+mn-ea"/>
              <a:cs typeface="+mn-cs"/>
            </a:endParaRPr>
          </a:p>
        </p:txBody>
      </p:sp>
      <p:pic>
        <p:nvPicPr>
          <p:cNvPr id="13" name="Picture Placeholder 12">
            <a:extLst>
              <a:ext uri="{FF2B5EF4-FFF2-40B4-BE49-F238E27FC236}">
                <a16:creationId xmlns:a16="http://schemas.microsoft.com/office/drawing/2014/main" id="{C68B0C53-7A14-D7F1-E72F-754ADA947F77}"/>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l="40646" r="40646"/>
          <a:stretch/>
        </p:blipFill>
        <p:spPr>
          <a:xfrm>
            <a:off x="5853404" y="0"/>
            <a:ext cx="2280946" cy="6857999"/>
          </a:xfrm>
        </p:spPr>
      </p:pic>
    </p:spTree>
    <p:extLst>
      <p:ext uri="{BB962C8B-B14F-4D97-AF65-F5344CB8AC3E}">
        <p14:creationId xmlns:p14="http://schemas.microsoft.com/office/powerpoint/2010/main" val="1292243992"/>
      </p:ext>
    </p:extLst>
  </p:cSld>
  <p:clrMapOvr>
    <a:masterClrMapping/>
  </p:clrMapOvr>
  <p:transition spd="med">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696DCE-DC74-B571-A9DC-BC2D92EFAA96}"/>
              </a:ext>
            </a:extLst>
          </p:cNvPr>
          <p:cNvSpPr>
            <a:spLocks noGrp="1"/>
          </p:cNvSpPr>
          <p:nvPr>
            <p:ph type="title"/>
          </p:nvPr>
        </p:nvSpPr>
        <p:spPr/>
        <p:txBody>
          <a:bodyPr/>
          <a:lstStyle/>
          <a:p>
            <a:r>
              <a:rPr lang="en-GB" sz="2800" dirty="0"/>
              <a:t>Legal Issue: What losses are recoverable or not?</a:t>
            </a:r>
          </a:p>
        </p:txBody>
      </p:sp>
      <p:sp>
        <p:nvSpPr>
          <p:cNvPr id="3" name="Content Placeholder 2">
            <a:extLst>
              <a:ext uri="{FF2B5EF4-FFF2-40B4-BE49-F238E27FC236}">
                <a16:creationId xmlns:a16="http://schemas.microsoft.com/office/drawing/2014/main" id="{ED4BDBEC-0F22-7512-51F3-5A6CB634D9A1}"/>
              </a:ext>
            </a:extLst>
          </p:cNvPr>
          <p:cNvSpPr>
            <a:spLocks noGrp="1"/>
          </p:cNvSpPr>
          <p:nvPr>
            <p:ph idx="1"/>
          </p:nvPr>
        </p:nvSpPr>
        <p:spPr>
          <a:xfrm>
            <a:off x="508000" y="1261764"/>
            <a:ext cx="10515600" cy="5337819"/>
          </a:xfrm>
        </p:spPr>
        <p:txBody>
          <a:bodyPr>
            <a:normAutofit fontScale="92500" lnSpcReduction="10000"/>
          </a:bodyPr>
          <a:lstStyle/>
          <a:p>
            <a:pPr marL="342900" lvl="1" indent="-342900">
              <a:spcBef>
                <a:spcPts val="1200"/>
              </a:spcBef>
              <a:buFont typeface="Wingdings" panose="05000000000000000000" pitchFamily="2" charset="2"/>
              <a:buChar char="§"/>
            </a:pPr>
            <a:r>
              <a:rPr lang="en-US" sz="2100" dirty="0">
                <a:latin typeface="Arial" panose="020B0604020202020204" pitchFamily="34" charset="0"/>
                <a:cs typeface="Arial" panose="020B0604020202020204" pitchFamily="34" charset="0"/>
              </a:rPr>
              <a:t>What are consequential losses? Different jurisdictions have different approaches</a:t>
            </a:r>
          </a:p>
          <a:p>
            <a:pPr marL="342900" lvl="1" indent="-342900">
              <a:spcBef>
                <a:spcPts val="1200"/>
              </a:spcBef>
              <a:buFont typeface="Wingdings" panose="05000000000000000000" pitchFamily="2" charset="2"/>
              <a:buChar char="§"/>
            </a:pPr>
            <a:r>
              <a:rPr lang="en-US" sz="2100" dirty="0">
                <a:latin typeface="Arial" panose="020B0604020202020204" pitchFamily="34" charset="0"/>
                <a:cs typeface="Arial" panose="020B0604020202020204" pitchFamily="34" charset="0"/>
              </a:rPr>
              <a:t>“Direct Loss" – defined in Main Agreement:  “</a:t>
            </a:r>
            <a:r>
              <a:rPr lang="en-US" sz="2100" i="1" dirty="0">
                <a:latin typeface="Arial" panose="020B0604020202020204" pitchFamily="34" charset="0"/>
                <a:cs typeface="Arial" panose="020B0604020202020204" pitchFamily="34" charset="0"/>
              </a:rPr>
              <a:t>Loss arising naturally or directly from an occurrence which excludes remote, indirect, consequential, or special losses or damage such as loss of revenue or loss of profit“. </a:t>
            </a:r>
          </a:p>
          <a:p>
            <a:pPr lvl="2">
              <a:spcBef>
                <a:spcPts val="1200"/>
              </a:spcBef>
              <a:buFont typeface="Wingdings" panose="05000000000000000000" pitchFamily="2" charset="2"/>
              <a:buChar char="§"/>
            </a:pPr>
            <a:r>
              <a:rPr lang="en-US" sz="2100" dirty="0">
                <a:latin typeface="Arial" panose="020B0604020202020204" pitchFamily="34" charset="0"/>
                <a:cs typeface="Arial" panose="020B0604020202020204" pitchFamily="34" charset="0"/>
              </a:rPr>
              <a:t>“Direct loss” does NOT appear in Sub-Article 8.5. It does appear in Sub-Article 8.6 regarding  </a:t>
            </a:r>
            <a:r>
              <a:rPr lang="en-US" sz="2100" i="1" dirty="0">
                <a:latin typeface="Arial" panose="020B0604020202020204" pitchFamily="34" charset="0"/>
                <a:cs typeface="Arial" panose="020B0604020202020204" pitchFamily="34" charset="0"/>
              </a:rPr>
              <a:t>loss / disappearance </a:t>
            </a:r>
            <a:r>
              <a:rPr lang="en-US" sz="2100" dirty="0">
                <a:latin typeface="Arial" panose="020B0604020202020204" pitchFamily="34" charset="0"/>
                <a:cs typeface="Arial" panose="020B0604020202020204" pitchFamily="34" charset="0"/>
              </a:rPr>
              <a:t>of cargo. </a:t>
            </a:r>
          </a:p>
          <a:p>
            <a:pPr lvl="2">
              <a:spcBef>
                <a:spcPts val="1200"/>
              </a:spcBef>
              <a:buFont typeface="Wingdings" panose="05000000000000000000" pitchFamily="2" charset="2"/>
              <a:buChar char="§"/>
            </a:pPr>
            <a:r>
              <a:rPr lang="en-US" sz="2100" dirty="0">
                <a:latin typeface="Arial" panose="020B0604020202020204" pitchFamily="34" charset="0"/>
                <a:cs typeface="Arial" panose="020B0604020202020204" pitchFamily="34" charset="0"/>
              </a:rPr>
              <a:t>The 2</a:t>
            </a:r>
            <a:r>
              <a:rPr lang="en-US" sz="2100" baseline="30000" dirty="0">
                <a:latin typeface="Arial" panose="020B0604020202020204" pitchFamily="34" charset="0"/>
                <a:cs typeface="Arial" panose="020B0604020202020204" pitchFamily="34" charset="0"/>
              </a:rPr>
              <a:t>nd</a:t>
            </a:r>
            <a:r>
              <a:rPr lang="en-US" sz="2100" dirty="0">
                <a:latin typeface="Arial" panose="020B0604020202020204" pitchFamily="34" charset="0"/>
                <a:cs typeface="Arial" panose="020B0604020202020204" pitchFamily="34" charset="0"/>
              </a:rPr>
              <a:t> phrase of the definition suggests that loss of revenue and loss of profit cannot be a direct loss. However, that is not correct. </a:t>
            </a:r>
          </a:p>
          <a:p>
            <a:pPr marL="914400" lvl="2" indent="0">
              <a:spcBef>
                <a:spcPts val="1200"/>
              </a:spcBef>
              <a:buNone/>
            </a:pPr>
            <a:endParaRPr lang="en-US" sz="2100" dirty="0">
              <a:latin typeface="Arial" panose="020B0604020202020204" pitchFamily="34" charset="0"/>
              <a:cs typeface="Arial" panose="020B0604020202020204" pitchFamily="34" charset="0"/>
            </a:endParaRPr>
          </a:p>
          <a:p>
            <a:pPr marL="914400" lvl="2" indent="0">
              <a:spcBef>
                <a:spcPts val="1200"/>
              </a:spcBef>
              <a:buNone/>
            </a:pPr>
            <a:r>
              <a:rPr lang="en-US" sz="2100" dirty="0">
                <a:latin typeface="Arial" panose="020B0604020202020204" pitchFamily="34" charset="0"/>
                <a:cs typeface="Arial" panose="020B0604020202020204" pitchFamily="34" charset="0"/>
              </a:rPr>
              <a:t>Question? </a:t>
            </a:r>
          </a:p>
          <a:p>
            <a:pPr marL="914400" lvl="2" indent="0">
              <a:spcBef>
                <a:spcPts val="1200"/>
              </a:spcBef>
              <a:buNone/>
            </a:pPr>
            <a:r>
              <a:rPr lang="en-US" sz="2100" dirty="0">
                <a:latin typeface="Arial" panose="020B0604020202020204" pitchFamily="34" charset="0"/>
                <a:cs typeface="Arial" panose="020B0604020202020204" pitchFamily="34" charset="0"/>
              </a:rPr>
              <a:t>Is it better to tighten the generic language or have a list of costs and losses?</a:t>
            </a:r>
          </a:p>
          <a:p>
            <a:pPr lvl="2" indent="0">
              <a:spcBef>
                <a:spcPts val="1200"/>
              </a:spcBef>
              <a:buNone/>
            </a:pPr>
            <a:endParaRPr lang="en-US" sz="2400" i="1" dirty="0"/>
          </a:p>
          <a:p>
            <a:pPr lvl="1"/>
            <a:endParaRPr lang="en-GB" sz="1800" dirty="0"/>
          </a:p>
          <a:p>
            <a:pPr lvl="1"/>
            <a:endParaRPr lang="en-GB" sz="1800" dirty="0"/>
          </a:p>
          <a:p>
            <a:pPr lvl="1"/>
            <a:endParaRPr lang="en-GB" sz="1800" dirty="0"/>
          </a:p>
          <a:p>
            <a:pPr marL="0" indent="0">
              <a:buNone/>
            </a:pPr>
            <a:endParaRPr lang="en-GB" dirty="0"/>
          </a:p>
        </p:txBody>
      </p:sp>
      <p:sp>
        <p:nvSpPr>
          <p:cNvPr id="4" name="Slide Number Placeholder 3">
            <a:extLst>
              <a:ext uri="{FF2B5EF4-FFF2-40B4-BE49-F238E27FC236}">
                <a16:creationId xmlns:a16="http://schemas.microsoft.com/office/drawing/2014/main" id="{AA151994-ABF2-9FFB-8362-800B87E68D1F}"/>
              </a:ext>
            </a:extLst>
          </p:cNvPr>
          <p:cNvSpPr>
            <a:spLocks noGrp="1"/>
          </p:cNvSpPr>
          <p:nvPr>
            <p:ph type="sldNum" sz="quarter" idx="12"/>
          </p:nvPr>
        </p:nvSpPr>
        <p:spPr/>
        <p:txBody>
          <a:bodyPr/>
          <a:lstStyle/>
          <a:p>
            <a:fld id="{60BE71DF-3B06-48E0-B4DA-070A362D18E0}" type="slidenum">
              <a:rPr lang="en-GB" smtClean="0"/>
              <a:t>20</a:t>
            </a:fld>
            <a:endParaRPr lang="en-GB"/>
          </a:p>
        </p:txBody>
      </p:sp>
    </p:spTree>
    <p:extLst>
      <p:ext uri="{BB962C8B-B14F-4D97-AF65-F5344CB8AC3E}">
        <p14:creationId xmlns:p14="http://schemas.microsoft.com/office/powerpoint/2010/main" val="77673585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686023-85F5-076F-4AF3-E037C5E0C38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BBDF968-409B-0FAB-DDC2-30D757CED84B}"/>
              </a:ext>
            </a:extLst>
          </p:cNvPr>
          <p:cNvSpPr>
            <a:spLocks noGrp="1"/>
          </p:cNvSpPr>
          <p:nvPr>
            <p:ph type="title"/>
          </p:nvPr>
        </p:nvSpPr>
        <p:spPr/>
        <p:txBody>
          <a:bodyPr/>
          <a:lstStyle/>
          <a:p>
            <a:r>
              <a:rPr lang="en-GB" sz="2800" b="1" dirty="0"/>
              <a:t>TASK FORCE REVIEW</a:t>
            </a:r>
          </a:p>
        </p:txBody>
      </p:sp>
      <p:sp>
        <p:nvSpPr>
          <p:cNvPr id="3" name="Content Placeholder 2">
            <a:extLst>
              <a:ext uri="{FF2B5EF4-FFF2-40B4-BE49-F238E27FC236}">
                <a16:creationId xmlns:a16="http://schemas.microsoft.com/office/drawing/2014/main" id="{70A63FF9-13E2-619E-DF22-E4B5ED029C6B}"/>
              </a:ext>
            </a:extLst>
          </p:cNvPr>
          <p:cNvSpPr>
            <a:spLocks noGrp="1"/>
          </p:cNvSpPr>
          <p:nvPr>
            <p:ph idx="1"/>
          </p:nvPr>
        </p:nvSpPr>
        <p:spPr>
          <a:xfrm>
            <a:off x="508000" y="1261764"/>
            <a:ext cx="10515600" cy="5337819"/>
          </a:xfrm>
        </p:spPr>
        <p:txBody>
          <a:bodyPr>
            <a:normAutofit/>
          </a:bodyPr>
          <a:lstStyle/>
          <a:p>
            <a:pPr lvl="2" indent="0">
              <a:spcBef>
                <a:spcPts val="1200"/>
              </a:spcBef>
              <a:buNone/>
            </a:pPr>
            <a:endParaRPr lang="en-US" sz="2000" i="1" dirty="0">
              <a:latin typeface="Arial" panose="020B0604020202020204" pitchFamily="34" charset="0"/>
              <a:cs typeface="Arial" panose="020B0604020202020204" pitchFamily="34" charset="0"/>
            </a:endParaRPr>
          </a:p>
          <a:p>
            <a:pPr lvl="1"/>
            <a:endParaRPr lang="en-GB" sz="1800" dirty="0"/>
          </a:p>
          <a:p>
            <a:pPr lvl="1"/>
            <a:endParaRPr lang="en-GB" sz="1800" dirty="0"/>
          </a:p>
          <a:p>
            <a:pPr lvl="1"/>
            <a:endParaRPr lang="en-GB" sz="1800" dirty="0"/>
          </a:p>
          <a:p>
            <a:pPr marL="0" indent="0">
              <a:buNone/>
            </a:pPr>
            <a:endParaRPr lang="en-GB" dirty="0"/>
          </a:p>
        </p:txBody>
      </p:sp>
      <p:sp>
        <p:nvSpPr>
          <p:cNvPr id="5" name="TextBox 4">
            <a:extLst>
              <a:ext uri="{FF2B5EF4-FFF2-40B4-BE49-F238E27FC236}">
                <a16:creationId xmlns:a16="http://schemas.microsoft.com/office/drawing/2014/main" id="{F1A267E5-3060-F9C0-06F9-CE3C0EE1F446}"/>
              </a:ext>
            </a:extLst>
          </p:cNvPr>
          <p:cNvSpPr txBox="1"/>
          <p:nvPr/>
        </p:nvSpPr>
        <p:spPr>
          <a:xfrm>
            <a:off x="395749" y="1494012"/>
            <a:ext cx="10763864" cy="2459071"/>
          </a:xfrm>
          <a:prstGeom prst="rect">
            <a:avLst/>
          </a:prstGeom>
          <a:noFill/>
        </p:spPr>
        <p:txBody>
          <a:bodyPr wrap="square">
            <a:spAutoFit/>
          </a:bodyPr>
          <a:lstStyle/>
          <a:p>
            <a:pPr marL="171450" indent="-171450">
              <a:lnSpc>
                <a:spcPct val="200000"/>
              </a:lnSpc>
              <a:buFont typeface="Wingdings" panose="05000000000000000000" pitchFamily="2" charset="2"/>
              <a:buChar char="§"/>
            </a:pPr>
            <a:r>
              <a:rPr lang="en-GB" sz="2000" dirty="0">
                <a:latin typeface="Arial" panose="020B0604020202020204" pitchFamily="34" charset="0"/>
                <a:cs typeface="Arial" panose="020B0604020202020204" pitchFamily="34" charset="0"/>
              </a:rPr>
              <a:t>Allocation of risk</a:t>
            </a:r>
          </a:p>
          <a:p>
            <a:pPr marL="171450" indent="-171450">
              <a:lnSpc>
                <a:spcPct val="200000"/>
              </a:lnSpc>
              <a:buFont typeface="Wingdings" panose="05000000000000000000" pitchFamily="2" charset="2"/>
              <a:buChar char="§"/>
            </a:pPr>
            <a:r>
              <a:rPr lang="en-GB" sz="2000" dirty="0">
                <a:latin typeface="Arial" panose="020B0604020202020204" pitchFamily="34" charset="0"/>
                <a:cs typeface="Arial" panose="020B0604020202020204" pitchFamily="34" charset="0"/>
              </a:rPr>
              <a:t>Seeking to remove ambiguities in contract language over issues like losses</a:t>
            </a:r>
          </a:p>
          <a:p>
            <a:pPr marL="171450" indent="-171450">
              <a:lnSpc>
                <a:spcPct val="200000"/>
              </a:lnSpc>
              <a:buFont typeface="Wingdings" panose="05000000000000000000" pitchFamily="2" charset="2"/>
              <a:buChar char="§"/>
            </a:pPr>
            <a:r>
              <a:rPr lang="en-GB" sz="2000" dirty="0">
                <a:latin typeface="Arial" panose="020B0604020202020204" pitchFamily="34" charset="0"/>
                <a:cs typeface="Arial" panose="020B0604020202020204" pitchFamily="34" charset="0"/>
              </a:rPr>
              <a:t>Aviation insurers waiting to see proposals before commenting further</a:t>
            </a:r>
          </a:p>
          <a:p>
            <a:pPr marL="171450" indent="-171450">
              <a:lnSpc>
                <a:spcPct val="200000"/>
              </a:lnSpc>
              <a:buFont typeface="Wingdings" panose="05000000000000000000" pitchFamily="2" charset="2"/>
              <a:buChar char="§"/>
            </a:pPr>
            <a:r>
              <a:rPr lang="en-GB" sz="2000" dirty="0">
                <a:latin typeface="Arial" panose="020B0604020202020204" pitchFamily="34" charset="0"/>
                <a:cs typeface="Arial" panose="020B0604020202020204" pitchFamily="34" charset="0"/>
              </a:rPr>
              <a:t>Peter Coles HFW participating</a:t>
            </a:r>
          </a:p>
        </p:txBody>
      </p:sp>
      <p:sp>
        <p:nvSpPr>
          <p:cNvPr id="4" name="Slide Number Placeholder 3">
            <a:extLst>
              <a:ext uri="{FF2B5EF4-FFF2-40B4-BE49-F238E27FC236}">
                <a16:creationId xmlns:a16="http://schemas.microsoft.com/office/drawing/2014/main" id="{FE5EE2E5-1247-DE3E-D22F-7E9414A3E5FE}"/>
              </a:ext>
            </a:extLst>
          </p:cNvPr>
          <p:cNvSpPr>
            <a:spLocks noGrp="1"/>
          </p:cNvSpPr>
          <p:nvPr>
            <p:ph type="sldNum" sz="quarter" idx="12"/>
          </p:nvPr>
        </p:nvSpPr>
        <p:spPr/>
        <p:txBody>
          <a:bodyPr/>
          <a:lstStyle/>
          <a:p>
            <a:fld id="{60BE71DF-3B06-48E0-B4DA-070A362D18E0}" type="slidenum">
              <a:rPr lang="en-GB" smtClean="0"/>
              <a:t>21</a:t>
            </a:fld>
            <a:endParaRPr lang="en-GB"/>
          </a:p>
        </p:txBody>
      </p:sp>
    </p:spTree>
    <p:extLst>
      <p:ext uri="{BB962C8B-B14F-4D97-AF65-F5344CB8AC3E}">
        <p14:creationId xmlns:p14="http://schemas.microsoft.com/office/powerpoint/2010/main" val="98380669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CD059F-8DEC-E402-4779-5906A4940881}"/>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D6045B6-6466-72B3-26ED-72258F514A07}"/>
              </a:ext>
            </a:extLst>
          </p:cNvPr>
          <p:cNvSpPr>
            <a:spLocks noGrp="1"/>
          </p:cNvSpPr>
          <p:nvPr>
            <p:ph type="sldNum" sz="quarter" idx="12"/>
          </p:nvPr>
        </p:nvSpPr>
        <p:spPr/>
        <p:txBody>
          <a:bodyPr/>
          <a:lstStyle/>
          <a:p>
            <a:fld id="{8CFE0557-AA98-4E6C-B0C3-581794696B68}" type="slidenum">
              <a:rPr lang="en-GB" smtClean="0"/>
              <a:pPr/>
              <a:t>22</a:t>
            </a:fld>
            <a:endParaRPr lang="en-GB"/>
          </a:p>
        </p:txBody>
      </p:sp>
      <p:sp>
        <p:nvSpPr>
          <p:cNvPr id="3" name="Content Placeholder 2">
            <a:extLst>
              <a:ext uri="{FF2B5EF4-FFF2-40B4-BE49-F238E27FC236}">
                <a16:creationId xmlns:a16="http://schemas.microsoft.com/office/drawing/2014/main" id="{D0FDBB5A-1D28-B611-A69A-64C1E35DCFD0}"/>
              </a:ext>
            </a:extLst>
          </p:cNvPr>
          <p:cNvSpPr>
            <a:spLocks noGrp="1"/>
          </p:cNvSpPr>
          <p:nvPr>
            <p:ph idx="1"/>
          </p:nvPr>
        </p:nvSpPr>
        <p:spPr>
          <a:xfrm>
            <a:off x="508000" y="1139031"/>
            <a:ext cx="7125758" cy="291662"/>
          </a:xfrm>
        </p:spPr>
        <p:txBody>
          <a:bodyPr/>
          <a:lstStyle/>
          <a:p>
            <a:r>
              <a:rPr lang="en-GB" sz="1600" dirty="0"/>
              <a:t>Beware </a:t>
            </a:r>
          </a:p>
        </p:txBody>
      </p:sp>
      <p:sp>
        <p:nvSpPr>
          <p:cNvPr id="4" name="Content Placeholder 3">
            <a:extLst>
              <a:ext uri="{FF2B5EF4-FFF2-40B4-BE49-F238E27FC236}">
                <a16:creationId xmlns:a16="http://schemas.microsoft.com/office/drawing/2014/main" id="{9A05D367-2BCA-18CD-12E1-9887713A17B5}"/>
              </a:ext>
            </a:extLst>
          </p:cNvPr>
          <p:cNvSpPr>
            <a:spLocks noGrp="1"/>
          </p:cNvSpPr>
          <p:nvPr>
            <p:ph idx="16"/>
          </p:nvPr>
        </p:nvSpPr>
        <p:spPr>
          <a:xfrm>
            <a:off x="508000" y="1613017"/>
            <a:ext cx="7125758" cy="4984428"/>
          </a:xfrm>
        </p:spPr>
        <p:txBody>
          <a:bodyPr>
            <a:normAutofit lnSpcReduction="10000"/>
          </a:bodyPr>
          <a:lstStyle/>
          <a:p>
            <a:pPr marL="342900" indent="-342900">
              <a:buFont typeface="Wingdings" panose="05000000000000000000" pitchFamily="2" charset="2"/>
              <a:buChar char="§"/>
            </a:pPr>
            <a:r>
              <a:rPr lang="en-GB" sz="2000" dirty="0">
                <a:latin typeface="Arial" panose="020B0604020202020204" pitchFamily="34" charset="0"/>
                <a:cs typeface="Arial" panose="020B0604020202020204" pitchFamily="34" charset="0"/>
              </a:rPr>
              <a:t>Constant theme</a:t>
            </a:r>
          </a:p>
          <a:p>
            <a:pPr marL="523875" lvl="2" indent="-342900">
              <a:buFont typeface="Wingdings" panose="05000000000000000000" pitchFamily="2" charset="2"/>
              <a:buChar char="§"/>
            </a:pPr>
            <a:r>
              <a:rPr lang="en-GB" sz="2000" dirty="0">
                <a:latin typeface="Arial" panose="020B0604020202020204" pitchFamily="34" charset="0"/>
                <a:cs typeface="Arial" panose="020B0604020202020204" pitchFamily="34" charset="0"/>
              </a:rPr>
              <a:t>Delayed deliveries</a:t>
            </a:r>
          </a:p>
          <a:p>
            <a:pPr marL="523875" lvl="2" indent="-342900">
              <a:buFont typeface="Wingdings" panose="05000000000000000000" pitchFamily="2" charset="2"/>
              <a:buChar char="§"/>
            </a:pPr>
            <a:r>
              <a:rPr lang="en-GB" sz="2000" dirty="0">
                <a:latin typeface="Arial" panose="020B0604020202020204" pitchFamily="34" charset="0"/>
                <a:cs typeface="Arial" panose="020B0604020202020204" pitchFamily="34" charset="0"/>
              </a:rPr>
              <a:t>Defective aircraft</a:t>
            </a:r>
          </a:p>
          <a:p>
            <a:pPr marL="342900" indent="-342900">
              <a:buFont typeface="Wingdings" panose="05000000000000000000" pitchFamily="2" charset="2"/>
              <a:buChar char="§"/>
            </a:pPr>
            <a:r>
              <a:rPr lang="en-GB" sz="2000" dirty="0">
                <a:latin typeface="Arial" panose="020B0604020202020204" pitchFamily="34" charset="0"/>
                <a:cs typeface="Arial" panose="020B0604020202020204" pitchFamily="34" charset="0"/>
              </a:rPr>
              <a:t>OEM regime</a:t>
            </a:r>
          </a:p>
          <a:p>
            <a:pPr marL="523875" lvl="2" indent="-342900">
              <a:buFont typeface="Wingdings" panose="05000000000000000000" pitchFamily="2" charset="2"/>
              <a:buChar char="§"/>
            </a:pPr>
            <a:r>
              <a:rPr lang="en-GB" sz="2000" dirty="0">
                <a:latin typeface="Arial" panose="020B0604020202020204" pitchFamily="34" charset="0"/>
                <a:cs typeface="Arial" panose="020B0604020202020204" pitchFamily="34" charset="0"/>
              </a:rPr>
              <a:t>Supply chain problems existed long before Covid19. Excusable and non-excusable delays. </a:t>
            </a:r>
          </a:p>
          <a:p>
            <a:pPr marL="523875" lvl="2" indent="-342900">
              <a:buFont typeface="Wingdings" panose="05000000000000000000" pitchFamily="2" charset="2"/>
              <a:buChar char="§"/>
            </a:pPr>
            <a:r>
              <a:rPr lang="en-GB" sz="2000" dirty="0">
                <a:latin typeface="Arial" panose="020B0604020202020204" pitchFamily="34" charset="0"/>
                <a:cs typeface="Arial" panose="020B0604020202020204" pitchFamily="34" charset="0"/>
              </a:rPr>
              <a:t>Liabilities and remedies for defective products: repair or replacement. Everything else excluded. </a:t>
            </a:r>
          </a:p>
          <a:p>
            <a:pPr marL="342900" indent="-342900">
              <a:buFont typeface="Wingdings" panose="05000000000000000000" pitchFamily="2" charset="2"/>
              <a:buChar char="§"/>
            </a:pPr>
            <a:r>
              <a:rPr lang="en-GB" sz="2000" dirty="0">
                <a:latin typeface="Arial" panose="020B0604020202020204" pitchFamily="34" charset="0"/>
                <a:cs typeface="Arial" panose="020B0604020202020204" pitchFamily="34" charset="0"/>
              </a:rPr>
              <a:t>Is the exclusionary language up to date?</a:t>
            </a:r>
          </a:p>
          <a:p>
            <a:pPr marL="342900" indent="-342900">
              <a:buFont typeface="Wingdings" panose="05000000000000000000" pitchFamily="2" charset="2"/>
              <a:buChar char="§"/>
            </a:pPr>
            <a:r>
              <a:rPr lang="en-GB" sz="2000" dirty="0">
                <a:latin typeface="Arial" panose="020B0604020202020204" pitchFamily="34" charset="0"/>
                <a:cs typeface="Arial" panose="020B0604020202020204" pitchFamily="34" charset="0"/>
              </a:rPr>
              <a:t>Implied terms and durability</a:t>
            </a:r>
          </a:p>
          <a:p>
            <a:pPr algn="r"/>
            <a:r>
              <a:rPr lang="en-GB" sz="2600" i="1" dirty="0">
                <a:solidFill>
                  <a:schemeClr val="tx2"/>
                </a:solidFill>
                <a:latin typeface="Arial" panose="020B0604020202020204" pitchFamily="34" charset="0"/>
                <a:cs typeface="Arial" panose="020B0604020202020204" pitchFamily="34" charset="0"/>
              </a:rPr>
              <a:t>“</a:t>
            </a:r>
            <a:r>
              <a:rPr lang="en-GB" sz="1900" i="1" dirty="0">
                <a:solidFill>
                  <a:schemeClr val="tx2"/>
                </a:solidFill>
                <a:latin typeface="Arial" panose="020B0604020202020204" pitchFamily="34" charset="0"/>
                <a:cs typeface="Arial" panose="020B0604020202020204" pitchFamily="34" charset="0"/>
              </a:rPr>
              <a:t>Frustrations with the OEMs are felt right across the board”. </a:t>
            </a:r>
          </a:p>
          <a:p>
            <a:endParaRPr lang="en-GB" sz="2000" dirty="0"/>
          </a:p>
        </p:txBody>
      </p:sp>
      <p:sp>
        <p:nvSpPr>
          <p:cNvPr id="6" name="Title 5">
            <a:extLst>
              <a:ext uri="{FF2B5EF4-FFF2-40B4-BE49-F238E27FC236}">
                <a16:creationId xmlns:a16="http://schemas.microsoft.com/office/drawing/2014/main" id="{646F6E12-EA6D-8397-6FA6-4D2A7300FBD5}"/>
              </a:ext>
            </a:extLst>
          </p:cNvPr>
          <p:cNvSpPr>
            <a:spLocks noGrp="1"/>
          </p:cNvSpPr>
          <p:nvPr>
            <p:ph type="title"/>
          </p:nvPr>
        </p:nvSpPr>
        <p:spPr/>
        <p:txBody>
          <a:bodyPr/>
          <a:lstStyle/>
          <a:p>
            <a:r>
              <a:rPr lang="en-GB" sz="2800" b="1" dirty="0">
                <a:latin typeface="Lato" panose="020F0502020204030203" pitchFamily="34" charset="0"/>
              </a:rPr>
              <a:t>BUYER/OPERATOR &amp; </a:t>
            </a:r>
            <a:r>
              <a:rPr lang="en-GB" sz="2800" b="1" i="0" dirty="0">
                <a:effectLst/>
                <a:latin typeface="Lato" panose="020F0502020204030203" pitchFamily="34" charset="0"/>
              </a:rPr>
              <a:t>OEM balance</a:t>
            </a:r>
            <a:endParaRPr lang="en-GB" sz="2800" b="1" dirty="0"/>
          </a:p>
        </p:txBody>
      </p:sp>
      <p:graphicFrame>
        <p:nvGraphicFramePr>
          <p:cNvPr id="10" name="Content Placeholder 9">
            <a:extLst>
              <a:ext uri="{FF2B5EF4-FFF2-40B4-BE49-F238E27FC236}">
                <a16:creationId xmlns:a16="http://schemas.microsoft.com/office/drawing/2014/main" id="{A57D9EEF-9D8A-A581-38A7-F676465FCF87}"/>
              </a:ext>
            </a:extLst>
          </p:cNvPr>
          <p:cNvGraphicFramePr>
            <a:graphicFrameLocks noGrp="1"/>
          </p:cNvGraphicFramePr>
          <p:nvPr>
            <p:ph idx="45"/>
          </p:nvPr>
        </p:nvGraphicFramePr>
        <p:xfrm>
          <a:off x="8737600" y="3854894"/>
          <a:ext cx="2963863" cy="123190"/>
        </p:xfrm>
        <a:graphic>
          <a:graphicData uri="http://schemas.openxmlformats.org/drawingml/2006/table">
            <a:tbl>
              <a:tblPr>
                <a:tableStyleId>{5C22544A-7EE6-4342-B048-85BDC9FD1C3A}</a:tableStyleId>
              </a:tblPr>
              <a:tblGrid>
                <a:gridCol w="2963863">
                  <a:extLst>
                    <a:ext uri="{9D8B030D-6E8A-4147-A177-3AD203B41FA5}">
                      <a16:colId xmlns:a16="http://schemas.microsoft.com/office/drawing/2014/main" val="2987548661"/>
                    </a:ext>
                  </a:extLst>
                </a:gridCol>
              </a:tblGrid>
              <a:tr h="66865">
                <a:tc>
                  <a:txBody>
                    <a:bodyPr/>
                    <a:lstStyle/>
                    <a:p>
                      <a:pPr algn="l">
                        <a:lnSpc>
                          <a:spcPts val="1200"/>
                        </a:lnSpc>
                        <a:buNone/>
                      </a:pPr>
                      <a:r>
                        <a:rPr lang="en-GB" sz="300" dirty="0">
                          <a:effectLst/>
                        </a:rPr>
                        <a:t>Implied terms and durability</a:t>
                      </a:r>
                      <a:endParaRPr lang="en-GB" sz="3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18190" marR="18190" marT="0" marB="0"/>
                </a:tc>
                <a:extLst>
                  <a:ext uri="{0D108BD9-81ED-4DB2-BD59-A6C34878D82A}">
                    <a16:rowId xmlns:a16="http://schemas.microsoft.com/office/drawing/2014/main" val="3649168219"/>
                  </a:ext>
                </a:extLst>
              </a:tr>
            </a:tbl>
          </a:graphicData>
        </a:graphic>
      </p:graphicFrame>
      <p:pic>
        <p:nvPicPr>
          <p:cNvPr id="5" name="Picture Placeholder 17">
            <a:extLst>
              <a:ext uri="{FF2B5EF4-FFF2-40B4-BE49-F238E27FC236}">
                <a16:creationId xmlns:a16="http://schemas.microsoft.com/office/drawing/2014/main" id="{3006CE6A-3A18-963F-6193-AA3C03B01243}"/>
              </a:ext>
            </a:extLst>
          </p:cNvPr>
          <p:cNvPicPr>
            <a:picLocks noChangeAspect="1"/>
          </p:cNvPicPr>
          <p:nvPr/>
        </p:nvPicPr>
        <p:blipFill>
          <a:blip r:embed="rId2">
            <a:extLst>
              <a:ext uri="{28A0092B-C50C-407E-A947-70E740481C1C}">
                <a14:useLocalDpi xmlns:a14="http://schemas.microsoft.com/office/drawing/2010/main" val="0"/>
              </a:ext>
            </a:extLst>
          </a:blip>
          <a:srcRect l="33327" r="33327"/>
          <a:stretch/>
        </p:blipFill>
        <p:spPr>
          <a:xfrm>
            <a:off x="8126413" y="0"/>
            <a:ext cx="4065587" cy="6858000"/>
          </a:xfrm>
          <a:prstGeom prst="rect">
            <a:avLst/>
          </a:prstGeom>
        </p:spPr>
      </p:pic>
    </p:spTree>
    <p:extLst>
      <p:ext uri="{BB962C8B-B14F-4D97-AF65-F5344CB8AC3E}">
        <p14:creationId xmlns:p14="http://schemas.microsoft.com/office/powerpoint/2010/main" val="3372207017"/>
      </p:ext>
    </p:extLst>
  </p:cSld>
  <p:clrMapOvr>
    <a:masterClrMapping/>
  </p:clrMapOvr>
  <p:transition spd="med">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BCB5B1-CB0D-1A13-0985-612761963BA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E69789D-46D2-51FD-95E9-D8BD95723DC6}"/>
              </a:ext>
            </a:extLst>
          </p:cNvPr>
          <p:cNvSpPr>
            <a:spLocks noGrp="1"/>
          </p:cNvSpPr>
          <p:nvPr>
            <p:ph type="title"/>
          </p:nvPr>
        </p:nvSpPr>
        <p:spPr>
          <a:xfrm>
            <a:off x="399463" y="261511"/>
            <a:ext cx="11174413" cy="1039999"/>
          </a:xfrm>
        </p:spPr>
        <p:txBody>
          <a:bodyPr/>
          <a:lstStyle/>
          <a:p>
            <a:r>
              <a:rPr lang="en-GB" sz="2800" dirty="0">
                <a:latin typeface="Arial" panose="020B0604020202020204" pitchFamily="34" charset="0"/>
                <a:cs typeface="Arial" panose="020B0604020202020204" pitchFamily="34" charset="0"/>
              </a:rPr>
              <a:t>Implied terms </a:t>
            </a:r>
            <a:br>
              <a:rPr lang="en-GB" sz="2800" dirty="0">
                <a:latin typeface="Arial" panose="020B0604020202020204" pitchFamily="34" charset="0"/>
                <a:cs typeface="Arial" panose="020B0604020202020204" pitchFamily="34" charset="0"/>
              </a:rPr>
            </a:br>
            <a:endParaRPr lang="en-GB" sz="2800" dirty="0"/>
          </a:p>
        </p:txBody>
      </p:sp>
      <p:sp>
        <p:nvSpPr>
          <p:cNvPr id="3" name="Content Placeholder 2">
            <a:extLst>
              <a:ext uri="{FF2B5EF4-FFF2-40B4-BE49-F238E27FC236}">
                <a16:creationId xmlns:a16="http://schemas.microsoft.com/office/drawing/2014/main" id="{B9ECB2DD-1B30-0099-E40B-61105C1B2212}"/>
              </a:ext>
            </a:extLst>
          </p:cNvPr>
          <p:cNvSpPr>
            <a:spLocks noGrp="1"/>
          </p:cNvSpPr>
          <p:nvPr>
            <p:ph idx="1"/>
          </p:nvPr>
        </p:nvSpPr>
        <p:spPr>
          <a:xfrm>
            <a:off x="508793" y="1341278"/>
            <a:ext cx="10515600" cy="4913057"/>
          </a:xfrm>
        </p:spPr>
        <p:txBody>
          <a:bodyPr>
            <a:normAutofit/>
          </a:bodyPr>
          <a:lstStyle/>
          <a:p>
            <a:pPr lvl="2" indent="0">
              <a:spcBef>
                <a:spcPts val="1200"/>
              </a:spcBef>
              <a:buNone/>
            </a:pPr>
            <a:endParaRPr lang="en-US" sz="2400" i="1" dirty="0"/>
          </a:p>
          <a:p>
            <a:pPr lvl="1"/>
            <a:endParaRPr lang="en-GB" sz="1800" dirty="0"/>
          </a:p>
          <a:p>
            <a:pPr lvl="1"/>
            <a:endParaRPr lang="en-GB" sz="1800" dirty="0"/>
          </a:p>
          <a:p>
            <a:pPr lvl="1"/>
            <a:endParaRPr lang="en-GB" sz="1800" dirty="0"/>
          </a:p>
          <a:p>
            <a:pPr marL="0" indent="0">
              <a:buNone/>
            </a:pPr>
            <a:endParaRPr lang="en-GB" dirty="0"/>
          </a:p>
        </p:txBody>
      </p:sp>
      <p:sp>
        <p:nvSpPr>
          <p:cNvPr id="5" name="TextBox 4">
            <a:extLst>
              <a:ext uri="{FF2B5EF4-FFF2-40B4-BE49-F238E27FC236}">
                <a16:creationId xmlns:a16="http://schemas.microsoft.com/office/drawing/2014/main" id="{39451FD0-5FA4-F5E5-CC6F-23B10684A358}"/>
              </a:ext>
            </a:extLst>
          </p:cNvPr>
          <p:cNvSpPr txBox="1"/>
          <p:nvPr/>
        </p:nvSpPr>
        <p:spPr>
          <a:xfrm>
            <a:off x="231446" y="781510"/>
            <a:ext cx="11070294" cy="6170920"/>
          </a:xfrm>
          <a:prstGeom prst="rect">
            <a:avLst/>
          </a:prstGeom>
          <a:noFill/>
        </p:spPr>
        <p:txBody>
          <a:bodyPr wrap="square">
            <a:spAutoFit/>
          </a:bodyPr>
          <a:lstStyle/>
          <a:p>
            <a:pPr marL="342900" indent="-342900">
              <a:buFont typeface="Wingdings" panose="05000000000000000000" pitchFamily="2" charset="2"/>
              <a:buChar char="§"/>
            </a:pPr>
            <a:r>
              <a:rPr lang="en-GB" sz="2000" b="1" i="1" dirty="0"/>
              <a:t>Air Trans</a:t>
            </a:r>
            <a:r>
              <a:rPr lang="en-GB" sz="2000" b="1" i="1" u="none" strike="noStrike" dirty="0">
                <a:effectLst/>
                <a:latin typeface="Arial" panose="020B0604020202020204" pitchFamily="34" charset="0"/>
                <a:ea typeface="Times New Roman" panose="02020603050405020304" pitchFamily="18" charset="0"/>
                <a:cs typeface="Times New Roman" panose="02020603050405020304" pitchFamily="18" charset="0"/>
              </a:rPr>
              <a:t>world Ltd v Bombardier Inc [2012] EWHC 243 (Comm) </a:t>
            </a:r>
            <a:r>
              <a:rPr lang="en-GB" sz="2000" u="none" strike="noStrike" dirty="0">
                <a:effectLst/>
                <a:latin typeface="Arial" panose="020B0604020202020204" pitchFamily="34" charset="0"/>
                <a:ea typeface="Times New Roman" panose="02020603050405020304" pitchFamily="18" charset="0"/>
                <a:cs typeface="Times New Roman" panose="02020603050405020304" pitchFamily="18" charset="0"/>
              </a:rPr>
              <a:t>('</a:t>
            </a:r>
            <a:r>
              <a:rPr lang="en-GB" sz="2000" b="1" u="none" strike="noStrike" dirty="0">
                <a:effectLst/>
                <a:latin typeface="Arial" panose="020B0604020202020204" pitchFamily="34" charset="0"/>
                <a:ea typeface="Times New Roman" panose="02020603050405020304" pitchFamily="18" charset="0"/>
                <a:cs typeface="Times New Roman" panose="02020603050405020304" pitchFamily="18" charset="0"/>
              </a:rPr>
              <a:t>Bombardier</a:t>
            </a:r>
            <a:r>
              <a:rPr lang="en-GB" sz="2000" u="none" strike="noStrike" dirty="0">
                <a:effectLst/>
                <a:latin typeface="Arial" panose="020B0604020202020204" pitchFamily="34" charset="0"/>
                <a:ea typeface="Times New Roman" panose="02020603050405020304" pitchFamily="18" charset="0"/>
                <a:cs typeface="Times New Roman" panose="02020603050405020304" pitchFamily="18" charset="0"/>
              </a:rPr>
              <a:t>’)</a:t>
            </a:r>
          </a:p>
          <a:p>
            <a:pPr marL="1143000" lvl="2" indent="-228600" algn="just" fontAlgn="base">
              <a:spcAft>
                <a:spcPts val="1100"/>
              </a:spcAft>
              <a:buSzPts val="1000"/>
              <a:buFont typeface="Arial" panose="020B0604020202020204" pitchFamily="34" charset="0"/>
              <a:buAutoNum type="alphaLcParenBoth"/>
            </a:pPr>
            <a:r>
              <a:rPr lang="en-GB" sz="2000" u="none" strike="noStrike" dirty="0">
                <a:effectLst/>
                <a:latin typeface="Arial" panose="020B0604020202020204" pitchFamily="34" charset="0"/>
                <a:ea typeface="Times New Roman" panose="02020603050405020304" pitchFamily="18" charset="0"/>
                <a:cs typeface="Times New Roman" panose="02020603050405020304" pitchFamily="18" charset="0"/>
              </a:rPr>
              <a:t>Purchase of new Challenger 605 private jet aircraft.</a:t>
            </a:r>
          </a:p>
          <a:p>
            <a:pPr marL="1143000" lvl="2" indent="-228600" algn="just" fontAlgn="base">
              <a:spcAft>
                <a:spcPts val="1100"/>
              </a:spcAft>
              <a:buSzPts val="1000"/>
              <a:buFont typeface="Arial" panose="020B0604020202020204" pitchFamily="34" charset="0"/>
              <a:buAutoNum type="alphaLcParenBoth"/>
            </a:pPr>
            <a:r>
              <a:rPr lang="en-GB" sz="2000" u="none" strike="noStrike" dirty="0">
                <a:effectLst/>
                <a:latin typeface="Arial" panose="020B0604020202020204" pitchFamily="34" charset="0"/>
                <a:ea typeface="Times New Roman" panose="02020603050405020304" pitchFamily="18" charset="0"/>
                <a:cs typeface="Times New Roman" panose="02020603050405020304" pitchFamily="18" charset="0"/>
              </a:rPr>
              <a:t>Within 14 months, aircraft made an unscheduled landing when there was a problem with the main engine driven pump in the hydraulic system which had been powering flight controls.</a:t>
            </a:r>
          </a:p>
          <a:p>
            <a:pPr marL="1143000" lvl="2" indent="-228600" algn="just" fontAlgn="base">
              <a:spcAft>
                <a:spcPts val="1100"/>
              </a:spcAft>
              <a:buSzPts val="1000"/>
              <a:buFont typeface="Arial" panose="020B0604020202020204" pitchFamily="34" charset="0"/>
              <a:buAutoNum type="alphaLcParenBoth"/>
            </a:pPr>
            <a:r>
              <a:rPr lang="en-GB" sz="2000" u="none" strike="noStrike" dirty="0">
                <a:effectLst/>
                <a:latin typeface="Arial" panose="020B0604020202020204" pitchFamily="34" charset="0"/>
                <a:ea typeface="Times New Roman" panose="02020603050405020304" pitchFamily="18" charset="0"/>
                <a:cs typeface="Times New Roman" panose="02020603050405020304" pitchFamily="18" charset="0"/>
              </a:rPr>
              <a:t>The Claimant sought a declaration that it had validly rejected the aircraft. Hence, the contract of sale was rescinded, and the purchase price should be refunded. Alternatively, if the Claimant was not entitled to reject, damages should be awarded.</a:t>
            </a:r>
          </a:p>
          <a:p>
            <a:pPr marL="342900" indent="-342900">
              <a:buFont typeface="Wingdings" panose="05000000000000000000" pitchFamily="2" charset="2"/>
              <a:buChar char="§"/>
            </a:pPr>
            <a:endParaRPr lang="en-GB" sz="2000" u="none" strike="noStrike" dirty="0">
              <a:effectLst/>
              <a:latin typeface="Arial" panose="020B0604020202020204" pitchFamily="34" charset="0"/>
              <a:ea typeface="Times New Roman" panose="02020603050405020304" pitchFamily="18" charset="0"/>
              <a:cs typeface="Times New Roman" panose="02020603050405020304" pitchFamily="18" charset="0"/>
            </a:endParaRPr>
          </a:p>
          <a:p>
            <a:pPr marL="342900" indent="-342900">
              <a:buFont typeface="Wingdings" panose="05000000000000000000" pitchFamily="2" charset="2"/>
              <a:buChar char="§"/>
            </a:pPr>
            <a:r>
              <a:rPr lang="en-GB" sz="2000" b="1" i="1" u="none" strike="noStrike" dirty="0">
                <a:effectLst/>
                <a:latin typeface="Arial" panose="020B0604020202020204" pitchFamily="34" charset="0"/>
                <a:ea typeface="Times New Roman" panose="02020603050405020304" pitchFamily="18" charset="0"/>
                <a:cs typeface="Times New Roman" panose="02020603050405020304" pitchFamily="18" charset="0"/>
              </a:rPr>
              <a:t>Wilmington Trust SP Services (Dublin) Limited &amp; Ors v </a:t>
            </a:r>
            <a:r>
              <a:rPr lang="en-GB" sz="2000" b="1" i="1" u="none" strike="noStrike" dirty="0" err="1">
                <a:effectLst/>
                <a:latin typeface="Arial" panose="020B0604020202020204" pitchFamily="34" charset="0"/>
                <a:ea typeface="Times New Roman" panose="02020603050405020304" pitchFamily="18" charset="0"/>
                <a:cs typeface="Times New Roman" panose="02020603050405020304" pitchFamily="18" charset="0"/>
              </a:rPr>
              <a:t>Spicejet</a:t>
            </a:r>
            <a:r>
              <a:rPr lang="en-GB" sz="2000" b="1" i="1" u="none" strike="noStrike" dirty="0">
                <a:effectLst/>
                <a:latin typeface="Arial" panose="020B0604020202020204" pitchFamily="34" charset="0"/>
                <a:ea typeface="Times New Roman" panose="02020603050405020304" pitchFamily="18" charset="0"/>
                <a:cs typeface="Times New Roman" panose="02020603050405020304" pitchFamily="18" charset="0"/>
              </a:rPr>
              <a:t> Limited [2021] EWHC 1117 (Comm) </a:t>
            </a:r>
            <a:r>
              <a:rPr lang="en-GB" sz="2000" u="none" strike="noStrike" dirty="0">
                <a:effectLst/>
                <a:latin typeface="Arial" panose="020B0604020202020204" pitchFamily="34" charset="0"/>
                <a:ea typeface="Times New Roman" panose="02020603050405020304" pitchFamily="18" charset="0"/>
                <a:cs typeface="Times New Roman" panose="02020603050405020304" pitchFamily="18" charset="0"/>
              </a:rPr>
              <a:t>('</a:t>
            </a:r>
            <a:r>
              <a:rPr lang="en-GB" sz="2000" b="1" u="none" strike="noStrike" dirty="0" err="1">
                <a:effectLst/>
                <a:latin typeface="Arial" panose="020B0604020202020204" pitchFamily="34" charset="0"/>
                <a:ea typeface="Times New Roman" panose="02020603050405020304" pitchFamily="18" charset="0"/>
                <a:cs typeface="Times New Roman" panose="02020603050405020304" pitchFamily="18" charset="0"/>
              </a:rPr>
              <a:t>Spicejet</a:t>
            </a:r>
            <a:r>
              <a:rPr lang="en-GB" sz="2000" u="none" strike="noStrike" dirty="0">
                <a:effectLst/>
                <a:latin typeface="Arial" panose="020B0604020202020204" pitchFamily="34" charset="0"/>
                <a:ea typeface="Times New Roman" panose="02020603050405020304" pitchFamily="18" charset="0"/>
                <a:cs typeface="Times New Roman" panose="02020603050405020304" pitchFamily="18" charset="0"/>
              </a:rPr>
              <a:t>')</a:t>
            </a:r>
          </a:p>
          <a:p>
            <a:pPr marL="1143000" lvl="2" indent="-228600" algn="just" fontAlgn="base">
              <a:spcAft>
                <a:spcPts val="1100"/>
              </a:spcAft>
              <a:buSzPts val="1000"/>
              <a:buFont typeface="Arial" panose="020B0604020202020204" pitchFamily="34" charset="0"/>
              <a:buAutoNum type="alphaLcParenBoth"/>
            </a:pPr>
            <a:r>
              <a:rPr lang="en-GB" sz="2000" u="none" strike="noStrike" dirty="0">
                <a:effectLst/>
                <a:latin typeface="Arial" panose="020B0604020202020204" pitchFamily="34" charset="0"/>
                <a:ea typeface="Times New Roman" panose="02020603050405020304" pitchFamily="18" charset="0"/>
                <a:cs typeface="Times New Roman" panose="02020603050405020304" pitchFamily="18" charset="0"/>
              </a:rPr>
              <a:t>Ten-year dry leases for a B737-800 and two B737-MAX 8.</a:t>
            </a:r>
          </a:p>
          <a:p>
            <a:pPr marL="1143000" lvl="2" indent="-228600" algn="just" fontAlgn="base">
              <a:spcAft>
                <a:spcPts val="1100"/>
              </a:spcAft>
              <a:buSzPts val="1000"/>
              <a:buFont typeface="Arial" panose="020B0604020202020204" pitchFamily="34" charset="0"/>
              <a:buAutoNum type="alphaLcParenBoth"/>
            </a:pPr>
            <a:r>
              <a:rPr lang="en-GB" sz="2000" u="none" strike="noStrike" dirty="0">
                <a:effectLst/>
                <a:latin typeface="Arial" panose="020B0604020202020204" pitchFamily="34" charset="0"/>
                <a:ea typeface="Times New Roman" panose="02020603050405020304" pitchFamily="18" charset="0"/>
                <a:cs typeface="Times New Roman" panose="02020603050405020304" pitchFamily="18" charset="0"/>
              </a:rPr>
              <a:t>The Claimants applied for summary judgment for outstanding amounts under the lease agreements. </a:t>
            </a:r>
          </a:p>
          <a:p>
            <a:pPr marL="1143000" lvl="2" indent="-228600" algn="just" fontAlgn="base">
              <a:spcAft>
                <a:spcPts val="1100"/>
              </a:spcAft>
              <a:buSzPts val="1000"/>
              <a:buFont typeface="Arial" panose="020B0604020202020204" pitchFamily="34" charset="0"/>
              <a:buAutoNum type="alphaLcParenBoth"/>
            </a:pPr>
            <a:r>
              <a:rPr lang="en-GB" sz="2000" u="none" strike="noStrike" dirty="0">
                <a:effectLst/>
                <a:latin typeface="Arial" panose="020B0604020202020204" pitchFamily="34" charset="0"/>
                <a:ea typeface="Times New Roman" panose="02020603050405020304" pitchFamily="18" charset="0"/>
                <a:cs typeface="Times New Roman" panose="02020603050405020304" pitchFamily="18" charset="0"/>
              </a:rPr>
              <a:t>Among other defences, the Defendant raised that the two MAX 8 aircraft were not of satisfactory quality given the design fault which rendered them liable to crash</a:t>
            </a:r>
            <a:r>
              <a:rPr lang="en-GB" sz="1000" u="none" strike="noStrike" dirty="0">
                <a:effectLst/>
                <a:latin typeface="Arial" panose="020B0604020202020204" pitchFamily="34" charset="0"/>
                <a:ea typeface="Times New Roman" panose="02020603050405020304" pitchFamily="18" charset="0"/>
                <a:cs typeface="Times New Roman" panose="02020603050405020304" pitchFamily="18" charset="0"/>
              </a:rPr>
              <a:t>.</a:t>
            </a:r>
          </a:p>
          <a:p>
            <a:pPr marL="342900" indent="-342900">
              <a:buFont typeface="Wingdings" panose="05000000000000000000" pitchFamily="2" charset="2"/>
              <a:buChar char="§"/>
            </a:pPr>
            <a:endParaRPr lang="en-GB" sz="2000" dirty="0"/>
          </a:p>
        </p:txBody>
      </p:sp>
      <p:sp>
        <p:nvSpPr>
          <p:cNvPr id="4" name="Slide Number Placeholder 3">
            <a:extLst>
              <a:ext uri="{FF2B5EF4-FFF2-40B4-BE49-F238E27FC236}">
                <a16:creationId xmlns:a16="http://schemas.microsoft.com/office/drawing/2014/main" id="{A64DCC0A-6D7A-EBA8-323C-1D6EDC915C62}"/>
              </a:ext>
            </a:extLst>
          </p:cNvPr>
          <p:cNvSpPr>
            <a:spLocks noGrp="1"/>
          </p:cNvSpPr>
          <p:nvPr>
            <p:ph type="sldNum" sz="quarter" idx="12"/>
          </p:nvPr>
        </p:nvSpPr>
        <p:spPr/>
        <p:txBody>
          <a:bodyPr/>
          <a:lstStyle/>
          <a:p>
            <a:fld id="{60BE71DF-3B06-48E0-B4DA-070A362D18E0}" type="slidenum">
              <a:rPr lang="en-GB" smtClean="0"/>
              <a:t>23</a:t>
            </a:fld>
            <a:endParaRPr lang="en-GB"/>
          </a:p>
        </p:txBody>
      </p:sp>
    </p:spTree>
    <p:extLst>
      <p:ext uri="{BB962C8B-B14F-4D97-AF65-F5344CB8AC3E}">
        <p14:creationId xmlns:p14="http://schemas.microsoft.com/office/powerpoint/2010/main" val="26570808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CC056A-350E-E5B7-A182-D4C0D552860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B759FF9-AFD7-255C-860C-4214EF2C2F82}"/>
              </a:ext>
            </a:extLst>
          </p:cNvPr>
          <p:cNvSpPr>
            <a:spLocks noGrp="1"/>
          </p:cNvSpPr>
          <p:nvPr>
            <p:ph type="title"/>
          </p:nvPr>
        </p:nvSpPr>
        <p:spPr>
          <a:xfrm>
            <a:off x="508793" y="712430"/>
            <a:ext cx="11174413" cy="1039999"/>
          </a:xfrm>
        </p:spPr>
        <p:txBody>
          <a:bodyPr/>
          <a:lstStyle/>
          <a:p>
            <a:r>
              <a:rPr lang="en-GB" sz="2800" i="1" dirty="0">
                <a:latin typeface="Arial" panose="020B0604020202020204" pitchFamily="34" charset="0"/>
                <a:cs typeface="Arial" panose="020B0604020202020204" pitchFamily="34" charset="0"/>
              </a:rPr>
              <a:t>Air Transworld Ltd v Bombardier Inc [2012] EWHC 243</a:t>
            </a:r>
            <a:br>
              <a:rPr lang="en-GB" sz="2800" dirty="0">
                <a:latin typeface="Arial" panose="020B0604020202020204" pitchFamily="34" charset="0"/>
                <a:cs typeface="Arial" panose="020B0604020202020204" pitchFamily="34" charset="0"/>
              </a:rPr>
            </a:br>
            <a:endParaRPr lang="en-GB" sz="2800" dirty="0"/>
          </a:p>
        </p:txBody>
      </p:sp>
      <p:sp>
        <p:nvSpPr>
          <p:cNvPr id="3" name="Content Placeholder 2">
            <a:extLst>
              <a:ext uri="{FF2B5EF4-FFF2-40B4-BE49-F238E27FC236}">
                <a16:creationId xmlns:a16="http://schemas.microsoft.com/office/drawing/2014/main" id="{B2D8FFAC-5B61-1BAF-E0BE-4694BEF9FD55}"/>
              </a:ext>
            </a:extLst>
          </p:cNvPr>
          <p:cNvSpPr>
            <a:spLocks noGrp="1"/>
          </p:cNvSpPr>
          <p:nvPr>
            <p:ph idx="1"/>
          </p:nvPr>
        </p:nvSpPr>
        <p:spPr>
          <a:xfrm>
            <a:off x="508793" y="1341278"/>
            <a:ext cx="11070294" cy="4913057"/>
          </a:xfrm>
        </p:spPr>
        <p:txBody>
          <a:bodyPr>
            <a:normAutofit/>
          </a:bodyPr>
          <a:lstStyle/>
          <a:p>
            <a:pPr lvl="2" indent="0">
              <a:spcBef>
                <a:spcPts val="1200"/>
              </a:spcBef>
              <a:buNone/>
            </a:pPr>
            <a:endParaRPr lang="en-US" sz="2400" i="1" dirty="0"/>
          </a:p>
          <a:p>
            <a:pPr lvl="1"/>
            <a:endParaRPr lang="en-GB" sz="1800" dirty="0"/>
          </a:p>
          <a:p>
            <a:pPr lvl="1"/>
            <a:endParaRPr lang="en-GB" sz="1800" dirty="0"/>
          </a:p>
          <a:p>
            <a:pPr lvl="1"/>
            <a:endParaRPr lang="en-GB" sz="1800" dirty="0"/>
          </a:p>
          <a:p>
            <a:pPr marL="0" indent="0">
              <a:buNone/>
            </a:pPr>
            <a:endParaRPr lang="en-GB" dirty="0"/>
          </a:p>
        </p:txBody>
      </p:sp>
      <p:sp>
        <p:nvSpPr>
          <p:cNvPr id="5" name="TextBox 4">
            <a:extLst>
              <a:ext uri="{FF2B5EF4-FFF2-40B4-BE49-F238E27FC236}">
                <a16:creationId xmlns:a16="http://schemas.microsoft.com/office/drawing/2014/main" id="{6E87A1DB-1B72-99F2-5473-19257C3C9BC4}"/>
              </a:ext>
            </a:extLst>
          </p:cNvPr>
          <p:cNvSpPr txBox="1"/>
          <p:nvPr/>
        </p:nvSpPr>
        <p:spPr>
          <a:xfrm>
            <a:off x="508793" y="1341278"/>
            <a:ext cx="11070294" cy="3477875"/>
          </a:xfrm>
          <a:prstGeom prst="rect">
            <a:avLst/>
          </a:prstGeom>
          <a:noFill/>
        </p:spPr>
        <p:txBody>
          <a:bodyPr wrap="square">
            <a:spAutoFit/>
          </a:bodyPr>
          <a:lstStyle/>
          <a:p>
            <a:pPr marL="342900" indent="-342900">
              <a:buFont typeface="Wingdings" panose="05000000000000000000" pitchFamily="2" charset="2"/>
              <a:buChar char="§"/>
            </a:pPr>
            <a:r>
              <a:rPr lang="en-GB" sz="2000" dirty="0">
                <a:latin typeface="Arial" panose="020B0604020202020204" pitchFamily="34" charset="0"/>
                <a:cs typeface="Arial" panose="020B0604020202020204" pitchFamily="34" charset="0"/>
              </a:rPr>
              <a:t>An exclusion clause that does not expressly refer to the word "conditions" is nevertheless successful to exclude the conditions implied into a sale of goods under the Sale of Goods Act 1979. </a:t>
            </a:r>
          </a:p>
          <a:p>
            <a:endParaRPr lang="en-GB" sz="2000" dirty="0">
              <a:latin typeface="Arial" panose="020B0604020202020204" pitchFamily="34" charset="0"/>
              <a:cs typeface="Arial" panose="020B0604020202020204" pitchFamily="34" charset="0"/>
            </a:endParaRPr>
          </a:p>
          <a:p>
            <a:pPr marL="342900" indent="-342900">
              <a:buFont typeface="Wingdings" panose="05000000000000000000" pitchFamily="2" charset="2"/>
              <a:buChar char="§"/>
            </a:pPr>
            <a:r>
              <a:rPr lang="en-GB" sz="2000" dirty="0">
                <a:latin typeface="Arial" panose="020B0604020202020204" pitchFamily="34" charset="0"/>
                <a:cs typeface="Arial" panose="020B0604020202020204" pitchFamily="34" charset="0"/>
              </a:rPr>
              <a:t>The first part of the exclusion clause was clear that all the seller's obligations and liabilities were to be found exclusively in the contract, and that general wording excluding obligations implied by law was sufficient to exclude the conditions implied by the SGA.</a:t>
            </a:r>
          </a:p>
          <a:p>
            <a:endParaRPr lang="en-GB" sz="2000" dirty="0">
              <a:latin typeface="Arial" panose="020B0604020202020204" pitchFamily="34" charset="0"/>
              <a:cs typeface="Arial" panose="020B0604020202020204" pitchFamily="34" charset="0"/>
            </a:endParaRPr>
          </a:p>
          <a:p>
            <a:pPr marL="342900" indent="-342900">
              <a:buFont typeface="Wingdings" panose="05000000000000000000" pitchFamily="2" charset="2"/>
              <a:buChar char="§"/>
            </a:pPr>
            <a:r>
              <a:rPr lang="en-GB" sz="2000" dirty="0">
                <a:latin typeface="Arial" panose="020B0604020202020204" pitchFamily="34" charset="0"/>
                <a:cs typeface="Arial" panose="020B0604020202020204" pitchFamily="34" charset="0"/>
              </a:rPr>
              <a:t>The express reference in the second part of the exclusion clause to </a:t>
            </a:r>
            <a:r>
              <a:rPr lang="en-GB" sz="2000" i="1" dirty="0">
                <a:latin typeface="Arial" panose="020B0604020202020204" pitchFamily="34" charset="0"/>
                <a:cs typeface="Arial" panose="020B0604020202020204" pitchFamily="34" charset="0"/>
              </a:rPr>
              <a:t>"warranties of merchantability and fitness for purpose" </a:t>
            </a:r>
            <a:r>
              <a:rPr lang="en-GB" sz="2000" dirty="0">
                <a:latin typeface="Arial" panose="020B0604020202020204" pitchFamily="34" charset="0"/>
                <a:cs typeface="Arial" panose="020B0604020202020204" pitchFamily="34" charset="0"/>
              </a:rPr>
              <a:t>was merely an example of terms implied by law which had been excluded by the first part. </a:t>
            </a:r>
          </a:p>
        </p:txBody>
      </p:sp>
      <p:sp>
        <p:nvSpPr>
          <p:cNvPr id="4" name="Slide Number Placeholder 3">
            <a:extLst>
              <a:ext uri="{FF2B5EF4-FFF2-40B4-BE49-F238E27FC236}">
                <a16:creationId xmlns:a16="http://schemas.microsoft.com/office/drawing/2014/main" id="{C24FBA3A-45D5-A8D8-BE46-DF670B827CF9}"/>
              </a:ext>
            </a:extLst>
          </p:cNvPr>
          <p:cNvSpPr>
            <a:spLocks noGrp="1"/>
          </p:cNvSpPr>
          <p:nvPr>
            <p:ph type="sldNum" sz="quarter" idx="12"/>
          </p:nvPr>
        </p:nvSpPr>
        <p:spPr/>
        <p:txBody>
          <a:bodyPr/>
          <a:lstStyle/>
          <a:p>
            <a:fld id="{60BE71DF-3B06-48E0-B4DA-070A362D18E0}" type="slidenum">
              <a:rPr lang="en-GB" smtClean="0"/>
              <a:t>24</a:t>
            </a:fld>
            <a:endParaRPr lang="en-GB"/>
          </a:p>
        </p:txBody>
      </p:sp>
    </p:spTree>
    <p:extLst>
      <p:ext uri="{BB962C8B-B14F-4D97-AF65-F5344CB8AC3E}">
        <p14:creationId xmlns:p14="http://schemas.microsoft.com/office/powerpoint/2010/main" val="246614495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7343D3-B0BD-E057-7B82-57C5C3E7FD7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5EECD6C-AFFF-34F5-8E97-502ED44D75FC}"/>
              </a:ext>
            </a:extLst>
          </p:cNvPr>
          <p:cNvSpPr>
            <a:spLocks noGrp="1"/>
          </p:cNvSpPr>
          <p:nvPr>
            <p:ph type="title"/>
          </p:nvPr>
        </p:nvSpPr>
        <p:spPr>
          <a:xfrm>
            <a:off x="508793" y="712430"/>
            <a:ext cx="11174413" cy="1039999"/>
          </a:xfrm>
        </p:spPr>
        <p:txBody>
          <a:bodyPr/>
          <a:lstStyle/>
          <a:p>
            <a:r>
              <a:rPr lang="en-GB" sz="2800" i="1" u="none" strike="noStrike" dirty="0">
                <a:effectLst/>
                <a:latin typeface="Arial" panose="020B0604020202020204" pitchFamily="34" charset="0"/>
                <a:ea typeface="Times New Roman" panose="02020603050405020304" pitchFamily="18" charset="0"/>
                <a:cs typeface="Times New Roman" panose="02020603050405020304" pitchFamily="18" charset="0"/>
              </a:rPr>
              <a:t>Wilmington Trust SP Services (Dublin) Limited &amp; Ors v </a:t>
            </a:r>
            <a:r>
              <a:rPr lang="en-GB" sz="2800" i="1" u="none" strike="noStrike" dirty="0" err="1">
                <a:effectLst/>
                <a:latin typeface="Arial" panose="020B0604020202020204" pitchFamily="34" charset="0"/>
                <a:ea typeface="Times New Roman" panose="02020603050405020304" pitchFamily="18" charset="0"/>
                <a:cs typeface="Times New Roman" panose="02020603050405020304" pitchFamily="18" charset="0"/>
              </a:rPr>
              <a:t>Spicejet</a:t>
            </a:r>
            <a:r>
              <a:rPr lang="en-GB" sz="2800" i="1" u="none" strike="noStrike" dirty="0">
                <a:effectLst/>
                <a:latin typeface="Arial" panose="020B0604020202020204" pitchFamily="34" charset="0"/>
                <a:ea typeface="Times New Roman" panose="02020603050405020304" pitchFamily="18" charset="0"/>
                <a:cs typeface="Times New Roman" panose="02020603050405020304" pitchFamily="18" charset="0"/>
              </a:rPr>
              <a:t> Limited [2021] EWHC 1117 (Comm) </a:t>
            </a:r>
            <a:r>
              <a:rPr lang="en-GB" sz="2800" u="none" strike="noStrike" dirty="0">
                <a:effectLst/>
                <a:latin typeface="Arial" panose="020B0604020202020204" pitchFamily="34" charset="0"/>
                <a:ea typeface="Times New Roman" panose="02020603050405020304" pitchFamily="18" charset="0"/>
                <a:cs typeface="Times New Roman" panose="02020603050405020304" pitchFamily="18" charset="0"/>
              </a:rPr>
              <a:t>('</a:t>
            </a:r>
            <a:r>
              <a:rPr lang="en-GB" sz="2800" b="1" u="none" strike="noStrike" dirty="0" err="1">
                <a:effectLst/>
                <a:latin typeface="Arial" panose="020B0604020202020204" pitchFamily="34" charset="0"/>
                <a:ea typeface="Times New Roman" panose="02020603050405020304" pitchFamily="18" charset="0"/>
                <a:cs typeface="Times New Roman" panose="02020603050405020304" pitchFamily="18" charset="0"/>
              </a:rPr>
              <a:t>Spicejet</a:t>
            </a:r>
            <a:r>
              <a:rPr lang="en-GB" sz="2800" u="none" strike="noStrike" dirty="0">
                <a:effectLst/>
                <a:latin typeface="Arial" panose="020B0604020202020204" pitchFamily="34" charset="0"/>
                <a:ea typeface="Times New Roman" panose="02020603050405020304" pitchFamily="18" charset="0"/>
                <a:cs typeface="Times New Roman" panose="02020603050405020304" pitchFamily="18" charset="0"/>
              </a:rPr>
              <a:t>')</a:t>
            </a:r>
            <a:br>
              <a:rPr lang="en-GB" sz="2800" u="none" strike="noStrike" dirty="0">
                <a:effectLst/>
                <a:latin typeface="Arial" panose="020B0604020202020204" pitchFamily="34" charset="0"/>
                <a:ea typeface="Times New Roman" panose="02020603050405020304" pitchFamily="18" charset="0"/>
                <a:cs typeface="Times New Roman" panose="02020603050405020304" pitchFamily="18" charset="0"/>
              </a:rPr>
            </a:br>
            <a:br>
              <a:rPr lang="en-GB" sz="2800" dirty="0">
                <a:latin typeface="Arial" panose="020B0604020202020204" pitchFamily="34" charset="0"/>
                <a:cs typeface="Arial" panose="020B0604020202020204" pitchFamily="34" charset="0"/>
              </a:rPr>
            </a:br>
            <a:endParaRPr lang="en-GB" sz="2800" dirty="0"/>
          </a:p>
        </p:txBody>
      </p:sp>
      <p:sp>
        <p:nvSpPr>
          <p:cNvPr id="3" name="Content Placeholder 2">
            <a:extLst>
              <a:ext uri="{FF2B5EF4-FFF2-40B4-BE49-F238E27FC236}">
                <a16:creationId xmlns:a16="http://schemas.microsoft.com/office/drawing/2014/main" id="{9E0BB37B-1CFE-DDC3-0E89-2F1357128D8B}"/>
              </a:ext>
            </a:extLst>
          </p:cNvPr>
          <p:cNvSpPr>
            <a:spLocks noGrp="1"/>
          </p:cNvSpPr>
          <p:nvPr>
            <p:ph idx="1"/>
          </p:nvPr>
        </p:nvSpPr>
        <p:spPr>
          <a:xfrm>
            <a:off x="508793" y="1341278"/>
            <a:ext cx="11070294" cy="4913057"/>
          </a:xfrm>
        </p:spPr>
        <p:txBody>
          <a:bodyPr>
            <a:normAutofit/>
          </a:bodyPr>
          <a:lstStyle/>
          <a:p>
            <a:pPr lvl="2" indent="0">
              <a:spcBef>
                <a:spcPts val="1200"/>
              </a:spcBef>
              <a:buNone/>
            </a:pPr>
            <a:endParaRPr lang="en-US" sz="2400" i="1" dirty="0"/>
          </a:p>
          <a:p>
            <a:pPr lvl="1"/>
            <a:endParaRPr lang="en-GB" sz="1800" dirty="0"/>
          </a:p>
          <a:p>
            <a:pPr lvl="1"/>
            <a:endParaRPr lang="en-GB" sz="1800" dirty="0"/>
          </a:p>
          <a:p>
            <a:pPr lvl="1"/>
            <a:endParaRPr lang="en-GB" sz="1800" dirty="0"/>
          </a:p>
          <a:p>
            <a:pPr marL="0" indent="0">
              <a:buNone/>
            </a:pPr>
            <a:endParaRPr lang="en-GB" dirty="0"/>
          </a:p>
        </p:txBody>
      </p:sp>
      <p:sp>
        <p:nvSpPr>
          <p:cNvPr id="5" name="TextBox 4">
            <a:extLst>
              <a:ext uri="{FF2B5EF4-FFF2-40B4-BE49-F238E27FC236}">
                <a16:creationId xmlns:a16="http://schemas.microsoft.com/office/drawing/2014/main" id="{8DB86B49-80E2-C52A-DF31-A859F83407C0}"/>
              </a:ext>
            </a:extLst>
          </p:cNvPr>
          <p:cNvSpPr txBox="1"/>
          <p:nvPr/>
        </p:nvSpPr>
        <p:spPr>
          <a:xfrm>
            <a:off x="404674" y="1617726"/>
            <a:ext cx="11070294" cy="5016758"/>
          </a:xfrm>
          <a:prstGeom prst="rect">
            <a:avLst/>
          </a:prstGeom>
          <a:noFill/>
        </p:spPr>
        <p:txBody>
          <a:bodyPr wrap="square">
            <a:spAutoFit/>
          </a:bodyPr>
          <a:lstStyle/>
          <a:p>
            <a:pPr marL="342900" indent="-342900">
              <a:buFont typeface="Wingdings" panose="05000000000000000000" pitchFamily="2" charset="2"/>
              <a:buChar char="§"/>
            </a:pPr>
            <a:r>
              <a:rPr lang="en-GB" sz="2000" dirty="0">
                <a:latin typeface="Arial" panose="020B0604020202020204" pitchFamily="34" charset="0"/>
                <a:cs typeface="Arial" panose="020B0604020202020204" pitchFamily="34" charset="0"/>
              </a:rPr>
              <a:t>There was no serious dispute that </a:t>
            </a:r>
            <a:r>
              <a:rPr lang="en-GB" sz="2000" dirty="0" err="1">
                <a:latin typeface="Arial" panose="020B0604020202020204" pitchFamily="34" charset="0"/>
                <a:cs typeface="Arial" panose="020B0604020202020204" pitchFamily="34" charset="0"/>
              </a:rPr>
              <a:t>Spicejet</a:t>
            </a:r>
            <a:r>
              <a:rPr lang="en-GB" sz="2000" dirty="0">
                <a:latin typeface="Arial" panose="020B0604020202020204" pitchFamily="34" charset="0"/>
                <a:cs typeface="Arial" panose="020B0604020202020204" pitchFamily="34" charset="0"/>
              </a:rPr>
              <a:t> had, at the very least, an arguable case on the facts that the two MAX 8 aircraft were not of satisfactory quality for the purposes of SOGSA given a design fault which rendered them liable to crash</a:t>
            </a:r>
          </a:p>
          <a:p>
            <a:endParaRPr lang="en-GB" sz="2000" dirty="0">
              <a:latin typeface="Arial" panose="020B0604020202020204" pitchFamily="34" charset="0"/>
              <a:cs typeface="Arial" panose="020B0604020202020204" pitchFamily="34" charset="0"/>
            </a:endParaRPr>
          </a:p>
          <a:p>
            <a:pPr marL="342900" indent="-342900">
              <a:buFont typeface="Wingdings" panose="05000000000000000000" pitchFamily="2" charset="2"/>
              <a:buChar char="§"/>
            </a:pPr>
            <a:r>
              <a:rPr lang="en-GB" sz="2000" dirty="0">
                <a:latin typeface="Arial" panose="020B0604020202020204" pitchFamily="34" charset="0"/>
                <a:cs typeface="Arial" panose="020B0604020202020204" pitchFamily="34" charset="0"/>
              </a:rPr>
              <a:t>Court considered whether the statutory implied condition of satisfactory quality was excluded by the express provisions of the Lease Agreements</a:t>
            </a:r>
          </a:p>
          <a:p>
            <a:endParaRPr lang="en-GB" sz="2000" dirty="0">
              <a:latin typeface="Arial" panose="020B0604020202020204" pitchFamily="34" charset="0"/>
              <a:cs typeface="Arial" panose="020B0604020202020204" pitchFamily="34" charset="0"/>
            </a:endParaRPr>
          </a:p>
          <a:p>
            <a:pPr marL="342900" indent="-342900">
              <a:buFont typeface="Wingdings" panose="05000000000000000000" pitchFamily="2" charset="2"/>
              <a:buChar char="§"/>
            </a:pPr>
            <a:r>
              <a:rPr lang="en-GB" sz="2000" dirty="0">
                <a:latin typeface="Arial" panose="020B0604020202020204" pitchFamily="34" charset="0"/>
                <a:cs typeface="Arial" panose="020B0604020202020204" pitchFamily="34" charset="0"/>
              </a:rPr>
              <a:t>It was common ground that the SOGSA implied conditions </a:t>
            </a:r>
            <a:r>
              <a:rPr lang="en-GB" sz="2000" i="1" dirty="0">
                <a:latin typeface="Arial" panose="020B0604020202020204" pitchFamily="34" charset="0"/>
                <a:cs typeface="Arial" panose="020B0604020202020204" pitchFamily="34" charset="0"/>
              </a:rPr>
              <a:t>can only be excluded by language which expressly or necessarily refers to such conditions. </a:t>
            </a:r>
          </a:p>
          <a:p>
            <a:endParaRPr lang="en-GB" sz="2000" i="1" dirty="0">
              <a:latin typeface="Arial" panose="020B0604020202020204" pitchFamily="34" charset="0"/>
              <a:cs typeface="Arial" panose="020B0604020202020204" pitchFamily="34" charset="0"/>
            </a:endParaRPr>
          </a:p>
          <a:p>
            <a:pPr marL="342900" indent="-342900">
              <a:buFont typeface="Wingdings" panose="05000000000000000000" pitchFamily="2" charset="2"/>
              <a:buChar char="§"/>
            </a:pPr>
            <a:r>
              <a:rPr lang="en-GB" sz="2000" dirty="0">
                <a:latin typeface="Arial" panose="020B0604020202020204" pitchFamily="34" charset="0"/>
                <a:cs typeface="Arial" panose="020B0604020202020204" pitchFamily="34" charset="0"/>
              </a:rPr>
              <a:t>The clause relied on referred only to representations or warranties. Conditions are nowhere mentioned.</a:t>
            </a:r>
          </a:p>
          <a:p>
            <a:pPr marL="342900" indent="-342900">
              <a:buFont typeface="Wingdings" panose="05000000000000000000" pitchFamily="2" charset="2"/>
              <a:buChar char="§"/>
            </a:pPr>
            <a:endParaRPr lang="en-GB" sz="2000" dirty="0">
              <a:latin typeface="Arial" panose="020B0604020202020204" pitchFamily="34" charset="0"/>
              <a:cs typeface="Arial" panose="020B0604020202020204" pitchFamily="34" charset="0"/>
            </a:endParaRPr>
          </a:p>
          <a:p>
            <a:pPr marL="342900" indent="-342900">
              <a:buFont typeface="Wingdings" panose="05000000000000000000" pitchFamily="2" charset="2"/>
              <a:buChar char="§"/>
            </a:pPr>
            <a:r>
              <a:rPr lang="en-GB" sz="2000" dirty="0">
                <a:latin typeface="Arial" panose="020B0604020202020204" pitchFamily="34" charset="0"/>
                <a:cs typeface="Arial" panose="020B0604020202020204" pitchFamily="34" charset="0"/>
              </a:rPr>
              <a:t>A condition of satisfactory quality is not a representation and, as recognised by </a:t>
            </a:r>
            <a:r>
              <a:rPr lang="it-IT" sz="2000" i="1" dirty="0">
                <a:latin typeface="Arial" panose="020B0604020202020204" pitchFamily="34" charset="0"/>
                <a:cs typeface="Arial" panose="020B0604020202020204" pitchFamily="34" charset="0"/>
              </a:rPr>
              <a:t>The Mercini Lady, [2010] EWCA Civ. 1145</a:t>
            </a:r>
            <a:r>
              <a:rPr lang="en-GB" sz="2000" dirty="0">
                <a:latin typeface="Arial" panose="020B0604020202020204" pitchFamily="34" charset="0"/>
                <a:cs typeface="Arial" panose="020B0604020202020204" pitchFamily="34" charset="0"/>
              </a:rPr>
              <a:t>, wording excluding warranties is not effective to exclude conditions.</a:t>
            </a:r>
          </a:p>
        </p:txBody>
      </p:sp>
      <p:sp>
        <p:nvSpPr>
          <p:cNvPr id="4" name="Slide Number Placeholder 3">
            <a:extLst>
              <a:ext uri="{FF2B5EF4-FFF2-40B4-BE49-F238E27FC236}">
                <a16:creationId xmlns:a16="http://schemas.microsoft.com/office/drawing/2014/main" id="{2DA668C6-9B25-A602-FECF-3B119701C577}"/>
              </a:ext>
            </a:extLst>
          </p:cNvPr>
          <p:cNvSpPr>
            <a:spLocks noGrp="1"/>
          </p:cNvSpPr>
          <p:nvPr>
            <p:ph type="sldNum" sz="quarter" idx="12"/>
          </p:nvPr>
        </p:nvSpPr>
        <p:spPr/>
        <p:txBody>
          <a:bodyPr/>
          <a:lstStyle/>
          <a:p>
            <a:fld id="{60BE71DF-3B06-48E0-B4DA-070A362D18E0}" type="slidenum">
              <a:rPr lang="en-GB" smtClean="0"/>
              <a:t>25</a:t>
            </a:fld>
            <a:endParaRPr lang="en-GB"/>
          </a:p>
        </p:txBody>
      </p:sp>
    </p:spTree>
    <p:extLst>
      <p:ext uri="{BB962C8B-B14F-4D97-AF65-F5344CB8AC3E}">
        <p14:creationId xmlns:p14="http://schemas.microsoft.com/office/powerpoint/2010/main" val="15294149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7C603A-F804-3C97-246A-FC786A9AD897}"/>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79CC97D-AA09-171B-F007-E08A058393CD}"/>
              </a:ext>
            </a:extLst>
          </p:cNvPr>
          <p:cNvSpPr>
            <a:spLocks noGrp="1"/>
          </p:cNvSpPr>
          <p:nvPr>
            <p:ph type="sldNum" sz="quarter" idx="12"/>
          </p:nvPr>
        </p:nvSpPr>
        <p:spPr/>
        <p:txBody>
          <a:bodyPr/>
          <a:lstStyle/>
          <a:p>
            <a:fld id="{8CFE0557-AA98-4E6C-B0C3-581794696B68}" type="slidenum">
              <a:rPr lang="en-GB" smtClean="0"/>
              <a:pPr/>
              <a:t>26</a:t>
            </a:fld>
            <a:endParaRPr lang="en-GB"/>
          </a:p>
        </p:txBody>
      </p:sp>
      <p:sp>
        <p:nvSpPr>
          <p:cNvPr id="3" name="Content Placeholder 2">
            <a:extLst>
              <a:ext uri="{FF2B5EF4-FFF2-40B4-BE49-F238E27FC236}">
                <a16:creationId xmlns:a16="http://schemas.microsoft.com/office/drawing/2014/main" id="{9317230C-AB0D-B803-8909-3E43D3F3A481}"/>
              </a:ext>
            </a:extLst>
          </p:cNvPr>
          <p:cNvSpPr>
            <a:spLocks noGrp="1"/>
          </p:cNvSpPr>
          <p:nvPr>
            <p:ph idx="1"/>
          </p:nvPr>
        </p:nvSpPr>
        <p:spPr>
          <a:xfrm>
            <a:off x="508000" y="1139031"/>
            <a:ext cx="7125758" cy="291662"/>
          </a:xfrm>
        </p:spPr>
        <p:txBody>
          <a:bodyPr/>
          <a:lstStyle/>
          <a:p>
            <a:r>
              <a:rPr lang="en-GB" sz="1600" dirty="0"/>
              <a:t> </a:t>
            </a:r>
          </a:p>
        </p:txBody>
      </p:sp>
      <p:sp>
        <p:nvSpPr>
          <p:cNvPr id="4" name="Content Placeholder 3">
            <a:extLst>
              <a:ext uri="{FF2B5EF4-FFF2-40B4-BE49-F238E27FC236}">
                <a16:creationId xmlns:a16="http://schemas.microsoft.com/office/drawing/2014/main" id="{C7107D9C-661A-DC2F-3EE8-6994A63BB296}"/>
              </a:ext>
            </a:extLst>
          </p:cNvPr>
          <p:cNvSpPr>
            <a:spLocks noGrp="1"/>
          </p:cNvSpPr>
          <p:nvPr>
            <p:ph idx="16"/>
          </p:nvPr>
        </p:nvSpPr>
        <p:spPr>
          <a:xfrm>
            <a:off x="508000" y="1613017"/>
            <a:ext cx="7125758" cy="4606808"/>
          </a:xfrm>
        </p:spPr>
        <p:txBody>
          <a:bodyPr>
            <a:normAutofit/>
          </a:bodyPr>
          <a:lstStyle/>
          <a:p>
            <a:pPr marL="342900" indent="-342900">
              <a:buFont typeface="Wingdings" panose="05000000000000000000" pitchFamily="2" charset="2"/>
              <a:buChar char="§"/>
            </a:pPr>
            <a:r>
              <a:rPr lang="en-GB" sz="2000" dirty="0">
                <a:latin typeface="Arial" panose="020B0604020202020204" pitchFamily="34" charset="0"/>
                <a:cs typeface="Arial" panose="020B0604020202020204" pitchFamily="34" charset="0"/>
              </a:rPr>
              <a:t>Aviation industry overly reliant upon what it believes to be standard contracts or clauses.</a:t>
            </a:r>
          </a:p>
          <a:p>
            <a:pPr marL="342900" indent="-342900">
              <a:buFont typeface="Wingdings" panose="05000000000000000000" pitchFamily="2" charset="2"/>
              <a:buChar char="§"/>
            </a:pPr>
            <a:r>
              <a:rPr lang="en-GB" sz="2000" dirty="0">
                <a:latin typeface="Arial" panose="020B0604020202020204" pitchFamily="34" charset="0"/>
                <a:cs typeface="Arial" panose="020B0604020202020204" pitchFamily="34" charset="0"/>
              </a:rPr>
              <a:t>Contracts need to evolve as legal developments and circumstances evolve. Old contracts are not fit for purpose when facing new challenges. </a:t>
            </a:r>
          </a:p>
          <a:p>
            <a:pPr marL="342900" indent="-342900">
              <a:buFont typeface="Wingdings" panose="05000000000000000000" pitchFamily="2" charset="2"/>
              <a:buChar char="§"/>
            </a:pPr>
            <a:r>
              <a:rPr lang="en-GB" sz="2000" dirty="0">
                <a:latin typeface="Arial" panose="020B0604020202020204" pitchFamily="34" charset="0"/>
                <a:cs typeface="Arial" panose="020B0604020202020204" pitchFamily="34" charset="0"/>
              </a:rPr>
              <a:t>A “standard market” clause is not standard and can be negotiated away if its no longer justifiable or the party relying on it cannot explain it.</a:t>
            </a:r>
          </a:p>
          <a:p>
            <a:pPr marL="342900" indent="-342900">
              <a:buFont typeface="Wingdings" panose="05000000000000000000" pitchFamily="2" charset="2"/>
              <a:buChar char="§"/>
            </a:pPr>
            <a:r>
              <a:rPr lang="en-GB" sz="2000" dirty="0">
                <a:latin typeface="Arial" panose="020B0604020202020204" pitchFamily="34" charset="0"/>
                <a:cs typeface="Arial" panose="020B0604020202020204" pitchFamily="34" charset="0"/>
              </a:rPr>
              <a:t>Contract reviews are important, and some insurance bursaries will pay for them or training. </a:t>
            </a:r>
          </a:p>
          <a:p>
            <a:pPr marL="342900" indent="-342900">
              <a:buFont typeface="Wingdings" panose="05000000000000000000" pitchFamily="2" charset="2"/>
              <a:buChar char="§"/>
            </a:pPr>
            <a:endParaRPr lang="en-GB" sz="2000" dirty="0"/>
          </a:p>
        </p:txBody>
      </p:sp>
      <p:sp>
        <p:nvSpPr>
          <p:cNvPr id="6" name="Title 5">
            <a:extLst>
              <a:ext uri="{FF2B5EF4-FFF2-40B4-BE49-F238E27FC236}">
                <a16:creationId xmlns:a16="http://schemas.microsoft.com/office/drawing/2014/main" id="{9B76A284-F7C6-50AA-ECAE-E6D17F9BAAA0}"/>
              </a:ext>
            </a:extLst>
          </p:cNvPr>
          <p:cNvSpPr>
            <a:spLocks noGrp="1"/>
          </p:cNvSpPr>
          <p:nvPr>
            <p:ph type="title"/>
          </p:nvPr>
        </p:nvSpPr>
        <p:spPr/>
        <p:txBody>
          <a:bodyPr/>
          <a:lstStyle/>
          <a:p>
            <a:r>
              <a:rPr lang="en-GB" sz="2800" b="1" dirty="0">
                <a:latin typeface="Lato" panose="020F0502020204030203" pitchFamily="34" charset="0"/>
              </a:rPr>
              <a:t>conclusions</a:t>
            </a:r>
            <a:endParaRPr lang="en-GB" sz="2800" b="1" dirty="0"/>
          </a:p>
        </p:txBody>
      </p:sp>
      <p:pic>
        <p:nvPicPr>
          <p:cNvPr id="5" name="Picture Placeholder 17">
            <a:extLst>
              <a:ext uri="{FF2B5EF4-FFF2-40B4-BE49-F238E27FC236}">
                <a16:creationId xmlns:a16="http://schemas.microsoft.com/office/drawing/2014/main" id="{DAA7B24F-3F94-F0A3-9870-5BBD19427D75}"/>
              </a:ext>
            </a:extLst>
          </p:cNvPr>
          <p:cNvPicPr>
            <a:picLocks noChangeAspect="1"/>
          </p:cNvPicPr>
          <p:nvPr/>
        </p:nvPicPr>
        <p:blipFill>
          <a:blip r:embed="rId2">
            <a:extLst>
              <a:ext uri="{28A0092B-C50C-407E-A947-70E740481C1C}">
                <a14:useLocalDpi xmlns:a14="http://schemas.microsoft.com/office/drawing/2010/main" val="0"/>
              </a:ext>
            </a:extLst>
          </a:blip>
          <a:srcRect l="33327" r="33327"/>
          <a:stretch/>
        </p:blipFill>
        <p:spPr>
          <a:xfrm>
            <a:off x="8126413" y="0"/>
            <a:ext cx="4065587" cy="6858000"/>
          </a:xfrm>
          <a:prstGeom prst="rect">
            <a:avLst/>
          </a:prstGeom>
        </p:spPr>
      </p:pic>
    </p:spTree>
    <p:extLst>
      <p:ext uri="{BB962C8B-B14F-4D97-AF65-F5344CB8AC3E}">
        <p14:creationId xmlns:p14="http://schemas.microsoft.com/office/powerpoint/2010/main" val="2254133818"/>
      </p:ext>
    </p:extLst>
  </p:cSld>
  <p:clrMapOvr>
    <a:masterClrMapping/>
  </p:clrMapOvr>
  <p:transition spd="med">
    <p:fade/>
  </p:transition>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alpha val="0"/>
          </a:schemeClr>
        </a:solid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76D9F1C-F5CF-0EFF-B8E3-687579DA07E5}"/>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CFE0557-AA98-4E6C-B0C3-581794696B68}" type="slidenum">
              <a:rPr kumimoji="0" lang="en-GB" sz="900" b="0" i="0" u="none" strike="noStrike" kern="1200" cap="none" spc="0" normalizeH="0" baseline="0" noProof="0" smtClean="0">
                <a:ln>
                  <a:noFill/>
                </a:ln>
                <a:solidFill>
                  <a:srgbClr val="5B5D62"/>
                </a:solidFill>
                <a:effectLst/>
                <a:uLnTx/>
                <a:uFillTx/>
                <a:latin typeface="Montserrat"/>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7</a:t>
            </a:fld>
            <a:endParaRPr kumimoji="0" lang="en-GB" sz="900" b="0" i="0" u="none" strike="noStrike" kern="1200" cap="none" spc="0" normalizeH="0" baseline="0" noProof="0">
              <a:ln>
                <a:noFill/>
              </a:ln>
              <a:solidFill>
                <a:srgbClr val="5B5D62"/>
              </a:solidFill>
              <a:effectLst/>
              <a:uLnTx/>
              <a:uFillTx/>
              <a:latin typeface="Montserrat"/>
              <a:ea typeface="+mn-ea"/>
              <a:cs typeface="+mn-cs"/>
            </a:endParaRPr>
          </a:p>
        </p:txBody>
      </p:sp>
      <p:sp>
        <p:nvSpPr>
          <p:cNvPr id="12" name="Title 11">
            <a:extLst>
              <a:ext uri="{FF2B5EF4-FFF2-40B4-BE49-F238E27FC236}">
                <a16:creationId xmlns:a16="http://schemas.microsoft.com/office/drawing/2014/main" id="{7C4EE859-6D39-6134-F1E8-C7CA4E550FC8}"/>
              </a:ext>
            </a:extLst>
          </p:cNvPr>
          <p:cNvSpPr>
            <a:spLocks noGrp="1"/>
          </p:cNvSpPr>
          <p:nvPr>
            <p:ph type="title"/>
          </p:nvPr>
        </p:nvSpPr>
        <p:spPr/>
        <p:txBody>
          <a:bodyPr/>
          <a:lstStyle/>
          <a:p>
            <a:r>
              <a:rPr lang="en-GB" sz="2800" b="1" dirty="0"/>
              <a:t>MARKET RECOGNITION</a:t>
            </a:r>
          </a:p>
        </p:txBody>
      </p:sp>
      <p:sp>
        <p:nvSpPr>
          <p:cNvPr id="15" name="Rectangle 14">
            <a:extLst>
              <a:ext uri="{FF2B5EF4-FFF2-40B4-BE49-F238E27FC236}">
                <a16:creationId xmlns:a16="http://schemas.microsoft.com/office/drawing/2014/main" id="{0B9661A7-C7D4-DA3A-DDF3-E97380844C64}"/>
              </a:ext>
            </a:extLst>
          </p:cNvPr>
          <p:cNvSpPr/>
          <p:nvPr/>
        </p:nvSpPr>
        <p:spPr>
          <a:xfrm>
            <a:off x="747256" y="4177607"/>
            <a:ext cx="2943724" cy="1210268"/>
          </a:xfrm>
          <a:prstGeom prst="rect">
            <a:avLst/>
          </a:prstGeom>
        </p:spPr>
        <p:txBody>
          <a:bodyPr wrap="square" anchor="ctr" anchorCtr="0">
            <a:spAutoFit/>
          </a:bodyPr>
          <a:lstStyle/>
          <a:p>
            <a:pPr marL="0" marR="0" lvl="0" indent="0" algn="l" defTabSz="457200" rtl="0" eaLnBrk="1" fontAlgn="auto" latinLnBrk="0" hangingPunct="1">
              <a:lnSpc>
                <a:spcPct val="110000"/>
              </a:lnSpc>
              <a:spcBef>
                <a:spcPts val="0"/>
              </a:spcBef>
              <a:spcAft>
                <a:spcPts val="600"/>
              </a:spcAft>
              <a:buClrTx/>
              <a:buSzTx/>
              <a:buFontTx/>
              <a:buNone/>
              <a:tabLst/>
              <a:defRPr/>
            </a:pPr>
            <a:r>
              <a:rPr kumimoji="0" lang="en-GB" sz="1100" b="0" i="0" u="none" strike="noStrike" kern="1200" cap="none" spc="0" normalizeH="0" baseline="0" noProof="0" dirty="0">
                <a:ln>
                  <a:noFill/>
                </a:ln>
                <a:solidFill>
                  <a:srgbClr val="FFFFFF"/>
                </a:solidFill>
                <a:effectLst/>
                <a:uLnTx/>
                <a:uFillTx/>
                <a:latin typeface="Montserrat" pitchFamily="2" charset="77"/>
                <a:ea typeface="+mn-ea"/>
                <a:cs typeface="Times New Roman" panose="02020603050405020304" pitchFamily="18" charset="0"/>
              </a:rPr>
              <a:t>“They do a great job, are very professional with a lot of experience. They are good in front of clients, have good relationships and are knowledgeable.”</a:t>
            </a:r>
          </a:p>
          <a:p>
            <a:pPr marL="0" marR="0" lvl="0" indent="0" algn="l" defTabSz="457200" rtl="0" eaLnBrk="1" fontAlgn="auto" latinLnBrk="0" hangingPunct="1">
              <a:lnSpc>
                <a:spcPct val="110000"/>
              </a:lnSpc>
              <a:spcBef>
                <a:spcPts val="0"/>
              </a:spcBef>
              <a:spcAft>
                <a:spcPts val="600"/>
              </a:spcAft>
              <a:buClrTx/>
              <a:buSzTx/>
              <a:buFontTx/>
              <a:buNone/>
              <a:tabLst/>
              <a:defRPr/>
            </a:pPr>
            <a:r>
              <a:rPr kumimoji="0" lang="en-GB" sz="700" b="1" i="0" u="none" strike="noStrike" kern="1200" cap="none" spc="0" normalizeH="0" baseline="0" noProof="0" dirty="0">
                <a:ln>
                  <a:noFill/>
                </a:ln>
                <a:solidFill>
                  <a:srgbClr val="FFFFFF"/>
                </a:solidFill>
                <a:effectLst/>
                <a:uLnTx/>
                <a:uFillTx/>
                <a:latin typeface="Montserrat" pitchFamily="2" charset="77"/>
                <a:ea typeface="+mn-ea"/>
                <a:cs typeface="Times New Roman" panose="02020603050405020304" pitchFamily="18" charset="0"/>
              </a:rPr>
              <a:t>CHAMBERS AND PARTNERS 2025 - AVIATION</a:t>
            </a:r>
          </a:p>
        </p:txBody>
      </p:sp>
      <p:sp>
        <p:nvSpPr>
          <p:cNvPr id="16" name="Rectangle 15">
            <a:extLst>
              <a:ext uri="{FF2B5EF4-FFF2-40B4-BE49-F238E27FC236}">
                <a16:creationId xmlns:a16="http://schemas.microsoft.com/office/drawing/2014/main" id="{7E859D21-CFA7-72BC-DF7A-1D6181869D1B}"/>
              </a:ext>
            </a:extLst>
          </p:cNvPr>
          <p:cNvSpPr/>
          <p:nvPr/>
        </p:nvSpPr>
        <p:spPr>
          <a:xfrm>
            <a:off x="747256" y="1638920"/>
            <a:ext cx="2445304" cy="1624547"/>
          </a:xfrm>
          <a:prstGeom prst="rect">
            <a:avLst/>
          </a:prstGeom>
        </p:spPr>
        <p:txBody>
          <a:bodyPr wrap="square" anchor="ctr" anchorCtr="0">
            <a:spAutoFit/>
          </a:bodyPr>
          <a:lstStyle/>
          <a:p>
            <a:pPr marL="0" marR="0" lvl="0" indent="0" algn="l" defTabSz="914400" rtl="0" eaLnBrk="1" fontAlgn="base" latinLnBrk="0" hangingPunct="1">
              <a:lnSpc>
                <a:spcPct val="110000"/>
              </a:lnSpc>
              <a:spcBef>
                <a:spcPts val="0"/>
              </a:spcBef>
              <a:spcAft>
                <a:spcPts val="600"/>
              </a:spcAft>
              <a:buClrTx/>
              <a:buSzTx/>
              <a:buFontTx/>
              <a:buNone/>
              <a:tabLst/>
              <a:defRPr/>
            </a:pPr>
            <a:r>
              <a:rPr kumimoji="0" lang="en-GB" sz="1100" b="0" i="0" u="none" strike="noStrike" kern="1200" cap="none" spc="0" normalizeH="0" baseline="0" noProof="0" dirty="0">
                <a:ln>
                  <a:noFill/>
                </a:ln>
                <a:solidFill>
                  <a:srgbClr val="FFFFFF"/>
                </a:solidFill>
                <a:effectLst/>
                <a:uLnTx/>
                <a:uFillTx/>
                <a:latin typeface="Montserrat" pitchFamily="2" charset="77"/>
                <a:ea typeface="+mn-ea"/>
                <a:cs typeface="Times New Roman" panose="02020603050405020304" pitchFamily="18" charset="0"/>
              </a:rPr>
              <a:t>“The whole team always provides urgent advice in a short period of time and sometimes within a day in consideration of different </a:t>
            </a:r>
            <a:r>
              <a:rPr kumimoji="0" lang="en-GB" sz="1100" b="0" i="0" u="none" strike="noStrike" kern="1200" cap="none" spc="0" normalizeH="0" baseline="0" noProof="0" dirty="0" err="1">
                <a:ln>
                  <a:noFill/>
                </a:ln>
                <a:solidFill>
                  <a:srgbClr val="FFFFFF"/>
                </a:solidFill>
                <a:effectLst/>
                <a:uLnTx/>
                <a:uFillTx/>
                <a:latin typeface="Montserrat" pitchFamily="2" charset="77"/>
                <a:ea typeface="+mn-ea"/>
                <a:cs typeface="Times New Roman" panose="02020603050405020304" pitchFamily="18" charset="0"/>
              </a:rPr>
              <a:t>timezones</a:t>
            </a:r>
            <a:r>
              <a:rPr kumimoji="0" lang="en-GB" sz="1100" b="0" i="0" u="none" strike="noStrike" kern="1200" cap="none" spc="0" normalizeH="0" baseline="0" noProof="0" dirty="0">
                <a:ln>
                  <a:noFill/>
                </a:ln>
                <a:solidFill>
                  <a:srgbClr val="FFFFFF"/>
                </a:solidFill>
                <a:effectLst/>
                <a:uLnTx/>
                <a:uFillTx/>
                <a:latin typeface="Montserrat" pitchFamily="2" charset="77"/>
                <a:ea typeface="+mn-ea"/>
                <a:cs typeface="Times New Roman" panose="02020603050405020304" pitchFamily="18" charset="0"/>
              </a:rPr>
              <a:t>.”</a:t>
            </a:r>
          </a:p>
          <a:p>
            <a:pPr marL="0" marR="0" lvl="0" indent="0" algn="l" defTabSz="914400" rtl="0" eaLnBrk="1" fontAlgn="base" latinLnBrk="0" hangingPunct="1">
              <a:lnSpc>
                <a:spcPct val="110000"/>
              </a:lnSpc>
              <a:spcBef>
                <a:spcPts val="0"/>
              </a:spcBef>
              <a:spcAft>
                <a:spcPts val="600"/>
              </a:spcAft>
              <a:buClrTx/>
              <a:buSzTx/>
              <a:buFontTx/>
              <a:buNone/>
              <a:tabLst/>
              <a:defRPr/>
            </a:pPr>
            <a:r>
              <a:rPr kumimoji="0" lang="en-GB" sz="700" b="1" i="0" u="none" strike="noStrike" kern="1200" cap="none" spc="0" normalizeH="0" baseline="0" noProof="0" dirty="0">
                <a:ln>
                  <a:noFill/>
                </a:ln>
                <a:solidFill>
                  <a:srgbClr val="FFFFFF"/>
                </a:solidFill>
                <a:effectLst/>
                <a:uLnTx/>
                <a:uFillTx/>
                <a:latin typeface="Montserrat" pitchFamily="2" charset="77"/>
                <a:ea typeface="+mn-ea"/>
                <a:cs typeface="Times New Roman" panose="02020603050405020304" pitchFamily="18" charset="0"/>
              </a:rPr>
              <a:t>CHAMBERS AND PARTNERS </a:t>
            </a:r>
          </a:p>
          <a:p>
            <a:pPr marL="0" marR="0" lvl="0" indent="0" algn="l" defTabSz="914400" rtl="0" eaLnBrk="1" fontAlgn="base" latinLnBrk="0" hangingPunct="1">
              <a:lnSpc>
                <a:spcPct val="110000"/>
              </a:lnSpc>
              <a:spcBef>
                <a:spcPts val="0"/>
              </a:spcBef>
              <a:spcAft>
                <a:spcPts val="600"/>
              </a:spcAft>
              <a:buClrTx/>
              <a:buSzTx/>
              <a:buFontTx/>
              <a:buNone/>
              <a:tabLst/>
              <a:defRPr/>
            </a:pPr>
            <a:r>
              <a:rPr kumimoji="0" lang="en-GB" sz="700" b="1" i="0" u="none" strike="noStrike" kern="1200" cap="none" spc="0" normalizeH="0" baseline="0" noProof="0" dirty="0">
                <a:ln>
                  <a:noFill/>
                </a:ln>
                <a:solidFill>
                  <a:srgbClr val="FFFFFF"/>
                </a:solidFill>
                <a:effectLst/>
                <a:uLnTx/>
                <a:uFillTx/>
                <a:latin typeface="Montserrat" pitchFamily="2" charset="77"/>
                <a:ea typeface="+mn-ea"/>
                <a:cs typeface="Times New Roman" panose="02020603050405020304" pitchFamily="18" charset="0"/>
              </a:rPr>
              <a:t>2025 - AVIATION</a:t>
            </a:r>
          </a:p>
        </p:txBody>
      </p:sp>
      <p:sp>
        <p:nvSpPr>
          <p:cNvPr id="17" name="Rectangle 16">
            <a:extLst>
              <a:ext uri="{FF2B5EF4-FFF2-40B4-BE49-F238E27FC236}">
                <a16:creationId xmlns:a16="http://schemas.microsoft.com/office/drawing/2014/main" id="{40E84FCB-07A6-0FA0-8AD0-0AE356D76CDB}"/>
              </a:ext>
            </a:extLst>
          </p:cNvPr>
          <p:cNvSpPr/>
          <p:nvPr/>
        </p:nvSpPr>
        <p:spPr>
          <a:xfrm>
            <a:off x="4185863" y="4279661"/>
            <a:ext cx="3801301" cy="1443600"/>
          </a:xfrm>
          <a:prstGeom prst="rect">
            <a:avLst/>
          </a:prstGeom>
        </p:spPr>
        <p:txBody>
          <a:bodyPr wrap="square" anchor="ctr" anchorCtr="0">
            <a:spAutoFit/>
          </a:bodyPr>
          <a:lstStyle/>
          <a:p>
            <a:pPr marL="0" marR="0" lvl="0" indent="0" algn="l" defTabSz="457200" rtl="0" eaLnBrk="1" fontAlgn="base" latinLnBrk="0" hangingPunct="1">
              <a:lnSpc>
                <a:spcPct val="110000"/>
              </a:lnSpc>
              <a:spcBef>
                <a:spcPts val="0"/>
              </a:spcBef>
              <a:spcAft>
                <a:spcPts val="600"/>
              </a:spcAft>
              <a:buClrTx/>
              <a:buSzTx/>
              <a:buFontTx/>
              <a:buNone/>
              <a:tabLst/>
              <a:defRPr/>
            </a:pPr>
            <a:r>
              <a:rPr kumimoji="0" lang="en-GB" sz="1100" b="0" i="0" u="none" strike="noStrike" kern="1200" cap="none" spc="0" normalizeH="0" baseline="0" noProof="0" dirty="0">
                <a:ln>
                  <a:noFill/>
                </a:ln>
                <a:solidFill>
                  <a:srgbClr val="FFFFFF"/>
                </a:solidFill>
                <a:effectLst/>
                <a:uLnTx/>
                <a:uFillTx/>
                <a:latin typeface="Montserrat" pitchFamily="2" charset="77"/>
                <a:ea typeface="+mn-ea"/>
                <a:cs typeface="Times New Roman" panose="02020603050405020304" pitchFamily="18" charset="0"/>
              </a:rPr>
              <a:t>“We have always found the firm to be very efficient, professional and all the team have a vast amount of knowledge and expertise in aviation. We would consider using the firm on any new instructions, as well as the fact that they are written into a number of our lead accounts.”</a:t>
            </a:r>
          </a:p>
          <a:p>
            <a:pPr marL="0" marR="0" lvl="0" indent="0" algn="l" defTabSz="457200" rtl="0" eaLnBrk="1" fontAlgn="base" latinLnBrk="0" hangingPunct="1">
              <a:lnSpc>
                <a:spcPct val="110000"/>
              </a:lnSpc>
              <a:spcBef>
                <a:spcPts val="0"/>
              </a:spcBef>
              <a:spcAft>
                <a:spcPts val="600"/>
              </a:spcAft>
              <a:buClrTx/>
              <a:buSzTx/>
              <a:buFontTx/>
              <a:buNone/>
              <a:tabLst/>
              <a:defRPr/>
            </a:pPr>
            <a:r>
              <a:rPr kumimoji="0" lang="en-GB" sz="700" b="1" i="0" u="none" strike="noStrike" kern="1200" cap="none" spc="0" normalizeH="0" baseline="0" noProof="0" dirty="0">
                <a:ln>
                  <a:noFill/>
                </a:ln>
                <a:solidFill>
                  <a:srgbClr val="FFFFFF"/>
                </a:solidFill>
                <a:effectLst/>
                <a:uLnTx/>
                <a:uFillTx/>
                <a:latin typeface="Montserrat" pitchFamily="2" charset="77"/>
                <a:ea typeface="+mn-ea"/>
                <a:cs typeface="Times New Roman" panose="02020603050405020304" pitchFamily="18" charset="0"/>
              </a:rPr>
              <a:t>LEGAL 500 2025 - AVIATION</a:t>
            </a:r>
          </a:p>
        </p:txBody>
      </p:sp>
      <p:sp>
        <p:nvSpPr>
          <p:cNvPr id="18" name="Rectangle 17">
            <a:extLst>
              <a:ext uri="{FF2B5EF4-FFF2-40B4-BE49-F238E27FC236}">
                <a16:creationId xmlns:a16="http://schemas.microsoft.com/office/drawing/2014/main" id="{DAD74712-DE9B-3BC8-5925-6C8712D79707}"/>
              </a:ext>
            </a:extLst>
          </p:cNvPr>
          <p:cNvSpPr/>
          <p:nvPr/>
        </p:nvSpPr>
        <p:spPr>
          <a:xfrm>
            <a:off x="4185863" y="1725987"/>
            <a:ext cx="3790869" cy="837858"/>
          </a:xfrm>
          <a:prstGeom prst="rect">
            <a:avLst/>
          </a:prstGeom>
        </p:spPr>
        <p:txBody>
          <a:bodyPr wrap="square" anchor="ctr" anchorCtr="0">
            <a:spAutoFit/>
          </a:bodyPr>
          <a:lstStyle/>
          <a:p>
            <a:pPr marL="0" marR="0" lvl="0" indent="0" algn="l" defTabSz="457200" rtl="0" eaLnBrk="1" fontAlgn="auto" latinLnBrk="0" hangingPunct="1">
              <a:lnSpc>
                <a:spcPct val="110000"/>
              </a:lnSpc>
              <a:spcBef>
                <a:spcPts val="0"/>
              </a:spcBef>
              <a:spcAft>
                <a:spcPts val="600"/>
              </a:spcAft>
              <a:buClrTx/>
              <a:buSzTx/>
              <a:buFontTx/>
              <a:buNone/>
              <a:tabLst/>
              <a:defRPr/>
            </a:pPr>
            <a:r>
              <a:rPr lang="en-GB" sz="1100" dirty="0">
                <a:solidFill>
                  <a:srgbClr val="FFFFFF"/>
                </a:solidFill>
                <a:latin typeface="Montserrat" pitchFamily="2" charset="77"/>
                <a:cs typeface="Times New Roman" panose="02020603050405020304" pitchFamily="18" charset="0"/>
              </a:rPr>
              <a:t>“</a:t>
            </a:r>
            <a:r>
              <a:rPr kumimoji="0" lang="en-GB" sz="1100" b="0" i="0" u="none" strike="noStrike" kern="1200" cap="none" spc="0" normalizeH="0" baseline="0" noProof="0" dirty="0">
                <a:ln>
                  <a:noFill/>
                </a:ln>
                <a:solidFill>
                  <a:srgbClr val="FFFFFF"/>
                </a:solidFill>
                <a:effectLst/>
                <a:uLnTx/>
                <a:uFillTx/>
                <a:latin typeface="Montserrat" pitchFamily="2" charset="77"/>
                <a:ea typeface="+mn-ea"/>
                <a:cs typeface="Times New Roman" panose="02020603050405020304" pitchFamily="18" charset="0"/>
              </a:rPr>
              <a:t>The team has always been a pleasure. They are all very good to work with and their individual knowledge is exceptional.”</a:t>
            </a:r>
            <a:endParaRPr kumimoji="0" lang="en-GB" sz="1100" b="1" i="0" u="none" strike="noStrike" kern="1200" cap="none" spc="0" normalizeH="0" baseline="0" noProof="0" dirty="0">
              <a:ln>
                <a:noFill/>
              </a:ln>
              <a:solidFill>
                <a:srgbClr val="FFFFFF"/>
              </a:solidFill>
              <a:effectLst/>
              <a:uLnTx/>
              <a:uFillTx/>
              <a:latin typeface="Montserrat" pitchFamily="2" charset="77"/>
              <a:ea typeface="+mn-ea"/>
              <a:cs typeface="Times New Roman" panose="02020603050405020304" pitchFamily="18" charset="0"/>
            </a:endParaRPr>
          </a:p>
          <a:p>
            <a:pPr marL="0" marR="0" lvl="0" indent="0" algn="l" defTabSz="457200" rtl="0" eaLnBrk="1" fontAlgn="auto" latinLnBrk="0" hangingPunct="1">
              <a:lnSpc>
                <a:spcPct val="110000"/>
              </a:lnSpc>
              <a:spcBef>
                <a:spcPts val="0"/>
              </a:spcBef>
              <a:spcAft>
                <a:spcPts val="600"/>
              </a:spcAft>
              <a:buClrTx/>
              <a:buSzTx/>
              <a:buFontTx/>
              <a:buNone/>
              <a:tabLst/>
              <a:defRPr/>
            </a:pPr>
            <a:r>
              <a:rPr kumimoji="0" lang="en-GB" sz="700" b="1" i="0" u="none" strike="noStrike" kern="1200" cap="none" spc="0" normalizeH="0" baseline="0" noProof="0" dirty="0">
                <a:ln>
                  <a:noFill/>
                </a:ln>
                <a:solidFill>
                  <a:srgbClr val="FFFFFF"/>
                </a:solidFill>
                <a:effectLst/>
                <a:uLnTx/>
                <a:uFillTx/>
                <a:latin typeface="Montserrat" pitchFamily="2" charset="77"/>
                <a:ea typeface="+mn-ea"/>
                <a:cs typeface="Times New Roman" panose="02020603050405020304" pitchFamily="18" charset="0"/>
              </a:rPr>
              <a:t>LEGAL </a:t>
            </a:r>
            <a:r>
              <a:rPr kumimoji="0" lang="en-GB" sz="700" b="1" i="0" u="none" strike="noStrike" kern="1200" cap="none" spc="0" normalizeH="0" baseline="0" noProof="0">
                <a:ln>
                  <a:noFill/>
                </a:ln>
                <a:solidFill>
                  <a:srgbClr val="FFFFFF"/>
                </a:solidFill>
                <a:effectLst/>
                <a:uLnTx/>
                <a:uFillTx/>
                <a:latin typeface="Montserrat" pitchFamily="2" charset="77"/>
                <a:ea typeface="+mn-ea"/>
                <a:cs typeface="Times New Roman" panose="02020603050405020304" pitchFamily="18" charset="0"/>
              </a:rPr>
              <a:t>500 2025 </a:t>
            </a:r>
            <a:r>
              <a:rPr kumimoji="0" lang="en-GB" sz="700" b="1" i="0" u="none" strike="noStrike" kern="1200" cap="none" spc="0" normalizeH="0" baseline="0" noProof="0" dirty="0">
                <a:ln>
                  <a:noFill/>
                </a:ln>
                <a:solidFill>
                  <a:srgbClr val="FFFFFF"/>
                </a:solidFill>
                <a:effectLst/>
                <a:uLnTx/>
                <a:uFillTx/>
                <a:latin typeface="Montserrat" pitchFamily="2" charset="77"/>
                <a:ea typeface="+mn-ea"/>
                <a:cs typeface="Times New Roman" panose="02020603050405020304" pitchFamily="18" charset="0"/>
              </a:rPr>
              <a:t>– AVIATION</a:t>
            </a:r>
          </a:p>
        </p:txBody>
      </p:sp>
      <p:sp>
        <p:nvSpPr>
          <p:cNvPr id="19" name="Rectangle 18">
            <a:extLst>
              <a:ext uri="{FF2B5EF4-FFF2-40B4-BE49-F238E27FC236}">
                <a16:creationId xmlns:a16="http://schemas.microsoft.com/office/drawing/2014/main" id="{453FFFD9-8B29-992B-4ABB-0E588518AD1C}"/>
              </a:ext>
            </a:extLst>
          </p:cNvPr>
          <p:cNvSpPr/>
          <p:nvPr/>
        </p:nvSpPr>
        <p:spPr>
          <a:xfrm>
            <a:off x="8545446" y="1806181"/>
            <a:ext cx="2889250" cy="651653"/>
          </a:xfrm>
          <a:prstGeom prst="rect">
            <a:avLst/>
          </a:prstGeom>
        </p:spPr>
        <p:txBody>
          <a:bodyPr wrap="square" anchor="ctr" anchorCtr="0">
            <a:spAutoFit/>
          </a:bodyPr>
          <a:lstStyle/>
          <a:p>
            <a:pPr marL="0" marR="0" lvl="0" indent="0" algn="l" defTabSz="457200" rtl="0" eaLnBrk="1" fontAlgn="auto" latinLnBrk="0" hangingPunct="1">
              <a:lnSpc>
                <a:spcPct val="110000"/>
              </a:lnSpc>
              <a:spcBef>
                <a:spcPts val="0"/>
              </a:spcBef>
              <a:spcAft>
                <a:spcPts val="600"/>
              </a:spcAft>
              <a:buClrTx/>
              <a:buSzTx/>
              <a:buFontTx/>
              <a:buNone/>
              <a:tabLst/>
              <a:defRPr/>
            </a:pPr>
            <a:r>
              <a:rPr kumimoji="0" lang="en-GB" sz="1100" b="0" i="0" u="none" strike="noStrike" kern="1200" cap="none" spc="0" normalizeH="0" baseline="0" noProof="0" dirty="0">
                <a:ln>
                  <a:noFill/>
                </a:ln>
                <a:solidFill>
                  <a:srgbClr val="FFFFFF"/>
                </a:solidFill>
                <a:effectLst/>
                <a:uLnTx/>
                <a:uFillTx/>
                <a:latin typeface="Montserrat" pitchFamily="2" charset="77"/>
                <a:ea typeface="+mn-ea"/>
                <a:cs typeface="Times New Roman" panose="02020603050405020304" pitchFamily="18" charset="0"/>
              </a:rPr>
              <a:t>“They have deep knowledge of the industry.”</a:t>
            </a:r>
          </a:p>
          <a:p>
            <a:pPr marL="0" marR="0" lvl="0" indent="0" algn="l" defTabSz="457200" rtl="0" eaLnBrk="1" fontAlgn="auto" latinLnBrk="0" hangingPunct="1">
              <a:lnSpc>
                <a:spcPct val="110000"/>
              </a:lnSpc>
              <a:spcBef>
                <a:spcPts val="0"/>
              </a:spcBef>
              <a:spcAft>
                <a:spcPts val="600"/>
              </a:spcAft>
              <a:buClrTx/>
              <a:buSzTx/>
              <a:buFontTx/>
              <a:buNone/>
              <a:tabLst/>
              <a:defRPr/>
            </a:pPr>
            <a:r>
              <a:rPr kumimoji="0" lang="en-GB" sz="700" b="1" i="0" u="none" strike="noStrike" kern="1200" cap="none" spc="0" normalizeH="0" baseline="0" noProof="0" dirty="0">
                <a:ln>
                  <a:noFill/>
                </a:ln>
                <a:solidFill>
                  <a:srgbClr val="FFFFFF"/>
                </a:solidFill>
                <a:effectLst/>
                <a:uLnTx/>
                <a:uFillTx/>
                <a:latin typeface="Montserrat" pitchFamily="2" charset="77"/>
                <a:ea typeface="+mn-ea"/>
                <a:cs typeface="Times New Roman" panose="02020603050405020304" pitchFamily="18" charset="0"/>
              </a:rPr>
              <a:t>LEGAL 500 2025 – TRANSPORT FINANCE AND LEASING</a:t>
            </a:r>
          </a:p>
        </p:txBody>
      </p:sp>
      <p:sp>
        <p:nvSpPr>
          <p:cNvPr id="20" name="Rectangle 19">
            <a:extLst>
              <a:ext uri="{FF2B5EF4-FFF2-40B4-BE49-F238E27FC236}">
                <a16:creationId xmlns:a16="http://schemas.microsoft.com/office/drawing/2014/main" id="{05375F9F-7844-6088-D7FB-B5A11EA01656}"/>
              </a:ext>
            </a:extLst>
          </p:cNvPr>
          <p:cNvSpPr/>
          <p:nvPr/>
        </p:nvSpPr>
        <p:spPr>
          <a:xfrm>
            <a:off x="8545446" y="4193072"/>
            <a:ext cx="2889249" cy="1210268"/>
          </a:xfrm>
          <a:prstGeom prst="rect">
            <a:avLst/>
          </a:prstGeom>
        </p:spPr>
        <p:txBody>
          <a:bodyPr wrap="square" anchor="ctr" anchorCtr="0">
            <a:spAutoFit/>
          </a:bodyPr>
          <a:lstStyle/>
          <a:p>
            <a:pPr marL="0" marR="0" lvl="0" indent="0" algn="l" defTabSz="457200" rtl="0" eaLnBrk="1" fontAlgn="base" latinLnBrk="0" hangingPunct="1">
              <a:lnSpc>
                <a:spcPct val="11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Montserrat" pitchFamily="2" charset="77"/>
                <a:ea typeface="+mn-ea"/>
                <a:cs typeface="Times New Roman" panose="02020603050405020304" pitchFamily="18" charset="0"/>
              </a:rPr>
              <a:t>“</a:t>
            </a:r>
            <a:r>
              <a:rPr kumimoji="0" lang="en-GB" sz="1100" b="0" i="0" u="none" strike="noStrike" kern="1200" cap="none" spc="0" normalizeH="0" baseline="0" noProof="0" dirty="0">
                <a:ln>
                  <a:noFill/>
                </a:ln>
                <a:solidFill>
                  <a:srgbClr val="FFFFFF"/>
                </a:solidFill>
                <a:effectLst/>
                <a:uLnTx/>
                <a:uFillTx/>
                <a:latin typeface="Montserrat" pitchFamily="2" charset="77"/>
                <a:ea typeface="+mn-ea"/>
                <a:cs typeface="Times New Roman" panose="02020603050405020304" pitchFamily="18" charset="0"/>
              </a:rPr>
              <a:t>They are a full-service firm with experienced aviation professionals who have years of experience in all facets including financing, regulatory and leasing structures.</a:t>
            </a:r>
            <a:r>
              <a:rPr kumimoji="0" lang="en-US" sz="1100" b="0" i="0" u="none" strike="noStrike" kern="1200" cap="none" spc="0" normalizeH="0" baseline="0" noProof="0" dirty="0">
                <a:ln>
                  <a:noFill/>
                </a:ln>
                <a:solidFill>
                  <a:srgbClr val="FFFFFF"/>
                </a:solidFill>
                <a:effectLst/>
                <a:uLnTx/>
                <a:uFillTx/>
                <a:latin typeface="Montserrat" pitchFamily="2" charset="77"/>
                <a:ea typeface="+mn-ea"/>
                <a:cs typeface="Times New Roman" panose="02020603050405020304" pitchFamily="18" charset="0"/>
              </a:rPr>
              <a:t>”</a:t>
            </a:r>
          </a:p>
          <a:p>
            <a:pPr marL="0" marR="0" lvl="0" indent="0" algn="l" defTabSz="457200" rtl="0" eaLnBrk="1" fontAlgn="base" latinLnBrk="0" hangingPunct="1">
              <a:lnSpc>
                <a:spcPct val="110000"/>
              </a:lnSpc>
              <a:spcBef>
                <a:spcPts val="0"/>
              </a:spcBef>
              <a:spcAft>
                <a:spcPts val="600"/>
              </a:spcAft>
              <a:buClrTx/>
              <a:buSzTx/>
              <a:buFontTx/>
              <a:buNone/>
              <a:tabLst/>
              <a:defRPr/>
            </a:pPr>
            <a:r>
              <a:rPr kumimoji="0" lang="en-US" sz="700" b="1" i="0" u="none" strike="noStrike" kern="1200" cap="none" spc="0" normalizeH="0" baseline="0" noProof="0" dirty="0">
                <a:ln>
                  <a:noFill/>
                </a:ln>
                <a:solidFill>
                  <a:srgbClr val="FFFFFF"/>
                </a:solidFill>
                <a:effectLst/>
                <a:uLnTx/>
                <a:uFillTx/>
                <a:latin typeface="Montserrat" pitchFamily="2" charset="77"/>
                <a:ea typeface="+mn-ea"/>
                <a:cs typeface="Times New Roman" panose="02020603050405020304" pitchFamily="18" charset="0"/>
              </a:rPr>
              <a:t>CHAMBERS AND PARTNERS 2025 – ASSET FINANCE</a:t>
            </a:r>
          </a:p>
        </p:txBody>
      </p:sp>
      <p:sp>
        <p:nvSpPr>
          <p:cNvPr id="3" name="Rectangle 2">
            <a:extLst>
              <a:ext uri="{FF2B5EF4-FFF2-40B4-BE49-F238E27FC236}">
                <a16:creationId xmlns:a16="http://schemas.microsoft.com/office/drawing/2014/main" id="{AC69C73D-3205-35E8-DEF2-0B77FCF6B703}"/>
              </a:ext>
            </a:extLst>
          </p:cNvPr>
          <p:cNvSpPr/>
          <p:nvPr/>
        </p:nvSpPr>
        <p:spPr>
          <a:xfrm>
            <a:off x="8322424" y="952125"/>
            <a:ext cx="1449436" cy="2646878"/>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600" b="1" i="0" u="none" strike="noStrike" kern="1200" cap="none" spc="0" normalizeH="0" baseline="0" noProof="0" dirty="0">
                <a:ln>
                  <a:noFill/>
                </a:ln>
                <a:solidFill>
                  <a:srgbClr val="FFFFFF">
                    <a:alpha val="17000"/>
                  </a:srgbClr>
                </a:solidFill>
                <a:effectLst/>
                <a:uLnTx/>
                <a:uFillTx/>
                <a:latin typeface="Montserrat Black" pitchFamily="2" charset="77"/>
                <a:ea typeface="+mn-ea"/>
                <a:cs typeface="+mn-cs"/>
              </a:rPr>
              <a:t>“</a:t>
            </a:r>
          </a:p>
        </p:txBody>
      </p:sp>
      <p:sp>
        <p:nvSpPr>
          <p:cNvPr id="4" name="Rectangle 3">
            <a:extLst>
              <a:ext uri="{FF2B5EF4-FFF2-40B4-BE49-F238E27FC236}">
                <a16:creationId xmlns:a16="http://schemas.microsoft.com/office/drawing/2014/main" id="{1FFD7685-28BA-AF54-CA2B-760969E1F239}"/>
              </a:ext>
            </a:extLst>
          </p:cNvPr>
          <p:cNvSpPr/>
          <p:nvPr/>
        </p:nvSpPr>
        <p:spPr>
          <a:xfrm>
            <a:off x="8375623" y="3574579"/>
            <a:ext cx="1449436" cy="2646878"/>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600" b="1" i="0" u="none" strike="noStrike" kern="1200" cap="none" spc="0" normalizeH="0" baseline="0" noProof="0" dirty="0">
                <a:ln>
                  <a:noFill/>
                </a:ln>
                <a:solidFill>
                  <a:srgbClr val="FFFFFF">
                    <a:alpha val="17000"/>
                  </a:srgbClr>
                </a:solidFill>
                <a:effectLst/>
                <a:uLnTx/>
                <a:uFillTx/>
                <a:latin typeface="Montserrat Black" pitchFamily="2" charset="77"/>
                <a:ea typeface="+mn-ea"/>
                <a:cs typeface="+mn-cs"/>
              </a:rPr>
              <a:t>“</a:t>
            </a:r>
          </a:p>
        </p:txBody>
      </p:sp>
      <p:sp>
        <p:nvSpPr>
          <p:cNvPr id="5" name="Rectangle 4">
            <a:extLst>
              <a:ext uri="{FF2B5EF4-FFF2-40B4-BE49-F238E27FC236}">
                <a16:creationId xmlns:a16="http://schemas.microsoft.com/office/drawing/2014/main" id="{2663C44A-8967-380D-4FB8-597286E5AB8E}"/>
              </a:ext>
            </a:extLst>
          </p:cNvPr>
          <p:cNvSpPr/>
          <p:nvPr/>
        </p:nvSpPr>
        <p:spPr>
          <a:xfrm>
            <a:off x="447981" y="3574579"/>
            <a:ext cx="1449436" cy="2646878"/>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600" b="1" i="0" u="none" strike="noStrike" kern="1200" cap="none" spc="0" normalizeH="0" baseline="0" noProof="0" dirty="0">
                <a:ln>
                  <a:noFill/>
                </a:ln>
                <a:solidFill>
                  <a:srgbClr val="FFFFFF">
                    <a:alpha val="17000"/>
                  </a:srgbClr>
                </a:solidFill>
                <a:effectLst/>
                <a:uLnTx/>
                <a:uFillTx/>
                <a:latin typeface="Montserrat Black" pitchFamily="2" charset="77"/>
                <a:ea typeface="+mn-ea"/>
                <a:cs typeface="+mn-cs"/>
              </a:rPr>
              <a:t>“</a:t>
            </a:r>
          </a:p>
        </p:txBody>
      </p:sp>
      <p:sp>
        <p:nvSpPr>
          <p:cNvPr id="6" name="Rectangle 5">
            <a:extLst>
              <a:ext uri="{FF2B5EF4-FFF2-40B4-BE49-F238E27FC236}">
                <a16:creationId xmlns:a16="http://schemas.microsoft.com/office/drawing/2014/main" id="{6FB42E84-1CCD-5FDF-3778-C1CE81A5E5D1}"/>
              </a:ext>
            </a:extLst>
          </p:cNvPr>
          <p:cNvSpPr/>
          <p:nvPr/>
        </p:nvSpPr>
        <p:spPr>
          <a:xfrm>
            <a:off x="3995293" y="1043398"/>
            <a:ext cx="1449436" cy="2646878"/>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600" b="1" i="0" u="none" strike="noStrike" kern="1200" cap="none" spc="0" normalizeH="0" baseline="0" noProof="0" dirty="0">
                <a:ln>
                  <a:noFill/>
                </a:ln>
                <a:solidFill>
                  <a:srgbClr val="FFFFFF">
                    <a:alpha val="17000"/>
                  </a:srgbClr>
                </a:solidFill>
                <a:effectLst/>
                <a:uLnTx/>
                <a:uFillTx/>
                <a:latin typeface="Montserrat Black" pitchFamily="2" charset="77"/>
                <a:ea typeface="+mn-ea"/>
                <a:cs typeface="+mn-cs"/>
              </a:rPr>
              <a:t>“</a:t>
            </a:r>
          </a:p>
        </p:txBody>
      </p:sp>
      <p:sp>
        <p:nvSpPr>
          <p:cNvPr id="7" name="Rectangle 6">
            <a:extLst>
              <a:ext uri="{FF2B5EF4-FFF2-40B4-BE49-F238E27FC236}">
                <a16:creationId xmlns:a16="http://schemas.microsoft.com/office/drawing/2014/main" id="{606581FE-E9AF-1C18-6B53-C491AC778395}"/>
              </a:ext>
            </a:extLst>
          </p:cNvPr>
          <p:cNvSpPr/>
          <p:nvPr/>
        </p:nvSpPr>
        <p:spPr>
          <a:xfrm>
            <a:off x="537613" y="1043398"/>
            <a:ext cx="1449436" cy="2646878"/>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600" b="1" i="0" u="none" strike="noStrike" kern="1200" cap="none" spc="0" normalizeH="0" baseline="0" noProof="0" dirty="0">
                <a:ln>
                  <a:noFill/>
                </a:ln>
                <a:solidFill>
                  <a:srgbClr val="FFFFFF">
                    <a:alpha val="17000"/>
                  </a:srgbClr>
                </a:solidFill>
                <a:effectLst/>
                <a:uLnTx/>
                <a:uFillTx/>
                <a:latin typeface="Montserrat Black" pitchFamily="2" charset="77"/>
                <a:ea typeface="+mn-ea"/>
                <a:cs typeface="+mn-cs"/>
              </a:rPr>
              <a:t>“</a:t>
            </a:r>
          </a:p>
        </p:txBody>
      </p:sp>
      <p:sp>
        <p:nvSpPr>
          <p:cNvPr id="8" name="Rectangle 7">
            <a:extLst>
              <a:ext uri="{FF2B5EF4-FFF2-40B4-BE49-F238E27FC236}">
                <a16:creationId xmlns:a16="http://schemas.microsoft.com/office/drawing/2014/main" id="{04D0065E-3DF3-FEDF-8C07-316E99296A9F}"/>
              </a:ext>
            </a:extLst>
          </p:cNvPr>
          <p:cNvSpPr/>
          <p:nvPr/>
        </p:nvSpPr>
        <p:spPr>
          <a:xfrm>
            <a:off x="3942094" y="3599003"/>
            <a:ext cx="1449436" cy="2646878"/>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600" b="1" i="0" u="none" strike="noStrike" kern="1200" cap="none" spc="0" normalizeH="0" baseline="0" noProof="0" dirty="0">
                <a:ln>
                  <a:noFill/>
                </a:ln>
                <a:solidFill>
                  <a:srgbClr val="FFFFFF">
                    <a:alpha val="17000"/>
                  </a:srgbClr>
                </a:solidFill>
                <a:effectLst/>
                <a:uLnTx/>
                <a:uFillTx/>
                <a:latin typeface="Montserrat Black" pitchFamily="2" charset="77"/>
                <a:ea typeface="+mn-ea"/>
                <a:cs typeface="+mn-cs"/>
              </a:rPr>
              <a:t>“</a:t>
            </a:r>
          </a:p>
        </p:txBody>
      </p:sp>
      <p:pic>
        <p:nvPicPr>
          <p:cNvPr id="11" name="Picture 10" descr="A blue circle with leaves&#10;&#10;Description automatically generated">
            <a:extLst>
              <a:ext uri="{FF2B5EF4-FFF2-40B4-BE49-F238E27FC236}">
                <a16:creationId xmlns:a16="http://schemas.microsoft.com/office/drawing/2014/main" id="{403687E6-595D-38D6-8D90-8E794B9C43BE}"/>
              </a:ext>
            </a:extLst>
          </p:cNvPr>
          <p:cNvPicPr>
            <a:picLocks noChangeAspect="1"/>
          </p:cNvPicPr>
          <p:nvPr/>
        </p:nvPicPr>
        <p:blipFill>
          <a:blip r:embed="rId2">
            <a:alphaModFix/>
            <a:extLst>
              <a:ext uri="{28A0092B-C50C-407E-A947-70E740481C1C}">
                <a14:useLocalDpi xmlns:a14="http://schemas.microsoft.com/office/drawing/2010/main" val="0"/>
              </a:ext>
            </a:extLst>
          </a:blip>
          <a:stretch>
            <a:fillRect/>
          </a:stretch>
        </p:blipFill>
        <p:spPr>
          <a:xfrm>
            <a:off x="2594296" y="2600825"/>
            <a:ext cx="1250683" cy="1050013"/>
          </a:xfrm>
          <a:prstGeom prst="rect">
            <a:avLst/>
          </a:prstGeom>
          <a:noFill/>
        </p:spPr>
      </p:pic>
      <p:pic>
        <p:nvPicPr>
          <p:cNvPr id="1026" name="Picture 2">
            <a:extLst>
              <a:ext uri="{FF2B5EF4-FFF2-40B4-BE49-F238E27FC236}">
                <a16:creationId xmlns:a16="http://schemas.microsoft.com/office/drawing/2014/main" id="{606534EC-BD9D-C152-E80D-FF6EEA6ED68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26310" y="2563658"/>
            <a:ext cx="1003663" cy="11086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80462722"/>
      </p:ext>
    </p:extLst>
  </p:cSld>
  <p:clrMapOvr>
    <a:masterClrMapping/>
  </p:clrMapOvr>
  <p:transition spd="med">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3154508"/>
      </p:ext>
    </p:extLst>
  </p:cSld>
  <p:clrMapOvr>
    <a:masterClrMapping/>
  </p:clrMapOvr>
  <p:transition spd="med">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39458E7E-270F-2342-D61C-69B77EE4C656}"/>
              </a:ext>
            </a:extLst>
          </p:cNvPr>
          <p:cNvSpPr/>
          <p:nvPr/>
        </p:nvSpPr>
        <p:spPr>
          <a:xfrm>
            <a:off x="8126413" y="0"/>
            <a:ext cx="273632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Slide Number Placeholder 1">
            <a:extLst>
              <a:ext uri="{FF2B5EF4-FFF2-40B4-BE49-F238E27FC236}">
                <a16:creationId xmlns:a16="http://schemas.microsoft.com/office/drawing/2014/main" id="{CB80D788-5192-5A27-E6FD-A639382E2385}"/>
              </a:ext>
            </a:extLst>
          </p:cNvPr>
          <p:cNvSpPr>
            <a:spLocks noGrp="1"/>
          </p:cNvSpPr>
          <p:nvPr>
            <p:ph type="sldNum" sz="quarter" idx="12"/>
          </p:nvPr>
        </p:nvSpPr>
        <p:spPr/>
        <p:txBody>
          <a:bodyPr/>
          <a:lstStyle/>
          <a:p>
            <a:fld id="{8CFE0557-AA98-4E6C-B0C3-581794696B68}" type="slidenum">
              <a:rPr lang="en-GB" smtClean="0"/>
              <a:pPr/>
              <a:t>3</a:t>
            </a:fld>
            <a:endParaRPr lang="en-GB" dirty="0"/>
          </a:p>
        </p:txBody>
      </p:sp>
      <p:sp>
        <p:nvSpPr>
          <p:cNvPr id="5" name="Title 4">
            <a:extLst>
              <a:ext uri="{FF2B5EF4-FFF2-40B4-BE49-F238E27FC236}">
                <a16:creationId xmlns:a16="http://schemas.microsoft.com/office/drawing/2014/main" id="{0E35577C-42D6-86A9-2DA7-B80A2BA81598}"/>
              </a:ext>
            </a:extLst>
          </p:cNvPr>
          <p:cNvSpPr>
            <a:spLocks noGrp="1"/>
          </p:cNvSpPr>
          <p:nvPr>
            <p:ph type="title"/>
          </p:nvPr>
        </p:nvSpPr>
        <p:spPr/>
        <p:txBody>
          <a:bodyPr/>
          <a:lstStyle/>
          <a:p>
            <a:r>
              <a:rPr lang="en-GB" sz="2800" dirty="0"/>
              <a:t>WHY CHOOSE HFW</a:t>
            </a:r>
          </a:p>
        </p:txBody>
      </p:sp>
      <p:sp>
        <p:nvSpPr>
          <p:cNvPr id="7" name="TextBox 6">
            <a:extLst>
              <a:ext uri="{FF2B5EF4-FFF2-40B4-BE49-F238E27FC236}">
                <a16:creationId xmlns:a16="http://schemas.microsoft.com/office/drawing/2014/main" id="{98A1BC6C-8868-94FD-8EEF-68BF6C06E915}"/>
              </a:ext>
            </a:extLst>
          </p:cNvPr>
          <p:cNvSpPr txBox="1"/>
          <p:nvPr/>
        </p:nvSpPr>
        <p:spPr>
          <a:xfrm>
            <a:off x="504827" y="1123946"/>
            <a:ext cx="7478226" cy="1400814"/>
          </a:xfrm>
          <a:prstGeom prst="rect">
            <a:avLst/>
          </a:prstGeom>
        </p:spPr>
        <p:txBody>
          <a:bodyPr vert="horz" wrap="square" lIns="0" tIns="45720" rIns="0" bIns="45720" rtlCol="0">
            <a:noAutofit/>
          </a:bodyPr>
          <a:lstStyle/>
          <a:p>
            <a:pPr marL="0" lvl="0" indent="0" algn="l" defTabSz="914400" rtl="0" eaLnBrk="1" latinLnBrk="0" hangingPunct="1">
              <a:lnSpc>
                <a:spcPct val="110000"/>
              </a:lnSpc>
              <a:spcBef>
                <a:spcPts val="300"/>
              </a:spcBef>
              <a:spcAft>
                <a:spcPts val="300"/>
              </a:spcAft>
              <a:buFont typeface="Arial" panose="020B0604020202020204" pitchFamily="34" charset="0"/>
              <a:buNone/>
            </a:pPr>
            <a:r>
              <a:rPr lang="en-GB" kern="1200" dirty="0">
                <a:solidFill>
                  <a:schemeClr val="accent2"/>
                </a:solidFill>
                <a:latin typeface="+mj-lt"/>
                <a:ea typeface="+mn-ea"/>
                <a:cs typeface="+mn-cs"/>
              </a:rPr>
              <a:t>We are proud to serve the aerospace industry </a:t>
            </a:r>
            <a:r>
              <a:rPr lang="en-GB" dirty="0">
                <a:solidFill>
                  <a:schemeClr val="accent2"/>
                </a:solidFill>
                <a:latin typeface="+mj-lt"/>
              </a:rPr>
              <a:t>with </a:t>
            </a:r>
            <a:r>
              <a:rPr lang="en-GB" kern="1200" dirty="0">
                <a:solidFill>
                  <a:schemeClr val="accent2"/>
                </a:solidFill>
                <a:latin typeface="+mj-lt"/>
                <a:ea typeface="+mn-ea"/>
                <a:cs typeface="+mn-cs"/>
              </a:rPr>
              <a:t>a dedicated, full-service team worldwide.</a:t>
            </a:r>
            <a:endParaRPr lang="en-US" kern="1200" dirty="0">
              <a:solidFill>
                <a:schemeClr val="accent2"/>
              </a:solidFill>
              <a:latin typeface="+mj-lt"/>
              <a:ea typeface="+mn-ea"/>
              <a:cs typeface="+mn-cs"/>
            </a:endParaRPr>
          </a:p>
        </p:txBody>
      </p:sp>
      <p:sp>
        <p:nvSpPr>
          <p:cNvPr id="23" name="Slide Number Placeholder 1">
            <a:extLst>
              <a:ext uri="{FF2B5EF4-FFF2-40B4-BE49-F238E27FC236}">
                <a16:creationId xmlns:a16="http://schemas.microsoft.com/office/drawing/2014/main" id="{C6FB5D73-62D4-5FDF-AB24-6521012CEE0B}"/>
              </a:ext>
            </a:extLst>
          </p:cNvPr>
          <p:cNvSpPr txBox="1">
            <a:spLocks/>
          </p:cNvSpPr>
          <p:nvPr/>
        </p:nvSpPr>
        <p:spPr>
          <a:xfrm>
            <a:off x="11345863" y="6429657"/>
            <a:ext cx="355600" cy="239183"/>
          </a:xfrm>
          <a:prstGeom prst="rect">
            <a:avLst/>
          </a:prstGeom>
        </p:spPr>
        <p:txBody>
          <a:bodyPr vert="horz" lIns="0" tIns="45720" rIns="0" bIns="45720" rtlCol="0" anchor="ctr"/>
          <a:lstStyle>
            <a:defPPr>
              <a:defRPr lang="en-US"/>
            </a:defPPr>
            <a:lvl1pPr marL="0" algn="r" defTabSz="457200" rtl="0" eaLnBrk="1" latinLnBrk="0" hangingPunct="1">
              <a:defRPr sz="9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8CFE0557-AA98-4E6C-B0C3-581794696B68}" type="slidenum">
              <a:rPr lang="en-GB" smtClean="0">
                <a:solidFill>
                  <a:srgbClr val="414A75"/>
                </a:solidFill>
                <a:latin typeface="Montserrat"/>
              </a:rPr>
              <a:pPr>
                <a:defRPr/>
              </a:pPr>
              <a:t>3</a:t>
            </a:fld>
            <a:endParaRPr lang="en-GB">
              <a:solidFill>
                <a:srgbClr val="414A75"/>
              </a:solidFill>
              <a:latin typeface="Montserrat"/>
            </a:endParaRPr>
          </a:p>
        </p:txBody>
      </p:sp>
      <p:sp>
        <p:nvSpPr>
          <p:cNvPr id="24" name="TextBox 23">
            <a:extLst>
              <a:ext uri="{FF2B5EF4-FFF2-40B4-BE49-F238E27FC236}">
                <a16:creationId xmlns:a16="http://schemas.microsoft.com/office/drawing/2014/main" id="{3EC564C4-E781-002C-E476-5AC7F1A5B021}"/>
              </a:ext>
            </a:extLst>
          </p:cNvPr>
          <p:cNvSpPr txBox="1"/>
          <p:nvPr/>
        </p:nvSpPr>
        <p:spPr>
          <a:xfrm>
            <a:off x="10490864" y="2600911"/>
            <a:ext cx="1433928" cy="1280351"/>
          </a:xfrm>
          <a:prstGeom prst="rect">
            <a:avLst/>
          </a:prstGeom>
        </p:spPr>
        <p:txBody>
          <a:bodyPr vert="horz" wrap="square" lIns="0" tIns="0" rIns="0" bIns="0" rtlCol="0">
            <a:noAutofit/>
          </a:bodyPr>
          <a:lstStyle/>
          <a:p>
            <a:pPr marL="0" marR="0" lvl="0" indent="0" algn="l" defTabSz="457200" rtl="0" eaLnBrk="1" fontAlgn="auto" latinLnBrk="0" hangingPunct="1">
              <a:lnSpc>
                <a:spcPct val="80000"/>
              </a:lnSpc>
              <a:spcBef>
                <a:spcPts val="0"/>
              </a:spcBef>
              <a:spcAft>
                <a:spcPts val="0"/>
              </a:spcAft>
              <a:buClrTx/>
              <a:buSzTx/>
              <a:buFontTx/>
              <a:buNone/>
              <a:tabLst/>
              <a:defRPr/>
            </a:pPr>
            <a:r>
              <a:rPr kumimoji="0" lang="en-GB" sz="4000" b="0" i="0" u="none" strike="noStrike" kern="1200" cap="none" spc="0" normalizeH="0" baseline="0" noProof="0" dirty="0">
                <a:ln>
                  <a:noFill/>
                </a:ln>
                <a:solidFill>
                  <a:srgbClr val="FFFFFF"/>
                </a:solidFill>
                <a:effectLst/>
                <a:uLnTx/>
                <a:uFillTx/>
                <a:latin typeface="Montserrat Bold"/>
                <a:ea typeface="+mn-ea"/>
                <a:cs typeface="+mn-cs"/>
              </a:rPr>
              <a:t>4+</a:t>
            </a:r>
          </a:p>
          <a:p>
            <a:pPr marL="0" marR="0" lvl="0" indent="0" algn="l" defTabSz="457200" rtl="0" eaLnBrk="1" fontAlgn="auto" latinLnBrk="0" hangingPunct="1">
              <a:lnSpc>
                <a:spcPct val="100000"/>
              </a:lnSpc>
              <a:spcBef>
                <a:spcPts val="0"/>
              </a:spcBef>
              <a:spcAft>
                <a:spcPts val="0"/>
              </a:spcAft>
              <a:buClrTx/>
              <a:buSzTx/>
              <a:buFontTx/>
              <a:buNone/>
              <a:tabLst/>
              <a:defRPr/>
            </a:pPr>
            <a:r>
              <a:rPr lang="en-GB" sz="1400" dirty="0">
                <a:solidFill>
                  <a:srgbClr val="414A75"/>
                </a:solidFill>
                <a:latin typeface="Montserrat"/>
              </a:rPr>
              <a:t>D</a:t>
            </a:r>
            <a:r>
              <a:rPr kumimoji="0" lang="en-GB" sz="1400" b="0" i="0" u="none" strike="noStrike" kern="1200" cap="none" spc="0" normalizeH="0" baseline="0" dirty="0">
                <a:ln>
                  <a:noFill/>
                </a:ln>
                <a:solidFill>
                  <a:srgbClr val="414A75"/>
                </a:solidFill>
                <a:effectLst/>
                <a:uLnTx/>
                <a:uFillTx/>
                <a:latin typeface="Montserrat"/>
                <a:ea typeface="+mn-ea"/>
                <a:cs typeface="+mn-cs"/>
              </a:rPr>
              <a:t>ecades</a:t>
            </a:r>
            <a:r>
              <a:rPr kumimoji="0" lang="en-US" sz="1400" b="0" i="0" u="none" strike="noStrike" kern="1200" cap="none" spc="0" normalizeH="0" baseline="0" noProof="0" dirty="0">
                <a:ln>
                  <a:noFill/>
                </a:ln>
                <a:solidFill>
                  <a:srgbClr val="414A75"/>
                </a:solidFill>
                <a:effectLst/>
                <a:uLnTx/>
                <a:uFillTx/>
                <a:latin typeface="Montserrat"/>
                <a:ea typeface="+mn-ea"/>
                <a:cs typeface="+mn-cs"/>
              </a:rPr>
              <a:t> of service to the aviation industry.</a:t>
            </a:r>
          </a:p>
        </p:txBody>
      </p:sp>
      <p:sp>
        <p:nvSpPr>
          <p:cNvPr id="26" name="TextBox 25">
            <a:extLst>
              <a:ext uri="{FF2B5EF4-FFF2-40B4-BE49-F238E27FC236}">
                <a16:creationId xmlns:a16="http://schemas.microsoft.com/office/drawing/2014/main" id="{19F0A671-614A-C06F-838A-12E1E098A1D4}"/>
              </a:ext>
            </a:extLst>
          </p:cNvPr>
          <p:cNvSpPr txBox="1"/>
          <p:nvPr/>
        </p:nvSpPr>
        <p:spPr>
          <a:xfrm>
            <a:off x="10490864" y="4949513"/>
            <a:ext cx="1538791" cy="834652"/>
          </a:xfrm>
          <a:prstGeom prst="rect">
            <a:avLst/>
          </a:prstGeom>
        </p:spPr>
        <p:txBody>
          <a:bodyPr vert="horz" wrap="square" lIns="0" tIns="0" rIns="0" bIns="0" rtlCol="0">
            <a:noAutofit/>
          </a:bodyPr>
          <a:lstStyle/>
          <a:p>
            <a:pPr marL="0" marR="0" lvl="0" indent="0" algn="l" defTabSz="457200" rtl="0" eaLnBrk="1" fontAlgn="auto" latinLnBrk="0" hangingPunct="1">
              <a:lnSpc>
                <a:spcPct val="110000"/>
              </a:lnSpc>
              <a:spcBef>
                <a:spcPts val="200"/>
              </a:spcBef>
              <a:spcAft>
                <a:spcPts val="200"/>
              </a:spcAft>
              <a:buClrTx/>
              <a:buSzTx/>
              <a:buFontTx/>
              <a:buNone/>
              <a:tabLst/>
              <a:defRPr/>
            </a:pPr>
            <a:r>
              <a:rPr kumimoji="0" lang="en-US" sz="1400" b="0" i="0" u="none" strike="noStrike" kern="1200" cap="none" spc="0" normalizeH="0" baseline="0" noProof="0" dirty="0">
                <a:ln>
                  <a:noFill/>
                </a:ln>
                <a:solidFill>
                  <a:srgbClr val="414A75"/>
                </a:solidFill>
                <a:effectLst/>
                <a:uLnTx/>
                <a:uFillTx/>
                <a:latin typeface="Montserrat"/>
                <a:ea typeface="+mn-ea"/>
                <a:cs typeface="+mn-cs"/>
              </a:rPr>
              <a:t>Consistently ranked as a Tier 1 Firm </a:t>
            </a:r>
          </a:p>
        </p:txBody>
      </p:sp>
      <p:sp>
        <p:nvSpPr>
          <p:cNvPr id="28" name="TextBox 27">
            <a:extLst>
              <a:ext uri="{FF2B5EF4-FFF2-40B4-BE49-F238E27FC236}">
                <a16:creationId xmlns:a16="http://schemas.microsoft.com/office/drawing/2014/main" id="{7A16195E-7D14-ABF0-F9CB-30D9C79F9CE7}"/>
              </a:ext>
            </a:extLst>
          </p:cNvPr>
          <p:cNvSpPr txBox="1"/>
          <p:nvPr/>
        </p:nvSpPr>
        <p:spPr>
          <a:xfrm>
            <a:off x="8505318" y="955096"/>
            <a:ext cx="1360493" cy="1123815"/>
          </a:xfrm>
          <a:prstGeom prst="rect">
            <a:avLst/>
          </a:prstGeom>
        </p:spPr>
        <p:txBody>
          <a:bodyPr vert="horz" wrap="square" lIns="0" tIns="0" rIns="0" bIns="0" rtlCol="0">
            <a:noAutofit/>
          </a:bodyPr>
          <a:lstStyle/>
          <a:p>
            <a:pPr marL="0" marR="0" lvl="0" indent="0" algn="l" defTabSz="457200" rtl="0" eaLnBrk="1" fontAlgn="auto" latinLnBrk="0" hangingPunct="1">
              <a:lnSpc>
                <a:spcPct val="80000"/>
              </a:lnSpc>
              <a:spcBef>
                <a:spcPts val="0"/>
              </a:spcBef>
              <a:spcAft>
                <a:spcPts val="0"/>
              </a:spcAft>
              <a:buClrTx/>
              <a:buSzTx/>
              <a:buFontTx/>
              <a:buNone/>
              <a:tabLst/>
              <a:defRPr/>
            </a:pPr>
            <a:r>
              <a:rPr kumimoji="0" lang="en-GB" sz="4000" b="0" i="0" u="none" strike="noStrike" kern="1200" cap="none" spc="0" normalizeH="0" baseline="0" noProof="0" dirty="0">
                <a:ln>
                  <a:noFill/>
                </a:ln>
                <a:solidFill>
                  <a:srgbClr val="FFFFFF"/>
                </a:solidFill>
                <a:effectLst/>
                <a:uLnTx/>
                <a:uFillTx/>
                <a:latin typeface="Montserrat Bold"/>
                <a:ea typeface="+mn-ea"/>
                <a:cs typeface="+mn-cs"/>
              </a:rPr>
              <a:t>80</a:t>
            </a:r>
            <a:r>
              <a:rPr kumimoji="0" lang="en-GB" sz="4400" b="0" i="0" u="none" strike="noStrike" kern="1200" cap="none" spc="0" normalizeH="0" baseline="0" noProof="0" dirty="0">
                <a:ln>
                  <a:noFill/>
                </a:ln>
                <a:solidFill>
                  <a:srgbClr val="FFFFFF"/>
                </a:solidFill>
                <a:effectLst/>
                <a:uLnTx/>
                <a:uFillTx/>
                <a:latin typeface="Montserrat Bold"/>
                <a:ea typeface="+mn-ea"/>
                <a:cs typeface="+mn-cs"/>
              </a:rPr>
              <a:t>+</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414A75"/>
                </a:solidFill>
                <a:effectLst/>
                <a:uLnTx/>
                <a:uFillTx/>
                <a:latin typeface="Montserrat"/>
                <a:ea typeface="+mn-ea"/>
                <a:cs typeface="+mn-cs"/>
              </a:rPr>
              <a:t>Aviation Lawyers</a:t>
            </a:r>
          </a:p>
        </p:txBody>
      </p:sp>
      <p:sp>
        <p:nvSpPr>
          <p:cNvPr id="29" name="TextBox 28">
            <a:extLst>
              <a:ext uri="{FF2B5EF4-FFF2-40B4-BE49-F238E27FC236}">
                <a16:creationId xmlns:a16="http://schemas.microsoft.com/office/drawing/2014/main" id="{EB4657D6-E39D-4910-A699-C870D096A102}"/>
              </a:ext>
            </a:extLst>
          </p:cNvPr>
          <p:cNvSpPr txBox="1"/>
          <p:nvPr/>
        </p:nvSpPr>
        <p:spPr>
          <a:xfrm>
            <a:off x="8571031" y="4164226"/>
            <a:ext cx="1436703" cy="2435750"/>
          </a:xfrm>
          <a:prstGeom prst="rect">
            <a:avLst/>
          </a:prstGeom>
        </p:spPr>
        <p:txBody>
          <a:bodyPr vert="horz" wrap="square" lIns="0" tIns="0" rIns="0" bIns="0" rtlCol="0">
            <a:noAutofit/>
          </a:bodyPr>
          <a:lstStyle/>
          <a:p>
            <a:pPr marL="0" marR="0" lvl="0" indent="0" algn="l" defTabSz="457200" rtl="0" eaLnBrk="1" fontAlgn="auto" latinLnBrk="0" hangingPunct="1">
              <a:lnSpc>
                <a:spcPct val="80000"/>
              </a:lnSpc>
              <a:spcBef>
                <a:spcPts val="0"/>
              </a:spcBef>
              <a:spcAft>
                <a:spcPts val="0"/>
              </a:spcAft>
              <a:buClrTx/>
              <a:buSzTx/>
              <a:buFontTx/>
              <a:buNone/>
              <a:tabLst/>
              <a:defRPr/>
            </a:pPr>
            <a:r>
              <a:rPr kumimoji="0" lang="en-GB" sz="4000" b="0" i="0" u="none" strike="noStrike" kern="1200" cap="none" spc="0" normalizeH="0" baseline="0" noProof="0" dirty="0">
                <a:ln>
                  <a:noFill/>
                </a:ln>
                <a:solidFill>
                  <a:srgbClr val="FFFFFF"/>
                </a:solidFill>
                <a:effectLst/>
                <a:uLnTx/>
                <a:uFillTx/>
                <a:latin typeface="Montserrat Bold"/>
                <a:ea typeface="+mn-ea"/>
                <a:cs typeface="+mn-cs"/>
              </a:rPr>
              <a:t>12</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414A75"/>
                </a:solidFill>
                <a:effectLst/>
                <a:uLnTx/>
                <a:uFillTx/>
                <a:latin typeface="Montserrat"/>
                <a:ea typeface="+mn-ea"/>
                <a:cs typeface="+mn-cs"/>
              </a:rPr>
              <a:t>Offices with aerospace specialists spread across Americas, Europe, Middle East and Asia Pacific.</a:t>
            </a:r>
          </a:p>
        </p:txBody>
      </p:sp>
      <p:grpSp>
        <p:nvGrpSpPr>
          <p:cNvPr id="30" name="Group 29">
            <a:extLst>
              <a:ext uri="{FF2B5EF4-FFF2-40B4-BE49-F238E27FC236}">
                <a16:creationId xmlns:a16="http://schemas.microsoft.com/office/drawing/2014/main" id="{09C6F219-D2BD-0E39-8F62-85F24C746E41}"/>
              </a:ext>
            </a:extLst>
          </p:cNvPr>
          <p:cNvGrpSpPr/>
          <p:nvPr/>
        </p:nvGrpSpPr>
        <p:grpSpPr>
          <a:xfrm>
            <a:off x="8469566" y="2157299"/>
            <a:ext cx="1360492" cy="1440326"/>
            <a:chOff x="961695" y="4030109"/>
            <a:chExt cx="1791926" cy="2135848"/>
          </a:xfrm>
        </p:grpSpPr>
        <p:sp>
          <p:nvSpPr>
            <p:cNvPr id="31" name="TextBox 30">
              <a:extLst>
                <a:ext uri="{FF2B5EF4-FFF2-40B4-BE49-F238E27FC236}">
                  <a16:creationId xmlns:a16="http://schemas.microsoft.com/office/drawing/2014/main" id="{9351D543-6F8D-03F1-32F3-09344037C14B}"/>
                </a:ext>
              </a:extLst>
            </p:cNvPr>
            <p:cNvSpPr txBox="1"/>
            <p:nvPr/>
          </p:nvSpPr>
          <p:spPr>
            <a:xfrm>
              <a:off x="961695" y="4869229"/>
              <a:ext cx="1791926" cy="1296728"/>
            </a:xfrm>
            <a:prstGeom prst="rect">
              <a:avLst/>
            </a:prstGeom>
          </p:spPr>
          <p:txBody>
            <a:bodyPr vert="horz" wrap="square" lIns="0" tIns="0" rIns="0" bIns="0" rtlCol="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414A75"/>
                  </a:solidFill>
                  <a:effectLst/>
                  <a:uLnTx/>
                  <a:uFillTx/>
                  <a:latin typeface="Montserrat"/>
                  <a:ea typeface="+mn-ea"/>
                  <a:cs typeface="+mn-cs"/>
                </a:rPr>
                <a:t>Clients are from all spheres of the industry.</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414A75"/>
                </a:solidFill>
                <a:effectLst/>
                <a:uLnTx/>
                <a:uFillTx/>
                <a:latin typeface="Montserrat"/>
                <a:ea typeface="+mn-ea"/>
                <a:cs typeface="+mn-cs"/>
              </a:endParaRPr>
            </a:p>
          </p:txBody>
        </p:sp>
        <p:pic>
          <p:nvPicPr>
            <p:cNvPr id="32" name="Graphic 31" descr="Handshake with solid fill">
              <a:extLst>
                <a:ext uri="{FF2B5EF4-FFF2-40B4-BE49-F238E27FC236}">
                  <a16:creationId xmlns:a16="http://schemas.microsoft.com/office/drawing/2014/main" id="{DAB4AC98-22F5-3E57-8D12-ADF8FF5264D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76365" y="4030109"/>
              <a:ext cx="847579" cy="830270"/>
            </a:xfrm>
            <a:prstGeom prst="rect">
              <a:avLst/>
            </a:prstGeom>
          </p:spPr>
        </p:pic>
      </p:grpSp>
      <p:pic>
        <p:nvPicPr>
          <p:cNvPr id="33" name="Graphic 32" descr="Trophy with solid fill">
            <a:extLst>
              <a:ext uri="{FF2B5EF4-FFF2-40B4-BE49-F238E27FC236}">
                <a16:creationId xmlns:a16="http://schemas.microsoft.com/office/drawing/2014/main" id="{432521D4-DBB4-A5DA-D45E-68F7C048634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453968" y="4302362"/>
            <a:ext cx="624391" cy="624391"/>
          </a:xfrm>
          <a:prstGeom prst="rect">
            <a:avLst/>
          </a:prstGeom>
        </p:spPr>
      </p:pic>
      <p:pic>
        <p:nvPicPr>
          <p:cNvPr id="38" name="Graphic 37" descr="Earth Globe - Asia with solid fill">
            <a:extLst>
              <a:ext uri="{FF2B5EF4-FFF2-40B4-BE49-F238E27FC236}">
                <a16:creationId xmlns:a16="http://schemas.microsoft.com/office/drawing/2014/main" id="{A055E6DF-48C5-3D80-98B0-0BCC0F02CAA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384391" y="710542"/>
            <a:ext cx="790869" cy="790869"/>
          </a:xfrm>
          <a:prstGeom prst="rect">
            <a:avLst/>
          </a:prstGeom>
        </p:spPr>
      </p:pic>
      <p:sp>
        <p:nvSpPr>
          <p:cNvPr id="39" name="TextBox 38">
            <a:extLst>
              <a:ext uri="{FF2B5EF4-FFF2-40B4-BE49-F238E27FC236}">
                <a16:creationId xmlns:a16="http://schemas.microsoft.com/office/drawing/2014/main" id="{CC21E08E-1A31-D1E2-2852-1090E00D1096}"/>
              </a:ext>
            </a:extLst>
          </p:cNvPr>
          <p:cNvSpPr txBox="1"/>
          <p:nvPr/>
        </p:nvSpPr>
        <p:spPr>
          <a:xfrm>
            <a:off x="10490865" y="1527077"/>
            <a:ext cx="1260886" cy="997684"/>
          </a:xfrm>
          <a:prstGeom prst="rect">
            <a:avLst/>
          </a:prstGeom>
        </p:spPr>
        <p:txBody>
          <a:bodyPr vert="horz" wrap="square" lIns="0" tIns="0" rIns="0" bIns="0" rtlCol="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414A75"/>
                </a:solidFill>
                <a:effectLst/>
                <a:uLnTx/>
                <a:uFillTx/>
                <a:latin typeface="Montserrat"/>
                <a:ea typeface="+mn-ea"/>
                <a:cs typeface="+mn-cs"/>
              </a:rPr>
              <a:t>Full suite of services, </a:t>
            </a:r>
          </a:p>
          <a:p>
            <a:pPr marL="0" marR="0" lvl="0" indent="0" algn="l" defTabSz="457200" rtl="0" eaLnBrk="1" fontAlgn="auto" latinLnBrk="0" hangingPunct="1">
              <a:lnSpc>
                <a:spcPct val="100000"/>
              </a:lnSpc>
              <a:spcBef>
                <a:spcPts val="0"/>
              </a:spcBef>
              <a:spcAft>
                <a:spcPts val="0"/>
              </a:spcAft>
              <a:buClrTx/>
              <a:buSzTx/>
              <a:buFontTx/>
              <a:buNone/>
              <a:tabLst/>
              <a:defRPr/>
            </a:pPr>
            <a:r>
              <a:rPr lang="en-US" sz="1400" dirty="0">
                <a:solidFill>
                  <a:srgbClr val="414A75"/>
                </a:solidFill>
                <a:latin typeface="Montserrat"/>
              </a:rPr>
              <a:t>24 hours a day.</a:t>
            </a:r>
          </a:p>
        </p:txBody>
      </p:sp>
      <p:pic>
        <p:nvPicPr>
          <p:cNvPr id="10" name="Picture 9" descr="A map of the world&#10;&#10;Description automatically generated">
            <a:extLst>
              <a:ext uri="{FF2B5EF4-FFF2-40B4-BE49-F238E27FC236}">
                <a16:creationId xmlns:a16="http://schemas.microsoft.com/office/drawing/2014/main" id="{6A23786D-AB28-EC95-533B-FF16BBF9BC3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40249" y="2025919"/>
            <a:ext cx="6876000" cy="3957650"/>
          </a:xfrm>
          <a:prstGeom prst="rect">
            <a:avLst/>
          </a:prstGeom>
        </p:spPr>
      </p:pic>
    </p:spTree>
    <p:extLst>
      <p:ext uri="{BB962C8B-B14F-4D97-AF65-F5344CB8AC3E}">
        <p14:creationId xmlns:p14="http://schemas.microsoft.com/office/powerpoint/2010/main" val="3464251215"/>
      </p:ext>
    </p:extLst>
  </p:cSld>
  <p:clrMapOvr>
    <a:masterClrMapping/>
  </p:clrMapOvr>
  <p:transition spd="med">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D43D3A4-589A-9C2F-0BE3-05150ACF6B08}"/>
              </a:ext>
            </a:extLst>
          </p:cNvPr>
          <p:cNvSpPr>
            <a:spLocks noGrp="1"/>
          </p:cNvSpPr>
          <p:nvPr>
            <p:ph type="sldNum" sz="quarter" idx="12"/>
          </p:nvPr>
        </p:nvSpPr>
        <p:spPr>
          <a:xfrm>
            <a:off x="11359836" y="6274146"/>
            <a:ext cx="324164" cy="285607"/>
          </a:xfrm>
        </p:spPr>
        <p:txBody>
          <a:bodyPr/>
          <a:lstStyle/>
          <a:p>
            <a:fld id="{8CFE0557-AA98-4E6C-B0C3-581794696B68}" type="slidenum">
              <a:rPr lang="en-GB" smtClean="0"/>
              <a:pPr/>
              <a:t>4</a:t>
            </a:fld>
            <a:endParaRPr lang="en-GB"/>
          </a:p>
        </p:txBody>
      </p:sp>
      <p:sp>
        <p:nvSpPr>
          <p:cNvPr id="9" name="Title 8">
            <a:extLst>
              <a:ext uri="{FF2B5EF4-FFF2-40B4-BE49-F238E27FC236}">
                <a16:creationId xmlns:a16="http://schemas.microsoft.com/office/drawing/2014/main" id="{6F812AD1-D0E5-1822-A490-7050B8CB3767}"/>
              </a:ext>
            </a:extLst>
          </p:cNvPr>
          <p:cNvSpPr>
            <a:spLocks noGrp="1"/>
          </p:cNvSpPr>
          <p:nvPr>
            <p:ph type="title"/>
          </p:nvPr>
        </p:nvSpPr>
        <p:spPr>
          <a:xfrm>
            <a:off x="508000" y="454013"/>
            <a:ext cx="11684000" cy="824453"/>
          </a:xfrm>
        </p:spPr>
        <p:txBody>
          <a:bodyPr/>
          <a:lstStyle/>
          <a:p>
            <a:r>
              <a:rPr lang="en-GB" sz="2800" noProof="0" dirty="0"/>
              <a:t>OUR expertise</a:t>
            </a:r>
            <a:br>
              <a:rPr lang="en-GB" sz="2800" b="1" noProof="0" dirty="0"/>
            </a:br>
            <a:br>
              <a:rPr lang="en-GB" sz="2800" b="1" noProof="0" dirty="0"/>
            </a:br>
            <a:br>
              <a:rPr lang="en-GB" noProof="0" dirty="0"/>
            </a:br>
            <a:br>
              <a:rPr lang="en-GB" noProof="0" dirty="0"/>
            </a:br>
            <a:endParaRPr lang="en-GB" dirty="0"/>
          </a:p>
        </p:txBody>
      </p:sp>
      <p:sp>
        <p:nvSpPr>
          <p:cNvPr id="4" name="Title 8">
            <a:extLst>
              <a:ext uri="{FF2B5EF4-FFF2-40B4-BE49-F238E27FC236}">
                <a16:creationId xmlns:a16="http://schemas.microsoft.com/office/drawing/2014/main" id="{9444DA88-522A-7F67-09D5-6D16B29C03FB}"/>
              </a:ext>
            </a:extLst>
          </p:cNvPr>
          <p:cNvSpPr txBox="1">
            <a:spLocks/>
          </p:cNvSpPr>
          <p:nvPr/>
        </p:nvSpPr>
        <p:spPr>
          <a:xfrm>
            <a:off x="472435" y="1157653"/>
            <a:ext cx="6581508" cy="4248360"/>
          </a:xfrm>
          <a:prstGeom prst="rect">
            <a:avLst/>
          </a:prstGeom>
        </p:spPr>
        <p:txBody>
          <a:bodyPr vert="horz" lIns="0" tIns="0" rIns="0" bIns="72000" rtlCol="0" anchor="t" anchorCtr="0">
            <a:noAutofit/>
          </a:bodyPr>
          <a:lstStyle>
            <a:lvl1pPr algn="l" defTabSz="914400" rtl="0" eaLnBrk="1" latinLnBrk="0" hangingPunct="1">
              <a:lnSpc>
                <a:spcPct val="90000"/>
              </a:lnSpc>
              <a:spcBef>
                <a:spcPct val="0"/>
              </a:spcBef>
              <a:buNone/>
              <a:defRPr sz="3200" kern="1200" cap="all" baseline="0">
                <a:solidFill>
                  <a:schemeClr val="tx2"/>
                </a:solidFill>
                <a:latin typeface="+mn-lt"/>
                <a:ea typeface="+mj-ea"/>
                <a:cs typeface="+mj-cs"/>
              </a:defRPr>
            </a:lvl1pPr>
          </a:lstStyle>
          <a:p>
            <a:r>
              <a:rPr lang="en-GB" dirty="0"/>
              <a:t> </a:t>
            </a:r>
          </a:p>
          <a:p>
            <a:pPr marL="457200" indent="-457200">
              <a:lnSpc>
                <a:spcPct val="100000"/>
              </a:lnSpc>
              <a:buFont typeface="Wingdings" panose="05000000000000000000" pitchFamily="2" charset="2"/>
              <a:buChar char="§"/>
            </a:pPr>
            <a:r>
              <a:rPr lang="en-GB" sz="2000" cap="none" dirty="0">
                <a:solidFill>
                  <a:schemeClr val="tx1"/>
                </a:solidFill>
                <a:latin typeface="Arial" panose="020B0604020202020204" pitchFamily="34" charset="0"/>
                <a:cs typeface="Arial" panose="020B0604020202020204" pitchFamily="34" charset="0"/>
              </a:rPr>
              <a:t>Aviation regulation</a:t>
            </a:r>
          </a:p>
          <a:p>
            <a:pPr marL="457200" indent="-457200">
              <a:lnSpc>
                <a:spcPct val="100000"/>
              </a:lnSpc>
              <a:buFont typeface="Wingdings" panose="05000000000000000000" pitchFamily="2" charset="2"/>
              <a:buChar char="§"/>
            </a:pPr>
            <a:r>
              <a:rPr lang="en-GB" sz="2000" cap="none" dirty="0">
                <a:solidFill>
                  <a:schemeClr val="tx1"/>
                </a:solidFill>
                <a:latin typeface="Arial" panose="020B0604020202020204" pitchFamily="34" charset="0"/>
                <a:cs typeface="Arial" panose="020B0604020202020204" pitchFamily="34" charset="0"/>
              </a:rPr>
              <a:t>Compliance – H&amp;S, sanctions, privacy, ESG</a:t>
            </a:r>
          </a:p>
          <a:p>
            <a:pPr marL="457200" indent="-457200">
              <a:lnSpc>
                <a:spcPct val="100000"/>
              </a:lnSpc>
              <a:buFont typeface="Wingdings" panose="05000000000000000000" pitchFamily="2" charset="2"/>
              <a:buChar char="§"/>
            </a:pPr>
            <a:r>
              <a:rPr lang="en-GB" sz="2000" cap="none" dirty="0">
                <a:solidFill>
                  <a:schemeClr val="tx1"/>
                </a:solidFill>
                <a:latin typeface="Arial" panose="020B0604020202020204" pitchFamily="34" charset="0"/>
                <a:cs typeface="Arial" panose="020B0604020202020204" pitchFamily="34" charset="0"/>
              </a:rPr>
              <a:t>Corporate &amp; commercial</a:t>
            </a:r>
          </a:p>
          <a:p>
            <a:pPr marL="457200" indent="-457200">
              <a:lnSpc>
                <a:spcPct val="100000"/>
              </a:lnSpc>
              <a:buFont typeface="Wingdings" panose="05000000000000000000" pitchFamily="2" charset="2"/>
              <a:buChar char="§"/>
            </a:pPr>
            <a:r>
              <a:rPr lang="en-GB" sz="2000" cap="none" dirty="0">
                <a:solidFill>
                  <a:schemeClr val="tx1"/>
                </a:solidFill>
                <a:latin typeface="Arial" panose="020B0604020202020204" pitchFamily="34" charset="0"/>
                <a:cs typeface="Arial" panose="020B0604020202020204" pitchFamily="34" charset="0"/>
              </a:rPr>
              <a:t>Employment</a:t>
            </a:r>
          </a:p>
          <a:p>
            <a:pPr marL="457200" indent="-457200">
              <a:lnSpc>
                <a:spcPct val="100000"/>
              </a:lnSpc>
              <a:buFont typeface="Wingdings" panose="05000000000000000000" pitchFamily="2" charset="2"/>
              <a:buChar char="§"/>
            </a:pPr>
            <a:r>
              <a:rPr lang="en-GB" sz="2000" cap="none" dirty="0">
                <a:solidFill>
                  <a:schemeClr val="tx1"/>
                </a:solidFill>
                <a:latin typeface="Arial" panose="020B0604020202020204" pitchFamily="34" charset="0"/>
                <a:cs typeface="Arial" panose="020B0604020202020204" pitchFamily="34" charset="0"/>
              </a:rPr>
              <a:t>Purchase, sale, finance and leasing</a:t>
            </a:r>
          </a:p>
          <a:p>
            <a:pPr marL="457200" indent="-457200">
              <a:lnSpc>
                <a:spcPct val="100000"/>
              </a:lnSpc>
              <a:buFont typeface="Wingdings" panose="05000000000000000000" pitchFamily="2" charset="2"/>
              <a:buChar char="§"/>
            </a:pPr>
            <a:r>
              <a:rPr lang="en-GB" sz="2000" cap="none" dirty="0">
                <a:solidFill>
                  <a:schemeClr val="tx1"/>
                </a:solidFill>
                <a:latin typeface="Arial" panose="020B0604020202020204" pitchFamily="34" charset="0"/>
                <a:cs typeface="Arial" panose="020B0604020202020204" pitchFamily="34" charset="0"/>
              </a:rPr>
              <a:t>Aviation insurance</a:t>
            </a:r>
          </a:p>
          <a:p>
            <a:pPr marL="457200" indent="-457200">
              <a:lnSpc>
                <a:spcPct val="100000"/>
              </a:lnSpc>
              <a:buFont typeface="Wingdings" panose="05000000000000000000" pitchFamily="2" charset="2"/>
              <a:buChar char="§"/>
            </a:pPr>
            <a:r>
              <a:rPr lang="en-GB" sz="2000" cap="none" dirty="0">
                <a:solidFill>
                  <a:schemeClr val="tx1"/>
                </a:solidFill>
                <a:latin typeface="Arial" panose="020B0604020202020204" pitchFamily="34" charset="0"/>
                <a:cs typeface="Arial" panose="020B0604020202020204" pitchFamily="34" charset="0"/>
              </a:rPr>
              <a:t>Contingency planning and emergency response </a:t>
            </a:r>
          </a:p>
          <a:p>
            <a:pPr marL="457200" indent="-457200">
              <a:lnSpc>
                <a:spcPct val="100000"/>
              </a:lnSpc>
              <a:buFont typeface="Wingdings" panose="05000000000000000000" pitchFamily="2" charset="2"/>
              <a:buChar char="§"/>
            </a:pPr>
            <a:r>
              <a:rPr lang="en-GB" sz="2000" cap="none" dirty="0">
                <a:solidFill>
                  <a:schemeClr val="tx1"/>
                </a:solidFill>
                <a:latin typeface="Arial" panose="020B0604020202020204" pitchFamily="34" charset="0"/>
                <a:cs typeface="Arial" panose="020B0604020202020204" pitchFamily="34" charset="0"/>
              </a:rPr>
              <a:t>Claims &amp; recoveries</a:t>
            </a:r>
          </a:p>
          <a:p>
            <a:pPr marL="457200" indent="-457200">
              <a:lnSpc>
                <a:spcPct val="100000"/>
              </a:lnSpc>
              <a:buFont typeface="Wingdings" panose="05000000000000000000" pitchFamily="2" charset="2"/>
              <a:buChar char="§"/>
            </a:pPr>
            <a:r>
              <a:rPr lang="en-GB" sz="2000" cap="none" dirty="0">
                <a:solidFill>
                  <a:schemeClr val="tx1"/>
                </a:solidFill>
                <a:latin typeface="Arial" panose="020B0604020202020204" pitchFamily="34" charset="0"/>
                <a:cs typeface="Arial" panose="020B0604020202020204" pitchFamily="34" charset="0"/>
              </a:rPr>
              <a:t>Commercial disputes </a:t>
            </a:r>
          </a:p>
          <a:p>
            <a:pPr marL="457200" indent="-457200">
              <a:lnSpc>
                <a:spcPct val="100000"/>
              </a:lnSpc>
              <a:buFont typeface="Wingdings" panose="05000000000000000000" pitchFamily="2" charset="2"/>
              <a:buChar char="§"/>
            </a:pPr>
            <a:r>
              <a:rPr lang="en-GB" sz="2000" cap="none" dirty="0">
                <a:solidFill>
                  <a:schemeClr val="tx1"/>
                </a:solidFill>
                <a:latin typeface="Arial" panose="020B0604020202020204" pitchFamily="34" charset="0"/>
                <a:cs typeface="Arial" panose="020B0604020202020204" pitchFamily="34" charset="0"/>
              </a:rPr>
              <a:t>Enforcement </a:t>
            </a:r>
            <a:br>
              <a:rPr lang="en-GB" sz="2000" cap="none" dirty="0">
                <a:solidFill>
                  <a:schemeClr val="tx1"/>
                </a:solidFill>
                <a:latin typeface="Arial" panose="020B0604020202020204" pitchFamily="34" charset="0"/>
                <a:cs typeface="Arial" panose="020B0604020202020204" pitchFamily="34" charset="0"/>
              </a:rPr>
            </a:br>
            <a:br>
              <a:rPr lang="en-GB" dirty="0">
                <a:solidFill>
                  <a:schemeClr val="tx1"/>
                </a:solidFill>
                <a:latin typeface="Arial" panose="020B0604020202020204" pitchFamily="34" charset="0"/>
                <a:cs typeface="Arial" panose="020B0604020202020204" pitchFamily="34" charset="0"/>
              </a:rPr>
            </a:br>
            <a:br>
              <a:rPr lang="en-GB" dirty="0">
                <a:solidFill>
                  <a:schemeClr val="tx1"/>
                </a:solidFill>
              </a:rPr>
            </a:br>
            <a:br>
              <a:rPr lang="en-GB" dirty="0"/>
            </a:br>
            <a:br>
              <a:rPr lang="en-GB" dirty="0"/>
            </a:br>
            <a:endParaRPr lang="en-GB" dirty="0"/>
          </a:p>
        </p:txBody>
      </p:sp>
      <p:pic>
        <p:nvPicPr>
          <p:cNvPr id="6" name="Picture 5">
            <a:extLst>
              <a:ext uri="{FF2B5EF4-FFF2-40B4-BE49-F238E27FC236}">
                <a16:creationId xmlns:a16="http://schemas.microsoft.com/office/drawing/2014/main" id="{2C3C5478-432B-5DF8-3475-E32446904F10}"/>
              </a:ext>
            </a:extLst>
          </p:cNvPr>
          <p:cNvPicPr>
            <a:picLocks noChangeAspect="1"/>
          </p:cNvPicPr>
          <p:nvPr/>
        </p:nvPicPr>
        <p:blipFill>
          <a:blip r:embed="rId3">
            <a:extLst>
              <a:ext uri="{28A0092B-C50C-407E-A947-70E740481C1C}">
                <a14:useLocalDpi xmlns:a14="http://schemas.microsoft.com/office/drawing/2010/main" val="0"/>
              </a:ext>
            </a:extLst>
          </a:blip>
          <a:srcRect l="32085" r="32085"/>
          <a:stretch/>
        </p:blipFill>
        <p:spPr>
          <a:xfrm>
            <a:off x="7662040" y="0"/>
            <a:ext cx="4565525" cy="6858000"/>
          </a:xfrm>
          <a:prstGeom prst="rect">
            <a:avLst/>
          </a:prstGeom>
        </p:spPr>
      </p:pic>
    </p:spTree>
    <p:extLst>
      <p:ext uri="{BB962C8B-B14F-4D97-AF65-F5344CB8AC3E}">
        <p14:creationId xmlns:p14="http://schemas.microsoft.com/office/powerpoint/2010/main" val="3056328928"/>
      </p:ext>
    </p:extLst>
  </p:cSld>
  <p:clrMapOvr>
    <a:masterClrMapping/>
  </p:clrMapOvr>
  <p:transition spd="med">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1A324C-C854-52FA-428D-9B818471A215}"/>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A715BBA-82D0-FBDF-CBC7-FF18A6387773}"/>
              </a:ext>
            </a:extLst>
          </p:cNvPr>
          <p:cNvSpPr>
            <a:spLocks noGrp="1"/>
          </p:cNvSpPr>
          <p:nvPr>
            <p:ph type="sldNum" sz="quarter" idx="12"/>
          </p:nvPr>
        </p:nvSpPr>
        <p:spPr/>
        <p:txBody>
          <a:bodyPr/>
          <a:lstStyle/>
          <a:p>
            <a:fld id="{8CFE0557-AA98-4E6C-B0C3-581794696B68}" type="slidenum">
              <a:rPr lang="en-GB" smtClean="0"/>
              <a:pPr/>
              <a:t>5</a:t>
            </a:fld>
            <a:endParaRPr lang="en-GB"/>
          </a:p>
        </p:txBody>
      </p:sp>
      <p:sp>
        <p:nvSpPr>
          <p:cNvPr id="4" name="Content Placeholder 3">
            <a:extLst>
              <a:ext uri="{FF2B5EF4-FFF2-40B4-BE49-F238E27FC236}">
                <a16:creationId xmlns:a16="http://schemas.microsoft.com/office/drawing/2014/main" id="{1153269E-C180-11FE-D95A-4DA54446C0BD}"/>
              </a:ext>
            </a:extLst>
          </p:cNvPr>
          <p:cNvSpPr>
            <a:spLocks noGrp="1"/>
          </p:cNvSpPr>
          <p:nvPr>
            <p:ph idx="16"/>
          </p:nvPr>
        </p:nvSpPr>
        <p:spPr>
          <a:xfrm>
            <a:off x="508000" y="1613017"/>
            <a:ext cx="7502938" cy="4606808"/>
          </a:xfrm>
        </p:spPr>
        <p:txBody>
          <a:bodyPr>
            <a:normAutofit lnSpcReduction="10000"/>
          </a:bodyPr>
          <a:lstStyle/>
          <a:p>
            <a:pPr marL="171450" indent="-171450">
              <a:buFont typeface="Wingdings" panose="05000000000000000000" pitchFamily="2" charset="2"/>
              <a:buChar char="§"/>
            </a:pPr>
            <a:r>
              <a:rPr lang="en-GB" sz="2000" dirty="0">
                <a:latin typeface="Arial" panose="020B0604020202020204" pitchFamily="34" charset="0"/>
                <a:cs typeface="Arial" panose="020B0604020202020204" pitchFamily="34" charset="0"/>
              </a:rPr>
              <a:t>Environment</a:t>
            </a:r>
          </a:p>
          <a:p>
            <a:pPr marL="171450" indent="-171450">
              <a:buFont typeface="Wingdings" panose="05000000000000000000" pitchFamily="2" charset="2"/>
              <a:buChar char="§"/>
            </a:pPr>
            <a:r>
              <a:rPr lang="en-GB" sz="2000" dirty="0">
                <a:latin typeface="Arial" panose="020B0604020202020204" pitchFamily="34" charset="0"/>
                <a:cs typeface="Arial" panose="020B0604020202020204" pitchFamily="34" charset="0"/>
              </a:rPr>
              <a:t>Data and cyberbreaches</a:t>
            </a:r>
          </a:p>
          <a:p>
            <a:pPr marL="171450" indent="-171450">
              <a:buFont typeface="Wingdings" panose="05000000000000000000" pitchFamily="2" charset="2"/>
              <a:buChar char="§"/>
            </a:pPr>
            <a:r>
              <a:rPr lang="en-GB" sz="2000" dirty="0">
                <a:latin typeface="Arial" panose="020B0604020202020204" pitchFamily="34" charset="0"/>
                <a:cs typeface="Arial" panose="020B0604020202020204" pitchFamily="34" charset="0"/>
              </a:rPr>
              <a:t>Geopolitics</a:t>
            </a:r>
          </a:p>
          <a:p>
            <a:pPr marL="171450" indent="-171450">
              <a:buFont typeface="Wingdings" panose="05000000000000000000" pitchFamily="2" charset="2"/>
              <a:buChar char="§"/>
            </a:pPr>
            <a:r>
              <a:rPr lang="en-GB" sz="2000" dirty="0">
                <a:latin typeface="Arial" panose="020B0604020202020204" pitchFamily="34" charset="0"/>
                <a:cs typeface="Arial" panose="020B0604020202020204" pitchFamily="34" charset="0"/>
              </a:rPr>
              <a:t>Safety </a:t>
            </a:r>
          </a:p>
          <a:p>
            <a:pPr marL="171450" indent="-171450">
              <a:buFont typeface="Wingdings" panose="05000000000000000000" pitchFamily="2" charset="2"/>
              <a:buChar char="§"/>
            </a:pPr>
            <a:r>
              <a:rPr lang="en-GB" sz="2000" dirty="0">
                <a:latin typeface="Arial" panose="020B0604020202020204" pitchFamily="34" charset="0"/>
                <a:cs typeface="Arial" panose="020B0604020202020204" pitchFamily="34" charset="0"/>
              </a:rPr>
              <a:t>Delayed aircraft</a:t>
            </a:r>
          </a:p>
          <a:p>
            <a:pPr marL="171450" indent="-171450">
              <a:buFont typeface="Wingdings" panose="05000000000000000000" pitchFamily="2" charset="2"/>
              <a:buChar char="§"/>
            </a:pPr>
            <a:r>
              <a:rPr lang="en-GB" sz="2000" dirty="0">
                <a:latin typeface="Arial" panose="020B0604020202020204" pitchFamily="34" charset="0"/>
                <a:cs typeface="Arial" panose="020B0604020202020204" pitchFamily="34" charset="0"/>
              </a:rPr>
              <a:t>Defective aircraft</a:t>
            </a:r>
          </a:p>
          <a:p>
            <a:pPr marL="171450" indent="-171450">
              <a:buFont typeface="Wingdings" panose="05000000000000000000" pitchFamily="2" charset="2"/>
              <a:buChar char="§"/>
            </a:pPr>
            <a:r>
              <a:rPr lang="en-GB" sz="2000" dirty="0">
                <a:latin typeface="Arial" panose="020B0604020202020204" pitchFamily="34" charset="0"/>
                <a:cs typeface="Arial" panose="020B0604020202020204" pitchFamily="34" charset="0"/>
              </a:rPr>
              <a:t>Cost of overhauls and maintenance</a:t>
            </a:r>
          </a:p>
          <a:p>
            <a:pPr marL="171450" indent="-171450">
              <a:buFont typeface="Wingdings" panose="05000000000000000000" pitchFamily="2" charset="2"/>
              <a:buChar char="§"/>
            </a:pPr>
            <a:r>
              <a:rPr lang="en-GB" sz="2000" dirty="0">
                <a:latin typeface="Arial" panose="020B0604020202020204" pitchFamily="34" charset="0"/>
                <a:cs typeface="Arial" panose="020B0604020202020204" pitchFamily="34" charset="0"/>
              </a:rPr>
              <a:t>Lack of spare parts</a:t>
            </a:r>
          </a:p>
          <a:p>
            <a:pPr marL="171450" indent="-171450">
              <a:buFont typeface="Wingdings" panose="05000000000000000000" pitchFamily="2" charset="2"/>
              <a:buChar char="§"/>
            </a:pPr>
            <a:r>
              <a:rPr lang="en-GB" sz="2000" dirty="0">
                <a:latin typeface="Arial" panose="020B0604020202020204" pitchFamily="34" charset="0"/>
                <a:cs typeface="Arial" panose="020B0604020202020204" pitchFamily="34" charset="0"/>
              </a:rPr>
              <a:t>Skills shortages</a:t>
            </a:r>
          </a:p>
          <a:p>
            <a:pPr marL="171450" indent="-171450">
              <a:buFont typeface="Wingdings" panose="05000000000000000000" pitchFamily="2" charset="2"/>
              <a:buChar char="§"/>
            </a:pPr>
            <a:r>
              <a:rPr lang="en-GB" sz="2000" dirty="0">
                <a:latin typeface="Arial" panose="020B0604020202020204" pitchFamily="34" charset="0"/>
                <a:cs typeface="Arial" panose="020B0604020202020204" pitchFamily="34" charset="0"/>
              </a:rPr>
              <a:t>Regulatory hurdles and taxes</a:t>
            </a:r>
          </a:p>
          <a:p>
            <a:endParaRPr lang="en-GB" sz="2000" dirty="0"/>
          </a:p>
        </p:txBody>
      </p:sp>
      <p:sp>
        <p:nvSpPr>
          <p:cNvPr id="6" name="Title 5">
            <a:extLst>
              <a:ext uri="{FF2B5EF4-FFF2-40B4-BE49-F238E27FC236}">
                <a16:creationId xmlns:a16="http://schemas.microsoft.com/office/drawing/2014/main" id="{3EF4C824-1EEC-73D1-FE55-17425D0324E3}"/>
              </a:ext>
            </a:extLst>
          </p:cNvPr>
          <p:cNvSpPr>
            <a:spLocks noGrp="1"/>
          </p:cNvSpPr>
          <p:nvPr>
            <p:ph type="title"/>
          </p:nvPr>
        </p:nvSpPr>
        <p:spPr>
          <a:xfrm>
            <a:off x="508001" y="454013"/>
            <a:ext cx="7502938" cy="790869"/>
          </a:xfrm>
        </p:spPr>
        <p:txBody>
          <a:bodyPr/>
          <a:lstStyle/>
          <a:p>
            <a:r>
              <a:rPr lang="en-GB" sz="2800" b="1" dirty="0"/>
              <a:t>challenges  </a:t>
            </a:r>
          </a:p>
        </p:txBody>
      </p:sp>
      <p:sp>
        <p:nvSpPr>
          <p:cNvPr id="7" name="Content Placeholder 6">
            <a:extLst>
              <a:ext uri="{FF2B5EF4-FFF2-40B4-BE49-F238E27FC236}">
                <a16:creationId xmlns:a16="http://schemas.microsoft.com/office/drawing/2014/main" id="{C23DD7E0-F966-2DAF-4A47-1024AEDA87A7}"/>
              </a:ext>
            </a:extLst>
          </p:cNvPr>
          <p:cNvSpPr>
            <a:spLocks noGrp="1"/>
          </p:cNvSpPr>
          <p:nvPr>
            <p:ph idx="45"/>
          </p:nvPr>
        </p:nvSpPr>
        <p:spPr>
          <a:xfrm>
            <a:off x="8737600" y="1942440"/>
            <a:ext cx="2963863" cy="4606808"/>
          </a:xfrm>
        </p:spPr>
        <p:txBody>
          <a:bodyPr/>
          <a:lstStyle/>
          <a:p>
            <a:pPr algn="r">
              <a:lnSpc>
                <a:spcPct val="100000"/>
              </a:lnSpc>
            </a:pPr>
            <a:r>
              <a:rPr lang="en-GB" sz="1800" i="1" dirty="0">
                <a:latin typeface="Arial" panose="020B0604020202020204" pitchFamily="34" charset="0"/>
                <a:cs typeface="Arial" panose="020B0604020202020204" pitchFamily="34" charset="0"/>
              </a:rPr>
              <a:t>“</a:t>
            </a:r>
            <a:r>
              <a:rPr lang="en-GB" sz="1800" b="1" dirty="0">
                <a:solidFill>
                  <a:srgbClr val="002060"/>
                </a:solidFill>
                <a:latin typeface="Arial" panose="020B0604020202020204" pitchFamily="34" charset="0"/>
                <a:cs typeface="Arial" panose="020B0604020202020204" pitchFamily="34" charset="0"/>
              </a:rPr>
              <a:t>	</a:t>
            </a:r>
          </a:p>
          <a:p>
            <a:endParaRPr lang="en-GB" dirty="0"/>
          </a:p>
        </p:txBody>
      </p:sp>
      <p:sp>
        <p:nvSpPr>
          <p:cNvPr id="8" name="Content Placeholder 7">
            <a:extLst>
              <a:ext uri="{FF2B5EF4-FFF2-40B4-BE49-F238E27FC236}">
                <a16:creationId xmlns:a16="http://schemas.microsoft.com/office/drawing/2014/main" id="{1FBA5363-4B9B-40AE-0DE6-DC8A7CC95938}"/>
              </a:ext>
            </a:extLst>
          </p:cNvPr>
          <p:cNvSpPr>
            <a:spLocks noGrp="1"/>
          </p:cNvSpPr>
          <p:nvPr>
            <p:ph idx="46"/>
          </p:nvPr>
        </p:nvSpPr>
        <p:spPr/>
        <p:txBody>
          <a:bodyPr/>
          <a:lstStyle/>
          <a:p>
            <a:pPr algn="r"/>
            <a:endParaRPr lang="en-GB" sz="1800" b="1" i="1" cap="none" dirty="0">
              <a:latin typeface="Arial" panose="020B0604020202020204" pitchFamily="34" charset="0"/>
              <a:cs typeface="Arial" panose="020B0604020202020204" pitchFamily="34" charset="0"/>
            </a:endParaRPr>
          </a:p>
          <a:p>
            <a:pPr algn="r"/>
            <a:endParaRPr lang="en-GB" sz="1800" b="1" i="1" cap="none" dirty="0">
              <a:latin typeface="Arial" panose="020B0604020202020204" pitchFamily="34" charset="0"/>
              <a:cs typeface="Arial" panose="020B0604020202020204" pitchFamily="34" charset="0"/>
            </a:endParaRPr>
          </a:p>
          <a:p>
            <a:pPr algn="r"/>
            <a:r>
              <a:rPr lang="en-GB" sz="1800" b="1" i="1" cap="none" dirty="0">
                <a:latin typeface="Arial" panose="020B0604020202020204" pitchFamily="34" charset="0"/>
                <a:cs typeface="Arial" panose="020B0604020202020204" pitchFamily="34" charset="0"/>
              </a:rPr>
              <a:t>“At CJI in London, the mood was plain: whether it’s scheduling maintenance, sourcing parts, or getting technicians in place, the whole system feels out of sync.”</a:t>
            </a:r>
          </a:p>
          <a:p>
            <a:pPr algn="r"/>
            <a:r>
              <a:rPr lang="en-GB" sz="1800" b="1" cap="none" dirty="0">
                <a:latin typeface="Arial" panose="020B0604020202020204" pitchFamily="34" charset="0"/>
                <a:cs typeface="Arial" panose="020B0604020202020204" pitchFamily="34" charset="0"/>
              </a:rPr>
              <a:t>Martyn Fiddler</a:t>
            </a:r>
          </a:p>
        </p:txBody>
      </p:sp>
    </p:spTree>
    <p:extLst>
      <p:ext uri="{BB962C8B-B14F-4D97-AF65-F5344CB8AC3E}">
        <p14:creationId xmlns:p14="http://schemas.microsoft.com/office/powerpoint/2010/main" val="2495710900"/>
      </p:ext>
    </p:extLst>
  </p:cSld>
  <p:clrMapOvr>
    <a:masterClrMapping/>
  </p:clrMapOvr>
  <p:transition spd="med">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CE8A803C-920A-5FD0-D758-2C8A115465FD}"/>
              </a:ext>
            </a:extLst>
          </p:cNvPr>
          <p:cNvSpPr txBox="1">
            <a:spLocks/>
          </p:cNvSpPr>
          <p:nvPr/>
        </p:nvSpPr>
        <p:spPr>
          <a:xfrm>
            <a:off x="508793" y="480907"/>
            <a:ext cx="11174413" cy="1039999"/>
          </a:xfrm>
          <a:prstGeom prst="rect">
            <a:avLst/>
          </a:prstGeom>
        </p:spPr>
        <p:txBody>
          <a:bodyPr/>
          <a:lstStyle>
            <a:lvl1pPr algn="l" defTabSz="914400" rtl="0" eaLnBrk="1" latinLnBrk="0" hangingPunct="1">
              <a:lnSpc>
                <a:spcPct val="90000"/>
              </a:lnSpc>
              <a:spcBef>
                <a:spcPct val="0"/>
              </a:spcBef>
              <a:buNone/>
              <a:defRPr sz="3200" kern="1200" cap="all" baseline="0">
                <a:solidFill>
                  <a:schemeClr val="tx2"/>
                </a:solidFill>
                <a:latin typeface="+mn-lt"/>
                <a:ea typeface="+mj-ea"/>
                <a:cs typeface="+mj-cs"/>
              </a:defRPr>
            </a:lvl1pPr>
          </a:lstStyle>
          <a:p>
            <a:r>
              <a:rPr lang="en-US" sz="2800" b="1" dirty="0"/>
              <a:t>Importance of case law: EVOLUTION OF THE LAW </a:t>
            </a:r>
            <a:endParaRPr lang="en-GB" sz="2800" dirty="0"/>
          </a:p>
        </p:txBody>
      </p:sp>
      <p:sp>
        <p:nvSpPr>
          <p:cNvPr id="4" name="TextBox 3">
            <a:extLst>
              <a:ext uri="{FF2B5EF4-FFF2-40B4-BE49-F238E27FC236}">
                <a16:creationId xmlns:a16="http://schemas.microsoft.com/office/drawing/2014/main" id="{C3DDD847-7964-717C-FC11-241981CC4F9D}"/>
              </a:ext>
            </a:extLst>
          </p:cNvPr>
          <p:cNvSpPr txBox="1"/>
          <p:nvPr/>
        </p:nvSpPr>
        <p:spPr>
          <a:xfrm>
            <a:off x="508793" y="1007707"/>
            <a:ext cx="11396336" cy="6070893"/>
          </a:xfrm>
          <a:prstGeom prst="rect">
            <a:avLst/>
          </a:prstGeom>
          <a:noFill/>
        </p:spPr>
        <p:txBody>
          <a:bodyPr wrap="square">
            <a:spAutoFit/>
          </a:bodyPr>
          <a:lstStyle/>
          <a:p>
            <a:endParaRPr lang="en-GB" sz="1800" dirty="0">
              <a:solidFill>
                <a:srgbClr val="002060"/>
              </a:solidFill>
              <a:effectLst/>
              <a:highlight>
                <a:srgbClr val="FFFFFF"/>
              </a:highlight>
              <a:latin typeface="+mj-lt"/>
              <a:ea typeface="Times New Roman" panose="02020603050405020304" pitchFamily="18" charset="0"/>
              <a:cs typeface="Times New Roman" panose="02020603050405020304" pitchFamily="18" charset="0"/>
            </a:endParaRPr>
          </a:p>
          <a:p>
            <a:pPr marL="342900" indent="-342900" algn="just">
              <a:spcAft>
                <a:spcPts val="1100"/>
              </a:spcAft>
              <a:buFont typeface="Wingdings" panose="05000000000000000000" pitchFamily="2" charset="2"/>
              <a:buChar char="§"/>
            </a:pPr>
            <a:r>
              <a:rPr lang="en-GB" sz="2000" dirty="0">
                <a:highlight>
                  <a:srgbClr val="FFFFFF"/>
                </a:highlight>
                <a:latin typeface="Arial" panose="020B0604020202020204" pitchFamily="34" charset="0"/>
                <a:ea typeface="Times New Roman" panose="02020603050405020304" pitchFamily="18" charset="0"/>
                <a:cs typeface="Arial" panose="020B0604020202020204" pitchFamily="34" charset="0"/>
              </a:rPr>
              <a:t>Precedential value in the UK and in other common law jurisdictions (e.g. Australia, Canada, USA, India, Malaysia, Singapore, Hong Kong). Also important in civil law jurisdictions.</a:t>
            </a:r>
          </a:p>
          <a:p>
            <a:pPr marL="342900" indent="-342900" algn="just">
              <a:spcAft>
                <a:spcPts val="1100"/>
              </a:spcAft>
              <a:buFont typeface="Wingdings" panose="05000000000000000000" pitchFamily="2" charset="2"/>
              <a:buChar char="§"/>
            </a:pPr>
            <a:r>
              <a:rPr lang="en-GB" sz="2000" dirty="0">
                <a:highlight>
                  <a:srgbClr val="FFFFFF"/>
                </a:highlight>
                <a:latin typeface="Arial" panose="020B0604020202020204" pitchFamily="34" charset="0"/>
                <a:ea typeface="Times New Roman" panose="02020603050405020304" pitchFamily="18" charset="0"/>
                <a:cs typeface="Arial" panose="020B0604020202020204" pitchFamily="34" charset="0"/>
              </a:rPr>
              <a:t>Maybe binding or influential. Judges follow decisions of higher courts or take them into consideration.</a:t>
            </a:r>
            <a:endParaRPr lang="en-GB" sz="2000" dirty="0">
              <a:effectLst/>
              <a:highlight>
                <a:srgbClr val="FFFFFF"/>
              </a:highlight>
              <a:latin typeface="Arial" panose="020B0604020202020204" pitchFamily="34" charset="0"/>
              <a:ea typeface="Times New Roman" panose="02020603050405020304" pitchFamily="18" charset="0"/>
              <a:cs typeface="Arial" panose="020B0604020202020204" pitchFamily="34" charset="0"/>
            </a:endParaRPr>
          </a:p>
          <a:p>
            <a:pPr marL="342900" indent="-342900" algn="just">
              <a:spcAft>
                <a:spcPts val="1100"/>
              </a:spcAft>
              <a:buFont typeface="Wingdings" panose="05000000000000000000" pitchFamily="2" charset="2"/>
              <a:buChar char="§"/>
            </a:pPr>
            <a:r>
              <a:rPr lang="en-GB" sz="2000" dirty="0">
                <a:effectLst/>
                <a:highlight>
                  <a:srgbClr val="FFFFFF"/>
                </a:highlight>
                <a:latin typeface="Arial" panose="020B0604020202020204" pitchFamily="34" charset="0"/>
                <a:ea typeface="Times New Roman" panose="02020603050405020304" pitchFamily="18" charset="0"/>
                <a:cs typeface="Arial" panose="020B0604020202020204" pitchFamily="34" charset="0"/>
              </a:rPr>
              <a:t>Provides </a:t>
            </a:r>
            <a:r>
              <a:rPr lang="en-GB" sz="2000" dirty="0">
                <a:highlight>
                  <a:srgbClr val="FFFFFF"/>
                </a:highlight>
                <a:latin typeface="Arial" panose="020B0604020202020204" pitchFamily="34" charset="0"/>
                <a:ea typeface="Times New Roman" panose="02020603050405020304" pitchFamily="18" charset="0"/>
                <a:cs typeface="Arial" panose="020B0604020202020204" pitchFamily="34" charset="0"/>
              </a:rPr>
              <a:t>predictability </a:t>
            </a:r>
            <a:r>
              <a:rPr lang="en-GB" sz="2000" dirty="0">
                <a:effectLst/>
                <a:highlight>
                  <a:srgbClr val="FFFFFF"/>
                </a:highlight>
                <a:latin typeface="Arial" panose="020B0604020202020204" pitchFamily="34" charset="0"/>
                <a:ea typeface="Times New Roman" panose="02020603050405020304" pitchFamily="18" charset="0"/>
                <a:cs typeface="Arial" panose="020B0604020202020204" pitchFamily="34" charset="0"/>
              </a:rPr>
              <a:t>and consistency. Although cases may be distinguished on their facts and the law evolves through time. </a:t>
            </a:r>
          </a:p>
          <a:p>
            <a:pPr marL="342900" indent="-342900" algn="just">
              <a:spcAft>
                <a:spcPts val="1100"/>
              </a:spcAft>
              <a:buFont typeface="Wingdings" panose="05000000000000000000" pitchFamily="2" charset="2"/>
              <a:buChar char="§"/>
            </a:pPr>
            <a:r>
              <a:rPr lang="en-GB" sz="2000" dirty="0">
                <a:highlight>
                  <a:srgbClr val="FFFFFF"/>
                </a:highlight>
                <a:latin typeface="Arial" panose="020B0604020202020204" pitchFamily="34" charset="0"/>
                <a:ea typeface="Times New Roman" panose="02020603050405020304" pitchFamily="18" charset="0"/>
                <a:cs typeface="Arial" panose="020B0604020202020204" pitchFamily="34" charset="0"/>
              </a:rPr>
              <a:t>Helps to shape legal doctrines and principles. </a:t>
            </a:r>
            <a:endParaRPr lang="en-GB" sz="2000" dirty="0">
              <a:effectLst/>
              <a:highlight>
                <a:srgbClr val="FFFFFF"/>
              </a:highlight>
              <a:latin typeface="Arial" panose="020B0604020202020204" pitchFamily="34" charset="0"/>
              <a:ea typeface="Times New Roman" panose="02020603050405020304" pitchFamily="18" charset="0"/>
              <a:cs typeface="Arial" panose="020B0604020202020204" pitchFamily="34" charset="0"/>
            </a:endParaRPr>
          </a:p>
          <a:p>
            <a:pPr marL="342900" indent="-342900" algn="just">
              <a:spcAft>
                <a:spcPts val="1100"/>
              </a:spcAft>
              <a:buFont typeface="Wingdings" panose="05000000000000000000" pitchFamily="2" charset="2"/>
              <a:buChar char="§"/>
            </a:pPr>
            <a:r>
              <a:rPr lang="en-GB" sz="2000" dirty="0">
                <a:highlight>
                  <a:srgbClr val="FFFFFF"/>
                </a:highlight>
                <a:latin typeface="Arial" panose="020B0604020202020204" pitchFamily="34" charset="0"/>
                <a:ea typeface="Times New Roman" panose="02020603050405020304" pitchFamily="18" charset="0"/>
                <a:cs typeface="Arial" panose="020B0604020202020204" pitchFamily="34" charset="0"/>
              </a:rPr>
              <a:t>Decisions can be adapted (flexible) and extended to reflect changes in business and society.</a:t>
            </a:r>
            <a:endParaRPr lang="en-GB" sz="2000" dirty="0">
              <a:effectLst/>
              <a:highlight>
                <a:srgbClr val="FFFFFF"/>
              </a:highlight>
              <a:latin typeface="Arial" panose="020B0604020202020204" pitchFamily="34" charset="0"/>
              <a:ea typeface="Times New Roman" panose="02020603050405020304" pitchFamily="18" charset="0"/>
              <a:cs typeface="Arial" panose="020B0604020202020204" pitchFamily="34" charset="0"/>
            </a:endParaRPr>
          </a:p>
          <a:p>
            <a:pPr marL="342900" indent="-342900" algn="just">
              <a:spcAft>
                <a:spcPts val="1100"/>
              </a:spcAft>
              <a:buFont typeface="Wingdings" panose="05000000000000000000" pitchFamily="2" charset="2"/>
              <a:buChar char="§"/>
            </a:pPr>
            <a:r>
              <a:rPr lang="en-GB" sz="2000" dirty="0">
                <a:highlight>
                  <a:srgbClr val="FFFFFF"/>
                </a:highlight>
                <a:latin typeface="Arial" panose="020B0604020202020204" pitchFamily="34" charset="0"/>
                <a:ea typeface="Times New Roman" panose="02020603050405020304" pitchFamily="18" charset="0"/>
                <a:cs typeface="Arial" panose="020B0604020202020204" pitchFamily="34" charset="0"/>
              </a:rPr>
              <a:t>Informing understanding of (i) how legal guidelines work in a particular jurisdiction and (ii) what are (un) acceptable business practices. </a:t>
            </a:r>
            <a:endParaRPr lang="en-GB" sz="1800" dirty="0">
              <a:effectLst/>
              <a:highlight>
                <a:srgbClr val="FFFFFF"/>
              </a:highlight>
              <a:latin typeface="Arial" panose="020B0604020202020204" pitchFamily="34" charset="0"/>
              <a:ea typeface="Times New Roman" panose="02020603050405020304" pitchFamily="18" charset="0"/>
              <a:cs typeface="Arial" panose="020B0604020202020204" pitchFamily="34" charset="0"/>
            </a:endParaRPr>
          </a:p>
          <a:p>
            <a:pPr marL="742950" lvl="1" indent="-285750" algn="just">
              <a:spcAft>
                <a:spcPts val="1100"/>
              </a:spcAft>
              <a:buFont typeface="Arial" panose="020B0604020202020204" pitchFamily="34" charset="0"/>
              <a:buChar char="•"/>
            </a:pPr>
            <a:endParaRPr lang="en-GB" b="1" dirty="0">
              <a:solidFill>
                <a:srgbClr val="002060"/>
              </a:solidFill>
              <a:effectLst/>
              <a:highlight>
                <a:srgbClr val="FFFFFF"/>
              </a:highlight>
              <a:latin typeface="Montserrat Light" panose="00000400000000000000" pitchFamily="50" charset="0"/>
              <a:ea typeface="Times New Roman" panose="02020603050405020304" pitchFamily="18" charset="0"/>
              <a:cs typeface="Times New Roman" panose="02020603050405020304" pitchFamily="18" charset="0"/>
            </a:endParaRPr>
          </a:p>
          <a:p>
            <a:pPr algn="just">
              <a:spcAft>
                <a:spcPts val="1100"/>
              </a:spcAft>
            </a:pPr>
            <a:r>
              <a:rPr lang="en-GB" sz="1800" b="1" dirty="0">
                <a:solidFill>
                  <a:srgbClr val="002060"/>
                </a:solidFill>
                <a:effectLst/>
                <a:highlight>
                  <a:srgbClr val="FFFFFF"/>
                </a:highlight>
                <a:latin typeface="Montserrat Light" panose="00000400000000000000" pitchFamily="50" charset="0"/>
                <a:ea typeface="Times New Roman" panose="02020603050405020304" pitchFamily="18" charset="0"/>
                <a:cs typeface="Times New Roman" panose="02020603050405020304" pitchFamily="18" charset="0"/>
              </a:rPr>
              <a:t>						IMPACTS TEMPLATES, AGREEMENTS, CHECK LISTS, MANUALS, 								GUIDANCE, INDUSTRY PRACTICES, THE LAW</a:t>
            </a:r>
            <a:endParaRPr lang="en-GB" b="1" dirty="0">
              <a:solidFill>
                <a:srgbClr val="002060"/>
              </a:solidFill>
              <a:highlight>
                <a:srgbClr val="FFFFFF"/>
              </a:highlight>
              <a:latin typeface="+mj-lt"/>
              <a:ea typeface="Times New Roman" panose="02020603050405020304" pitchFamily="18" charset="0"/>
              <a:cs typeface="Times New Roman" panose="02020603050405020304" pitchFamily="18" charset="0"/>
            </a:endParaRPr>
          </a:p>
          <a:p>
            <a:pPr algn="just">
              <a:spcAft>
                <a:spcPts val="1100"/>
              </a:spcAft>
            </a:pPr>
            <a:endParaRPr lang="en-GB" sz="1800" b="1" dirty="0">
              <a:solidFill>
                <a:srgbClr val="002060"/>
              </a:solidFill>
              <a:effectLst/>
              <a:highlight>
                <a:srgbClr val="FFFFFF"/>
              </a:highlight>
              <a:latin typeface="Montserrat Light" panose="00000400000000000000" pitchFamily="50" charset="0"/>
              <a:ea typeface="Times New Roman" panose="02020603050405020304" pitchFamily="18" charset="0"/>
              <a:cs typeface="Times New Roman" panose="02020603050405020304" pitchFamily="18" charset="0"/>
            </a:endParaRPr>
          </a:p>
          <a:p>
            <a:r>
              <a:rPr lang="en-GB" sz="1600" b="1" i="0" u="none" strike="noStrike" baseline="0" dirty="0">
                <a:solidFill>
                  <a:schemeClr val="tx2"/>
                </a:solidFill>
                <a:latin typeface="Montserrat Light" panose="00000400000000000000" pitchFamily="50" charset="0"/>
              </a:rPr>
              <a:t> </a:t>
            </a:r>
            <a:endParaRPr lang="en-GB" sz="1600" b="1" dirty="0">
              <a:solidFill>
                <a:schemeClr val="tx2"/>
              </a:solidFill>
              <a:latin typeface="Montserrat Light" panose="00000400000000000000" pitchFamily="50" charset="0"/>
            </a:endParaRPr>
          </a:p>
        </p:txBody>
      </p:sp>
      <p:sp>
        <p:nvSpPr>
          <p:cNvPr id="3" name="Arrow: Right 2">
            <a:extLst>
              <a:ext uri="{FF2B5EF4-FFF2-40B4-BE49-F238E27FC236}">
                <a16:creationId xmlns:a16="http://schemas.microsoft.com/office/drawing/2014/main" id="{E42A9B88-6F67-403F-EC84-FD4BED1E0E06}"/>
              </a:ext>
            </a:extLst>
          </p:cNvPr>
          <p:cNvSpPr/>
          <p:nvPr/>
        </p:nvSpPr>
        <p:spPr>
          <a:xfrm>
            <a:off x="891653" y="5537338"/>
            <a:ext cx="1838130" cy="839755"/>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3620284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96A2D7C-F2CC-8FB9-D1DF-F14ED2E890CD}"/>
              </a:ext>
            </a:extLst>
          </p:cNvPr>
          <p:cNvSpPr>
            <a:spLocks noGrp="1"/>
          </p:cNvSpPr>
          <p:nvPr>
            <p:ph type="sldNum" sz="quarter" idx="12"/>
          </p:nvPr>
        </p:nvSpPr>
        <p:spPr/>
        <p:txBody>
          <a:bodyPr/>
          <a:lstStyle/>
          <a:p>
            <a:fld id="{8CFE0557-AA98-4E6C-B0C3-581794696B68}" type="slidenum">
              <a:rPr lang="en-GB" smtClean="0"/>
              <a:pPr/>
              <a:t>7</a:t>
            </a:fld>
            <a:endParaRPr lang="en-GB"/>
          </a:p>
        </p:txBody>
      </p:sp>
      <p:sp>
        <p:nvSpPr>
          <p:cNvPr id="3" name="Content Placeholder 2">
            <a:extLst>
              <a:ext uri="{FF2B5EF4-FFF2-40B4-BE49-F238E27FC236}">
                <a16:creationId xmlns:a16="http://schemas.microsoft.com/office/drawing/2014/main" id="{B2318B99-B960-5CB2-B2B9-51D8B2B4E67F}"/>
              </a:ext>
            </a:extLst>
          </p:cNvPr>
          <p:cNvSpPr>
            <a:spLocks noGrp="1"/>
          </p:cNvSpPr>
          <p:nvPr>
            <p:ph idx="1"/>
          </p:nvPr>
        </p:nvSpPr>
        <p:spPr>
          <a:xfrm>
            <a:off x="277501" y="922390"/>
            <a:ext cx="7820991" cy="275805"/>
          </a:xfrm>
        </p:spPr>
        <p:txBody>
          <a:bodyPr/>
          <a:lstStyle/>
          <a:p>
            <a:r>
              <a:rPr lang="en-GB" sz="2000" i="1" dirty="0"/>
              <a:t>“RUSSIA MAY HAVE COMMITTED THE LARGEST THEFT of AIRCRAFT IN HISTORY “ </a:t>
            </a:r>
          </a:p>
        </p:txBody>
      </p:sp>
      <p:sp>
        <p:nvSpPr>
          <p:cNvPr id="4" name="Content Placeholder 3">
            <a:extLst>
              <a:ext uri="{FF2B5EF4-FFF2-40B4-BE49-F238E27FC236}">
                <a16:creationId xmlns:a16="http://schemas.microsoft.com/office/drawing/2014/main" id="{4F33ACDB-0C93-A8BD-DDFF-8C483E8D0AB8}"/>
              </a:ext>
            </a:extLst>
          </p:cNvPr>
          <p:cNvSpPr>
            <a:spLocks noGrp="1"/>
          </p:cNvSpPr>
          <p:nvPr>
            <p:ph idx="16"/>
          </p:nvPr>
        </p:nvSpPr>
        <p:spPr>
          <a:xfrm>
            <a:off x="249581" y="1822849"/>
            <a:ext cx="7125758" cy="4606808"/>
          </a:xfrm>
        </p:spPr>
        <p:txBody>
          <a:bodyPr>
            <a:normAutofit fontScale="92500" lnSpcReduction="20000"/>
          </a:bodyPr>
          <a:lstStyle/>
          <a:p>
            <a:pPr marL="342900" indent="-342900">
              <a:buFont typeface="Wingdings" panose="05000000000000000000" pitchFamily="2" charset="2"/>
              <a:buChar char="§"/>
            </a:pPr>
            <a:r>
              <a:rPr lang="en-GB" sz="2000" dirty="0">
                <a:latin typeface="Arial" panose="020B0604020202020204" pitchFamily="34" charset="0"/>
                <a:cs typeface="Arial" panose="020B0604020202020204" pitchFamily="34" charset="0"/>
              </a:rPr>
              <a:t>Invasion of Ukraine in February 2022 triggered sanctions. Inability:</a:t>
            </a:r>
          </a:p>
          <a:p>
            <a:pPr marL="523875" lvl="2" indent="-342900">
              <a:buFont typeface="Wingdings" panose="05000000000000000000" pitchFamily="2" charset="2"/>
              <a:buChar char="§"/>
            </a:pPr>
            <a:r>
              <a:rPr lang="en-GB" sz="2000" dirty="0">
                <a:latin typeface="Arial" panose="020B0604020202020204" pitchFamily="34" charset="0"/>
                <a:cs typeface="Arial" panose="020B0604020202020204" pitchFamily="34" charset="0"/>
              </a:rPr>
              <a:t>Fly to, from and over Russia</a:t>
            </a:r>
          </a:p>
          <a:p>
            <a:pPr marL="523875" lvl="2" indent="-342900">
              <a:buFont typeface="Wingdings" panose="05000000000000000000" pitchFamily="2" charset="2"/>
              <a:buChar char="§"/>
            </a:pPr>
            <a:r>
              <a:rPr lang="en-GB" sz="2000" dirty="0">
                <a:latin typeface="Arial" panose="020B0604020202020204" pitchFamily="34" charset="0"/>
                <a:cs typeface="Arial" panose="020B0604020202020204" pitchFamily="34" charset="0"/>
              </a:rPr>
              <a:t>Finance aircraft and parts</a:t>
            </a:r>
          </a:p>
          <a:p>
            <a:pPr marL="523875" lvl="2" indent="-342900">
              <a:buFont typeface="Wingdings" panose="05000000000000000000" pitchFamily="2" charset="2"/>
              <a:buChar char="§"/>
            </a:pPr>
            <a:r>
              <a:rPr lang="en-GB" sz="2000" dirty="0">
                <a:latin typeface="Arial" panose="020B0604020202020204" pitchFamily="34" charset="0"/>
                <a:cs typeface="Arial" panose="020B0604020202020204" pitchFamily="34" charset="0"/>
              </a:rPr>
              <a:t>Lease aircraft</a:t>
            </a:r>
          </a:p>
          <a:p>
            <a:pPr marL="523875" lvl="2" indent="-342900">
              <a:buFont typeface="Wingdings" panose="05000000000000000000" pitchFamily="2" charset="2"/>
              <a:buChar char="§"/>
            </a:pPr>
            <a:r>
              <a:rPr lang="en-GB" sz="2000" dirty="0">
                <a:latin typeface="Arial" panose="020B0604020202020204" pitchFamily="34" charset="0"/>
                <a:cs typeface="Arial" panose="020B0604020202020204" pitchFamily="34" charset="0"/>
              </a:rPr>
              <a:t>Supply parts</a:t>
            </a:r>
          </a:p>
          <a:p>
            <a:pPr marL="523875" lvl="2" indent="-342900">
              <a:buFont typeface="Wingdings" panose="05000000000000000000" pitchFamily="2" charset="2"/>
              <a:buChar char="§"/>
            </a:pPr>
            <a:r>
              <a:rPr lang="en-GB" sz="2000" dirty="0">
                <a:latin typeface="Arial" panose="020B0604020202020204" pitchFamily="34" charset="0"/>
                <a:cs typeface="Arial" panose="020B0604020202020204" pitchFamily="34" charset="0"/>
              </a:rPr>
              <a:t>Maintain aircraft and parts </a:t>
            </a:r>
          </a:p>
          <a:p>
            <a:pPr marL="523875" lvl="2" indent="-342900">
              <a:buFont typeface="Wingdings" panose="05000000000000000000" pitchFamily="2" charset="2"/>
              <a:buChar char="§"/>
            </a:pPr>
            <a:r>
              <a:rPr lang="en-GB" sz="2000" dirty="0">
                <a:latin typeface="Arial" panose="020B0604020202020204" pitchFamily="34" charset="0"/>
                <a:cs typeface="Arial" panose="020B0604020202020204" pitchFamily="34" charset="0"/>
              </a:rPr>
              <a:t>Provide insurance</a:t>
            </a:r>
          </a:p>
          <a:p>
            <a:pPr marL="342900" indent="-342900">
              <a:buFont typeface="Wingdings" panose="05000000000000000000" pitchFamily="2" charset="2"/>
              <a:buChar char="§"/>
            </a:pPr>
            <a:r>
              <a:rPr lang="en-GB" sz="2000" dirty="0">
                <a:latin typeface="Arial" panose="020B0604020202020204" pitchFamily="34" charset="0"/>
                <a:cs typeface="Arial" panose="020B0604020202020204" pitchFamily="34" charset="0"/>
              </a:rPr>
              <a:t>Leases terminated. Aircraft not returned. </a:t>
            </a:r>
          </a:p>
          <a:p>
            <a:pPr marL="342900" indent="-342900">
              <a:buFont typeface="Wingdings" panose="05000000000000000000" pitchFamily="2" charset="2"/>
              <a:buChar char="§"/>
            </a:pPr>
            <a:r>
              <a:rPr lang="en-GB" sz="2000" dirty="0">
                <a:latin typeface="Arial" panose="020B0604020202020204" pitchFamily="34" charset="0"/>
                <a:cs typeface="Arial" panose="020B0604020202020204" pitchFamily="34" charset="0"/>
              </a:rPr>
              <a:t>Aircraft stranded in Ukraine due to war.</a:t>
            </a:r>
          </a:p>
          <a:p>
            <a:pPr marL="342900" indent="-342900">
              <a:buFont typeface="Wingdings" panose="05000000000000000000" pitchFamily="2" charset="2"/>
              <a:buChar char="§"/>
            </a:pPr>
            <a:r>
              <a:rPr lang="en-GB" sz="2000" dirty="0">
                <a:latin typeface="Arial" panose="020B0604020202020204" pitchFamily="34" charset="0"/>
                <a:cs typeface="Arial" panose="020B0604020202020204" pitchFamily="34" charset="0"/>
              </a:rPr>
              <a:t>How should insurance respond?</a:t>
            </a:r>
          </a:p>
          <a:p>
            <a:pPr marL="342900" indent="-342900">
              <a:buFont typeface="Wingdings" panose="05000000000000000000" pitchFamily="2" charset="2"/>
              <a:buChar char="§"/>
            </a:pPr>
            <a:endParaRPr lang="en-GB" sz="2000" dirty="0"/>
          </a:p>
        </p:txBody>
      </p:sp>
      <p:sp>
        <p:nvSpPr>
          <p:cNvPr id="6" name="Title 5">
            <a:extLst>
              <a:ext uri="{FF2B5EF4-FFF2-40B4-BE49-F238E27FC236}">
                <a16:creationId xmlns:a16="http://schemas.microsoft.com/office/drawing/2014/main" id="{752C47FC-A5C4-F893-2A82-25DF3E36B9B6}"/>
              </a:ext>
            </a:extLst>
          </p:cNvPr>
          <p:cNvSpPr>
            <a:spLocks noGrp="1"/>
          </p:cNvSpPr>
          <p:nvPr>
            <p:ph type="title"/>
          </p:nvPr>
        </p:nvSpPr>
        <p:spPr>
          <a:xfrm>
            <a:off x="249581" y="446669"/>
            <a:ext cx="7820990" cy="790869"/>
          </a:xfrm>
        </p:spPr>
        <p:txBody>
          <a:bodyPr/>
          <a:lstStyle/>
          <a:p>
            <a:r>
              <a:rPr lang="en-GB" sz="2800" b="1" dirty="0"/>
              <a:t>Grand Aero Theft: Russia &amp; Ukraine</a:t>
            </a:r>
          </a:p>
        </p:txBody>
      </p:sp>
      <p:pic>
        <p:nvPicPr>
          <p:cNvPr id="5" name="Picture Placeholder 17">
            <a:extLst>
              <a:ext uri="{FF2B5EF4-FFF2-40B4-BE49-F238E27FC236}">
                <a16:creationId xmlns:a16="http://schemas.microsoft.com/office/drawing/2014/main" id="{88501082-7C8C-6E21-A117-7AB6913B1078}"/>
              </a:ext>
            </a:extLst>
          </p:cNvPr>
          <p:cNvPicPr>
            <a:picLocks noChangeAspect="1"/>
          </p:cNvPicPr>
          <p:nvPr/>
        </p:nvPicPr>
        <p:blipFill>
          <a:blip r:embed="rId2">
            <a:extLst>
              <a:ext uri="{28A0092B-C50C-407E-A947-70E740481C1C}">
                <a14:useLocalDpi xmlns:a14="http://schemas.microsoft.com/office/drawing/2010/main" val="0"/>
              </a:ext>
            </a:extLst>
          </a:blip>
          <a:srcRect l="33327" r="33327"/>
          <a:stretch/>
        </p:blipFill>
        <p:spPr>
          <a:xfrm>
            <a:off x="8126413" y="0"/>
            <a:ext cx="4065587" cy="6858000"/>
          </a:xfrm>
          <a:prstGeom prst="rect">
            <a:avLst/>
          </a:prstGeom>
        </p:spPr>
      </p:pic>
    </p:spTree>
    <p:extLst>
      <p:ext uri="{BB962C8B-B14F-4D97-AF65-F5344CB8AC3E}">
        <p14:creationId xmlns:p14="http://schemas.microsoft.com/office/powerpoint/2010/main" val="1836713708"/>
      </p:ext>
    </p:extLst>
  </p:cSld>
  <p:clrMapOvr>
    <a:masterClrMapping/>
  </p:clrMapOvr>
  <p:transition spd="med">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997A58-7E18-3DCA-7893-268DB59976E9}"/>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C57E48D-7F74-0FFD-B6C6-BB64C60DA1FE}"/>
              </a:ext>
            </a:extLst>
          </p:cNvPr>
          <p:cNvSpPr>
            <a:spLocks noGrp="1"/>
          </p:cNvSpPr>
          <p:nvPr>
            <p:ph type="sldNum" sz="quarter" idx="12"/>
          </p:nvPr>
        </p:nvSpPr>
        <p:spPr/>
        <p:txBody>
          <a:bodyPr/>
          <a:lstStyle/>
          <a:p>
            <a:fld id="{8CFE0557-AA98-4E6C-B0C3-581794696B68}" type="slidenum">
              <a:rPr lang="en-GB" smtClean="0"/>
              <a:pPr/>
              <a:t>8</a:t>
            </a:fld>
            <a:endParaRPr lang="en-GB"/>
          </a:p>
        </p:txBody>
      </p:sp>
      <p:sp>
        <p:nvSpPr>
          <p:cNvPr id="3" name="Content Placeholder 2">
            <a:extLst>
              <a:ext uri="{FF2B5EF4-FFF2-40B4-BE49-F238E27FC236}">
                <a16:creationId xmlns:a16="http://schemas.microsoft.com/office/drawing/2014/main" id="{3501D1E1-354F-EE91-E387-BD994D34015D}"/>
              </a:ext>
            </a:extLst>
          </p:cNvPr>
          <p:cNvSpPr>
            <a:spLocks noGrp="1"/>
          </p:cNvSpPr>
          <p:nvPr>
            <p:ph idx="1"/>
          </p:nvPr>
        </p:nvSpPr>
        <p:spPr>
          <a:xfrm>
            <a:off x="249581" y="1244882"/>
            <a:ext cx="7820991" cy="275805"/>
          </a:xfrm>
        </p:spPr>
        <p:txBody>
          <a:bodyPr/>
          <a:lstStyle/>
          <a:p>
            <a:r>
              <a:rPr lang="en-GB" sz="2000" dirty="0"/>
              <a:t>why these cases matter to you? </a:t>
            </a:r>
          </a:p>
        </p:txBody>
      </p:sp>
      <p:sp>
        <p:nvSpPr>
          <p:cNvPr id="4" name="Content Placeholder 3">
            <a:extLst>
              <a:ext uri="{FF2B5EF4-FFF2-40B4-BE49-F238E27FC236}">
                <a16:creationId xmlns:a16="http://schemas.microsoft.com/office/drawing/2014/main" id="{8D416753-6CB8-28D1-1364-D3EA48CEAB8D}"/>
              </a:ext>
            </a:extLst>
          </p:cNvPr>
          <p:cNvSpPr>
            <a:spLocks noGrp="1"/>
          </p:cNvSpPr>
          <p:nvPr>
            <p:ph idx="16"/>
          </p:nvPr>
        </p:nvSpPr>
        <p:spPr>
          <a:xfrm>
            <a:off x="249581" y="1822849"/>
            <a:ext cx="7125758" cy="4606808"/>
          </a:xfrm>
        </p:spPr>
        <p:txBody>
          <a:bodyPr>
            <a:normAutofit/>
          </a:bodyPr>
          <a:lstStyle/>
          <a:p>
            <a:pPr marL="342900" indent="-342900">
              <a:buFont typeface="Wingdings" panose="05000000000000000000" pitchFamily="2" charset="2"/>
              <a:buChar char="§"/>
            </a:pPr>
            <a:r>
              <a:rPr lang="en-GB" sz="2000" dirty="0">
                <a:latin typeface="Arial" panose="020B0604020202020204" pitchFamily="34" charset="0"/>
                <a:cs typeface="Arial" panose="020B0604020202020204" pitchFamily="34" charset="0"/>
              </a:rPr>
              <a:t>Post invasion sanctions impacted corporate and private jets </a:t>
            </a:r>
          </a:p>
          <a:p>
            <a:pPr marL="342900" indent="-342900">
              <a:buFont typeface="Wingdings" panose="05000000000000000000" pitchFamily="2" charset="2"/>
              <a:buChar char="§"/>
            </a:pPr>
            <a:r>
              <a:rPr lang="en-GB" sz="2000" dirty="0">
                <a:latin typeface="Arial" panose="020B0604020202020204" pitchFamily="34" charset="0"/>
                <a:cs typeface="Arial" panose="020B0604020202020204" pitchFamily="34" charset="0"/>
              </a:rPr>
              <a:t>Some still stranded. Disputes concerning unpaid bills. </a:t>
            </a:r>
          </a:p>
          <a:p>
            <a:pPr marL="342900" indent="-342900">
              <a:buFont typeface="Wingdings" panose="05000000000000000000" pitchFamily="2" charset="2"/>
              <a:buChar char="§"/>
            </a:pPr>
            <a:r>
              <a:rPr lang="en-GB" sz="2000" dirty="0">
                <a:latin typeface="Arial" panose="020B0604020202020204" pitchFamily="34" charset="0"/>
                <a:cs typeface="Arial" panose="020B0604020202020204" pitchFamily="34" charset="0"/>
              </a:rPr>
              <a:t>Highlight importance of:</a:t>
            </a:r>
          </a:p>
          <a:p>
            <a:pPr marL="523875" lvl="2" indent="-342900">
              <a:buFont typeface="Wingdings" panose="05000000000000000000" pitchFamily="2" charset="2"/>
              <a:buChar char="§"/>
            </a:pPr>
            <a:r>
              <a:rPr lang="en-GB" sz="2000" dirty="0">
                <a:latin typeface="Arial" panose="020B0604020202020204" pitchFamily="34" charset="0"/>
                <a:cs typeface="Arial" panose="020B0604020202020204" pitchFamily="34" charset="0"/>
              </a:rPr>
              <a:t>continuous due diligence</a:t>
            </a:r>
          </a:p>
          <a:p>
            <a:pPr marL="523875" lvl="2" indent="-342900">
              <a:buFont typeface="Wingdings" panose="05000000000000000000" pitchFamily="2" charset="2"/>
              <a:buChar char="§"/>
            </a:pPr>
            <a:r>
              <a:rPr lang="en-GB" sz="2000" dirty="0">
                <a:latin typeface="Arial" panose="020B0604020202020204" pitchFamily="34" charset="0"/>
                <a:cs typeface="Arial" panose="020B0604020202020204" pitchFamily="34" charset="0"/>
              </a:rPr>
              <a:t>recovery protocols</a:t>
            </a:r>
          </a:p>
          <a:p>
            <a:pPr marL="523875" lvl="2" indent="-342900">
              <a:buFont typeface="Wingdings" panose="05000000000000000000" pitchFamily="2" charset="2"/>
              <a:buChar char="§"/>
            </a:pPr>
            <a:r>
              <a:rPr lang="en-GB" sz="2000" dirty="0">
                <a:latin typeface="Arial" panose="020B0604020202020204" pitchFamily="34" charset="0"/>
                <a:cs typeface="Arial" panose="020B0604020202020204" pitchFamily="34" charset="0"/>
              </a:rPr>
              <a:t>contract terms</a:t>
            </a:r>
          </a:p>
          <a:p>
            <a:pPr marL="523875" lvl="2" indent="-342900">
              <a:buFont typeface="Wingdings" panose="05000000000000000000" pitchFamily="2" charset="2"/>
              <a:buChar char="§"/>
            </a:pPr>
            <a:r>
              <a:rPr lang="en-GB" sz="2000" dirty="0">
                <a:latin typeface="Arial" panose="020B0604020202020204" pitchFamily="34" charset="0"/>
                <a:cs typeface="Arial" panose="020B0604020202020204" pitchFamily="34" charset="0"/>
              </a:rPr>
              <a:t>availability of insurance</a:t>
            </a:r>
          </a:p>
          <a:p>
            <a:pPr marL="342900" indent="-342900">
              <a:buFont typeface="Wingdings" panose="05000000000000000000" pitchFamily="2" charset="2"/>
              <a:buChar char="§"/>
            </a:pPr>
            <a:r>
              <a:rPr lang="en-GB" sz="2000" dirty="0">
                <a:latin typeface="Arial" panose="020B0604020202020204" pitchFamily="34" charset="0"/>
                <a:cs typeface="Arial" panose="020B0604020202020204" pitchFamily="34" charset="0"/>
              </a:rPr>
              <a:t>Even in the absence of wars, jets and helicopters have been detained etc for long periods</a:t>
            </a:r>
          </a:p>
          <a:p>
            <a:endParaRPr lang="en-GB" sz="2000" dirty="0"/>
          </a:p>
        </p:txBody>
      </p:sp>
      <p:sp>
        <p:nvSpPr>
          <p:cNvPr id="6" name="Title 5">
            <a:extLst>
              <a:ext uri="{FF2B5EF4-FFF2-40B4-BE49-F238E27FC236}">
                <a16:creationId xmlns:a16="http://schemas.microsoft.com/office/drawing/2014/main" id="{8A40350C-B252-5687-29F5-8646C3158753}"/>
              </a:ext>
            </a:extLst>
          </p:cNvPr>
          <p:cNvSpPr>
            <a:spLocks noGrp="1"/>
          </p:cNvSpPr>
          <p:nvPr>
            <p:ph type="title"/>
          </p:nvPr>
        </p:nvSpPr>
        <p:spPr>
          <a:xfrm>
            <a:off x="249581" y="428343"/>
            <a:ext cx="7125758" cy="790869"/>
          </a:xfrm>
        </p:spPr>
        <p:txBody>
          <a:bodyPr/>
          <a:lstStyle/>
          <a:p>
            <a:r>
              <a:rPr lang="en-GB" sz="2800" b="1" dirty="0"/>
              <a:t>Grand Aero Theft</a:t>
            </a:r>
          </a:p>
        </p:txBody>
      </p:sp>
      <p:sp>
        <p:nvSpPr>
          <p:cNvPr id="8" name="Content Placeholder 7">
            <a:extLst>
              <a:ext uri="{FF2B5EF4-FFF2-40B4-BE49-F238E27FC236}">
                <a16:creationId xmlns:a16="http://schemas.microsoft.com/office/drawing/2014/main" id="{A6D20558-2ED8-AA70-AB2E-4A3270A029D8}"/>
              </a:ext>
            </a:extLst>
          </p:cNvPr>
          <p:cNvSpPr>
            <a:spLocks noGrp="1"/>
          </p:cNvSpPr>
          <p:nvPr>
            <p:ph idx="46"/>
          </p:nvPr>
        </p:nvSpPr>
        <p:spPr>
          <a:xfrm>
            <a:off x="8755064" y="1244881"/>
            <a:ext cx="2946399" cy="5184775"/>
          </a:xfrm>
        </p:spPr>
        <p:txBody>
          <a:bodyPr/>
          <a:lstStyle/>
          <a:p>
            <a:pPr algn="r">
              <a:lnSpc>
                <a:spcPct val="100000"/>
              </a:lnSpc>
            </a:pPr>
            <a:r>
              <a:rPr lang="en-GB" sz="2800" b="0" i="0" dirty="0">
                <a:effectLst/>
                <a:latin typeface="financier display VF"/>
              </a:rPr>
              <a:t>‘</a:t>
            </a:r>
            <a:r>
              <a:rPr lang="en-GB" sz="1800" b="1" i="1" cap="none" dirty="0">
                <a:effectLst/>
                <a:latin typeface="Arial" panose="020B0604020202020204" pitchFamily="34" charset="0"/>
                <a:cs typeface="Arial" panose="020B0604020202020204" pitchFamily="34" charset="0"/>
              </a:rPr>
              <a:t>Grand Theft </a:t>
            </a:r>
            <a:r>
              <a:rPr lang="en-GB" sz="1800" b="1" i="1" cap="none" dirty="0">
                <a:latin typeface="Arial" panose="020B0604020202020204" pitchFamily="34" charset="0"/>
                <a:cs typeface="Arial" panose="020B0604020202020204" pitchFamily="34" charset="0"/>
              </a:rPr>
              <a:t>A</a:t>
            </a:r>
            <a:r>
              <a:rPr lang="en-GB" sz="1800" b="1" i="1" cap="none" dirty="0">
                <a:effectLst/>
                <a:latin typeface="Arial" panose="020B0604020202020204" pitchFamily="34" charset="0"/>
                <a:cs typeface="Arial" panose="020B0604020202020204" pitchFamily="34" charset="0"/>
              </a:rPr>
              <a:t>ero’: </a:t>
            </a:r>
            <a:r>
              <a:rPr lang="en-GB" sz="1800" b="1" i="1" cap="none" dirty="0">
                <a:latin typeface="Arial" panose="020B0604020202020204" pitchFamily="34" charset="0"/>
                <a:cs typeface="Arial" panose="020B0604020202020204" pitchFamily="34" charset="0"/>
              </a:rPr>
              <a:t>R</a:t>
            </a:r>
            <a:r>
              <a:rPr lang="en-GB" sz="1800" b="1" i="1" cap="none" dirty="0">
                <a:effectLst/>
                <a:latin typeface="Arial" panose="020B0604020202020204" pitchFamily="34" charset="0"/>
                <a:cs typeface="Arial" panose="020B0604020202020204" pitchFamily="34" charset="0"/>
              </a:rPr>
              <a:t>ussia’s $10bn plane grab signals losses for lessors</a:t>
            </a:r>
          </a:p>
          <a:p>
            <a:pPr algn="r">
              <a:lnSpc>
                <a:spcPct val="100000"/>
              </a:lnSpc>
            </a:pPr>
            <a:r>
              <a:rPr lang="en-GB" sz="1800" b="1" i="1" cap="none" dirty="0">
                <a:latin typeface="Arial" panose="020B0604020202020204" pitchFamily="34" charset="0"/>
                <a:cs typeface="Arial" panose="020B0604020202020204" pitchFamily="34" charset="0"/>
              </a:rPr>
              <a:t>FINANCIAL TIMES</a:t>
            </a:r>
            <a:endParaRPr lang="en-GB" sz="1800" b="1" i="1" cap="none" dirty="0">
              <a:effectLst/>
              <a:latin typeface="Arial" panose="020B0604020202020204" pitchFamily="34" charset="0"/>
              <a:cs typeface="Arial" panose="020B0604020202020204" pitchFamily="34" charset="0"/>
            </a:endParaRPr>
          </a:p>
          <a:p>
            <a:pPr algn="r">
              <a:lnSpc>
                <a:spcPct val="100000"/>
              </a:lnSpc>
            </a:pPr>
            <a:endParaRPr lang="en-GB" sz="1800" b="1" i="1" cap="none" dirty="0">
              <a:latin typeface="Arial" panose="020B0604020202020204" pitchFamily="34" charset="0"/>
              <a:cs typeface="Arial" panose="020B0604020202020204" pitchFamily="34" charset="0"/>
            </a:endParaRPr>
          </a:p>
          <a:p>
            <a:pPr algn="r">
              <a:lnSpc>
                <a:spcPct val="100000"/>
              </a:lnSpc>
            </a:pPr>
            <a:r>
              <a:rPr lang="en-GB" sz="1800" b="1" i="1" cap="none" dirty="0">
                <a:effectLst/>
                <a:latin typeface="Arial" panose="020B0604020202020204" pitchFamily="34" charset="0"/>
                <a:cs typeface="Arial" panose="020B0604020202020204" pitchFamily="34" charset="0"/>
              </a:rPr>
              <a:t>“Russia’s stolen planes will  become worthless thanks to bootleg parts”.</a:t>
            </a:r>
          </a:p>
          <a:p>
            <a:pPr algn="r">
              <a:lnSpc>
                <a:spcPct val="100000"/>
              </a:lnSpc>
            </a:pPr>
            <a:endParaRPr lang="en-GB" sz="1800" b="1" i="1" cap="none" dirty="0">
              <a:latin typeface="Arial" panose="020B0604020202020204" pitchFamily="34" charset="0"/>
              <a:cs typeface="Arial" panose="020B0604020202020204" pitchFamily="34" charset="0"/>
            </a:endParaRPr>
          </a:p>
          <a:p>
            <a:pPr algn="r">
              <a:lnSpc>
                <a:spcPct val="100000"/>
              </a:lnSpc>
            </a:pPr>
            <a:r>
              <a:rPr lang="en-GB" sz="1800" b="1" i="1" cap="none" dirty="0">
                <a:effectLst/>
                <a:latin typeface="Arial" panose="020B0604020202020204" pitchFamily="34" charset="0"/>
                <a:cs typeface="Arial" panose="020B0604020202020204" pitchFamily="34" charset="0"/>
              </a:rPr>
              <a:t>“Multibillion-pound ‘Mega </a:t>
            </a:r>
            <a:r>
              <a:rPr lang="en-GB" sz="1800" b="1" i="1" cap="none" dirty="0">
                <a:latin typeface="Arial" panose="020B0604020202020204" pitchFamily="34" charset="0"/>
                <a:cs typeface="Arial" panose="020B0604020202020204" pitchFamily="34" charset="0"/>
              </a:rPr>
              <a:t>T</a:t>
            </a:r>
            <a:r>
              <a:rPr lang="en-GB" sz="1800" b="1" i="1" cap="none" dirty="0">
                <a:effectLst/>
                <a:latin typeface="Arial" panose="020B0604020202020204" pitchFamily="34" charset="0"/>
                <a:cs typeface="Arial" panose="020B0604020202020204" pitchFamily="34" charset="0"/>
              </a:rPr>
              <a:t>rial’ over hundreds of aircraft stranded in </a:t>
            </a:r>
            <a:r>
              <a:rPr lang="en-GB" sz="1800" b="1" i="1" cap="none" dirty="0">
                <a:latin typeface="Arial" panose="020B0604020202020204" pitchFamily="34" charset="0"/>
                <a:cs typeface="Arial" panose="020B0604020202020204" pitchFamily="34" charset="0"/>
              </a:rPr>
              <a:t>R</a:t>
            </a:r>
            <a:r>
              <a:rPr lang="en-GB" sz="1800" b="1" i="1" cap="none" dirty="0">
                <a:effectLst/>
                <a:latin typeface="Arial" panose="020B0604020202020204" pitchFamily="34" charset="0"/>
                <a:cs typeface="Arial" panose="020B0604020202020204" pitchFamily="34" charset="0"/>
              </a:rPr>
              <a:t>ussia”</a:t>
            </a:r>
          </a:p>
          <a:p>
            <a:pPr algn="r">
              <a:lnSpc>
                <a:spcPct val="100000"/>
              </a:lnSpc>
            </a:pPr>
            <a:r>
              <a:rPr lang="en-GB" sz="1800" b="1" i="1" cap="none" dirty="0">
                <a:effectLst/>
                <a:latin typeface="Arial" panose="020B0604020202020204" pitchFamily="34" charset="0"/>
                <a:cs typeface="Arial" panose="020B0604020202020204" pitchFamily="34" charset="0"/>
              </a:rPr>
              <a:t>LAW SOCIETY</a:t>
            </a:r>
          </a:p>
          <a:p>
            <a:pPr algn="r">
              <a:lnSpc>
                <a:spcPct val="100000"/>
              </a:lnSpc>
            </a:pPr>
            <a:endParaRPr lang="en-GB" sz="1800" b="1" i="1" cap="none" dirty="0">
              <a:effectLst/>
              <a:latin typeface="Arial" panose="020B0604020202020204" pitchFamily="34" charset="0"/>
              <a:cs typeface="Arial" panose="020B0604020202020204" pitchFamily="34" charset="0"/>
            </a:endParaRPr>
          </a:p>
          <a:p>
            <a:endParaRPr lang="en-GB" sz="1800" b="1" i="1" cap="none" dirty="0">
              <a:effectLst/>
              <a:latin typeface="Arial" panose="020B0604020202020204" pitchFamily="34" charset="0"/>
              <a:cs typeface="Arial" panose="020B0604020202020204" pitchFamily="34" charset="0"/>
            </a:endParaRPr>
          </a:p>
          <a:p>
            <a:endParaRPr lang="en-GB" dirty="0"/>
          </a:p>
        </p:txBody>
      </p:sp>
    </p:spTree>
    <p:extLst>
      <p:ext uri="{BB962C8B-B14F-4D97-AF65-F5344CB8AC3E}">
        <p14:creationId xmlns:p14="http://schemas.microsoft.com/office/powerpoint/2010/main" val="2819314877"/>
      </p:ext>
    </p:extLst>
  </p:cSld>
  <p:clrMapOvr>
    <a:masterClrMapping/>
  </p:clrMapOvr>
  <p:transition spd="med">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295061-FAAB-D4D8-42E7-3A758B09B23B}"/>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448CE4CC-DDCA-A6E1-5EEC-E23B89AA6AC1}"/>
              </a:ext>
            </a:extLst>
          </p:cNvPr>
          <p:cNvSpPr>
            <a:spLocks noGrp="1"/>
          </p:cNvSpPr>
          <p:nvPr>
            <p:ph type="title"/>
          </p:nvPr>
        </p:nvSpPr>
        <p:spPr>
          <a:xfrm>
            <a:off x="335524" y="423480"/>
            <a:ext cx="11232000" cy="467488"/>
          </a:xfrm>
        </p:spPr>
        <p:txBody>
          <a:bodyPr>
            <a:normAutofit fontScale="90000"/>
          </a:bodyPr>
          <a:lstStyle/>
          <a:p>
            <a:r>
              <a:rPr lang="en-GB" sz="3100" b="1" dirty="0">
                <a:solidFill>
                  <a:srgbClr val="414A75"/>
                </a:solidFill>
                <a:latin typeface="Arial" panose="020B0604020202020204" pitchFamily="34" charset="0"/>
                <a:ea typeface="Times New Roman" panose="02020603050405020304" pitchFamily="18" charset="0"/>
                <a:cs typeface="Arial" panose="020B0604020202020204" pitchFamily="34" charset="0"/>
              </a:rPr>
              <a:t>WHY HAVE AN EXCLUSIVE JURISDICTION CLAUSE?</a:t>
            </a:r>
            <a:br>
              <a:rPr lang="en-GB" sz="2400" dirty="0">
                <a:latin typeface="Arial" panose="020B0604020202020204" pitchFamily="34" charset="0"/>
                <a:ea typeface="Times New Roman" panose="02020603050405020304" pitchFamily="18" charset="0"/>
                <a:cs typeface="Times New Roman" panose="02020603050405020304" pitchFamily="18" charset="0"/>
              </a:rPr>
            </a:br>
            <a:endParaRPr lang="en-GB" dirty="0"/>
          </a:p>
        </p:txBody>
      </p:sp>
      <p:sp>
        <p:nvSpPr>
          <p:cNvPr id="10" name="Content Placeholder 9">
            <a:extLst>
              <a:ext uri="{FF2B5EF4-FFF2-40B4-BE49-F238E27FC236}">
                <a16:creationId xmlns:a16="http://schemas.microsoft.com/office/drawing/2014/main" id="{32575374-E95D-A867-6A21-29BA26B2ED98}"/>
              </a:ext>
            </a:extLst>
          </p:cNvPr>
          <p:cNvSpPr>
            <a:spLocks noGrp="1"/>
          </p:cNvSpPr>
          <p:nvPr>
            <p:ph sz="quarter" idx="14"/>
          </p:nvPr>
        </p:nvSpPr>
        <p:spPr>
          <a:xfrm>
            <a:off x="256010" y="890968"/>
            <a:ext cx="11232000" cy="4788000"/>
          </a:xfrm>
        </p:spPr>
        <p:txBody>
          <a:bodyPr>
            <a:noAutofit/>
          </a:bodyPr>
          <a:lstStyle/>
          <a:p>
            <a:pPr marL="0" lvl="3" indent="0">
              <a:buNone/>
            </a:pPr>
            <a:r>
              <a:rPr lang="en-GB" sz="2000" dirty="0">
                <a:solidFill>
                  <a:srgbClr val="333F48"/>
                </a:solidFill>
                <a:effectLst/>
                <a:highlight>
                  <a:srgbClr val="FFFFFF"/>
                </a:highlight>
                <a:latin typeface="Arial" panose="020B0604020202020204" pitchFamily="34" charset="0"/>
                <a:ea typeface="Times New Roman" panose="02020603050405020304" pitchFamily="18" charset="0"/>
                <a:cs typeface="Arial" panose="020B0604020202020204" pitchFamily="34" charset="0"/>
              </a:rPr>
              <a:t>Three</a:t>
            </a:r>
            <a:r>
              <a:rPr lang="en-GB" sz="2000" dirty="0">
                <a:effectLst/>
                <a:highlight>
                  <a:srgbClr val="FFFFFF"/>
                </a:highlight>
                <a:latin typeface="Arial" panose="020B0604020202020204" pitchFamily="34" charset="0"/>
                <a:ea typeface="Times New Roman" panose="02020603050405020304" pitchFamily="18" charset="0"/>
                <a:cs typeface="Times New Roman" panose="02020603050405020304" pitchFamily="18" charset="0"/>
              </a:rPr>
              <a:t> principal reasons for specifying which forum has jurisdiction. </a:t>
            </a:r>
          </a:p>
          <a:p>
            <a:pPr marL="285750" lvl="3" indent="-285750">
              <a:buFont typeface="Wingdings" panose="05000000000000000000" pitchFamily="2" charset="2"/>
              <a:buChar char="§"/>
            </a:pPr>
            <a:r>
              <a:rPr lang="en-GB" sz="2000" b="1" dirty="0">
                <a:highlight>
                  <a:srgbClr val="FFFFFF"/>
                </a:highlight>
                <a:latin typeface="Arial" panose="020B0604020202020204" pitchFamily="34" charset="0"/>
                <a:ea typeface="Times New Roman" panose="02020603050405020304" pitchFamily="18" charset="0"/>
                <a:cs typeface="Times New Roman" panose="02020603050405020304" pitchFamily="18" charset="0"/>
              </a:rPr>
              <a:t>C</a:t>
            </a:r>
            <a:r>
              <a:rPr lang="en-GB" sz="2000" b="1" dirty="0">
                <a:effectLst/>
                <a:highlight>
                  <a:srgbClr val="FFFFFF"/>
                </a:highlight>
                <a:latin typeface="Arial" panose="020B0604020202020204" pitchFamily="34" charset="0"/>
                <a:ea typeface="Times New Roman" panose="02020603050405020304" pitchFamily="18" charset="0"/>
                <a:cs typeface="Times New Roman" panose="02020603050405020304" pitchFamily="18" charset="0"/>
              </a:rPr>
              <a:t>onvenience</a:t>
            </a:r>
            <a:r>
              <a:rPr lang="en-GB" sz="2000" dirty="0">
                <a:effectLst/>
                <a:highlight>
                  <a:srgbClr val="FFFFFF"/>
                </a:highlight>
                <a:latin typeface="Arial" panose="020B0604020202020204" pitchFamily="34" charset="0"/>
                <a:ea typeface="Times New Roman" panose="02020603050405020304" pitchFamily="18" charset="0"/>
                <a:cs typeface="Times New Roman" panose="02020603050405020304" pitchFamily="18" charset="0"/>
              </a:rPr>
              <a:t>. You may well want to sue or be sued in the country/territory in which you are based. </a:t>
            </a:r>
          </a:p>
          <a:p>
            <a:pPr marL="285750" lvl="3" indent="-285750">
              <a:buFont typeface="Wingdings" panose="05000000000000000000" pitchFamily="2" charset="2"/>
              <a:buChar char="§"/>
            </a:pPr>
            <a:r>
              <a:rPr lang="en-GB" sz="2000" dirty="0">
                <a:highlight>
                  <a:srgbClr val="FFFFFF"/>
                </a:highlight>
                <a:latin typeface="Arial" panose="020B0604020202020204" pitchFamily="34" charset="0"/>
                <a:ea typeface="Times New Roman" panose="02020603050405020304" pitchFamily="18" charset="0"/>
                <a:cs typeface="Times New Roman" panose="02020603050405020304" pitchFamily="18" charset="0"/>
              </a:rPr>
              <a:t>A</a:t>
            </a:r>
            <a:r>
              <a:rPr lang="en-GB" sz="2000" dirty="0">
                <a:effectLst/>
                <a:highlight>
                  <a:srgbClr val="FFFFFF"/>
                </a:highlight>
                <a:latin typeface="Arial" panose="020B0604020202020204" pitchFamily="34" charset="0"/>
                <a:ea typeface="Times New Roman" panose="02020603050405020304" pitchFamily="18" charset="0"/>
                <a:cs typeface="Times New Roman" panose="02020603050405020304" pitchFamily="18" charset="0"/>
              </a:rPr>
              <a:t> </a:t>
            </a:r>
            <a:r>
              <a:rPr lang="en-GB" sz="2000" b="1" dirty="0">
                <a:effectLst/>
                <a:highlight>
                  <a:srgbClr val="FFFFFF"/>
                </a:highlight>
                <a:latin typeface="Arial" panose="020B0604020202020204" pitchFamily="34" charset="0"/>
                <a:ea typeface="Times New Roman" panose="02020603050405020304" pitchFamily="18" charset="0"/>
                <a:cs typeface="Times New Roman" panose="02020603050405020304" pitchFamily="18" charset="0"/>
              </a:rPr>
              <a:t>preferred judicial system: </a:t>
            </a:r>
            <a:r>
              <a:rPr lang="en-GB" sz="2000" dirty="0">
                <a:effectLst/>
                <a:highlight>
                  <a:srgbClr val="FFFFFF"/>
                </a:highlight>
                <a:latin typeface="Arial" panose="020B0604020202020204" pitchFamily="34" charset="0"/>
                <a:ea typeface="Times New Roman" panose="02020603050405020304" pitchFamily="18" charset="0"/>
                <a:cs typeface="Times New Roman" panose="02020603050405020304" pitchFamily="18" charset="0"/>
              </a:rPr>
              <a:t>if you are the party most likely to sue (e.g. a purchaser or lender) then you will want any dispute to be heard in a jurisdiction which has an efficient judicial system and offers a good range of interim and final remedies.</a:t>
            </a:r>
          </a:p>
          <a:p>
            <a:pPr marL="285750" lvl="3" indent="-285750">
              <a:buFont typeface="Wingdings" panose="05000000000000000000" pitchFamily="2" charset="2"/>
              <a:buChar char="§"/>
            </a:pPr>
            <a:r>
              <a:rPr lang="en-GB" sz="2000" b="1" dirty="0">
                <a:highlight>
                  <a:srgbClr val="FFFFFF"/>
                </a:highlight>
                <a:latin typeface="Arial" panose="020B0604020202020204" pitchFamily="34" charset="0"/>
                <a:ea typeface="Times New Roman" panose="02020603050405020304" pitchFamily="18" charset="0"/>
                <a:cs typeface="Times New Roman" panose="02020603050405020304" pitchFamily="18" charset="0"/>
              </a:rPr>
              <a:t>E</a:t>
            </a:r>
            <a:r>
              <a:rPr lang="en-GB" sz="2000" b="1" dirty="0">
                <a:effectLst/>
                <a:highlight>
                  <a:srgbClr val="FFFFFF"/>
                </a:highlight>
                <a:latin typeface="Arial" panose="020B0604020202020204" pitchFamily="34" charset="0"/>
                <a:ea typeface="Times New Roman" panose="02020603050405020304" pitchFamily="18" charset="0"/>
                <a:cs typeface="Times New Roman" panose="02020603050405020304" pitchFamily="18" charset="0"/>
              </a:rPr>
              <a:t>nforcement: t</a:t>
            </a:r>
            <a:r>
              <a:rPr lang="en-GB" sz="2000" dirty="0">
                <a:effectLst/>
                <a:highlight>
                  <a:srgbClr val="FFFFFF"/>
                </a:highlight>
                <a:latin typeface="Arial" panose="020B0604020202020204" pitchFamily="34" charset="0"/>
                <a:ea typeface="Times New Roman" panose="02020603050405020304" pitchFamily="18" charset="0"/>
                <a:cs typeface="Times New Roman" panose="02020603050405020304" pitchFamily="18" charset="0"/>
              </a:rPr>
              <a:t>he commercial worth of a judgment depends on its enforceability and the location of the defendant's assets needs to be taken into account.  </a:t>
            </a:r>
            <a:endParaRPr lang="en-GB" sz="2000" dirty="0">
              <a:effectLst/>
              <a:latin typeface="Arial" panose="020B0604020202020204" pitchFamily="34" charset="0"/>
              <a:ea typeface="Times New Roman" panose="02020603050405020304" pitchFamily="18" charset="0"/>
              <a:cs typeface="Times New Roman" panose="02020603050405020304" pitchFamily="18" charset="0"/>
            </a:endParaRPr>
          </a:p>
          <a:p>
            <a:pPr marL="0" lvl="3" indent="0">
              <a:buNone/>
            </a:pPr>
            <a:r>
              <a:rPr lang="en-GB" sz="2000" dirty="0">
                <a:solidFill>
                  <a:srgbClr val="333F48"/>
                </a:solidFill>
                <a:highlight>
                  <a:srgbClr val="FFFFFF"/>
                </a:highlight>
                <a:latin typeface="Arial" panose="020B0604020202020204" pitchFamily="34" charset="0"/>
                <a:ea typeface="Times New Roman" panose="02020603050405020304" pitchFamily="18" charset="0"/>
                <a:cs typeface="Arial" panose="020B0604020202020204" pitchFamily="34" charset="0"/>
              </a:rPr>
              <a:t> </a:t>
            </a:r>
          </a:p>
          <a:p>
            <a:pPr marL="0" lvl="3" indent="0">
              <a:buNone/>
            </a:pPr>
            <a:endParaRPr lang="en-GB" sz="1867" dirty="0">
              <a:solidFill>
                <a:srgbClr val="333F48"/>
              </a:solidFill>
              <a:highlight>
                <a:srgbClr val="FFFFFF"/>
              </a:highlight>
            </a:endParaRPr>
          </a:p>
        </p:txBody>
      </p:sp>
      <p:sp>
        <p:nvSpPr>
          <p:cNvPr id="2" name="Slide Number Placeholder 1">
            <a:extLst>
              <a:ext uri="{FF2B5EF4-FFF2-40B4-BE49-F238E27FC236}">
                <a16:creationId xmlns:a16="http://schemas.microsoft.com/office/drawing/2014/main" id="{B0E4C234-A5C2-6AD6-9F41-7DE427F95788}"/>
              </a:ext>
            </a:extLst>
          </p:cNvPr>
          <p:cNvSpPr>
            <a:spLocks noGrp="1"/>
          </p:cNvSpPr>
          <p:nvPr>
            <p:ph type="sldNum" sz="quarter" idx="12"/>
          </p:nvPr>
        </p:nvSpPr>
        <p:spPr/>
        <p:txBody>
          <a:bodyPr/>
          <a:lstStyle/>
          <a:p>
            <a:fld id="{7DAB47CC-2047-4FFE-9F3B-6C9AB62C3816}" type="slidenum">
              <a:rPr lang="en-GB" smtClean="0"/>
              <a:pPr/>
              <a:t>9</a:t>
            </a:fld>
            <a:endParaRPr lang="en-GB"/>
          </a:p>
        </p:txBody>
      </p:sp>
    </p:spTree>
    <p:extLst>
      <p:ext uri="{BB962C8B-B14F-4D97-AF65-F5344CB8AC3E}">
        <p14:creationId xmlns:p14="http://schemas.microsoft.com/office/powerpoint/2010/main" val="35190767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0MSxssuIUCyBQJr46Aw8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0MSxssuIUCyBQJr46Aw8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ecfFzgZ7zk.8aNcEimfWD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etnYWf3O1ESqFpotdjjAj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IneslecTQECU1oKzUrgJl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0MSxssuIUCyBQJr46Aw8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0MSxssuIUCyBQJr46Aw8w"/>
</p:tagLst>
</file>

<file path=ppt/theme/theme1.xml><?xml version="1.0" encoding="utf-8"?>
<a:theme xmlns:a="http://schemas.openxmlformats.org/drawingml/2006/main" name="HFW MASTER TEMPLATE">
  <a:themeElements>
    <a:clrScheme name="HFW Blue">
      <a:dk1>
        <a:srgbClr val="5B5D62"/>
      </a:dk1>
      <a:lt1>
        <a:srgbClr val="FFFFFF"/>
      </a:lt1>
      <a:dk2>
        <a:srgbClr val="414A75"/>
      </a:dk2>
      <a:lt2>
        <a:srgbClr val="F9F5F4"/>
      </a:lt2>
      <a:accent1>
        <a:srgbClr val="414A75"/>
      </a:accent1>
      <a:accent2>
        <a:srgbClr val="8DC8E8"/>
      </a:accent2>
      <a:accent3>
        <a:srgbClr val="848689"/>
      </a:accent3>
      <a:accent4>
        <a:srgbClr val="ADAEB1"/>
      </a:accent4>
      <a:accent5>
        <a:srgbClr val="414A75"/>
      </a:accent5>
      <a:accent6>
        <a:srgbClr val="8DC8E8"/>
      </a:accent6>
      <a:hlink>
        <a:srgbClr val="414A75"/>
      </a:hlink>
      <a:folHlink>
        <a:srgbClr val="8DC8E8"/>
      </a:folHlink>
    </a:clrScheme>
    <a:fontScheme name="Montserrat">
      <a:majorFont>
        <a:latin typeface="Montserrat Bold"/>
        <a:ea typeface=""/>
        <a:cs typeface=""/>
      </a:majorFont>
      <a:minorFont>
        <a:latin typeface="Montserra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bodyPr vert="horz" lIns="0" tIns="45720" rIns="0" bIns="45720" rtlCol="0">
        <a:normAutofit/>
      </a:bodyPr>
      <a:lstStyle>
        <a:defPPr algn="l">
          <a:defRPr dirty="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HFW_A4 landscape template">
  <a:themeElements>
    <a:clrScheme name="HFW Normal">
      <a:dk1>
        <a:srgbClr val="5B5D62"/>
      </a:dk1>
      <a:lt1>
        <a:srgbClr val="FFFFFF"/>
      </a:lt1>
      <a:dk2>
        <a:srgbClr val="D2515E"/>
      </a:dk2>
      <a:lt2>
        <a:srgbClr val="F9F5F4"/>
      </a:lt2>
      <a:accent1>
        <a:srgbClr val="EE7F4B"/>
      </a:accent1>
      <a:accent2>
        <a:srgbClr val="414A75"/>
      </a:accent2>
      <a:accent3>
        <a:srgbClr val="2E7572"/>
      </a:accent3>
      <a:accent4>
        <a:srgbClr val="8AC9ED"/>
      </a:accent4>
      <a:accent5>
        <a:srgbClr val="AADBD7"/>
      </a:accent5>
      <a:accent6>
        <a:srgbClr val="D79133"/>
      </a:accent6>
      <a:hlink>
        <a:srgbClr val="062047"/>
      </a:hlink>
      <a:folHlink>
        <a:srgbClr val="0083BD"/>
      </a:folHlink>
    </a:clrScheme>
    <a:fontScheme name="HFW New">
      <a:majorFont>
        <a:latin typeface="Montserrat Medium"/>
        <a:ea typeface=""/>
        <a:cs typeface=""/>
      </a:majorFont>
      <a:minorFont>
        <a:latin typeface="Montserrat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lIns="54000" tIns="54000" rIns="54000" bIns="54000"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HFW_Template - orange.potx" id="{7FAA6E1A-5BD1-4974-8160-04A25F44A175}" vid="{D6E6A2C6-D881-411E-95EE-74988FD05D37}"/>
    </a:ext>
  </a:extLst>
</a:theme>
</file>

<file path=ppt/theme/theme3.xml><?xml version="1.0" encoding="utf-8"?>
<a:theme xmlns:a="http://schemas.openxmlformats.org/drawingml/2006/main" name="Green">
  <a:themeElements>
    <a:clrScheme name="HFW Orange">
      <a:dk1>
        <a:srgbClr val="48525A"/>
      </a:dk1>
      <a:lt1>
        <a:srgbClr val="FFFFFF"/>
      </a:lt1>
      <a:dk2>
        <a:srgbClr val="FC4C02"/>
      </a:dk2>
      <a:lt2>
        <a:srgbClr val="DED4CB"/>
      </a:lt2>
      <a:accent1>
        <a:srgbClr val="00205B"/>
      </a:accent1>
      <a:accent2>
        <a:srgbClr val="FC4C02"/>
      </a:accent2>
      <a:accent3>
        <a:srgbClr val="2D7572"/>
      </a:accent3>
      <a:accent4>
        <a:srgbClr val="8DC8E8"/>
      </a:accent4>
      <a:accent5>
        <a:srgbClr val="DED4CB"/>
      </a:accent5>
      <a:accent6>
        <a:srgbClr val="AADBD7"/>
      </a:accent6>
      <a:hlink>
        <a:srgbClr val="00205B"/>
      </a:hlink>
      <a:folHlink>
        <a:srgbClr val="DED4CB"/>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205B">
            <a:alpha val="58039"/>
          </a:srgbClr>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HFW presentation v1.potx" id="{CEE3F6E7-6DF7-4EF1-92A0-2CE3866C1CA3}" vid="{B7CAB05D-BE78-4A86-B1C6-F3710FFCAE03}"/>
    </a:ext>
  </a:extLst>
</a:theme>
</file>

<file path=ppt/theme/theme4.xml><?xml version="1.0" encoding="utf-8"?>
<a:theme xmlns:a="http://schemas.openxmlformats.org/drawingml/2006/main" name="2_HFW MASTER TEMPLATE">
  <a:themeElements>
    <a:clrScheme name="HFW Blue">
      <a:dk1>
        <a:srgbClr val="5B5D62"/>
      </a:dk1>
      <a:lt1>
        <a:srgbClr val="FFFFFF"/>
      </a:lt1>
      <a:dk2>
        <a:srgbClr val="414A75"/>
      </a:dk2>
      <a:lt2>
        <a:srgbClr val="F9F5F4"/>
      </a:lt2>
      <a:accent1>
        <a:srgbClr val="414A75"/>
      </a:accent1>
      <a:accent2>
        <a:srgbClr val="8DC8E8"/>
      </a:accent2>
      <a:accent3>
        <a:srgbClr val="848689"/>
      </a:accent3>
      <a:accent4>
        <a:srgbClr val="ADAEB1"/>
      </a:accent4>
      <a:accent5>
        <a:srgbClr val="414A75"/>
      </a:accent5>
      <a:accent6>
        <a:srgbClr val="8DC8E8"/>
      </a:accent6>
      <a:hlink>
        <a:srgbClr val="414A75"/>
      </a:hlink>
      <a:folHlink>
        <a:srgbClr val="8DC8E8"/>
      </a:folHlink>
    </a:clrScheme>
    <a:fontScheme name="Montserrat">
      <a:majorFont>
        <a:latin typeface="Montserrat Bold"/>
        <a:ea typeface=""/>
        <a:cs typeface=""/>
      </a:majorFont>
      <a:minorFont>
        <a:latin typeface="Montserra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bodyPr vert="horz" lIns="0" tIns="45720" rIns="0" bIns="45720" rtlCol="0">
        <a:normAutofit/>
      </a:bodyPr>
      <a:lstStyle>
        <a:defPPr algn="l">
          <a:defRPr dirty="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Complete xmlns="a33df1a8-3140-4089-aa5e-03f488982a13">false</Complete>
    <TaxCatchAll xmlns="7011ff0e-f2e3-4a41-9910-c97dd3f96f51" xsi:nil="true"/>
    <lcf76f155ced4ddcb4097134ff3c332f xmlns="a33df1a8-3140-4089-aa5e-03f488982a13">
      <Terms xmlns="http://schemas.microsoft.com/office/infopath/2007/PartnerControls"/>
    </lcf76f155ced4ddcb4097134ff3c332f>
    <_Flow_SignoffStatus xmlns="a33df1a8-3140-4089-aa5e-03f488982a1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DB11DFB40453864BB3BEC163B38366EA" ma:contentTypeVersion="18" ma:contentTypeDescription="Create a new document." ma:contentTypeScope="" ma:versionID="ae33223d29eeaa1678aa79bb987323a6">
  <xsd:schema xmlns:xsd="http://www.w3.org/2001/XMLSchema" xmlns:xs="http://www.w3.org/2001/XMLSchema" xmlns:p="http://schemas.microsoft.com/office/2006/metadata/properties" xmlns:ns2="a33df1a8-3140-4089-aa5e-03f488982a13" xmlns:ns3="7011ff0e-f2e3-4a41-9910-c97dd3f96f51" targetNamespace="http://schemas.microsoft.com/office/2006/metadata/properties" ma:root="true" ma:fieldsID="e5ed639ade3488fe422acefd3fb07075" ns2:_="" ns3:_="">
    <xsd:import namespace="a33df1a8-3140-4089-aa5e-03f488982a13"/>
    <xsd:import namespace="7011ff0e-f2e3-4a41-9910-c97dd3f96f51"/>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GenerationTime" minOccurs="0"/>
                <xsd:element ref="ns2:MediaServiceEventHashCode" minOccurs="0"/>
                <xsd:element ref="ns2:MediaServiceOCR" minOccurs="0"/>
                <xsd:element ref="ns2:MediaServiceLocation" minOccurs="0"/>
                <xsd:element ref="ns3:SharedWithUsers" minOccurs="0"/>
                <xsd:element ref="ns3:SharedWithDetails" minOccurs="0"/>
                <xsd:element ref="ns2:MediaServiceAutoKeyPoints" minOccurs="0"/>
                <xsd:element ref="ns2:MediaServiceKeyPoints" minOccurs="0"/>
                <xsd:element ref="ns2:Complete" minOccurs="0"/>
                <xsd:element ref="ns2:MediaLengthInSeconds" minOccurs="0"/>
                <xsd:element ref="ns2:_Flow_SignoffStatu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33df1a8-3140-4089-aa5e-03f488982a1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Location" ma:index="15" nillable="true" ma:displayName="Location" ma:internalName="MediaServiceLocatio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Complete" ma:index="20" nillable="true" ma:displayName="Complete" ma:default="0" ma:format="Dropdown" ma:internalName="Complete">
      <xsd:simpleType>
        <xsd:restriction base="dms:Boolean"/>
      </xsd:simpleType>
    </xsd:element>
    <xsd:element name="MediaLengthInSeconds" ma:index="21" nillable="true" ma:displayName="Length (seconds)" ma:internalName="MediaLengthInSeconds" ma:readOnly="true">
      <xsd:simpleType>
        <xsd:restriction base="dms:Unknown"/>
      </xsd:simpleType>
    </xsd:element>
    <xsd:element name="_Flow_SignoffStatus" ma:index="22" nillable="true" ma:displayName="Sign-off status" ma:internalName="Sign_x002d_off_x0020_status">
      <xsd:simpleType>
        <xsd:restriction base="dms:Text"/>
      </xsd:simpleType>
    </xsd:element>
    <xsd:element name="lcf76f155ced4ddcb4097134ff3c332f" ma:index="24" nillable="true" ma:taxonomy="true" ma:internalName="lcf76f155ced4ddcb4097134ff3c332f" ma:taxonomyFieldName="MediaServiceImageTags" ma:displayName="Image Tags" ma:readOnly="false" ma:fieldId="{5cf76f15-5ced-4ddc-b409-7134ff3c332f}" ma:taxonomyMulti="true" ma:sspId="8c8b20c5-c09b-4084-8891-9f27757822ec"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7011ff0e-f2e3-4a41-9910-c97dd3f96f51"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TaxCatchAll" ma:index="25" nillable="true" ma:displayName="Taxonomy Catch All Column" ma:hidden="true" ma:list="{fdb69985-519c-4591-a002-8ade11dc0ff5}" ma:internalName="TaxCatchAll" ma:showField="CatchAllData" ma:web="7011ff0e-f2e3-4a41-9910-c97dd3f96f5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EC14744-EFD2-4CAA-A7F7-7CDD74AADE12}">
  <ds:schemaRefs>
    <ds:schemaRef ds:uri="http://www.w3.org/XML/1998/namespace"/>
    <ds:schemaRef ds:uri="http://schemas.openxmlformats.org/package/2006/metadata/core-properties"/>
    <ds:schemaRef ds:uri="http://schemas.microsoft.com/office/infopath/2007/PartnerControls"/>
    <ds:schemaRef ds:uri="http://schemas.microsoft.com/office/2006/metadata/properties"/>
    <ds:schemaRef ds:uri="http://purl.org/dc/terms/"/>
    <ds:schemaRef ds:uri="http://schemas.microsoft.com/office/2006/documentManagement/types"/>
    <ds:schemaRef ds:uri="7011ff0e-f2e3-4a41-9910-c97dd3f96f51"/>
    <ds:schemaRef ds:uri="a33df1a8-3140-4089-aa5e-03f488982a13"/>
    <ds:schemaRef ds:uri="http://purl.org/dc/dcmitype/"/>
    <ds:schemaRef ds:uri="http://purl.org/dc/elements/1.1/"/>
  </ds:schemaRefs>
</ds:datastoreItem>
</file>

<file path=customXml/itemProps2.xml><?xml version="1.0" encoding="utf-8"?>
<ds:datastoreItem xmlns:ds="http://schemas.openxmlformats.org/officeDocument/2006/customXml" ds:itemID="{21582D7C-5F2B-4908-B27D-CC9D434F733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33df1a8-3140-4089-aa5e-03f488982a13"/>
    <ds:schemaRef ds:uri="7011ff0e-f2e3-4a41-9910-c97dd3f96f5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D09D0A7-36B9-4AEB-A49D-41F6345B06A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3164</TotalTime>
  <Words>3087</Words>
  <Application>Microsoft Office PowerPoint</Application>
  <PresentationFormat>Widescreen</PresentationFormat>
  <Paragraphs>346</Paragraphs>
  <Slides>28</Slides>
  <Notes>4</Notes>
  <HiddenSlides>0</HiddenSlides>
  <MMClips>0</MMClips>
  <ScaleCrop>false</ScaleCrop>
  <HeadingPairs>
    <vt:vector size="8" baseType="variant">
      <vt:variant>
        <vt:lpstr>Fonts Used</vt:lpstr>
      </vt:variant>
      <vt:variant>
        <vt:i4>10</vt:i4>
      </vt:variant>
      <vt:variant>
        <vt:lpstr>Theme</vt:lpstr>
      </vt:variant>
      <vt:variant>
        <vt:i4>4</vt:i4>
      </vt:variant>
      <vt:variant>
        <vt:lpstr>Embedded OLE Servers</vt:lpstr>
      </vt:variant>
      <vt:variant>
        <vt:i4>1</vt:i4>
      </vt:variant>
      <vt:variant>
        <vt:lpstr>Slide Titles</vt:lpstr>
      </vt:variant>
      <vt:variant>
        <vt:i4>28</vt:i4>
      </vt:variant>
    </vt:vector>
  </HeadingPairs>
  <TitlesOfParts>
    <vt:vector size="43" baseType="lpstr">
      <vt:lpstr>financier display VF</vt:lpstr>
      <vt:lpstr>Montserrat Bold</vt:lpstr>
      <vt:lpstr>Montserrat Light</vt:lpstr>
      <vt:lpstr>Montserrat</vt:lpstr>
      <vt:lpstr>Arial</vt:lpstr>
      <vt:lpstr>Montserrat Medium</vt:lpstr>
      <vt:lpstr>Wingdings</vt:lpstr>
      <vt:lpstr>Lato</vt:lpstr>
      <vt:lpstr>Montserrat Black</vt:lpstr>
      <vt:lpstr>Calibri</vt:lpstr>
      <vt:lpstr>HFW MASTER TEMPLATE</vt:lpstr>
      <vt:lpstr>1_HFW_A4 landscape template</vt:lpstr>
      <vt:lpstr>Green</vt:lpstr>
      <vt:lpstr>2_HFW MASTER TEMPLATE</vt:lpstr>
      <vt:lpstr>think-cell Slide</vt:lpstr>
      <vt:lpstr>Legal and risk developments that will affect your business</vt:lpstr>
      <vt:lpstr>PowerPoint Presentation</vt:lpstr>
      <vt:lpstr>WHY CHOOSE HFW</vt:lpstr>
      <vt:lpstr>OUR expertise    </vt:lpstr>
      <vt:lpstr>challenges  </vt:lpstr>
      <vt:lpstr>PowerPoint Presentation</vt:lpstr>
      <vt:lpstr>Grand Aero Theft: Russia &amp; Ukraine</vt:lpstr>
      <vt:lpstr>Grand Aero Theft</vt:lpstr>
      <vt:lpstr>WHY HAVE AN EXCLUSIVE JURISDICTION CLAUSE? </vt:lpstr>
      <vt:lpstr>Reasons to uphold exclusive jurisdiction clause  </vt:lpstr>
      <vt:lpstr>CIRCUMSTANCES WHERE A EJC MAY NOT be upheld </vt:lpstr>
      <vt:lpstr>CIRCUMSTANCES WHERE A EJC MAY NOT be upheld </vt:lpstr>
      <vt:lpstr>PowerPoint Presentation</vt:lpstr>
      <vt:lpstr>Risk management </vt:lpstr>
      <vt:lpstr>PowerPoint Presentation</vt:lpstr>
      <vt:lpstr>Ground handling AGREEMENTS  </vt:lpstr>
      <vt:lpstr>Risk Allocation – operator and Handler</vt:lpstr>
      <vt:lpstr>Legal Issues: liabilities &amp; indemnities</vt:lpstr>
      <vt:lpstr>Potential losses – Aircraft Damage</vt:lpstr>
      <vt:lpstr>Legal Issue: What losses are recoverable or not?</vt:lpstr>
      <vt:lpstr>TASK FORCE REVIEW</vt:lpstr>
      <vt:lpstr>BUYER/OPERATOR &amp; OEM balance</vt:lpstr>
      <vt:lpstr>Implied terms  </vt:lpstr>
      <vt:lpstr>Air Transworld Ltd v Bombardier Inc [2012] EWHC 243 </vt:lpstr>
      <vt:lpstr>Wilmington Trust SP Services (Dublin) Limited &amp; Ors v Spicejet Limited [2021] EWHC 1117 (Comm) ('Spicejet')  </vt:lpstr>
      <vt:lpstr>conclusions</vt:lpstr>
      <vt:lpstr>MARKET RECOGNI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mail@presentationexperts.co.uk</dc:creator>
  <cp:lastModifiedBy>Peter Coles</cp:lastModifiedBy>
  <cp:revision>231</cp:revision>
  <cp:lastPrinted>2024-11-08T03:22:09Z</cp:lastPrinted>
  <dcterms:created xsi:type="dcterms:W3CDTF">2022-10-06T10:28:23Z</dcterms:created>
  <dcterms:modified xsi:type="dcterms:W3CDTF">2025-06-09T09:04: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B11DFB40453864BB3BEC163B38366EA</vt:lpwstr>
  </property>
  <property fmtid="{D5CDD505-2E9C-101B-9397-08002B2CF9AE}" pid="3" name="MediaServiceImageTags">
    <vt:lpwstr/>
  </property>
</Properties>
</file>